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20.xml" ContentType="application/vnd.openxmlformats-officedocument.presentationml.tags+xml"/>
  <Override PartName="/ppt/notesSlides/notesSlide16.xml" ContentType="application/vnd.openxmlformats-officedocument.presentationml.notesSlide+xml"/>
  <Override PartName="/ppt/tags/tag21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tags/tag22.xml" ContentType="application/vnd.openxmlformats-officedocument.presentationml.tags+xml"/>
  <Override PartName="/ppt/notesSlides/notesSlide18.xml" ContentType="application/vnd.openxmlformats-officedocument.presentationml.notesSlide+xml"/>
  <Override PartName="/ppt/tags/tag23.xml" ContentType="application/vnd.openxmlformats-officedocument.presentationml.tags+xml"/>
  <Override PartName="/ppt/notesSlides/notesSlide19.xml" ContentType="application/vnd.openxmlformats-officedocument.presentationml.notesSlide+xml"/>
  <Override PartName="/ppt/tags/tag24.xml" ContentType="application/vnd.openxmlformats-officedocument.presentationml.tags+xml"/>
  <Override PartName="/ppt/notesSlides/notesSlide20.xml" ContentType="application/vnd.openxmlformats-officedocument.presentationml.notesSlide+xml"/>
  <Override PartName="/ppt/tags/tag25.xml" ContentType="application/vnd.openxmlformats-officedocument.presentationml.tags+xml"/>
  <Override PartName="/ppt/notesSlides/notesSlide21.xml" ContentType="application/vnd.openxmlformats-officedocument.presentationml.notesSlide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ppt/tags/tag27.xml" ContentType="application/vnd.openxmlformats-officedocument.presentationml.tags+xml"/>
  <Override PartName="/ppt/notesSlides/notesSlide23.xml" ContentType="application/vnd.openxmlformats-officedocument.presentationml.notesSlide+xml"/>
  <Override PartName="/ppt/tags/tag28.xml" ContentType="application/vnd.openxmlformats-officedocument.presentationml.tags+xml"/>
  <Override PartName="/ppt/notesSlides/notesSlide24.xml" ContentType="application/vnd.openxmlformats-officedocument.presentationml.notesSlide+xml"/>
  <Override PartName="/ppt/tags/tag29.xml" ContentType="application/vnd.openxmlformats-officedocument.presentationml.tags+xml"/>
  <Override PartName="/ppt/notesSlides/notesSlide2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3.xml" ContentType="application/vnd.openxmlformats-officedocument.drawingml.chart+xml"/>
  <Override PartName="/ppt/tags/tag32.xml" ContentType="application/vnd.openxmlformats-officedocument.presentationml.tags+xml"/>
  <Override PartName="/ppt/notesSlides/notesSlide27.xml" ContentType="application/vnd.openxmlformats-officedocument.presentationml.notesSlide+xml"/>
  <Override PartName="/ppt/tags/tag33.xml" ContentType="application/vnd.openxmlformats-officedocument.presentationml.tags+xml"/>
  <Override PartName="/ppt/notesSlides/notesSlide28.xml" ContentType="application/vnd.openxmlformats-officedocument.presentationml.notesSlide+xml"/>
  <Override PartName="/ppt/tags/tag34.xml" ContentType="application/vnd.openxmlformats-officedocument.presentationml.tags+xml"/>
  <Override PartName="/ppt/notesSlides/notesSlide29.xml" ContentType="application/vnd.openxmlformats-officedocument.presentationml.notesSlide+xml"/>
  <Override PartName="/ppt/tags/tag35.xml" ContentType="application/vnd.openxmlformats-officedocument.presentationml.tags+xml"/>
  <Override PartName="/ppt/notesSlides/notesSlide30.xml" ContentType="application/vnd.openxmlformats-officedocument.presentationml.notesSlide+xml"/>
  <Override PartName="/ppt/tags/tag36.xml" ContentType="application/vnd.openxmlformats-officedocument.presentationml.tags+xml"/>
  <Override PartName="/ppt/notesSlides/notesSlide31.xml" ContentType="application/vnd.openxmlformats-officedocument.presentationml.notesSlide+xml"/>
  <Override PartName="/ppt/theme/themeOverride1.xml" ContentType="application/vnd.openxmlformats-officedocument.themeOverride+xml"/>
  <Override PartName="/ppt/tags/tag37.xml" ContentType="application/vnd.openxmlformats-officedocument.presentationml.tags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9" r:id="rId1"/>
  </p:sldMasterIdLst>
  <p:notesMasterIdLst>
    <p:notesMasterId r:id="rId34"/>
  </p:notesMasterIdLst>
  <p:handoutMasterIdLst>
    <p:handoutMasterId r:id="rId35"/>
  </p:handoutMasterIdLst>
  <p:sldIdLst>
    <p:sldId id="386" r:id="rId2"/>
    <p:sldId id="288" r:id="rId3"/>
    <p:sldId id="410" r:id="rId4"/>
    <p:sldId id="265" r:id="rId5"/>
    <p:sldId id="411" r:id="rId6"/>
    <p:sldId id="295" r:id="rId7"/>
    <p:sldId id="398" r:id="rId8"/>
    <p:sldId id="364" r:id="rId9"/>
    <p:sldId id="275" r:id="rId10"/>
    <p:sldId id="362" r:id="rId11"/>
    <p:sldId id="365" r:id="rId12"/>
    <p:sldId id="366" r:id="rId13"/>
    <p:sldId id="320" r:id="rId14"/>
    <p:sldId id="367" r:id="rId15"/>
    <p:sldId id="369" r:id="rId16"/>
    <p:sldId id="413" r:id="rId17"/>
    <p:sldId id="424" r:id="rId18"/>
    <p:sldId id="412" r:id="rId19"/>
    <p:sldId id="311" r:id="rId20"/>
    <p:sldId id="316" r:id="rId21"/>
    <p:sldId id="414" r:id="rId22"/>
    <p:sldId id="429" r:id="rId23"/>
    <p:sldId id="385" r:id="rId24"/>
    <p:sldId id="425" r:id="rId25"/>
    <p:sldId id="383" r:id="rId26"/>
    <p:sldId id="342" r:id="rId27"/>
    <p:sldId id="382" r:id="rId28"/>
    <p:sldId id="409" r:id="rId29"/>
    <p:sldId id="433" r:id="rId30"/>
    <p:sldId id="404" r:id="rId31"/>
    <p:sldId id="405" r:id="rId32"/>
    <p:sldId id="406" r:id="rId3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2" userDrawn="1">
          <p15:clr>
            <a:srgbClr val="A4A3A4"/>
          </p15:clr>
        </p15:guide>
        <p15:guide id="3" orient="horz" pos="4179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5" orient="horz" pos="3984">
          <p15:clr>
            <a:srgbClr val="A4A3A4"/>
          </p15:clr>
        </p15:guide>
        <p15:guide id="6" orient="horz" pos="912" userDrawn="1">
          <p15:clr>
            <a:srgbClr val="A4A3A4"/>
          </p15:clr>
        </p15:guide>
        <p15:guide id="7" orient="horz" pos="731" userDrawn="1">
          <p15:clr>
            <a:srgbClr val="A4A3A4"/>
          </p15:clr>
        </p15:guide>
        <p15:guide id="8" orient="horz" pos="2455" userDrawn="1">
          <p15:clr>
            <a:srgbClr val="A4A3A4"/>
          </p15:clr>
        </p15:guide>
        <p15:guide id="9" orient="horz" pos="2546" userDrawn="1">
          <p15:clr>
            <a:srgbClr val="A4A3A4"/>
          </p15:clr>
        </p15:guide>
        <p15:guide id="11" pos="2812" userDrawn="1">
          <p15:clr>
            <a:srgbClr val="A4A3A4"/>
          </p15:clr>
        </p15:guide>
        <p15:guide id="12" pos="317" userDrawn="1">
          <p15:clr>
            <a:srgbClr val="A4A3A4"/>
          </p15:clr>
        </p15:guide>
        <p15:guide id="13" pos="5424">
          <p15:clr>
            <a:srgbClr val="A4A3A4"/>
          </p15:clr>
        </p15:guide>
        <p15:guide id="14" pos="2903" userDrawn="1">
          <p15:clr>
            <a:srgbClr val="A4A3A4"/>
          </p15:clr>
        </p15:guide>
        <p15:guide id="15" pos="1950" userDrawn="1">
          <p15:clr>
            <a:srgbClr val="A4A3A4"/>
          </p15:clr>
        </p15:guide>
        <p15:guide id="16" pos="2070">
          <p15:clr>
            <a:srgbClr val="A4A3A4"/>
          </p15:clr>
        </p15:guide>
        <p15:guide id="17" pos="3792">
          <p15:clr>
            <a:srgbClr val="A4A3A4"/>
          </p15:clr>
        </p15:guide>
        <p15:guide id="18" pos="1104">
          <p15:clr>
            <a:srgbClr val="A4A3A4"/>
          </p15:clr>
        </p15:guide>
        <p15:guide id="19" pos="4656">
          <p15:clr>
            <a:srgbClr val="A4A3A4"/>
          </p15:clr>
        </p15:guide>
        <p15:guide id="20" pos="4536" userDrawn="1">
          <p15:clr>
            <a:srgbClr val="A4A3A4"/>
          </p15:clr>
        </p15:guide>
        <p15:guide id="21" pos="3696">
          <p15:clr>
            <a:srgbClr val="A4A3A4"/>
          </p15:clr>
        </p15:guide>
        <p15:guide id="22" pos="12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D2D2"/>
    <a:srgbClr val="747066"/>
    <a:srgbClr val="8A867A"/>
    <a:srgbClr val="A7A49B"/>
    <a:srgbClr val="7C786E"/>
    <a:srgbClr val="8E8A81"/>
    <a:srgbClr val="D74021"/>
    <a:srgbClr val="66635A"/>
    <a:srgbClr val="F4E7D2"/>
    <a:srgbClr val="F9F3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35" autoAdjust="0"/>
    <p:restoredTop sz="95501" autoAdjust="0"/>
  </p:normalViewPr>
  <p:slideViewPr>
    <p:cSldViewPr snapToGrid="0">
      <p:cViewPr varScale="1">
        <p:scale>
          <a:sx n="85" d="100"/>
          <a:sy n="85" d="100"/>
        </p:scale>
        <p:origin x="1358" y="58"/>
      </p:cViewPr>
      <p:guideLst>
        <p:guide orient="horz" pos="192"/>
        <p:guide orient="horz" pos="4179"/>
        <p:guide orient="horz" pos="3861"/>
        <p:guide orient="horz" pos="3984"/>
        <p:guide orient="horz" pos="912"/>
        <p:guide orient="horz" pos="731"/>
        <p:guide orient="horz" pos="2455"/>
        <p:guide orient="horz" pos="2546"/>
        <p:guide pos="2812"/>
        <p:guide pos="317"/>
        <p:guide pos="5424"/>
        <p:guide pos="2903"/>
        <p:guide pos="1950"/>
        <p:guide pos="2070"/>
        <p:guide pos="3792"/>
        <p:guide pos="1104"/>
        <p:guide pos="4656"/>
        <p:guide pos="4536"/>
        <p:guide pos="3696"/>
        <p:guide pos="120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98" d="100"/>
          <a:sy n="98" d="100"/>
        </p:scale>
        <p:origin x="-3564" y="-11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kwiecinsk002\Desktop\Pricing)Do%20prezentacji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pl-wawfpr003\Data\Advisory\(Consulting)\Client\Polkomtel\2014\eCommerce%20strategy\20140912%20Online%20Capability%20Benchmark%20(v1.9)_CMT_Poland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Sheet1!$C$8</c:f>
              <c:strCache>
                <c:ptCount val="1"/>
                <c:pt idx="0">
                  <c:v>Wartość oczekiwana marży zysku, e=-1,7</c:v>
                </c:pt>
              </c:strCache>
            </c:strRef>
          </c:tx>
          <c:spPr>
            <a:ln>
              <a:solidFill>
                <a:schemeClr val="accent5">
                  <a:lumMod val="40000"/>
                  <a:lumOff val="60000"/>
                </a:schemeClr>
              </a:solidFill>
            </a:ln>
          </c:spPr>
          <c:marker>
            <c:symbol val="none"/>
          </c:marker>
          <c:cat>
            <c:numRef>
              <c:f>Sheet1!$A$9:$A$69</c:f>
              <c:numCache>
                <c:formatCode>0.0%</c:formatCode>
                <c:ptCount val="61"/>
                <c:pt idx="0">
                  <c:v>0</c:v>
                </c:pt>
                <c:pt idx="1">
                  <c:v>2.4999999999998999E-3</c:v>
                </c:pt>
                <c:pt idx="2">
                  <c:v>4.9999999999997997E-3</c:v>
                </c:pt>
                <c:pt idx="3">
                  <c:v>7.4999999999996996E-3</c:v>
                </c:pt>
                <c:pt idx="4">
                  <c:v>9.9999999999995995E-3</c:v>
                </c:pt>
                <c:pt idx="5">
                  <c:v>1.2499999999999499E-2</c:v>
                </c:pt>
                <c:pt idx="6">
                  <c:v>1.4999999999999399E-2</c:v>
                </c:pt>
                <c:pt idx="7">
                  <c:v>1.7499999999999301E-2</c:v>
                </c:pt>
                <c:pt idx="8">
                  <c:v>1.9999999999999199E-2</c:v>
                </c:pt>
                <c:pt idx="9">
                  <c:v>2.2499999999999101E-2</c:v>
                </c:pt>
                <c:pt idx="10">
                  <c:v>2.4999999999998999E-2</c:v>
                </c:pt>
                <c:pt idx="11">
                  <c:v>2.74999999999989E-2</c:v>
                </c:pt>
                <c:pt idx="12">
                  <c:v>2.9999999999998798E-2</c:v>
                </c:pt>
                <c:pt idx="13">
                  <c:v>3.2499999999998697E-2</c:v>
                </c:pt>
                <c:pt idx="14">
                  <c:v>3.4999999999998602E-2</c:v>
                </c:pt>
                <c:pt idx="15">
                  <c:v>3.74999999999985E-2</c:v>
                </c:pt>
                <c:pt idx="16">
                  <c:v>3.9999999999998398E-2</c:v>
                </c:pt>
                <c:pt idx="17">
                  <c:v>4.2499999999998303E-2</c:v>
                </c:pt>
                <c:pt idx="18">
                  <c:v>4.4999999999998201E-2</c:v>
                </c:pt>
                <c:pt idx="19">
                  <c:v>4.7499999999998099E-2</c:v>
                </c:pt>
                <c:pt idx="20">
                  <c:v>4.9999999999997997E-2</c:v>
                </c:pt>
                <c:pt idx="21">
                  <c:v>5.2499999999997903E-2</c:v>
                </c:pt>
                <c:pt idx="22">
                  <c:v>5.4999999999997801E-2</c:v>
                </c:pt>
                <c:pt idx="23">
                  <c:v>5.7499999999997699E-2</c:v>
                </c:pt>
                <c:pt idx="24">
                  <c:v>5.9999999999997597E-2</c:v>
                </c:pt>
                <c:pt idx="25">
                  <c:v>6.2499999999997502E-2</c:v>
                </c:pt>
                <c:pt idx="26">
                  <c:v>6.4999999999997393E-2</c:v>
                </c:pt>
                <c:pt idx="27">
                  <c:v>6.7499999999997298E-2</c:v>
                </c:pt>
                <c:pt idx="28">
                  <c:v>6.9999999999997203E-2</c:v>
                </c:pt>
                <c:pt idx="29">
                  <c:v>7.2499999999997095E-2</c:v>
                </c:pt>
                <c:pt idx="30">
                  <c:v>7.4999999999997E-2</c:v>
                </c:pt>
                <c:pt idx="31">
                  <c:v>7.7499999999996905E-2</c:v>
                </c:pt>
                <c:pt idx="32">
                  <c:v>7.9999999999996796E-2</c:v>
                </c:pt>
                <c:pt idx="33">
                  <c:v>8.2499999999996701E-2</c:v>
                </c:pt>
                <c:pt idx="34">
                  <c:v>8.4999999999996606E-2</c:v>
                </c:pt>
                <c:pt idx="35">
                  <c:v>8.7499999999996497E-2</c:v>
                </c:pt>
                <c:pt idx="36">
                  <c:v>8.9999999999996402E-2</c:v>
                </c:pt>
                <c:pt idx="37">
                  <c:v>9.2499999999996294E-2</c:v>
                </c:pt>
                <c:pt idx="38">
                  <c:v>9.4999999999996199E-2</c:v>
                </c:pt>
                <c:pt idx="39">
                  <c:v>9.7499999999996104E-2</c:v>
                </c:pt>
                <c:pt idx="40">
                  <c:v>9.9999999999995995E-2</c:v>
                </c:pt>
                <c:pt idx="41">
                  <c:v>0.102499999999996</c:v>
                </c:pt>
                <c:pt idx="42">
                  <c:v>0.104999999999996</c:v>
                </c:pt>
                <c:pt idx="43">
                  <c:v>0.107499999999996</c:v>
                </c:pt>
                <c:pt idx="44">
                  <c:v>0.109999999999996</c:v>
                </c:pt>
                <c:pt idx="45">
                  <c:v>0.11249999999999501</c:v>
                </c:pt>
                <c:pt idx="46">
                  <c:v>0.114999999999995</c:v>
                </c:pt>
                <c:pt idx="47">
                  <c:v>0.117499999999995</c:v>
                </c:pt>
                <c:pt idx="48">
                  <c:v>0.119999999999995</c:v>
                </c:pt>
                <c:pt idx="49">
                  <c:v>0.122499999999995</c:v>
                </c:pt>
                <c:pt idx="50">
                  <c:v>0.124999999999995</c:v>
                </c:pt>
                <c:pt idx="51">
                  <c:v>0.12749999999999501</c:v>
                </c:pt>
                <c:pt idx="52">
                  <c:v>0.12999999999999501</c:v>
                </c:pt>
                <c:pt idx="53">
                  <c:v>0.13249999999999501</c:v>
                </c:pt>
                <c:pt idx="54">
                  <c:v>0.13499999999999501</c:v>
                </c:pt>
                <c:pt idx="55">
                  <c:v>0.13749999999999399</c:v>
                </c:pt>
                <c:pt idx="56">
                  <c:v>0.13999999999999399</c:v>
                </c:pt>
                <c:pt idx="57">
                  <c:v>0.14249999999999399</c:v>
                </c:pt>
                <c:pt idx="58">
                  <c:v>0.14499999999999399</c:v>
                </c:pt>
                <c:pt idx="59">
                  <c:v>0.147499999999994</c:v>
                </c:pt>
                <c:pt idx="60">
                  <c:v>0.149999999999994</c:v>
                </c:pt>
              </c:numCache>
            </c:numRef>
          </c:cat>
          <c:val>
            <c:numRef>
              <c:f>Sheet1!$C$9:$C$69</c:f>
              <c:numCache>
                <c:formatCode>0.0%</c:formatCode>
                <c:ptCount val="61"/>
                <c:pt idx="0">
                  <c:v>-8.7727029435600585E-3</c:v>
                </c:pt>
                <c:pt idx="1">
                  <c:v>-6.8505941912172762E-3</c:v>
                </c:pt>
                <c:pt idx="2">
                  <c:v>-4.9766465183751756E-3</c:v>
                </c:pt>
                <c:pt idx="3">
                  <c:v>-3.1525521411330947E-3</c:v>
                </c:pt>
                <c:pt idx="4">
                  <c:v>-1.3799489622555049E-3</c:v>
                </c:pt>
                <c:pt idx="5">
                  <c:v>3.3958934958735738E-4</c:v>
                </c:pt>
                <c:pt idx="6">
                  <c:v>2.0045633165041046E-3</c:v>
                </c:pt>
                <c:pt idx="7">
                  <c:v>3.613557544703801E-3</c:v>
                </c:pt>
                <c:pt idx="8">
                  <c:v>5.1652504498058763E-3</c:v>
                </c:pt>
                <c:pt idx="9">
                  <c:v>6.6584237056128807E-3</c:v>
                </c:pt>
                <c:pt idx="10">
                  <c:v>8.0919713056235472E-3</c:v>
                </c:pt>
                <c:pt idx="11">
                  <c:v>9.4649081262123489E-3</c:v>
                </c:pt>
                <c:pt idx="12">
                  <c:v>1.077637788202352E-2</c:v>
                </c:pt>
                <c:pt idx="13">
                  <c:v>1.2025660367804631E-2</c:v>
                </c:pt>
                <c:pt idx="14">
                  <c:v>1.3212177886667511E-2</c:v>
                </c:pt>
                <c:pt idx="15">
                  <c:v>1.4335500772587197E-2</c:v>
                </c:pt>
                <c:pt idx="16">
                  <c:v>1.5395351924748722E-2</c:v>
                </c:pt>
                <c:pt idx="17">
                  <c:v>1.6391610282983707E-2</c:v>
                </c:pt>
                <c:pt idx="18">
                  <c:v>1.7324313186804368E-2</c:v>
                </c:pt>
                <c:pt idx="19">
                  <c:v>1.8193657575188833E-2</c:v>
                </c:pt>
                <c:pt idx="20">
                  <c:v>1.8999999999999375E-2</c:v>
                </c:pt>
                <c:pt idx="21">
                  <c:v>1.9743855442388884E-2</c:v>
                </c:pt>
                <c:pt idx="22">
                  <c:v>2.042589493840501E-2</c:v>
                </c:pt>
                <c:pt idx="23">
                  <c:v>2.1046942036858852E-2</c:v>
                </c:pt>
                <c:pt idx="24">
                  <c:v>2.1607968129000555E-2</c:v>
                </c:pt>
                <c:pt idx="25">
                  <c:v>2.2110086705266728E-2</c:v>
                </c:pt>
                <c:pt idx="26">
                  <c:v>2.2554546608981645E-2</c:v>
                </c:pt>
                <c:pt idx="27">
                  <c:v>2.2942724370087791E-2</c:v>
                </c:pt>
                <c:pt idx="28">
                  <c:v>2.327611571347744E-2</c:v>
                </c:pt>
                <c:pt idx="29">
                  <c:v>2.3556326346071774E-2</c:v>
                </c:pt>
                <c:pt idx="30">
                  <c:v>2.3785062134282917E-2</c:v>
                </c:pt>
                <c:pt idx="31">
                  <c:v>2.3964118788792364E-2</c:v>
                </c:pt>
                <c:pt idx="32">
                  <c:v>2.4095371176645772E-2</c:v>
                </c:pt>
                <c:pt idx="33">
                  <c:v>2.4180762381518256E-2</c:v>
                </c:pt>
                <c:pt idx="34">
                  <c:v>2.4222292631723846E-2</c:v>
                </c:pt>
                <c:pt idx="35">
                  <c:v>2.4222008212257864E-2</c:v>
                </c:pt>
                <c:pt idx="36">
                  <c:v>2.4181990472046316E-2</c:v>
                </c:pt>
                <c:pt idx="37">
                  <c:v>2.4104345030845319E-2</c:v>
                </c:pt>
                <c:pt idx="38">
                  <c:v>2.3991191282124874E-2</c:v>
                </c:pt>
                <c:pt idx="39">
                  <c:v>2.3844652279045461E-2</c:v>
                </c:pt>
                <c:pt idx="40">
                  <c:v>2.3666845080559881E-2</c:v>
                </c:pt>
                <c:pt idx="41">
                  <c:v>2.3459871624015419E-2</c:v>
                </c:pt>
                <c:pt idx="42">
                  <c:v>2.3225810179654454E-2</c:v>
                </c:pt>
                <c:pt idx="43">
                  <c:v>2.2966707431360329E-2</c:v>
                </c:pt>
                <c:pt idx="44">
                  <c:v>2.2684571217096737E-2</c:v>
                </c:pt>
                <c:pt idx="45">
                  <c:v>2.2381363951944164E-2</c:v>
                </c:pt>
                <c:pt idx="46">
                  <c:v>2.2058996746617127E-2</c:v>
                </c:pt>
                <c:pt idx="47">
                  <c:v>2.1719324225000634E-2</c:v>
                </c:pt>
                <c:pt idx="48">
                  <c:v>2.1364140035673898E-2</c:v>
                </c:pt>
                <c:pt idx="49">
                  <c:v>2.0995173044692839E-2</c:v>
                </c:pt>
                <c:pt idx="50">
                  <c:v>2.061408419011904E-2</c:v>
                </c:pt>
                <c:pt idx="51">
                  <c:v>2.0222463972947385E-2</c:v>
                </c:pt>
                <c:pt idx="52">
                  <c:v>1.9821830554197721E-2</c:v>
                </c:pt>
                <c:pt idx="53">
                  <c:v>1.9413628423979343E-2</c:v>
                </c:pt>
                <c:pt idx="54">
                  <c:v>1.8999227605275601E-2</c:v>
                </c:pt>
                <c:pt idx="55">
                  <c:v>1.8579923352978044E-2</c:v>
                </c:pt>
                <c:pt idx="56">
                  <c:v>1.8156936307263453E-2</c:v>
                </c:pt>
                <c:pt idx="57">
                  <c:v>1.7731413059687826E-2</c:v>
                </c:pt>
                <c:pt idx="58">
                  <c:v>1.7304427090279736E-2</c:v>
                </c:pt>
                <c:pt idx="59">
                  <c:v>1.6876980034395948E-2</c:v>
                </c:pt>
                <c:pt idx="60">
                  <c:v>1.6450003239053244E-2</c:v>
                </c:pt>
              </c:numCache>
            </c:numRef>
          </c:val>
          <c:smooth val="0"/>
        </c:ser>
        <c:ser>
          <c:idx val="4"/>
          <c:order val="2"/>
          <c:tx>
            <c:strRef>
              <c:f>Sheet1!$F$8</c:f>
              <c:strCache>
                <c:ptCount val="1"/>
                <c:pt idx="0">
                  <c:v>Horizontal, e=-1,7</c:v>
                </c:pt>
              </c:strCache>
            </c:strRef>
          </c:tx>
          <c:spPr>
            <a:ln w="19050">
              <a:solidFill>
                <a:schemeClr val="accent5">
                  <a:lumMod val="40000"/>
                  <a:lumOff val="60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Sheet1!$F$9:$F$69</c:f>
              <c:numCache>
                <c:formatCode>0.0%</c:formatCode>
                <c:ptCount val="61"/>
                <c:pt idx="0">
                  <c:v>2.4222292631723846E-2</c:v>
                </c:pt>
                <c:pt idx="1">
                  <c:v>2.4222292631723846E-2</c:v>
                </c:pt>
                <c:pt idx="2">
                  <c:v>2.4222292631723846E-2</c:v>
                </c:pt>
                <c:pt idx="3">
                  <c:v>2.4222292631723846E-2</c:v>
                </c:pt>
                <c:pt idx="4">
                  <c:v>2.4222292631723846E-2</c:v>
                </c:pt>
                <c:pt idx="5">
                  <c:v>2.4222292631723846E-2</c:v>
                </c:pt>
                <c:pt idx="6">
                  <c:v>2.4222292631723846E-2</c:v>
                </c:pt>
                <c:pt idx="7">
                  <c:v>2.4222292631723846E-2</c:v>
                </c:pt>
                <c:pt idx="8">
                  <c:v>2.4222292631723846E-2</c:v>
                </c:pt>
                <c:pt idx="9">
                  <c:v>2.4222292631723846E-2</c:v>
                </c:pt>
                <c:pt idx="10">
                  <c:v>2.4222292631723846E-2</c:v>
                </c:pt>
                <c:pt idx="11">
                  <c:v>2.4222292631723846E-2</c:v>
                </c:pt>
                <c:pt idx="12">
                  <c:v>2.4222292631723846E-2</c:v>
                </c:pt>
                <c:pt idx="13">
                  <c:v>2.4222292631723846E-2</c:v>
                </c:pt>
                <c:pt idx="14">
                  <c:v>2.4222292631723846E-2</c:v>
                </c:pt>
                <c:pt idx="15">
                  <c:v>2.4222292631723846E-2</c:v>
                </c:pt>
                <c:pt idx="16">
                  <c:v>2.4222292631723846E-2</c:v>
                </c:pt>
                <c:pt idx="17">
                  <c:v>2.4222292631723846E-2</c:v>
                </c:pt>
                <c:pt idx="18">
                  <c:v>2.4222292631723846E-2</c:v>
                </c:pt>
                <c:pt idx="19">
                  <c:v>2.4222292631723846E-2</c:v>
                </c:pt>
                <c:pt idx="20">
                  <c:v>2.4222292631723846E-2</c:v>
                </c:pt>
                <c:pt idx="21">
                  <c:v>2.4222292631723846E-2</c:v>
                </c:pt>
                <c:pt idx="22">
                  <c:v>2.4222292631723846E-2</c:v>
                </c:pt>
                <c:pt idx="23">
                  <c:v>2.4222292631723846E-2</c:v>
                </c:pt>
                <c:pt idx="24">
                  <c:v>2.4222292631723846E-2</c:v>
                </c:pt>
                <c:pt idx="25">
                  <c:v>2.4222292631723846E-2</c:v>
                </c:pt>
                <c:pt idx="26">
                  <c:v>2.4222292631723846E-2</c:v>
                </c:pt>
                <c:pt idx="27">
                  <c:v>2.4222292631723846E-2</c:v>
                </c:pt>
                <c:pt idx="28">
                  <c:v>2.4222292631723846E-2</c:v>
                </c:pt>
                <c:pt idx="29">
                  <c:v>2.4222292631723846E-2</c:v>
                </c:pt>
                <c:pt idx="30">
                  <c:v>2.4222292631723846E-2</c:v>
                </c:pt>
                <c:pt idx="31">
                  <c:v>2.4222292631723846E-2</c:v>
                </c:pt>
                <c:pt idx="32">
                  <c:v>2.4222292631723846E-2</c:v>
                </c:pt>
                <c:pt idx="33">
                  <c:v>2.4222292631723846E-2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4911568"/>
        <c:axId val="314911960"/>
      </c:lineChart>
      <c:lineChart>
        <c:grouping val="standard"/>
        <c:varyColors val="0"/>
        <c:ser>
          <c:idx val="0"/>
          <c:order val="1"/>
          <c:tx>
            <c:strRef>
              <c:f>Sheet1!$B$8</c:f>
              <c:strCache>
                <c:ptCount val="1"/>
                <c:pt idx="0">
                  <c:v>Pr. wzięcia kredytu, e=-1,7</c:v>
                </c:pt>
              </c:strCache>
            </c:strRef>
          </c:tx>
          <c:spPr>
            <a:ln>
              <a:solidFill>
                <a:schemeClr val="tx2">
                  <a:lumMod val="40000"/>
                  <a:lumOff val="60000"/>
                </a:schemeClr>
              </a:solidFill>
            </a:ln>
          </c:spPr>
          <c:marker>
            <c:symbol val="none"/>
          </c:marker>
          <c:val>
            <c:numRef>
              <c:f>Sheet1!$B$9:$B$69</c:f>
              <c:numCache>
                <c:formatCode>0%</c:formatCode>
                <c:ptCount val="61"/>
                <c:pt idx="0">
                  <c:v>0.7310585786300049</c:v>
                </c:pt>
                <c:pt idx="1">
                  <c:v>0.72111517802286351</c:v>
                </c:pt>
                <c:pt idx="2">
                  <c:v>0.71094950262500478</c:v>
                </c:pt>
                <c:pt idx="3">
                  <c:v>0.70056714247397422</c:v>
                </c:pt>
                <c:pt idx="4">
                  <c:v>0.68997448112761417</c:v>
                </c:pt>
                <c:pt idx="5">
                  <c:v>0.6791786991753952</c:v>
                </c:pt>
                <c:pt idx="6">
                  <c:v>0.66818777216816871</c:v>
                </c:pt>
                <c:pt idx="7">
                  <c:v>0.65701046267350194</c:v>
                </c:pt>
                <c:pt idx="8">
                  <c:v>0.64565630622579917</c:v>
                </c:pt>
                <c:pt idx="9">
                  <c:v>0.63413559101080486</c:v>
                </c:pt>
                <c:pt idx="10">
                  <c:v>0.62245933120185926</c:v>
                </c:pt>
                <c:pt idx="11">
                  <c:v>0.61063923394922714</c:v>
                </c:pt>
                <c:pt idx="12">
                  <c:v>0.59868766011245778</c:v>
                </c:pt>
                <c:pt idx="13">
                  <c:v>0.58661757891733635</c:v>
                </c:pt>
                <c:pt idx="14">
                  <c:v>0.5744425168116658</c:v>
                </c:pt>
                <c:pt idx="15">
                  <c:v>0.56217650088580551</c:v>
                </c:pt>
                <c:pt idx="16">
                  <c:v>0.54983399731248583</c:v>
                </c:pt>
                <c:pt idx="17">
                  <c:v>0.53742984534375804</c:v>
                </c:pt>
                <c:pt idx="18">
                  <c:v>0.52497918747894889</c:v>
                </c:pt>
                <c:pt idx="19">
                  <c:v>0.51249739648421988</c:v>
                </c:pt>
                <c:pt idx="20">
                  <c:v>0.50000000000000999</c:v>
                </c:pt>
                <c:pt idx="21">
                  <c:v>0.48750260351580016</c:v>
                </c:pt>
                <c:pt idx="22">
                  <c:v>0.47502081252107103</c:v>
                </c:pt>
                <c:pt idx="23">
                  <c:v>0.46257015465626194</c:v>
                </c:pt>
                <c:pt idx="24">
                  <c:v>0.45016600268753404</c:v>
                </c:pt>
                <c:pt idx="25">
                  <c:v>0.43782349911421425</c:v>
                </c:pt>
                <c:pt idx="26">
                  <c:v>0.42555748318835379</c:v>
                </c:pt>
                <c:pt idx="27">
                  <c:v>0.41338242108268303</c:v>
                </c:pt>
                <c:pt idx="28">
                  <c:v>0.40131233988756143</c:v>
                </c:pt>
                <c:pt idx="29">
                  <c:v>0.38936076605079178</c:v>
                </c:pt>
                <c:pt idx="30">
                  <c:v>0.37754066879815951</c:v>
                </c:pt>
                <c:pt idx="31">
                  <c:v>0.36586440898921369</c:v>
                </c:pt>
                <c:pt idx="32">
                  <c:v>0.3543436937742192</c:v>
                </c:pt>
                <c:pt idx="33">
                  <c:v>0.3429895373265161</c:v>
                </c:pt>
                <c:pt idx="34">
                  <c:v>0.33181222783184894</c:v>
                </c:pt>
                <c:pt idx="35">
                  <c:v>0.32082130082462235</c:v>
                </c:pt>
                <c:pt idx="36">
                  <c:v>0.31002551887240293</c:v>
                </c:pt>
                <c:pt idx="37">
                  <c:v>0.2994328575260426</c:v>
                </c:pt>
                <c:pt idx="38">
                  <c:v>0.28905049737501171</c:v>
                </c:pt>
                <c:pt idx="39">
                  <c:v>0.27888482197715259</c:v>
                </c:pt>
                <c:pt idx="40">
                  <c:v>0.26894142137001087</c:v>
                </c:pt>
                <c:pt idx="41">
                  <c:v>0.25922510081786138</c:v>
                </c:pt>
                <c:pt idx="42">
                  <c:v>0.24973989440489736</c:v>
                </c:pt>
                <c:pt idx="43">
                  <c:v>0.24048908305090355</c:v>
                </c:pt>
                <c:pt idx="44">
                  <c:v>0.23147521650099656</c:v>
                </c:pt>
                <c:pt idx="45">
                  <c:v>0.2227001388253261</c:v>
                </c:pt>
                <c:pt idx="46">
                  <c:v>0.21416501695745824</c:v>
                </c:pt>
                <c:pt idx="47">
                  <c:v>0.20587037180096363</c:v>
                </c:pt>
                <c:pt idx="48">
                  <c:v>0.19781611144143413</c:v>
                </c:pt>
                <c:pt idx="49">
                  <c:v>0.19000156601532839</c:v>
                </c:pt>
                <c:pt idx="50">
                  <c:v>0.18242552380637125</c:v>
                </c:pt>
                <c:pt idx="51">
                  <c:v>0.1750862681640542</c:v>
                </c:pt>
                <c:pt idx="52">
                  <c:v>0.16798161486608948</c:v>
                </c:pt>
                <c:pt idx="53">
                  <c:v>0.16110894957659874</c:v>
                </c:pt>
                <c:pt idx="54">
                  <c:v>0.15446526508354774</c:v>
                </c:pt>
                <c:pt idx="55">
                  <c:v>0.14804719803170466</c:v>
                </c:pt>
                <c:pt idx="56">
                  <c:v>0.14185106490050239</c:v>
                </c:pt>
                <c:pt idx="57">
                  <c:v>0.13587289700910837</c:v>
                </c:pt>
                <c:pt idx="58">
                  <c:v>0.13010847436301143</c:v>
                </c:pt>
                <c:pt idx="59">
                  <c:v>0.12455335818742951</c:v>
                </c:pt>
                <c:pt idx="60">
                  <c:v>0.1192029220221301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4912744"/>
        <c:axId val="314912352"/>
      </c:lineChart>
      <c:catAx>
        <c:axId val="314911568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low"/>
        <c:spPr>
          <a:ln>
            <a:solidFill>
              <a:srgbClr val="A7A49B"/>
            </a:solidFill>
          </a:ln>
        </c:spPr>
        <c:txPr>
          <a:bodyPr/>
          <a:lstStyle/>
          <a:p>
            <a:pPr>
              <a:defRPr>
                <a:solidFill>
                  <a:schemeClr val="tx2">
                    <a:lumMod val="40000"/>
                    <a:lumOff val="60000"/>
                  </a:schemeClr>
                </a:solidFill>
              </a:defRPr>
            </a:pPr>
            <a:endParaRPr lang="ru-RU"/>
          </a:p>
        </c:txPr>
        <c:crossAx val="314911960"/>
        <c:crosses val="autoZero"/>
        <c:auto val="1"/>
        <c:lblAlgn val="ctr"/>
        <c:lblOffset val="100"/>
        <c:tickLblSkip val="10"/>
        <c:noMultiLvlLbl val="0"/>
      </c:catAx>
      <c:valAx>
        <c:axId val="314911960"/>
        <c:scaling>
          <c:orientation val="minMax"/>
          <c:min val="-4.000000000000001E-3"/>
        </c:scaling>
        <c:delete val="0"/>
        <c:axPos val="l"/>
        <c:numFmt formatCode="0%" sourceLinked="0"/>
        <c:majorTickMark val="out"/>
        <c:minorTickMark val="none"/>
        <c:tickLblPos val="nextTo"/>
        <c:spPr>
          <a:ln>
            <a:solidFill>
              <a:srgbClr val="A7A49B"/>
            </a:solidFill>
          </a:ln>
        </c:spPr>
        <c:txPr>
          <a:bodyPr/>
          <a:lstStyle/>
          <a:p>
            <a:pPr>
              <a:defRPr>
                <a:solidFill>
                  <a:schemeClr val="tx2">
                    <a:lumMod val="40000"/>
                    <a:lumOff val="60000"/>
                  </a:schemeClr>
                </a:solidFill>
              </a:defRPr>
            </a:pPr>
            <a:endParaRPr lang="ru-RU"/>
          </a:p>
        </c:txPr>
        <c:crossAx val="314911568"/>
        <c:crosses val="autoZero"/>
        <c:crossBetween val="between"/>
      </c:valAx>
      <c:valAx>
        <c:axId val="31491235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ln>
            <a:solidFill>
              <a:srgbClr val="A7A49B"/>
            </a:solidFill>
          </a:ln>
        </c:spPr>
        <c:txPr>
          <a:bodyPr/>
          <a:lstStyle/>
          <a:p>
            <a:pPr>
              <a:defRPr>
                <a:solidFill>
                  <a:schemeClr val="tx2">
                    <a:lumMod val="40000"/>
                    <a:lumOff val="60000"/>
                  </a:schemeClr>
                </a:solidFill>
              </a:defRPr>
            </a:pPr>
            <a:endParaRPr lang="ru-RU"/>
          </a:p>
        </c:txPr>
        <c:crossAx val="314912744"/>
        <c:crosses val="max"/>
        <c:crossBetween val="between"/>
      </c:valAx>
      <c:catAx>
        <c:axId val="314912744"/>
        <c:scaling>
          <c:orientation val="minMax"/>
        </c:scaling>
        <c:delete val="1"/>
        <c:axPos val="b"/>
        <c:majorTickMark val="out"/>
        <c:minorTickMark val="none"/>
        <c:tickLblPos val="nextTo"/>
        <c:crossAx val="314912352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>
          <a:latin typeface="+mn-lt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359362773620112"/>
          <c:y val="0.13838021419972302"/>
          <c:w val="0.38065843904163182"/>
          <c:h val="0.74568520867567023"/>
        </c:manualLayout>
      </c:layout>
      <c:radarChart>
        <c:radarStyle val="marker"/>
        <c:varyColors val="0"/>
        <c:ser>
          <c:idx val="1"/>
          <c:order val="0"/>
          <c:tx>
            <c:strRef>
              <c:f>'Summary PL vs eCommerce (v1.9)'!$D$3:$D$4</c:f>
              <c:strCache>
                <c:ptCount val="1"/>
                <c:pt idx="0">
                  <c:v>Amazon</c:v>
                </c:pt>
              </c:strCache>
            </c:strRef>
          </c:tx>
          <c:spPr>
            <a:ln w="22225">
              <a:solidFill>
                <a:schemeClr val="accent2"/>
              </a:solidFill>
              <a:prstDash val="lgDash"/>
            </a:ln>
          </c:spPr>
          <c:marker>
            <c:symbol val="none"/>
          </c:marker>
          <c:cat>
            <c:strRef>
              <c:f>'Summary PL vs eCommerce (v1.9)'!$B$6:$B$17</c:f>
              <c:strCache>
                <c:ptCount val="12"/>
                <c:pt idx="0">
                  <c:v>Showroom</c:v>
                </c:pt>
                <c:pt idx="1">
                  <c:v>Account Management</c:v>
                </c:pt>
                <c:pt idx="2">
                  <c:v>Marketing Channels &amp; Shop Link</c:v>
                </c:pt>
                <c:pt idx="3">
                  <c:v>Offers &amp; Promos</c:v>
                </c:pt>
                <c:pt idx="4">
                  <c:v>Ordering</c:v>
                </c:pt>
                <c:pt idx="5">
                  <c:v>Post-Order Management</c:v>
                </c:pt>
                <c:pt idx="6">
                  <c:v>User Engagement</c:v>
                </c:pt>
                <c:pt idx="7">
                  <c:v>Support</c:v>
                </c:pt>
                <c:pt idx="8">
                  <c:v>User Interface &amp; Navigation</c:v>
                </c:pt>
                <c:pt idx="9">
                  <c:v>Segmentation &amp; Targeting</c:v>
                </c:pt>
                <c:pt idx="10">
                  <c:v>Multi-Channel</c:v>
                </c:pt>
                <c:pt idx="11">
                  <c:v>SEO</c:v>
                </c:pt>
              </c:strCache>
            </c:strRef>
          </c:cat>
          <c:val>
            <c:numRef>
              <c:f>'Summary PL vs eCommerce (v1.9)'!$D$6:$D$17</c:f>
              <c:numCache>
                <c:formatCode>0.00</c:formatCode>
                <c:ptCount val="12"/>
                <c:pt idx="0">
                  <c:v>68.333333333333329</c:v>
                </c:pt>
                <c:pt idx="1">
                  <c:v>89.166666666666657</c:v>
                </c:pt>
                <c:pt idx="2">
                  <c:v>61.111111111111114</c:v>
                </c:pt>
                <c:pt idx="3">
                  <c:v>83.333333333333343</c:v>
                </c:pt>
                <c:pt idx="4">
                  <c:v>82.476190476190453</c:v>
                </c:pt>
                <c:pt idx="5">
                  <c:v>91.666666666666671</c:v>
                </c:pt>
                <c:pt idx="6">
                  <c:v>52.777777777777779</c:v>
                </c:pt>
                <c:pt idx="7">
                  <c:v>83.333333333333329</c:v>
                </c:pt>
                <c:pt idx="8">
                  <c:v>88.888888888888872</c:v>
                </c:pt>
                <c:pt idx="9">
                  <c:v>75</c:v>
                </c:pt>
                <c:pt idx="10">
                  <c:v>89.285714285714306</c:v>
                </c:pt>
                <c:pt idx="11">
                  <c:v>88.888888888888872</c:v>
                </c:pt>
              </c:numCache>
            </c:numRef>
          </c:val>
        </c:ser>
        <c:ser>
          <c:idx val="2"/>
          <c:order val="1"/>
          <c:tx>
            <c:strRef>
              <c:f>'Summary PL vs eCommerce (v1.9)'!$E$3:$E$4</c:f>
              <c:strCache>
                <c:ptCount val="1"/>
                <c:pt idx="0">
                  <c:v>Otto.de</c:v>
                </c:pt>
              </c:strCache>
            </c:strRef>
          </c:tx>
          <c:spPr>
            <a:ln w="22225">
              <a:solidFill>
                <a:schemeClr val="accent1"/>
              </a:solidFill>
              <a:prstDash val="lgDash"/>
            </a:ln>
          </c:spPr>
          <c:marker>
            <c:symbol val="none"/>
          </c:marker>
          <c:cat>
            <c:strRef>
              <c:f>'Summary PL vs eCommerce (v1.9)'!$B$6:$B$17</c:f>
              <c:strCache>
                <c:ptCount val="12"/>
                <c:pt idx="0">
                  <c:v>Showroom</c:v>
                </c:pt>
                <c:pt idx="1">
                  <c:v>Account Management</c:v>
                </c:pt>
                <c:pt idx="2">
                  <c:v>Marketing Channels &amp; Shop Link</c:v>
                </c:pt>
                <c:pt idx="3">
                  <c:v>Offers &amp; Promos</c:v>
                </c:pt>
                <c:pt idx="4">
                  <c:v>Ordering</c:v>
                </c:pt>
                <c:pt idx="5">
                  <c:v>Post-Order Management</c:v>
                </c:pt>
                <c:pt idx="6">
                  <c:v>User Engagement</c:v>
                </c:pt>
                <c:pt idx="7">
                  <c:v>Support</c:v>
                </c:pt>
                <c:pt idx="8">
                  <c:v>User Interface &amp; Navigation</c:v>
                </c:pt>
                <c:pt idx="9">
                  <c:v>Segmentation &amp; Targeting</c:v>
                </c:pt>
                <c:pt idx="10">
                  <c:v>Multi-Channel</c:v>
                </c:pt>
                <c:pt idx="11">
                  <c:v>SEO</c:v>
                </c:pt>
              </c:strCache>
            </c:strRef>
          </c:cat>
          <c:val>
            <c:numRef>
              <c:f>'Summary PL vs eCommerce (v1.9)'!$E$6:$E$17</c:f>
              <c:numCache>
                <c:formatCode>0.00</c:formatCode>
                <c:ptCount val="12"/>
                <c:pt idx="0">
                  <c:v>58.698412698412696</c:v>
                </c:pt>
                <c:pt idx="1">
                  <c:v>72.5</c:v>
                </c:pt>
                <c:pt idx="2">
                  <c:v>63.888888888888886</c:v>
                </c:pt>
                <c:pt idx="3">
                  <c:v>58.333333333333336</c:v>
                </c:pt>
                <c:pt idx="4">
                  <c:v>68.64357864357865</c:v>
                </c:pt>
                <c:pt idx="5">
                  <c:v>81.666666666666671</c:v>
                </c:pt>
                <c:pt idx="6">
                  <c:v>44.444444444444436</c:v>
                </c:pt>
                <c:pt idx="7">
                  <c:v>52.380952380952372</c:v>
                </c:pt>
                <c:pt idx="8">
                  <c:v>88.888888888888872</c:v>
                </c:pt>
                <c:pt idx="9">
                  <c:v>61.1111111111111</c:v>
                </c:pt>
                <c:pt idx="10">
                  <c:v>75.595238095238088</c:v>
                </c:pt>
                <c:pt idx="11">
                  <c:v>55.555555555555564</c:v>
                </c:pt>
              </c:numCache>
            </c:numRef>
          </c:val>
        </c:ser>
        <c:ser>
          <c:idx val="0"/>
          <c:order val="2"/>
          <c:tx>
            <c:strRef>
              <c:f>'Summary PL vs eCommerce (v1.9)'!$C$3:$C$4</c:f>
              <c:strCache>
                <c:ptCount val="1"/>
                <c:pt idx="0">
                  <c:v>Plus</c:v>
                </c:pt>
              </c:strCache>
            </c:strRef>
          </c:tx>
          <c:spPr>
            <a:ln w="38100">
              <a:solidFill>
                <a:schemeClr val="accent5">
                  <a:lumMod val="40000"/>
                  <a:lumOff val="6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'Summary PL vs eCommerce (v1.9)'!$B$6:$B$17</c:f>
              <c:strCache>
                <c:ptCount val="12"/>
                <c:pt idx="0">
                  <c:v>Showroom</c:v>
                </c:pt>
                <c:pt idx="1">
                  <c:v>Account Management</c:v>
                </c:pt>
                <c:pt idx="2">
                  <c:v>Marketing Channels &amp; Shop Link</c:v>
                </c:pt>
                <c:pt idx="3">
                  <c:v>Offers &amp; Promos</c:v>
                </c:pt>
                <c:pt idx="4">
                  <c:v>Ordering</c:v>
                </c:pt>
                <c:pt idx="5">
                  <c:v>Post-Order Management</c:v>
                </c:pt>
                <c:pt idx="6">
                  <c:v>User Engagement</c:v>
                </c:pt>
                <c:pt idx="7">
                  <c:v>Support</c:v>
                </c:pt>
                <c:pt idx="8">
                  <c:v>User Interface &amp; Navigation</c:v>
                </c:pt>
                <c:pt idx="9">
                  <c:v>Segmentation &amp; Targeting</c:v>
                </c:pt>
                <c:pt idx="10">
                  <c:v>Multi-Channel</c:v>
                </c:pt>
                <c:pt idx="11">
                  <c:v>SEO</c:v>
                </c:pt>
              </c:strCache>
            </c:strRef>
          </c:cat>
          <c:val>
            <c:numRef>
              <c:f>'Summary PL vs eCommerce (v1.9)'!$C$6:$C$17</c:f>
              <c:numCache>
                <c:formatCode>0.00</c:formatCode>
                <c:ptCount val="12"/>
                <c:pt idx="0">
                  <c:v>18.253968253968253</c:v>
                </c:pt>
                <c:pt idx="1">
                  <c:v>47.5</c:v>
                </c:pt>
                <c:pt idx="2">
                  <c:v>44.444444444444436</c:v>
                </c:pt>
                <c:pt idx="3">
                  <c:v>77.777777777777786</c:v>
                </c:pt>
                <c:pt idx="4">
                  <c:v>24.537037037037038</c:v>
                </c:pt>
                <c:pt idx="5">
                  <c:v>27.777777777777771</c:v>
                </c:pt>
                <c:pt idx="6">
                  <c:v>24.444444444444443</c:v>
                </c:pt>
                <c:pt idx="7">
                  <c:v>45.833333333333329</c:v>
                </c:pt>
                <c:pt idx="8">
                  <c:v>55.555555555555564</c:v>
                </c:pt>
                <c:pt idx="9">
                  <c:v>27.777777777777782</c:v>
                </c:pt>
                <c:pt idx="10">
                  <c:v>45.833333333333336</c:v>
                </c:pt>
                <c:pt idx="11">
                  <c:v>33.3333333333333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14913528"/>
        <c:axId val="314913920"/>
      </c:radarChart>
      <c:catAx>
        <c:axId val="314913528"/>
        <c:scaling>
          <c:orientation val="minMax"/>
        </c:scaling>
        <c:delete val="0"/>
        <c:axPos val="b"/>
        <c:majorGridlines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314913920"/>
        <c:crosses val="autoZero"/>
        <c:auto val="1"/>
        <c:lblAlgn val="ctr"/>
        <c:lblOffset val="100"/>
        <c:noMultiLvlLbl val="0"/>
      </c:catAx>
      <c:valAx>
        <c:axId val="314913920"/>
        <c:scaling>
          <c:orientation val="minMax"/>
          <c:max val="80"/>
          <c:min val="0"/>
        </c:scaling>
        <c:delete val="0"/>
        <c:axPos val="l"/>
        <c:majorGridlines>
          <c:spPr>
            <a:ln>
              <a:solidFill>
                <a:srgbClr val="A7A49B"/>
              </a:solidFill>
            </a:ln>
          </c:spPr>
        </c:majorGridlines>
        <c:numFmt formatCode="0" sourceLinked="0"/>
        <c:majorTickMark val="cross"/>
        <c:minorTickMark val="none"/>
        <c:tickLblPos val="none"/>
        <c:spPr>
          <a:ln>
            <a:solidFill>
              <a:srgbClr val="8E8A81"/>
            </a:solidFill>
          </a:ln>
        </c:spPr>
        <c:crossAx val="314913528"/>
        <c:crosses val="autoZero"/>
        <c:crossBetween val="between"/>
        <c:majorUnit val="25"/>
      </c:valAx>
      <c:spPr>
        <a:ln>
          <a:noFill/>
        </a:ln>
      </c:spPr>
    </c:plotArea>
    <c:plotVisOnly val="1"/>
    <c:dispBlanksAs val="gap"/>
    <c:showDLblsOverMax val="0"/>
  </c:chart>
  <c:spPr>
    <a:noFill/>
    <a:ln w="25400" cap="flat" cmpd="sng" algn="ctr">
      <a:noFill/>
      <a:prstDash val="solid"/>
    </a:ln>
    <a:effectLst/>
  </c:spPr>
  <c:txPr>
    <a:bodyPr/>
    <a:lstStyle/>
    <a:p>
      <a:pPr>
        <a:defRPr sz="700">
          <a:solidFill>
            <a:schemeClr val="dk1"/>
          </a:solidFill>
          <a:latin typeface="Georgia" panose="02040502050405020303" pitchFamily="18" charset="0"/>
          <a:ea typeface="+mn-ea"/>
          <a:cs typeface="+mn-cs"/>
        </a:defRPr>
      </a:pPr>
      <a:endParaRPr lang="ru-RU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01272202323124"/>
          <c:y val="7.0698820149827507E-2"/>
          <c:w val="0.83126591528269134"/>
          <c:h val="0.74803988270948241"/>
        </c:manualLayout>
      </c:layout>
      <c:lineChart>
        <c:grouping val="standard"/>
        <c:varyColors val="0"/>
        <c:ser>
          <c:idx val="0"/>
          <c:order val="0"/>
          <c:tx>
            <c:strRef>
              <c:f>'Slajd 9'!$J$8</c:f>
              <c:strCache>
                <c:ptCount val="1"/>
              </c:strCache>
            </c:strRef>
          </c:tx>
          <c:spPr>
            <a:ln>
              <a:solidFill>
                <a:schemeClr val="accent5">
                  <a:lumMod val="40000"/>
                  <a:lumOff val="60000"/>
                </a:schemeClr>
              </a:solidFill>
            </a:ln>
          </c:spPr>
          <c:marker>
            <c:symbol val="none"/>
          </c:marker>
          <c:dPt>
            <c:idx val="24"/>
            <c:bubble3D val="0"/>
            <c:spPr>
              <a:ln>
                <a:solidFill>
                  <a:schemeClr val="accent5">
                    <a:lumMod val="40000"/>
                    <a:lumOff val="60000"/>
                  </a:schemeClr>
                </a:solidFill>
                <a:prstDash val="sysDot"/>
              </a:ln>
            </c:spPr>
          </c:dPt>
          <c:dPt>
            <c:idx val="25"/>
            <c:bubble3D val="0"/>
            <c:spPr>
              <a:ln>
                <a:solidFill>
                  <a:schemeClr val="accent5">
                    <a:lumMod val="40000"/>
                    <a:lumOff val="60000"/>
                  </a:schemeClr>
                </a:solidFill>
                <a:prstDash val="sysDash"/>
              </a:ln>
            </c:spPr>
          </c:dPt>
          <c:dPt>
            <c:idx val="26"/>
            <c:bubble3D val="0"/>
            <c:spPr>
              <a:ln>
                <a:solidFill>
                  <a:schemeClr val="accent5">
                    <a:lumMod val="40000"/>
                    <a:lumOff val="60000"/>
                  </a:schemeClr>
                </a:solidFill>
                <a:prstDash val="sysDot"/>
              </a:ln>
            </c:spPr>
          </c:dPt>
          <c:dPt>
            <c:idx val="27"/>
            <c:bubble3D val="0"/>
            <c:spPr>
              <a:ln>
                <a:solidFill>
                  <a:schemeClr val="accent5">
                    <a:lumMod val="40000"/>
                    <a:lumOff val="60000"/>
                  </a:schemeClr>
                </a:solidFill>
                <a:prstDash val="sysDot"/>
              </a:ln>
            </c:spPr>
          </c:dPt>
          <c:dPt>
            <c:idx val="28"/>
            <c:bubble3D val="0"/>
            <c:spPr>
              <a:ln>
                <a:solidFill>
                  <a:schemeClr val="accent5">
                    <a:lumMod val="40000"/>
                    <a:lumOff val="60000"/>
                  </a:schemeClr>
                </a:solidFill>
                <a:prstDash val="sysDash"/>
              </a:ln>
            </c:spPr>
          </c:dPt>
          <c:dPt>
            <c:idx val="29"/>
            <c:bubble3D val="0"/>
            <c:spPr>
              <a:ln>
                <a:solidFill>
                  <a:schemeClr val="accent5">
                    <a:lumMod val="40000"/>
                    <a:lumOff val="60000"/>
                  </a:schemeClr>
                </a:solidFill>
                <a:prstDash val="sysDash"/>
              </a:ln>
            </c:spPr>
          </c:dPt>
          <c:dPt>
            <c:idx val="30"/>
            <c:bubble3D val="0"/>
            <c:spPr>
              <a:ln>
                <a:solidFill>
                  <a:schemeClr val="accent5">
                    <a:lumMod val="40000"/>
                    <a:lumOff val="60000"/>
                  </a:schemeClr>
                </a:solidFill>
                <a:prstDash val="sysDot"/>
              </a:ln>
            </c:spPr>
          </c:dPt>
          <c:dPt>
            <c:idx val="31"/>
            <c:bubble3D val="0"/>
            <c:spPr>
              <a:ln>
                <a:solidFill>
                  <a:schemeClr val="accent5">
                    <a:lumMod val="40000"/>
                    <a:lumOff val="60000"/>
                  </a:schemeClr>
                </a:solidFill>
                <a:prstDash val="sysDash"/>
              </a:ln>
            </c:spPr>
          </c:dPt>
          <c:dPt>
            <c:idx val="32"/>
            <c:bubble3D val="0"/>
            <c:spPr>
              <a:ln>
                <a:solidFill>
                  <a:schemeClr val="accent5">
                    <a:lumMod val="40000"/>
                    <a:lumOff val="60000"/>
                  </a:schemeClr>
                </a:solidFill>
                <a:prstDash val="sysDot"/>
              </a:ln>
            </c:spPr>
          </c:dPt>
          <c:dPt>
            <c:idx val="33"/>
            <c:bubble3D val="0"/>
            <c:spPr>
              <a:ln>
                <a:solidFill>
                  <a:schemeClr val="accent5">
                    <a:lumMod val="40000"/>
                    <a:lumOff val="60000"/>
                  </a:schemeClr>
                </a:solidFill>
                <a:prstDash val="sysDash"/>
              </a:ln>
            </c:spPr>
          </c:dPt>
          <c:dPt>
            <c:idx val="34"/>
            <c:bubble3D val="0"/>
            <c:spPr>
              <a:ln>
                <a:solidFill>
                  <a:schemeClr val="accent5">
                    <a:lumMod val="40000"/>
                    <a:lumOff val="60000"/>
                  </a:schemeClr>
                </a:solidFill>
                <a:prstDash val="sysDot"/>
              </a:ln>
            </c:spPr>
          </c:dPt>
          <c:dPt>
            <c:idx val="35"/>
            <c:bubble3D val="0"/>
            <c:spPr>
              <a:ln>
                <a:solidFill>
                  <a:schemeClr val="accent5">
                    <a:lumMod val="40000"/>
                    <a:lumOff val="60000"/>
                  </a:schemeClr>
                </a:solidFill>
                <a:prstDash val="sysDot"/>
              </a:ln>
            </c:spPr>
          </c:dPt>
          <c:dPt>
            <c:idx val="36"/>
            <c:bubble3D val="0"/>
            <c:spPr>
              <a:ln>
                <a:solidFill>
                  <a:schemeClr val="accent5">
                    <a:lumMod val="40000"/>
                    <a:lumOff val="60000"/>
                  </a:schemeClr>
                </a:solidFill>
                <a:prstDash val="sysDot"/>
              </a:ln>
            </c:spPr>
          </c:dPt>
          <c:dPt>
            <c:idx val="37"/>
            <c:bubble3D val="0"/>
            <c:spPr>
              <a:ln>
                <a:solidFill>
                  <a:schemeClr val="accent5">
                    <a:lumMod val="40000"/>
                    <a:lumOff val="60000"/>
                  </a:schemeClr>
                </a:solidFill>
                <a:prstDash val="sysDot"/>
              </a:ln>
            </c:spPr>
          </c:dPt>
          <c:val>
            <c:numRef>
              <c:f>'Slajd 9'!$J$10:$J$47</c:f>
              <c:numCache>
                <c:formatCode>General</c:formatCode>
                <c:ptCount val="38"/>
                <c:pt idx="0">
                  <c:v>107751.93798449612</c:v>
                </c:pt>
                <c:pt idx="1">
                  <c:v>141860.46511627905</c:v>
                </c:pt>
                <c:pt idx="2">
                  <c:v>174418.60465116278</c:v>
                </c:pt>
                <c:pt idx="3">
                  <c:v>205426.35658914727</c:v>
                </c:pt>
                <c:pt idx="4">
                  <c:v>234883.72093023255</c:v>
                </c:pt>
                <c:pt idx="5">
                  <c:v>262790.69767441857</c:v>
                </c:pt>
                <c:pt idx="6">
                  <c:v>289147.28682170541</c:v>
                </c:pt>
                <c:pt idx="7">
                  <c:v>313953.48837209301</c:v>
                </c:pt>
                <c:pt idx="8">
                  <c:v>337209.30232558138</c:v>
                </c:pt>
                <c:pt idx="9">
                  <c:v>358914.72868217051</c:v>
                </c:pt>
                <c:pt idx="10">
                  <c:v>379069.76744186046</c:v>
                </c:pt>
                <c:pt idx="11">
                  <c:v>397674.41860465112</c:v>
                </c:pt>
                <c:pt idx="12">
                  <c:v>414728.6821705426</c:v>
                </c:pt>
                <c:pt idx="13">
                  <c:v>430232.55813953484</c:v>
                </c:pt>
                <c:pt idx="14">
                  <c:v>444186.04651162791</c:v>
                </c:pt>
                <c:pt idx="15">
                  <c:v>456589.14728682168</c:v>
                </c:pt>
                <c:pt idx="16">
                  <c:v>467441.86046511628</c:v>
                </c:pt>
                <c:pt idx="17">
                  <c:v>476744.18604651158</c:v>
                </c:pt>
                <c:pt idx="18">
                  <c:v>484496.1240310077</c:v>
                </c:pt>
                <c:pt idx="19">
                  <c:v>490697.67441860464</c:v>
                </c:pt>
                <c:pt idx="20">
                  <c:v>495348.83720930229</c:v>
                </c:pt>
                <c:pt idx="21">
                  <c:v>498449.61240310076</c:v>
                </c:pt>
                <c:pt idx="22">
                  <c:v>500000</c:v>
                </c:pt>
                <c:pt idx="23">
                  <c:v>500000</c:v>
                </c:pt>
                <c:pt idx="24">
                  <c:v>498449.61240310076</c:v>
                </c:pt>
                <c:pt idx="25">
                  <c:v>495348.83720930229</c:v>
                </c:pt>
                <c:pt idx="26">
                  <c:v>490697.67441860464</c:v>
                </c:pt>
                <c:pt idx="27">
                  <c:v>484496.1240310077</c:v>
                </c:pt>
                <c:pt idx="28">
                  <c:v>476744.18604651158</c:v>
                </c:pt>
                <c:pt idx="29">
                  <c:v>467441.86046511628</c:v>
                </c:pt>
                <c:pt idx="30">
                  <c:v>456589.14728682168</c:v>
                </c:pt>
                <c:pt idx="31">
                  <c:v>444186.04651162791</c:v>
                </c:pt>
                <c:pt idx="32">
                  <c:v>430232.55813953484</c:v>
                </c:pt>
                <c:pt idx="33">
                  <c:v>414728.6821705426</c:v>
                </c:pt>
                <c:pt idx="34">
                  <c:v>397674.41860465112</c:v>
                </c:pt>
                <c:pt idx="35">
                  <c:v>381321.45185829164</c:v>
                </c:pt>
                <c:pt idx="36">
                  <c:v>365640.9435575768</c:v>
                </c:pt>
                <c:pt idx="37">
                  <c:v>350605.241205676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737584"/>
        <c:axId val="354737976"/>
      </c:lineChart>
      <c:catAx>
        <c:axId val="354737584"/>
        <c:scaling>
          <c:orientation val="minMax"/>
        </c:scaling>
        <c:delete val="1"/>
        <c:axPos val="b"/>
        <c:title>
          <c:tx>
            <c:rich>
              <a:bodyPr/>
              <a:lstStyle/>
              <a:p>
                <a:pPr>
                  <a:defRPr sz="900" b="0" i="1">
                    <a:solidFill>
                      <a:schemeClr val="accent5">
                        <a:lumMod val="40000"/>
                        <a:lumOff val="60000"/>
                      </a:schemeClr>
                    </a:solidFill>
                    <a:latin typeface="+mj-lt"/>
                  </a:defRPr>
                </a:pPr>
                <a:r>
                  <a:rPr lang="ru-RU" sz="900" b="0" i="1" dirty="0">
                    <a:solidFill>
                      <a:schemeClr val="accent5">
                        <a:lumMod val="40000"/>
                        <a:lumOff val="60000"/>
                      </a:schemeClr>
                    </a:solidFill>
                    <a:latin typeface="+mj-lt"/>
                  </a:rPr>
                  <a:t>Кол-во продуктов</a:t>
                </a:r>
              </a:p>
            </c:rich>
          </c:tx>
          <c:layout>
            <c:manualLayout>
              <c:xMode val="edge"/>
              <c:yMode val="edge"/>
              <c:x val="0.81644739567359381"/>
              <c:y val="0.88576953058713725"/>
            </c:manualLayout>
          </c:layout>
          <c:overlay val="0"/>
        </c:title>
        <c:majorTickMark val="out"/>
        <c:minorTickMark val="none"/>
        <c:tickLblPos val="nextTo"/>
        <c:crossAx val="354737976"/>
        <c:crosses val="autoZero"/>
        <c:auto val="1"/>
        <c:lblAlgn val="ctr"/>
        <c:lblOffset val="100"/>
        <c:noMultiLvlLbl val="0"/>
      </c:catAx>
      <c:valAx>
        <c:axId val="354737976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 rot="0" vert="horz"/>
              <a:lstStyle/>
              <a:p>
                <a:pPr>
                  <a:defRPr sz="900" b="0" i="1">
                    <a:solidFill>
                      <a:schemeClr val="accent5">
                        <a:lumMod val="40000"/>
                        <a:lumOff val="60000"/>
                      </a:schemeClr>
                    </a:solidFill>
                    <a:latin typeface="+mj-lt"/>
                  </a:defRPr>
                </a:pPr>
                <a:r>
                  <a:rPr lang="ru-RU" sz="900" b="0" i="1" dirty="0">
                    <a:solidFill>
                      <a:schemeClr val="accent5">
                        <a:lumMod val="40000"/>
                        <a:lumOff val="60000"/>
                      </a:schemeClr>
                    </a:solidFill>
                    <a:latin typeface="+mj-lt"/>
                  </a:rPr>
                  <a:t>Прибыль</a:t>
                </a:r>
              </a:p>
            </c:rich>
          </c:tx>
          <c:layout>
            <c:manualLayout>
              <c:xMode val="edge"/>
              <c:yMode val="edge"/>
              <c:x val="0"/>
              <c:y val="4.1859780671983718E-3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>
            <a:solidFill>
              <a:srgbClr val="8E8A81"/>
            </a:solidFill>
          </a:ln>
        </c:spPr>
        <c:txPr>
          <a:bodyPr/>
          <a:lstStyle/>
          <a:p>
            <a:pPr>
              <a:defRPr sz="900">
                <a:solidFill>
                  <a:schemeClr val="bg1"/>
                </a:solidFill>
              </a:defRPr>
            </a:pPr>
            <a:endParaRPr lang="ru-RU"/>
          </a:p>
        </c:txPr>
        <c:crossAx val="354737584"/>
        <c:crosses val="autoZero"/>
        <c:crossBetween val="between"/>
        <c:majorUnit val="125000"/>
        <c:dispUnits>
          <c:builtInUnit val="thousands"/>
        </c:dispUnits>
      </c:valAx>
      <c:spPr>
        <a:solidFill>
          <a:srgbClr val="8A867A"/>
        </a:solidFill>
      </c:spPr>
    </c:plotArea>
    <c:plotVisOnly val="1"/>
    <c:dispBlanksAs val="gap"/>
    <c:showDLblsOverMax val="0"/>
  </c:chart>
  <c:spPr>
    <a:noFill/>
  </c:spPr>
  <c:txPr>
    <a:bodyPr/>
    <a:lstStyle/>
    <a:p>
      <a:pPr>
        <a:defRPr sz="800">
          <a:latin typeface="+mn-lt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665</cdr:x>
      <cdr:y>0.92135</cdr:y>
    </cdr:from>
    <cdr:to>
      <cdr:x>0.25686</cdr:x>
      <cdr:y>1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9889" y="2474234"/>
          <a:ext cx="748333" cy="2112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0" tIns="36000" rIns="0" bIns="36000" rtlCol="0" anchor="b">
          <a:spAutoFit/>
        </a:bodyPr>
        <a:lstStyle xmlns:a="http://schemas.openxmlformats.org/drawingml/2006/main"/>
        <a:p xmlns:a="http://schemas.openxmlformats.org/drawingml/2006/main">
          <a:pPr algn="l"/>
          <a:endParaRPr lang="en-US" sz="900" b="1" i="1" u="none" dirty="0" smtClean="0">
            <a:solidFill>
              <a:schemeClr val="tx1">
                <a:lumMod val="75000"/>
                <a:lumOff val="25000"/>
              </a:schemeClr>
            </a:solidFill>
            <a:latin typeface="+mj-lt"/>
            <a:cs typeface="Arial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F05CFF-548C-4E04-B325-CF1209D66BDC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5/17/2017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E90EF7-3E10-491C-87C2-59674BB3AAF6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ru-RU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75995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EFB8DA3-BCA9-4B7D-B50D-14F47506B614}" type="datetimeFigureOut">
              <a:rPr lang="en-US" smtClean="0"/>
              <a:pPr/>
              <a:t>5/17/2017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F07B8F03-BC93-4120-96CA-A36DF640BE24}" type="slidenum">
              <a:rPr lang="en-US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5980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77616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Michal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6107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Martina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1189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Pablo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27926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Michal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707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Michal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7805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Michal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1826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Marek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5342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Marek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23478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7588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Marek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5876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09500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Flavio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8772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2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4382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Flavio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264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Flavio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30849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1550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Alex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2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57954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Martina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26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93602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Martina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48044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Flavio - Marek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28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88444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29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2773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063829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3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721690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3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26525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3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4235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39401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51343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Marek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2328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Alex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8773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Kamil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9761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Alex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3679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 bwMode="gray">
          <a:xfrm>
            <a:off x="1752601" y="1"/>
            <a:ext cx="7391400" cy="6176009"/>
            <a:chOff x="19140488" y="13674"/>
            <a:chExt cx="7443798" cy="6145827"/>
          </a:xfrm>
        </p:grpSpPr>
        <p:sp>
          <p:nvSpPr>
            <p:cNvPr id="23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6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7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8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0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5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5" y="1828799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grpSp>
        <p:nvGrpSpPr>
          <p:cNvPr id="16" name="Group 32"/>
          <p:cNvGrpSpPr/>
          <p:nvPr userDrawn="1"/>
        </p:nvGrpSpPr>
        <p:grpSpPr>
          <a:xfrm>
            <a:off x="968592" y="6170991"/>
            <a:ext cx="9144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77719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1752600"/>
            <a:ext cx="2590800" cy="21336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4038600"/>
            <a:ext cx="2590800" cy="21336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276600" y="1752600"/>
            <a:ext cx="5334000" cy="44196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Kredyty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gotówkowe</a:t>
            </a:r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maj</a:t>
            </a:r>
            <a:r>
              <a:rPr lang="en-US" dirty="0" smtClean="0">
                <a:solidFill>
                  <a:srgbClr val="000000"/>
                </a:solidFill>
              </a:rPr>
              <a:t> 201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000" dirty="0" smtClean="0">
                <a:solidFill>
                  <a:srgbClr val="000000"/>
                </a:solidFill>
              </a:rPr>
              <a:t>PwC</a:t>
            </a:r>
            <a:endParaRPr lang="ru-RU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8948587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6600" y="685800"/>
            <a:ext cx="53340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 smtClean="0"/>
              <a:t>Click to edit Master title style</a:t>
            </a:r>
            <a:endParaRPr lang="en-US" noProof="1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3276600" y="1752600"/>
            <a:ext cx="53340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1" smtClean="0"/>
              <a:t>Click to edit Master text styles</a:t>
            </a:r>
          </a:p>
          <a:p>
            <a:pPr lvl="1"/>
            <a:r>
              <a:rPr lang="en-US" noProof="1" smtClean="0"/>
              <a:t>Second level</a:t>
            </a:r>
          </a:p>
          <a:p>
            <a:pPr lvl="2"/>
            <a:r>
              <a:rPr lang="en-US" noProof="1" smtClean="0"/>
              <a:t>Third level</a:t>
            </a:r>
          </a:p>
          <a:p>
            <a:pPr lvl="3"/>
            <a:r>
              <a:rPr lang="en-US" noProof="1" smtClean="0"/>
              <a:t>Fourth level</a:t>
            </a:r>
          </a:p>
          <a:p>
            <a:pPr lvl="4"/>
            <a:r>
              <a:rPr lang="en-US" noProof="1" smtClean="0"/>
              <a:t>Fifth level</a:t>
            </a:r>
            <a:endParaRPr lang="en-US" noProof="1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2590800" cy="2130552"/>
          </a:xfrm>
        </p:spPr>
        <p:txBody>
          <a:bodyPr/>
          <a:lstStyle>
            <a:lvl1pPr>
              <a:defRPr sz="24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Kredyty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gotówkowe</a:t>
            </a:r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5791201" y="-2057400"/>
            <a:ext cx="152399" cy="54864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maj</a:t>
            </a:r>
            <a:r>
              <a:rPr lang="en-US" dirty="0" smtClean="0">
                <a:solidFill>
                  <a:srgbClr val="000000"/>
                </a:solidFill>
              </a:rPr>
              <a:t> 201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000" dirty="0" smtClean="0">
                <a:solidFill>
                  <a:srgbClr val="000000"/>
                </a:solidFill>
              </a:rPr>
              <a:t>PwC</a:t>
            </a:r>
            <a:endParaRPr lang="ru-RU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899262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Kredyty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gotówkowe</a:t>
            </a:r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maj</a:t>
            </a:r>
            <a:r>
              <a:rPr lang="en-US" dirty="0" smtClean="0">
                <a:solidFill>
                  <a:srgbClr val="000000"/>
                </a:solidFill>
              </a:rPr>
              <a:t> 201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000" dirty="0" smtClean="0">
                <a:solidFill>
                  <a:srgbClr val="000000"/>
                </a:solidFill>
              </a:rPr>
              <a:t>PwC</a:t>
            </a:r>
            <a:endParaRPr lang="ru-RU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8234812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no Footer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33400" y="304800"/>
            <a:ext cx="8077201" cy="914400"/>
          </a:xfrm>
        </p:spPr>
        <p:txBody>
          <a:bodyPr/>
          <a:lstStyle>
            <a:lvl1pPr>
              <a:defRPr sz="2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2286000" y="6544360"/>
            <a:ext cx="4572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/>
            <a:r>
              <a:rPr lang="ru-RU" sz="800" i="1" dirty="0" smtClean="0">
                <a:solidFill>
                  <a:srgbClr val="A7A49B"/>
                </a:solidFill>
                <a:latin typeface="Georgia"/>
              </a:rPr>
              <a:t>Центр передового опыта в области анализа больших данных</a:t>
            </a:r>
            <a:endParaRPr lang="ru-RU" sz="800" i="1" dirty="0">
              <a:solidFill>
                <a:srgbClr val="A7A49B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7622509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mpty no Footer"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33400" y="304800"/>
            <a:ext cx="8077201" cy="9144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2286000" y="6544360"/>
            <a:ext cx="4572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/>
            <a:r>
              <a:rPr lang="ru-RU" sz="800" i="1" dirty="0" smtClean="0">
                <a:solidFill>
                  <a:srgbClr val="A7A49B"/>
                </a:solidFill>
                <a:latin typeface="Georgia"/>
              </a:rPr>
              <a:t>Центр передового опыта в области анализа больших данных</a:t>
            </a:r>
            <a:endParaRPr lang="ru-RU" sz="800" i="1" dirty="0">
              <a:solidFill>
                <a:srgbClr val="A7A49B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1320016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0" y="1"/>
            <a:ext cx="9144000" cy="6857999"/>
            <a:chOff x="0" y="1"/>
            <a:chExt cx="9144000" cy="6857999"/>
          </a:xfrm>
        </p:grpSpPr>
        <p:sp>
          <p:nvSpPr>
            <p:cNvPr id="3" name="Rectangle 2"/>
            <p:cNvSpPr/>
            <p:nvPr/>
          </p:nvSpPr>
          <p:spPr bwMode="ltGray">
            <a:xfrm>
              <a:off x="0" y="1447802"/>
              <a:ext cx="9144000" cy="54101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srgbClr val="FFFFFF"/>
                </a:solidFill>
                <a:latin typeface="Georgia" pitchFamily="18" charset="0"/>
              </a:endParaRPr>
            </a:p>
          </p:txBody>
        </p:sp>
        <p:sp>
          <p:nvSpPr>
            <p:cNvPr id="4" name="Rectangle 3"/>
            <p:cNvSpPr/>
            <p:nvPr/>
          </p:nvSpPr>
          <p:spPr bwMode="ltGray">
            <a:xfrm>
              <a:off x="0" y="1"/>
              <a:ext cx="9144000" cy="144780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srgbClr val="FFFFFF"/>
                </a:solidFill>
                <a:latin typeface="Georgia" pitchFamily="18" charset="0"/>
              </a:endParaRPr>
            </a:p>
          </p:txBody>
        </p:sp>
      </p:grpSp>
      <p:sp>
        <p:nvSpPr>
          <p:cNvPr id="6" name="Rectangle 5"/>
          <p:cNvSpPr/>
          <p:nvPr userDrawn="1"/>
        </p:nvSpPr>
        <p:spPr>
          <a:xfrm>
            <a:off x="2286000" y="6544360"/>
            <a:ext cx="4572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/>
            <a:r>
              <a:rPr lang="ru-RU" sz="800" i="1" dirty="0" smtClean="0">
                <a:solidFill>
                  <a:srgbClr val="A7A49B"/>
                </a:solidFill>
                <a:latin typeface="Georgia"/>
              </a:rPr>
              <a:t>Центр передового опыта в области анализа больших данных</a:t>
            </a:r>
            <a:endParaRPr lang="ru-RU" sz="800" i="1" dirty="0">
              <a:solidFill>
                <a:srgbClr val="A7A49B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7806201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_customer"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799183" y="6544360"/>
            <a:ext cx="4572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/>
            <a:r>
              <a:rPr lang="ru-RU" sz="800" i="1" dirty="0" smtClean="0">
                <a:solidFill>
                  <a:srgbClr val="A7A49B"/>
                </a:solidFill>
                <a:latin typeface="Georgia"/>
              </a:rPr>
              <a:t>Центр передового опыта в области анализа больших данных</a:t>
            </a:r>
            <a:endParaRPr lang="ru-RU" sz="800" i="1" dirty="0">
              <a:solidFill>
                <a:srgbClr val="A7A49B"/>
              </a:solidFill>
              <a:latin typeface="Georgi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2895" y="304800"/>
            <a:ext cx="7137706" cy="9144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514876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4296788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Kredyty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gotówkow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32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32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32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32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32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32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3200">
                <a:solidFill>
                  <a:schemeClr val="tx2"/>
                </a:solidFill>
              </a:defRPr>
            </a:lvl8pPr>
            <a:lvl9pPr>
              <a:defRPr sz="32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maj</a:t>
            </a:r>
            <a:r>
              <a:rPr lang="en-US" dirty="0" smtClean="0">
                <a:solidFill>
                  <a:srgbClr val="000000"/>
                </a:solidFill>
              </a:rPr>
              <a:t> 201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000" dirty="0" smtClean="0">
                <a:solidFill>
                  <a:srgbClr val="000000"/>
                </a:solidFill>
              </a:rPr>
              <a:t>PwC</a:t>
            </a:r>
            <a:endParaRPr lang="ru-RU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3552775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752600"/>
            <a:ext cx="8077200" cy="4419600"/>
          </a:xfrm>
        </p:spPr>
        <p:txBody>
          <a:bodyPr>
            <a:noAutofit/>
          </a:bodyPr>
          <a:lstStyle>
            <a:lvl1pPr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defRPr sz="3200" baseline="0">
                <a:solidFill>
                  <a:schemeClr val="bg1"/>
                </a:solidFill>
              </a:defRPr>
            </a:lvl1pPr>
            <a:lvl2pPr marL="444500" indent="-263525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2pPr>
            <a:lvl3pPr marL="714375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3pPr>
            <a:lvl4pPr marL="984250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4pPr>
            <a:lvl5pPr marL="1341438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5pPr>
            <a:lvl6pPr marL="1611313" indent="-271463">
              <a:lnSpc>
                <a:spcPts val="3600"/>
              </a:lnSpc>
              <a:spcBef>
                <a:spcPts val="0"/>
              </a:spcBef>
              <a:spcAft>
                <a:spcPts val="60"/>
              </a:spcAft>
              <a:buClr>
                <a:schemeClr val="bg1"/>
              </a:buClr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6pPr>
            <a:lvl7pPr>
              <a:defRPr sz="2800">
                <a:solidFill>
                  <a:schemeClr val="bg1"/>
                </a:solidFill>
              </a:defRPr>
            </a:lvl7pPr>
            <a:lvl8pPr>
              <a:lnSpc>
                <a:spcPts val="3600"/>
              </a:lnSpc>
              <a:defRPr sz="2800">
                <a:solidFill>
                  <a:schemeClr val="bg1"/>
                </a:solidFill>
              </a:defRPr>
            </a:lvl8pPr>
            <a:lvl9pPr>
              <a:defRPr sz="2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FFFFFF"/>
                </a:solidFill>
              </a:rPr>
              <a:t>Kredyty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gotówkowe</a:t>
            </a: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FFFFFF"/>
                </a:solidFill>
              </a:rPr>
              <a:t>maj</a:t>
            </a:r>
            <a:r>
              <a:rPr lang="en-US" dirty="0" smtClean="0">
                <a:solidFill>
                  <a:srgbClr val="FFFFFF"/>
                </a:solidFill>
              </a:rPr>
              <a:t> 2015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000" dirty="0" smtClean="0">
                <a:solidFill>
                  <a:srgbClr val="FFFFFF"/>
                </a:solidFill>
              </a:rPr>
              <a:t>PwC</a:t>
            </a:r>
            <a:endParaRPr lang="ru-RU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4427932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437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17"/>
          <p:cNvSpPr>
            <a:spLocks noChangeArrowheads="1"/>
          </p:cNvSpPr>
          <p:nvPr/>
        </p:nvSpPr>
        <p:spPr bwMode="gray">
          <a:xfrm>
            <a:off x="1752601" y="4195630"/>
            <a:ext cx="2286000" cy="1980380"/>
          </a:xfrm>
          <a:prstGeom prst="rect">
            <a:avLst/>
          </a:prstGeom>
          <a:solidFill>
            <a:srgbClr val="9A170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gray">
          <a:xfrm>
            <a:off x="8229600" y="4038313"/>
            <a:ext cx="914401" cy="2137697"/>
          </a:xfrm>
          <a:prstGeom prst="rect">
            <a:avLst/>
          </a:prstGeom>
          <a:solidFill>
            <a:srgbClr val="F3BE26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gray">
          <a:xfrm>
            <a:off x="7620001" y="2899976"/>
            <a:ext cx="729522" cy="1295653"/>
          </a:xfrm>
          <a:prstGeom prst="rect">
            <a:avLst/>
          </a:prstGeom>
          <a:solidFill>
            <a:srgbClr val="F3BC87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3" name="Rectangle 9"/>
          <p:cNvSpPr>
            <a:spLocks noChangeArrowheads="1"/>
          </p:cNvSpPr>
          <p:nvPr/>
        </p:nvSpPr>
        <p:spPr bwMode="gray">
          <a:xfrm>
            <a:off x="7620001" y="4038313"/>
            <a:ext cx="729521" cy="2137697"/>
          </a:xfrm>
          <a:prstGeom prst="rect">
            <a:avLst/>
          </a:prstGeom>
          <a:solidFill>
            <a:srgbClr val="E88C14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4" name="Rectangle 11"/>
          <p:cNvSpPr>
            <a:spLocks noChangeArrowheads="1"/>
          </p:cNvSpPr>
          <p:nvPr/>
        </p:nvSpPr>
        <p:spPr bwMode="gray">
          <a:xfrm>
            <a:off x="7239000" y="696094"/>
            <a:ext cx="473687" cy="2274966"/>
          </a:xfrm>
          <a:prstGeom prst="rect">
            <a:avLst/>
          </a:prstGeom>
          <a:solidFill>
            <a:srgbClr val="E669A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5" name="Rectangle 12"/>
          <p:cNvSpPr>
            <a:spLocks noChangeArrowheads="1"/>
          </p:cNvSpPr>
          <p:nvPr/>
        </p:nvSpPr>
        <p:spPr bwMode="gray">
          <a:xfrm>
            <a:off x="7239000" y="2899977"/>
            <a:ext cx="473687" cy="1295653"/>
          </a:xfrm>
          <a:prstGeom prst="rect">
            <a:avLst/>
          </a:prstGeom>
          <a:solidFill>
            <a:srgbClr val="DB4D56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6" name="Rectangle 13"/>
          <p:cNvSpPr>
            <a:spLocks noChangeArrowheads="1"/>
          </p:cNvSpPr>
          <p:nvPr/>
        </p:nvSpPr>
        <p:spPr bwMode="gray">
          <a:xfrm>
            <a:off x="7239000" y="4038313"/>
            <a:ext cx="473687" cy="2137697"/>
          </a:xfrm>
          <a:prstGeom prst="rect">
            <a:avLst/>
          </a:prstGeom>
          <a:solidFill>
            <a:srgbClr val="D13A0D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7" name="Rectangle 14"/>
          <p:cNvSpPr>
            <a:spLocks noChangeArrowheads="1"/>
          </p:cNvSpPr>
          <p:nvPr/>
        </p:nvSpPr>
        <p:spPr bwMode="gray">
          <a:xfrm>
            <a:off x="1752601" y="659475"/>
            <a:ext cx="5622752" cy="2311585"/>
          </a:xfrm>
          <a:prstGeom prst="rect">
            <a:avLst/>
          </a:prstGeom>
          <a:solidFill>
            <a:srgbClr val="D74021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gray">
          <a:xfrm>
            <a:off x="1752601" y="2899977"/>
            <a:ext cx="5622752" cy="1295653"/>
          </a:xfrm>
          <a:prstGeom prst="rect">
            <a:avLst/>
          </a:prstGeom>
          <a:solidFill>
            <a:srgbClr val="CD2F1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9" name="Freeform 16"/>
          <p:cNvSpPr>
            <a:spLocks/>
          </p:cNvSpPr>
          <p:nvPr/>
        </p:nvSpPr>
        <p:spPr bwMode="gray">
          <a:xfrm>
            <a:off x="1752601" y="4038313"/>
            <a:ext cx="5622752" cy="213769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567" y="0"/>
              </a:cxn>
              <a:cxn ang="0">
                <a:pos x="3567" y="1340"/>
              </a:cxn>
              <a:cxn ang="0">
                <a:pos x="1372" y="1340"/>
              </a:cxn>
              <a:cxn ang="0">
                <a:pos x="1372" y="181"/>
              </a:cxn>
              <a:cxn ang="0">
                <a:pos x="0" y="181"/>
              </a:cxn>
              <a:cxn ang="0">
                <a:pos x="0" y="0"/>
              </a:cxn>
            </a:cxnLst>
            <a:rect l="0" t="0" r="r" b="b"/>
            <a:pathLst>
              <a:path w="3567" h="1340">
                <a:moveTo>
                  <a:pt x="0" y="0"/>
                </a:moveTo>
                <a:lnTo>
                  <a:pt x="3567" y="0"/>
                </a:lnTo>
                <a:lnTo>
                  <a:pt x="3567" y="1340"/>
                </a:lnTo>
                <a:lnTo>
                  <a:pt x="1372" y="1340"/>
                </a:lnTo>
                <a:lnTo>
                  <a:pt x="1372" y="18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C4230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0" name="Rectangle 10"/>
          <p:cNvSpPr>
            <a:spLocks noChangeArrowheads="1"/>
          </p:cNvSpPr>
          <p:nvPr/>
        </p:nvSpPr>
        <p:spPr bwMode="gray">
          <a:xfrm>
            <a:off x="1752601" y="1"/>
            <a:ext cx="5622752" cy="696094"/>
          </a:xfrm>
          <a:prstGeom prst="rect">
            <a:avLst/>
          </a:prstGeom>
          <a:solidFill>
            <a:srgbClr val="EE9C34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 bwMode="white">
          <a:xfrm>
            <a:off x="1895475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18" name="Subtitle 2"/>
          <p:cNvSpPr>
            <a:spLocks noGrp="1"/>
          </p:cNvSpPr>
          <p:nvPr userDrawn="1">
            <p:ph type="subTitle" idx="1" hasCustomPrompt="1"/>
          </p:nvPr>
        </p:nvSpPr>
        <p:spPr bwMode="white">
          <a:xfrm>
            <a:off x="1895475" y="1828799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grpSp>
        <p:nvGrpSpPr>
          <p:cNvPr id="16" name="Group 32"/>
          <p:cNvGrpSpPr/>
          <p:nvPr userDrawn="1"/>
        </p:nvGrpSpPr>
        <p:grpSpPr>
          <a:xfrm>
            <a:off x="968592" y="6170991"/>
            <a:ext cx="9144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22" name="Rectangle 21"/>
          <p:cNvSpPr/>
          <p:nvPr userDrawn="1"/>
        </p:nvSpPr>
        <p:spPr bwMode="ltGray">
          <a:xfrm>
            <a:off x="1752601" y="2882476"/>
            <a:ext cx="5622925" cy="3293534"/>
          </a:xfrm>
          <a:prstGeom prst="rect">
            <a:avLst/>
          </a:prstGeom>
          <a:solidFill>
            <a:srgbClr val="D7402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63800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1"/>
            <a:ext cx="8077200" cy="10667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</a:p>
        </p:txBody>
      </p:sp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1"/>
            <a:ext cx="8077200" cy="137159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3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Kredyty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gotówkowe</a:t>
            </a:r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maj</a:t>
            </a:r>
            <a:r>
              <a:rPr lang="en-US" dirty="0" smtClean="0">
                <a:solidFill>
                  <a:srgbClr val="000000"/>
                </a:solidFill>
              </a:rPr>
              <a:t> 201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000" dirty="0" smtClean="0">
                <a:solidFill>
                  <a:srgbClr val="000000"/>
                </a:solidFill>
              </a:rPr>
              <a:t>PwC</a:t>
            </a:r>
            <a:endParaRPr lang="ru-RU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06093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0"/>
            <a:ext cx="80772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0"/>
            <a:ext cx="8077200" cy="13716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3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FFFFFF"/>
                </a:solidFill>
              </a:rPr>
              <a:t>Kredyty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gotówkowe</a:t>
            </a: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FFFFFF"/>
                </a:solidFill>
              </a:rPr>
              <a:t>maj</a:t>
            </a:r>
            <a:r>
              <a:rPr lang="en-US" dirty="0" smtClean="0">
                <a:solidFill>
                  <a:srgbClr val="FFFFFF"/>
                </a:solidFill>
              </a:rPr>
              <a:t> 2015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000" dirty="0" smtClean="0">
                <a:solidFill>
                  <a:srgbClr val="FFFFFF"/>
                </a:solidFill>
              </a:rPr>
              <a:t>PwC</a:t>
            </a:r>
            <a:endParaRPr lang="ru-RU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9422258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0"/>
            <a:ext cx="80772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3"/>
          </p:nvPr>
        </p:nvSpPr>
        <p:spPr>
          <a:xfrm>
            <a:off x="533401" y="2819400"/>
            <a:ext cx="3962399" cy="335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1"/>
            <a:ext cx="8077200" cy="762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3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FFFFFF"/>
                </a:solidFill>
              </a:rPr>
              <a:t>Kredyty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gotówkowe</a:t>
            </a: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FFFFFF"/>
                </a:solidFill>
              </a:rPr>
              <a:t>maj</a:t>
            </a:r>
            <a:r>
              <a:rPr lang="en-US" dirty="0" smtClean="0">
                <a:solidFill>
                  <a:srgbClr val="FFFFFF"/>
                </a:solidFill>
              </a:rPr>
              <a:t> 2015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000" dirty="0" smtClean="0">
                <a:solidFill>
                  <a:srgbClr val="FFFFFF"/>
                </a:solidFill>
              </a:rPr>
              <a:t>PwC</a:t>
            </a:r>
            <a:endParaRPr lang="ru-RU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365451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1" name="Shape 140"/>
          <p:cNvCxnSpPr/>
          <p:nvPr/>
        </p:nvCxnSpPr>
        <p:spPr>
          <a:xfrm rot="5400000" flipH="1" flipV="1">
            <a:off x="5096257" y="-2734056"/>
            <a:ext cx="152399" cy="6839712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1895475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14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1895475" y="1828799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144" name="Text Placeholder 31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grpSp>
        <p:nvGrpSpPr>
          <p:cNvPr id="102" name="Group 101"/>
          <p:cNvGrpSpPr>
            <a:grpSpLocks noChangeAspect="1"/>
          </p:cNvGrpSpPr>
          <p:nvPr userDrawn="1"/>
        </p:nvGrpSpPr>
        <p:grpSpPr>
          <a:xfrm>
            <a:off x="968592" y="5768681"/>
            <a:ext cx="1232283" cy="935789"/>
            <a:chOff x="518032" y="-1032869"/>
            <a:chExt cx="6161413" cy="4678943"/>
          </a:xfrm>
        </p:grpSpPr>
        <p:grpSp>
          <p:nvGrpSpPr>
            <p:cNvPr id="103" name="Group 73"/>
            <p:cNvGrpSpPr>
              <a:grpSpLocks noChangeAspect="1"/>
            </p:cNvGrpSpPr>
            <p:nvPr/>
          </p:nvGrpSpPr>
          <p:grpSpPr>
            <a:xfrm>
              <a:off x="4438637" y="-1032863"/>
              <a:ext cx="2240792" cy="2011550"/>
              <a:chOff x="1905000" y="5715000"/>
              <a:chExt cx="445770" cy="381000"/>
            </a:xfrm>
          </p:grpSpPr>
          <p:sp>
            <p:nvSpPr>
              <p:cNvPr id="107" name="Rectangle 25"/>
              <p:cNvSpPr>
                <a:spLocks noChangeArrowheads="1"/>
              </p:cNvSpPr>
              <p:nvPr userDrawn="1"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Rectangle 26"/>
              <p:cNvSpPr>
                <a:spLocks noChangeArrowheads="1"/>
              </p:cNvSpPr>
              <p:nvPr userDrawn="1"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Rectangle 27"/>
              <p:cNvSpPr>
                <a:spLocks noChangeArrowheads="1"/>
              </p:cNvSpPr>
              <p:nvPr userDrawn="1"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Rectangle 28"/>
              <p:cNvSpPr>
                <a:spLocks noChangeArrowheads="1"/>
              </p:cNvSpPr>
              <p:nvPr userDrawn="1"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Rectangle 29"/>
              <p:cNvSpPr>
                <a:spLocks noChangeArrowheads="1"/>
              </p:cNvSpPr>
              <p:nvPr userDrawn="1"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Rectangle 30"/>
              <p:cNvSpPr>
                <a:spLocks noChangeArrowheads="1"/>
              </p:cNvSpPr>
              <p:nvPr userDrawn="1"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3" name="Rectangle 31"/>
              <p:cNvSpPr>
                <a:spLocks noChangeArrowheads="1"/>
              </p:cNvSpPr>
              <p:nvPr userDrawn="1"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Rectangle 32"/>
              <p:cNvSpPr>
                <a:spLocks noChangeArrowheads="1"/>
              </p:cNvSpPr>
              <p:nvPr userDrawn="1"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Freeform 33"/>
              <p:cNvSpPr>
                <a:spLocks/>
              </p:cNvSpPr>
              <p:nvPr userDrawn="1"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Rectangle 34"/>
              <p:cNvSpPr>
                <a:spLocks noChangeArrowheads="1"/>
              </p:cNvSpPr>
              <p:nvPr userDrawn="1"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7" name="Rectangle 35"/>
              <p:cNvSpPr>
                <a:spLocks noChangeArrowheads="1"/>
              </p:cNvSpPr>
              <p:nvPr userDrawn="1"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8" name="Rectangle 36"/>
              <p:cNvSpPr>
                <a:spLocks noChangeArrowheads="1"/>
              </p:cNvSpPr>
              <p:nvPr userDrawn="1"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Rectangle 25"/>
              <p:cNvSpPr>
                <a:spLocks noChangeArrowheads="1"/>
              </p:cNvSpPr>
              <p:nvPr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0" name="Rectangle 26"/>
              <p:cNvSpPr>
                <a:spLocks noChangeArrowheads="1"/>
              </p:cNvSpPr>
              <p:nvPr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tangle 27"/>
              <p:cNvSpPr>
                <a:spLocks noChangeArrowheads="1"/>
              </p:cNvSpPr>
              <p:nvPr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Rectangle 28"/>
              <p:cNvSpPr>
                <a:spLocks noChangeArrowheads="1"/>
              </p:cNvSpPr>
              <p:nvPr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Rectangle 29"/>
              <p:cNvSpPr>
                <a:spLocks noChangeArrowheads="1"/>
              </p:cNvSpPr>
              <p:nvPr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4" name="Rectangle 30"/>
              <p:cNvSpPr>
                <a:spLocks noChangeArrowheads="1"/>
              </p:cNvSpPr>
              <p:nvPr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Rectangle 31"/>
              <p:cNvSpPr>
                <a:spLocks noChangeArrowheads="1"/>
              </p:cNvSpPr>
              <p:nvPr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Rectangle 32"/>
              <p:cNvSpPr>
                <a:spLocks noChangeArrowheads="1"/>
              </p:cNvSpPr>
              <p:nvPr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Freeform 33"/>
              <p:cNvSpPr>
                <a:spLocks/>
              </p:cNvSpPr>
              <p:nvPr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" name="Rectangle 34"/>
              <p:cNvSpPr>
                <a:spLocks noChangeArrowheads="1"/>
              </p:cNvSpPr>
              <p:nvPr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" name="Rectangle 35"/>
              <p:cNvSpPr>
                <a:spLocks noChangeArrowheads="1"/>
              </p:cNvSpPr>
              <p:nvPr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" name="Rectangle 36"/>
              <p:cNvSpPr>
                <a:spLocks noChangeArrowheads="1"/>
              </p:cNvSpPr>
              <p:nvPr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4" name="Group 32"/>
            <p:cNvGrpSpPr/>
            <p:nvPr/>
          </p:nvGrpSpPr>
          <p:grpSpPr>
            <a:xfrm>
              <a:off x="518032" y="978681"/>
              <a:ext cx="4572000" cy="2667393"/>
              <a:chOff x="518032" y="978681"/>
              <a:chExt cx="4572000" cy="2667393"/>
            </a:xfrm>
          </p:grpSpPr>
          <p:sp>
            <p:nvSpPr>
              <p:cNvPr id="105" name="Rectangle 37"/>
              <p:cNvSpPr>
                <a:spLocks noChangeArrowheads="1"/>
              </p:cNvSpPr>
              <p:nvPr userDrawn="1"/>
            </p:nvSpPr>
            <p:spPr bwMode="black">
              <a:xfrm>
                <a:off x="3295650" y="978681"/>
                <a:ext cx="1143000" cy="263229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Freeform 7"/>
              <p:cNvSpPr>
                <a:spLocks noEditPoints="1"/>
              </p:cNvSpPr>
              <p:nvPr userDrawn="1"/>
            </p:nvSpPr>
            <p:spPr bwMode="black">
              <a:xfrm>
                <a:off x="518032" y="1922794"/>
                <a:ext cx="4572000" cy="1723280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12822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 userDrawn="1"/>
        </p:nvGrpSpPr>
        <p:grpSpPr bwMode="gray">
          <a:xfrm>
            <a:off x="1752601" y="1"/>
            <a:ext cx="7391400" cy="6176009"/>
            <a:chOff x="19140488" y="13674"/>
            <a:chExt cx="7443798" cy="6145827"/>
          </a:xfrm>
        </p:grpSpPr>
        <p:sp>
          <p:nvSpPr>
            <p:cNvPr id="35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6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7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3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4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9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0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2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31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609601" y="3048000"/>
            <a:ext cx="914400" cy="76200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grpSp>
        <p:nvGrpSpPr>
          <p:cNvPr id="3" name="Group 31"/>
          <p:cNvGrpSpPr/>
          <p:nvPr/>
        </p:nvGrpSpPr>
        <p:grpSpPr>
          <a:xfrm>
            <a:off x="489086" y="2901697"/>
            <a:ext cx="1209752" cy="151219"/>
            <a:chOff x="489087" y="2521685"/>
            <a:chExt cx="1209752" cy="151219"/>
          </a:xfrm>
        </p:grpSpPr>
        <p:cxnSp>
          <p:nvCxnSpPr>
            <p:cNvPr id="33" name="Straight Connector 32"/>
            <p:cNvCxnSpPr/>
            <p:nvPr userDrawn="1"/>
          </p:nvCxnSpPr>
          <p:spPr>
            <a:xfrm rot="10800000">
              <a:off x="489087" y="2521686"/>
              <a:ext cx="120975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13478" y="2597295"/>
              <a:ext cx="1512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5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4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5" y="1828799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grpSp>
        <p:nvGrpSpPr>
          <p:cNvPr id="96" name="Group 32"/>
          <p:cNvGrpSpPr/>
          <p:nvPr/>
        </p:nvGrpSpPr>
        <p:grpSpPr>
          <a:xfrm>
            <a:off x="968592" y="6170991"/>
            <a:ext cx="914400" cy="533479"/>
            <a:chOff x="518032" y="978681"/>
            <a:chExt cx="4572000" cy="2667393"/>
          </a:xfrm>
        </p:grpSpPr>
        <p:sp>
          <p:nvSpPr>
            <p:cNvPr id="9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98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09192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 userDrawn="1"/>
        </p:nvGrpSpPr>
        <p:grpSpPr bwMode="gray">
          <a:xfrm>
            <a:off x="1752601" y="1"/>
            <a:ext cx="7391400" cy="6176009"/>
            <a:chOff x="19140488" y="13674"/>
            <a:chExt cx="7443798" cy="6145827"/>
          </a:xfrm>
        </p:grpSpPr>
        <p:sp>
          <p:nvSpPr>
            <p:cNvPr id="28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2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2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3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4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54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5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5" y="1828799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56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sp>
        <p:nvSpPr>
          <p:cNvPr id="17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1752600" y="2899977"/>
            <a:ext cx="6324600" cy="3272223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grpSp>
        <p:nvGrpSpPr>
          <p:cNvPr id="18" name="Group 32"/>
          <p:cNvGrpSpPr/>
          <p:nvPr userDrawn="1"/>
        </p:nvGrpSpPr>
        <p:grpSpPr>
          <a:xfrm>
            <a:off x="968592" y="6170991"/>
            <a:ext cx="914400" cy="533479"/>
            <a:chOff x="518032" y="978681"/>
            <a:chExt cx="4572000" cy="2667393"/>
          </a:xfrm>
        </p:grpSpPr>
        <p:sp>
          <p:nvSpPr>
            <p:cNvPr id="19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72732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649"/>
          <p:cNvSpPr>
            <a:spLocks noChangeArrowheads="1"/>
          </p:cNvSpPr>
          <p:nvPr/>
        </p:nvSpPr>
        <p:spPr bwMode="gray">
          <a:xfrm>
            <a:off x="7391400" y="685801"/>
            <a:ext cx="1752600" cy="5486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1" name="Rectangle 648"/>
          <p:cNvSpPr>
            <a:spLocks noChangeArrowheads="1"/>
          </p:cNvSpPr>
          <p:nvPr/>
        </p:nvSpPr>
        <p:spPr bwMode="gray">
          <a:xfrm>
            <a:off x="1752600" y="0"/>
            <a:ext cx="5638800" cy="685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3" name="Rectangle 650"/>
          <p:cNvSpPr>
            <a:spLocks noChangeArrowheads="1"/>
          </p:cNvSpPr>
          <p:nvPr/>
        </p:nvSpPr>
        <p:spPr bwMode="gray">
          <a:xfrm>
            <a:off x="1752600" y="685800"/>
            <a:ext cx="5638800" cy="5486400"/>
          </a:xfrm>
          <a:prstGeom prst="rect">
            <a:avLst/>
          </a:prstGeom>
          <a:solidFill>
            <a:schemeClr val="tx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5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5" y="1828799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52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grpSp>
        <p:nvGrpSpPr>
          <p:cNvPr id="11" name="Group 32"/>
          <p:cNvGrpSpPr/>
          <p:nvPr userDrawn="1"/>
        </p:nvGrpSpPr>
        <p:grpSpPr>
          <a:xfrm>
            <a:off x="968592" y="6170991"/>
            <a:ext cx="914400" cy="533479"/>
            <a:chOff x="518032" y="978681"/>
            <a:chExt cx="4572000" cy="2667393"/>
          </a:xfrm>
        </p:grpSpPr>
        <p:sp>
          <p:nvSpPr>
            <p:cNvPr id="12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chemeClr val="tx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17045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0" y="5867400"/>
            <a:ext cx="4800600" cy="762000"/>
          </a:xfrm>
        </p:spPr>
        <p:txBody>
          <a:bodyPr anchor="b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Add legal and copyright disclaimers here.</a:t>
            </a:r>
            <a:endParaRPr lang="en-US" noProof="0" dirty="0"/>
          </a:p>
        </p:txBody>
      </p:sp>
      <p:cxnSp>
        <p:nvCxnSpPr>
          <p:cNvPr id="7" name="Shape 6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77185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pty no Footer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3400" y="304800"/>
            <a:ext cx="8077201" cy="914400"/>
          </a:xfrm>
        </p:spPr>
        <p:txBody>
          <a:bodyPr/>
          <a:lstStyle>
            <a:lvl1pPr>
              <a:defRPr sz="2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Empty no Footer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04213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ver Slide"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6415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17"/>
          <p:cNvSpPr>
            <a:spLocks noChangeArrowheads="1"/>
          </p:cNvSpPr>
          <p:nvPr/>
        </p:nvSpPr>
        <p:spPr bwMode="gray">
          <a:xfrm>
            <a:off x="1752601" y="4195630"/>
            <a:ext cx="2286000" cy="1980380"/>
          </a:xfrm>
          <a:prstGeom prst="rect">
            <a:avLst/>
          </a:prstGeom>
          <a:solidFill>
            <a:srgbClr val="9A170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gray">
          <a:xfrm>
            <a:off x="8229600" y="4038313"/>
            <a:ext cx="914401" cy="21376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gray">
          <a:xfrm>
            <a:off x="7620001" y="2899976"/>
            <a:ext cx="729522" cy="129565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3" name="Rectangle 9"/>
          <p:cNvSpPr>
            <a:spLocks noChangeArrowheads="1"/>
          </p:cNvSpPr>
          <p:nvPr/>
        </p:nvSpPr>
        <p:spPr bwMode="gray">
          <a:xfrm>
            <a:off x="7620001" y="4038313"/>
            <a:ext cx="729521" cy="213769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4" name="Rectangle 11"/>
          <p:cNvSpPr>
            <a:spLocks noChangeArrowheads="1"/>
          </p:cNvSpPr>
          <p:nvPr/>
        </p:nvSpPr>
        <p:spPr bwMode="gray">
          <a:xfrm>
            <a:off x="7239000" y="696094"/>
            <a:ext cx="473687" cy="227496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5" name="Rectangle 12"/>
          <p:cNvSpPr>
            <a:spLocks noChangeArrowheads="1"/>
          </p:cNvSpPr>
          <p:nvPr/>
        </p:nvSpPr>
        <p:spPr bwMode="gray">
          <a:xfrm>
            <a:off x="7239000" y="2899977"/>
            <a:ext cx="473687" cy="1295653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6" name="Rectangle 13"/>
          <p:cNvSpPr>
            <a:spLocks noChangeArrowheads="1"/>
          </p:cNvSpPr>
          <p:nvPr/>
        </p:nvSpPr>
        <p:spPr bwMode="gray">
          <a:xfrm>
            <a:off x="7239000" y="4038313"/>
            <a:ext cx="473687" cy="213769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7" name="Rectangle 14"/>
          <p:cNvSpPr>
            <a:spLocks noChangeArrowheads="1"/>
          </p:cNvSpPr>
          <p:nvPr/>
        </p:nvSpPr>
        <p:spPr bwMode="gray">
          <a:xfrm>
            <a:off x="1752601" y="659475"/>
            <a:ext cx="5622752" cy="2311585"/>
          </a:xfrm>
          <a:prstGeom prst="rect">
            <a:avLst/>
          </a:prstGeom>
          <a:solidFill>
            <a:srgbClr val="A7A49B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gray">
          <a:xfrm>
            <a:off x="1752601" y="2899977"/>
            <a:ext cx="5622752" cy="1295653"/>
          </a:xfrm>
          <a:prstGeom prst="rect">
            <a:avLst/>
          </a:prstGeom>
          <a:solidFill>
            <a:srgbClr val="CD2F1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9" name="Freeform 16"/>
          <p:cNvSpPr>
            <a:spLocks/>
          </p:cNvSpPr>
          <p:nvPr/>
        </p:nvSpPr>
        <p:spPr bwMode="gray">
          <a:xfrm>
            <a:off x="1752601" y="4038313"/>
            <a:ext cx="5622752" cy="213769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567" y="0"/>
              </a:cxn>
              <a:cxn ang="0">
                <a:pos x="3567" y="1340"/>
              </a:cxn>
              <a:cxn ang="0">
                <a:pos x="1372" y="1340"/>
              </a:cxn>
              <a:cxn ang="0">
                <a:pos x="1372" y="181"/>
              </a:cxn>
              <a:cxn ang="0">
                <a:pos x="0" y="181"/>
              </a:cxn>
              <a:cxn ang="0">
                <a:pos x="0" y="0"/>
              </a:cxn>
            </a:cxnLst>
            <a:rect l="0" t="0" r="r" b="b"/>
            <a:pathLst>
              <a:path w="3567" h="1340">
                <a:moveTo>
                  <a:pt x="0" y="0"/>
                </a:moveTo>
                <a:lnTo>
                  <a:pt x="3567" y="0"/>
                </a:lnTo>
                <a:lnTo>
                  <a:pt x="3567" y="1340"/>
                </a:lnTo>
                <a:lnTo>
                  <a:pt x="1372" y="1340"/>
                </a:lnTo>
                <a:lnTo>
                  <a:pt x="1372" y="18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C4230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0" name="Rectangle 10"/>
          <p:cNvSpPr>
            <a:spLocks noChangeArrowheads="1"/>
          </p:cNvSpPr>
          <p:nvPr/>
        </p:nvSpPr>
        <p:spPr bwMode="gray">
          <a:xfrm>
            <a:off x="1752601" y="1"/>
            <a:ext cx="5622752" cy="696094"/>
          </a:xfrm>
          <a:prstGeom prst="rect">
            <a:avLst/>
          </a:prstGeom>
          <a:solidFill>
            <a:srgbClr val="8A867A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 bwMode="white">
          <a:xfrm>
            <a:off x="1895475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18" name="Subtitle 2"/>
          <p:cNvSpPr>
            <a:spLocks noGrp="1"/>
          </p:cNvSpPr>
          <p:nvPr userDrawn="1">
            <p:ph type="subTitle" idx="1" hasCustomPrompt="1"/>
          </p:nvPr>
        </p:nvSpPr>
        <p:spPr bwMode="white">
          <a:xfrm>
            <a:off x="1895475" y="1828799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grpSp>
        <p:nvGrpSpPr>
          <p:cNvPr id="16" name="Group 32"/>
          <p:cNvGrpSpPr/>
          <p:nvPr userDrawn="1"/>
        </p:nvGrpSpPr>
        <p:grpSpPr>
          <a:xfrm>
            <a:off x="968592" y="6170991"/>
            <a:ext cx="9144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7A49B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22" name="Rectangle 21"/>
          <p:cNvSpPr/>
          <p:nvPr userDrawn="1"/>
        </p:nvSpPr>
        <p:spPr bwMode="ltGray">
          <a:xfrm>
            <a:off x="1752601" y="2882476"/>
            <a:ext cx="5622925" cy="3293534"/>
          </a:xfrm>
          <a:prstGeom prst="rect">
            <a:avLst/>
          </a:prstGeom>
          <a:solidFill>
            <a:srgbClr val="A7A49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27159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Empty no Footer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1854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ver Slide"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2943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17"/>
          <p:cNvSpPr>
            <a:spLocks noChangeArrowheads="1"/>
          </p:cNvSpPr>
          <p:nvPr/>
        </p:nvSpPr>
        <p:spPr bwMode="gray">
          <a:xfrm>
            <a:off x="1752601" y="4195630"/>
            <a:ext cx="2286000" cy="1980380"/>
          </a:xfrm>
          <a:prstGeom prst="rect">
            <a:avLst/>
          </a:prstGeom>
          <a:solidFill>
            <a:srgbClr val="9A170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gray">
          <a:xfrm>
            <a:off x="1752602" y="4038313"/>
            <a:ext cx="7391398" cy="21376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gray">
          <a:xfrm>
            <a:off x="1752601" y="2899976"/>
            <a:ext cx="6596922" cy="327101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3" name="Rectangle 9"/>
          <p:cNvSpPr>
            <a:spLocks noChangeArrowheads="1"/>
          </p:cNvSpPr>
          <p:nvPr/>
        </p:nvSpPr>
        <p:spPr bwMode="gray">
          <a:xfrm>
            <a:off x="6464301" y="4038313"/>
            <a:ext cx="1885222" cy="2137697"/>
          </a:xfrm>
          <a:prstGeom prst="rect">
            <a:avLst/>
          </a:prstGeom>
          <a:solidFill>
            <a:schemeClr val="accent5">
              <a:lumMod val="40000"/>
              <a:lumOff val="60000"/>
              <a:alpha val="8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4" name="Rectangle 11"/>
          <p:cNvSpPr>
            <a:spLocks noChangeArrowheads="1"/>
          </p:cNvSpPr>
          <p:nvPr/>
        </p:nvSpPr>
        <p:spPr bwMode="gray">
          <a:xfrm>
            <a:off x="7239000" y="696093"/>
            <a:ext cx="473687" cy="54748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5" name="Rectangle 12"/>
          <p:cNvSpPr>
            <a:spLocks noChangeArrowheads="1"/>
          </p:cNvSpPr>
          <p:nvPr/>
        </p:nvSpPr>
        <p:spPr bwMode="gray">
          <a:xfrm>
            <a:off x="7239000" y="2899977"/>
            <a:ext cx="473687" cy="1133317"/>
          </a:xfrm>
          <a:prstGeom prst="rect">
            <a:avLst/>
          </a:prstGeom>
          <a:solidFill>
            <a:schemeClr val="accent5">
              <a:lumMod val="40000"/>
              <a:lumOff val="60000"/>
              <a:alpha val="8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6" name="Rectangle 13"/>
          <p:cNvSpPr>
            <a:spLocks noChangeArrowheads="1"/>
          </p:cNvSpPr>
          <p:nvPr/>
        </p:nvSpPr>
        <p:spPr bwMode="gray">
          <a:xfrm>
            <a:off x="6602165" y="4038313"/>
            <a:ext cx="1110522" cy="2137697"/>
          </a:xfrm>
          <a:prstGeom prst="rect">
            <a:avLst/>
          </a:prstGeom>
          <a:solidFill>
            <a:schemeClr val="accent5">
              <a:lumMod val="60000"/>
              <a:lumOff val="40000"/>
              <a:alpha val="8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7" name="Rectangle 14"/>
          <p:cNvSpPr>
            <a:spLocks noChangeArrowheads="1"/>
          </p:cNvSpPr>
          <p:nvPr/>
        </p:nvSpPr>
        <p:spPr bwMode="gray">
          <a:xfrm>
            <a:off x="1752601" y="659475"/>
            <a:ext cx="5622752" cy="2311585"/>
          </a:xfrm>
          <a:prstGeom prst="rect">
            <a:avLst/>
          </a:prstGeom>
          <a:solidFill>
            <a:srgbClr val="A7A49B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gray">
          <a:xfrm>
            <a:off x="1752601" y="2899977"/>
            <a:ext cx="5622752" cy="1295653"/>
          </a:xfrm>
          <a:prstGeom prst="rect">
            <a:avLst/>
          </a:prstGeom>
          <a:solidFill>
            <a:srgbClr val="CD2F1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9" name="Freeform 16"/>
          <p:cNvSpPr>
            <a:spLocks/>
          </p:cNvSpPr>
          <p:nvPr/>
        </p:nvSpPr>
        <p:spPr bwMode="gray">
          <a:xfrm>
            <a:off x="1752601" y="4038313"/>
            <a:ext cx="5622752" cy="213769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567" y="0"/>
              </a:cxn>
              <a:cxn ang="0">
                <a:pos x="3567" y="1340"/>
              </a:cxn>
              <a:cxn ang="0">
                <a:pos x="1372" y="1340"/>
              </a:cxn>
              <a:cxn ang="0">
                <a:pos x="1372" y="181"/>
              </a:cxn>
              <a:cxn ang="0">
                <a:pos x="0" y="181"/>
              </a:cxn>
              <a:cxn ang="0">
                <a:pos x="0" y="0"/>
              </a:cxn>
            </a:cxnLst>
            <a:rect l="0" t="0" r="r" b="b"/>
            <a:pathLst>
              <a:path w="3567" h="1340">
                <a:moveTo>
                  <a:pt x="0" y="0"/>
                </a:moveTo>
                <a:lnTo>
                  <a:pt x="3567" y="0"/>
                </a:lnTo>
                <a:lnTo>
                  <a:pt x="3567" y="1340"/>
                </a:lnTo>
                <a:lnTo>
                  <a:pt x="1372" y="1340"/>
                </a:lnTo>
                <a:lnTo>
                  <a:pt x="1372" y="18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C4230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0" name="Rectangle 10"/>
          <p:cNvSpPr>
            <a:spLocks noChangeArrowheads="1"/>
          </p:cNvSpPr>
          <p:nvPr/>
        </p:nvSpPr>
        <p:spPr bwMode="gray">
          <a:xfrm>
            <a:off x="1752601" y="1"/>
            <a:ext cx="5622752" cy="696094"/>
          </a:xfrm>
          <a:prstGeom prst="rect">
            <a:avLst/>
          </a:prstGeom>
          <a:solidFill>
            <a:srgbClr val="8A867A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 bwMode="white">
          <a:xfrm>
            <a:off x="1895475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18" name="Subtitle 2"/>
          <p:cNvSpPr>
            <a:spLocks noGrp="1"/>
          </p:cNvSpPr>
          <p:nvPr userDrawn="1">
            <p:ph type="subTitle" idx="1" hasCustomPrompt="1"/>
          </p:nvPr>
        </p:nvSpPr>
        <p:spPr bwMode="white">
          <a:xfrm>
            <a:off x="1895475" y="1828799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grpSp>
        <p:nvGrpSpPr>
          <p:cNvPr id="16" name="Group 32"/>
          <p:cNvGrpSpPr/>
          <p:nvPr userDrawn="1"/>
        </p:nvGrpSpPr>
        <p:grpSpPr>
          <a:xfrm>
            <a:off x="968592" y="6170991"/>
            <a:ext cx="9144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7A49B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22" name="Rectangle 21"/>
          <p:cNvSpPr/>
          <p:nvPr userDrawn="1"/>
        </p:nvSpPr>
        <p:spPr bwMode="ltGray">
          <a:xfrm>
            <a:off x="1752601" y="2882476"/>
            <a:ext cx="5622925" cy="3293534"/>
          </a:xfrm>
          <a:prstGeom prst="rect">
            <a:avLst/>
          </a:prstGeom>
          <a:solidFill>
            <a:srgbClr val="A7A49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22008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Kredyty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gotówkow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2" name="PwCFirm"/>
          <p:cNvSpPr txBox="1"/>
          <p:nvPr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000" dirty="0" smtClean="0">
                <a:solidFill>
                  <a:srgbClr val="000000"/>
                </a:solidFill>
              </a:rPr>
              <a:t>PwC</a:t>
            </a:r>
            <a:endParaRPr lang="ru-RU" sz="10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maj</a:t>
            </a:r>
            <a:r>
              <a:rPr lang="en-US" dirty="0" smtClean="0">
                <a:solidFill>
                  <a:srgbClr val="000000"/>
                </a:solidFill>
              </a:rPr>
              <a:t> 2015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496137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1752601"/>
            <a:ext cx="3962400" cy="4419599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648201" y="1752600"/>
            <a:ext cx="3962399" cy="44196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Kredyty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gotówkowe</a:t>
            </a:r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62" name="Shape 61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maj</a:t>
            </a:r>
            <a:r>
              <a:rPr lang="en-US" dirty="0" smtClean="0">
                <a:solidFill>
                  <a:srgbClr val="000000"/>
                </a:solidFill>
              </a:rPr>
              <a:t> 201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000" dirty="0" smtClean="0">
                <a:solidFill>
                  <a:srgbClr val="000000"/>
                </a:solidFill>
              </a:rPr>
              <a:t>PwC</a:t>
            </a:r>
            <a:endParaRPr lang="ru-RU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1149804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1"/>
            <a:ext cx="8077200" cy="9144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533400" y="1752601"/>
            <a:ext cx="2590800" cy="4419599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3276601" y="1752601"/>
            <a:ext cx="2590799" cy="4419599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019800" y="1752601"/>
            <a:ext cx="2590800" cy="4419599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Kredyty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gotówkowe</a:t>
            </a:r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9" name="Shape 18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maj</a:t>
            </a:r>
            <a:r>
              <a:rPr lang="en-US" dirty="0" smtClean="0">
                <a:solidFill>
                  <a:srgbClr val="000000"/>
                </a:solidFill>
              </a:rPr>
              <a:t> 201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000" dirty="0" smtClean="0">
                <a:solidFill>
                  <a:srgbClr val="000000"/>
                </a:solidFill>
              </a:rPr>
              <a:t>PwC</a:t>
            </a:r>
            <a:endParaRPr lang="ru-RU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4035267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3352800"/>
            <a:ext cx="3962400" cy="28194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648199" y="3352800"/>
            <a:ext cx="3962401" cy="28194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Kredyty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gotówkow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8077200" cy="14478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maj</a:t>
            </a:r>
            <a:r>
              <a:rPr lang="en-US" dirty="0" smtClean="0">
                <a:solidFill>
                  <a:srgbClr val="000000"/>
                </a:solidFill>
              </a:rPr>
              <a:t> 201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000" dirty="0" smtClean="0">
                <a:solidFill>
                  <a:srgbClr val="000000"/>
                </a:solidFill>
              </a:rPr>
              <a:t>PwC</a:t>
            </a:r>
            <a:endParaRPr lang="ru-RU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594632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6019800" y="1752600"/>
            <a:ext cx="2590800" cy="21336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019800" y="4038600"/>
            <a:ext cx="2590800" cy="21336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5334000" cy="441960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Kredyty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gotówkowe</a:t>
            </a:r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1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maj</a:t>
            </a:r>
            <a:r>
              <a:rPr lang="en-US" dirty="0" smtClean="0">
                <a:solidFill>
                  <a:srgbClr val="000000"/>
                </a:solidFill>
              </a:rPr>
              <a:t> 201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477000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000" dirty="0" smtClean="0">
                <a:solidFill>
                  <a:srgbClr val="000000"/>
                </a:solidFill>
              </a:rPr>
              <a:t>PwC</a:t>
            </a:r>
            <a:endParaRPr lang="ru-RU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544079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36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1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</a:t>
            </a:r>
            <a:br>
              <a:rPr lang="en-US" noProof="0" dirty="0" smtClean="0"/>
            </a:br>
            <a:r>
              <a:rPr lang="en-US" noProof="0" dirty="0" smtClean="0"/>
              <a:t>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1" y="1752600"/>
            <a:ext cx="8077199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maj</a:t>
            </a:r>
            <a:r>
              <a:rPr lang="en-US" dirty="0" smtClean="0">
                <a:solidFill>
                  <a:srgbClr val="000000"/>
                </a:solidFill>
              </a:rPr>
              <a:t> 201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0352" y="6324600"/>
            <a:ext cx="5260848" cy="15087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>
                <a:solidFill>
                  <a:srgbClr val="000000"/>
                </a:solidFill>
              </a:rPr>
              <a:t>Kredyty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gotówkowe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160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96" r:id="rId2"/>
    <p:sldLayoutId id="2147483799" r:id="rId3"/>
    <p:sldLayoutId id="21474838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98" r:id="rId14"/>
    <p:sldLayoutId id="2147483710" r:id="rId15"/>
    <p:sldLayoutId id="2147483794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660" r:id="rId28"/>
    <p:sldLayoutId id="2147483795" r:id="rId29"/>
    <p:sldLayoutId id="2147483797" r:id="rId30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432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728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2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4.png"/><Relationship Id="rId12" Type="http://schemas.openxmlformats.org/officeDocument/2006/relationships/image" Target="../media/image19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17.jpe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6.png"/><Relationship Id="rId18" Type="http://schemas.openxmlformats.org/officeDocument/2006/relationships/image" Target="../media/image30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0.jpeg"/><Relationship Id="rId12" Type="http://schemas.openxmlformats.org/officeDocument/2006/relationships/image" Target="../media/image25.png"/><Relationship Id="rId17" Type="http://schemas.openxmlformats.org/officeDocument/2006/relationships/image" Target="../media/image29.png"/><Relationship Id="rId2" Type="http://schemas.openxmlformats.org/officeDocument/2006/relationships/tags" Target="../tags/tag19.xml"/><Relationship Id="rId16" Type="http://schemas.openxmlformats.org/officeDocument/2006/relationships/image" Target="../media/image28.jpeg"/><Relationship Id="rId20" Type="http://schemas.openxmlformats.org/officeDocument/2006/relationships/image" Target="../media/image32.jpeg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11" Type="http://schemas.openxmlformats.org/officeDocument/2006/relationships/image" Target="../media/image24.jpeg"/><Relationship Id="rId5" Type="http://schemas.openxmlformats.org/officeDocument/2006/relationships/oleObject" Target="../embeddings/oleObject19.bin"/><Relationship Id="rId15" Type="http://schemas.openxmlformats.org/officeDocument/2006/relationships/image" Target="../media/image27.jpeg"/><Relationship Id="rId10" Type="http://schemas.openxmlformats.org/officeDocument/2006/relationships/image" Target="../media/image23.jpeg"/><Relationship Id="rId19" Type="http://schemas.openxmlformats.org/officeDocument/2006/relationships/image" Target="../media/image31.gif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2.jpeg"/><Relationship Id="rId14" Type="http://schemas.microsoft.com/office/2007/relationships/hdphoto" Target="../media/hdphoto2.wdp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33.gif"/><Relationship Id="rId12" Type="http://schemas.openxmlformats.org/officeDocument/2006/relationships/image" Target="../media/image3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11" Type="http://schemas.openxmlformats.org/officeDocument/2006/relationships/image" Target="../media/image37.png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Layout" Target="../slideLayouts/slideLayout16.xml"/><Relationship Id="rId7" Type="http://schemas.openxmlformats.org/officeDocument/2006/relationships/chart" Target="../charts/chart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41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44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4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4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49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31.xml"/><Relationship Id="rId7" Type="http://schemas.openxmlformats.org/officeDocument/2006/relationships/image" Target="../media/image3.emf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26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50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53.pn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5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17" Type="http://schemas.openxmlformats.org/officeDocument/2006/relationships/image" Target="../media/image63.png"/><Relationship Id="rId2" Type="http://schemas.openxmlformats.org/officeDocument/2006/relationships/tags" Target="../tags/tag36.xml"/><Relationship Id="rId16" Type="http://schemas.openxmlformats.org/officeDocument/2006/relationships/image" Target="../media/image53.png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11" Type="http://schemas.openxmlformats.org/officeDocument/2006/relationships/image" Target="../media/image58.png"/><Relationship Id="rId5" Type="http://schemas.openxmlformats.org/officeDocument/2006/relationships/oleObject" Target="../embeddings/oleObject35.bin"/><Relationship Id="rId15" Type="http://schemas.openxmlformats.org/officeDocument/2006/relationships/image" Target="../media/image62.png"/><Relationship Id="rId10" Type="http://schemas.openxmlformats.org/officeDocument/2006/relationships/image" Target="../media/image57.png"/><Relationship Id="rId4" Type="http://schemas.openxmlformats.org/officeDocument/2006/relationships/notesSlide" Target="../notesSlides/notesSlide31.xml"/><Relationship Id="rId9" Type="http://schemas.openxmlformats.org/officeDocument/2006/relationships/image" Target="../media/image56.png"/><Relationship Id="rId14" Type="http://schemas.openxmlformats.org/officeDocument/2006/relationships/image" Target="../media/image61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36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36.bin"/><Relationship Id="rId5" Type="http://schemas.openxmlformats.org/officeDocument/2006/relationships/notesSlide" Target="../notesSlides/notesSlide32.xml"/><Relationship Id="rId4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16.xml"/><Relationship Id="rId7" Type="http://schemas.openxmlformats.org/officeDocument/2006/relationships/chart" Target="../charts/char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91443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ru-RU" sz="2400" dirty="0" smtClean="0"/>
              <a:t>Центр экспертизы по анализу Больших данных и Машинному обучению </a:t>
            </a:r>
            <a:r>
              <a:rPr lang="en-US" sz="2400" dirty="0" smtClean="0"/>
              <a:t>PwC </a:t>
            </a: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ru-RU" sz="1400" dirty="0" smtClean="0"/>
              <a:t>Примеры </a:t>
            </a:r>
            <a:r>
              <a:rPr lang="ru-RU" sz="1400" dirty="0" smtClean="0"/>
              <a:t>проектов и аналитических решений</a:t>
            </a:r>
            <a:r>
              <a:rPr lang="en-US" sz="2400" dirty="0" smtClean="0"/>
              <a:t/>
            </a:r>
            <a:br>
              <a:rPr lang="en-US" sz="2400" dirty="0" smtClean="0"/>
            </a:br>
            <a:endParaRPr lang="ru-RU" sz="2400" b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noProof="1" smtClean="0"/>
              <a:t>www.pwc.com</a:t>
            </a:r>
            <a:endParaRPr lang="ru-RU" noProof="1"/>
          </a:p>
        </p:txBody>
      </p:sp>
      <p:grpSp>
        <p:nvGrpSpPr>
          <p:cNvPr id="61" name="Group 60"/>
          <p:cNvGrpSpPr/>
          <p:nvPr/>
        </p:nvGrpSpPr>
        <p:grpSpPr>
          <a:xfrm>
            <a:off x="2263775" y="2750511"/>
            <a:ext cx="4606925" cy="3121932"/>
            <a:chOff x="2263775" y="2750511"/>
            <a:chExt cx="4606925" cy="3121932"/>
          </a:xfrm>
        </p:grpSpPr>
        <p:grpSp>
          <p:nvGrpSpPr>
            <p:cNvPr id="3" name="Group 2"/>
            <p:cNvGrpSpPr/>
            <p:nvPr/>
          </p:nvGrpSpPr>
          <p:grpSpPr>
            <a:xfrm>
              <a:off x="2263775" y="2750511"/>
              <a:ext cx="4606925" cy="3121932"/>
              <a:chOff x="2304215" y="2818019"/>
              <a:chExt cx="4526045" cy="3067123"/>
            </a:xfrm>
          </p:grpSpPr>
          <p:sp>
            <p:nvSpPr>
              <p:cNvPr id="132" name="Freeform 88"/>
              <p:cNvSpPr>
                <a:spLocks/>
              </p:cNvSpPr>
              <p:nvPr/>
            </p:nvSpPr>
            <p:spPr bwMode="auto">
              <a:xfrm>
                <a:off x="2304215" y="2818019"/>
                <a:ext cx="4526045" cy="3067123"/>
              </a:xfrm>
              <a:custGeom>
                <a:avLst/>
                <a:gdLst>
                  <a:gd name="T0" fmla="*/ 3895 w 6125"/>
                  <a:gd name="T1" fmla="*/ 17 h 4150"/>
                  <a:gd name="T2" fmla="*/ 4222 w 6125"/>
                  <a:gd name="T3" fmla="*/ 97 h 4150"/>
                  <a:gd name="T4" fmla="*/ 4499 w 6125"/>
                  <a:gd name="T5" fmla="*/ 240 h 4150"/>
                  <a:gd name="T6" fmla="*/ 4729 w 6125"/>
                  <a:gd name="T7" fmla="*/ 433 h 4150"/>
                  <a:gd name="T8" fmla="*/ 4909 w 6125"/>
                  <a:gd name="T9" fmla="*/ 667 h 4150"/>
                  <a:gd name="T10" fmla="*/ 5041 w 6125"/>
                  <a:gd name="T11" fmla="*/ 936 h 4150"/>
                  <a:gd name="T12" fmla="*/ 5127 w 6125"/>
                  <a:gd name="T13" fmla="*/ 1232 h 4150"/>
                  <a:gd name="T14" fmla="*/ 5166 w 6125"/>
                  <a:gd name="T15" fmla="*/ 1542 h 4150"/>
                  <a:gd name="T16" fmla="*/ 5162 w 6125"/>
                  <a:gd name="T17" fmla="*/ 1752 h 4150"/>
                  <a:gd name="T18" fmla="*/ 5474 w 6125"/>
                  <a:gd name="T19" fmla="*/ 1863 h 4150"/>
                  <a:gd name="T20" fmla="*/ 5738 w 6125"/>
                  <a:gd name="T21" fmla="*/ 2051 h 4150"/>
                  <a:gd name="T22" fmla="*/ 5944 w 6125"/>
                  <a:gd name="T23" fmla="*/ 2300 h 4150"/>
                  <a:gd name="T24" fmla="*/ 6078 w 6125"/>
                  <a:gd name="T25" fmla="*/ 2601 h 4150"/>
                  <a:gd name="T26" fmla="*/ 6125 w 6125"/>
                  <a:gd name="T27" fmla="*/ 2937 h 4150"/>
                  <a:gd name="T28" fmla="*/ 6076 w 6125"/>
                  <a:gd name="T29" fmla="*/ 3277 h 4150"/>
                  <a:gd name="T30" fmla="*/ 5941 w 6125"/>
                  <a:gd name="T31" fmla="*/ 3580 h 4150"/>
                  <a:gd name="T32" fmla="*/ 5732 w 6125"/>
                  <a:gd name="T33" fmla="*/ 3832 h 4150"/>
                  <a:gd name="T34" fmla="*/ 5465 w 6125"/>
                  <a:gd name="T35" fmla="*/ 4020 h 4150"/>
                  <a:gd name="T36" fmla="*/ 5151 w 6125"/>
                  <a:gd name="T37" fmla="*/ 4128 h 4150"/>
                  <a:gd name="T38" fmla="*/ 1202 w 6125"/>
                  <a:gd name="T39" fmla="*/ 4150 h 4150"/>
                  <a:gd name="T40" fmla="*/ 864 w 6125"/>
                  <a:gd name="T41" fmla="*/ 4102 h 4150"/>
                  <a:gd name="T42" fmla="*/ 565 w 6125"/>
                  <a:gd name="T43" fmla="*/ 3964 h 4150"/>
                  <a:gd name="T44" fmla="*/ 314 w 6125"/>
                  <a:gd name="T45" fmla="*/ 3754 h 4150"/>
                  <a:gd name="T46" fmla="*/ 130 w 6125"/>
                  <a:gd name="T47" fmla="*/ 3485 h 4150"/>
                  <a:gd name="T48" fmla="*/ 22 w 6125"/>
                  <a:gd name="T49" fmla="*/ 3167 h 4150"/>
                  <a:gd name="T50" fmla="*/ 6 w 6125"/>
                  <a:gd name="T51" fmla="*/ 2818 h 4150"/>
                  <a:gd name="T52" fmla="*/ 87 w 6125"/>
                  <a:gd name="T53" fmla="*/ 2484 h 4150"/>
                  <a:gd name="T54" fmla="*/ 256 w 6125"/>
                  <a:gd name="T55" fmla="*/ 2192 h 4150"/>
                  <a:gd name="T56" fmla="*/ 496 w 6125"/>
                  <a:gd name="T57" fmla="*/ 1960 h 4150"/>
                  <a:gd name="T58" fmla="*/ 792 w 6125"/>
                  <a:gd name="T59" fmla="*/ 1800 h 4150"/>
                  <a:gd name="T60" fmla="*/ 1005 w 6125"/>
                  <a:gd name="T61" fmla="*/ 1678 h 4150"/>
                  <a:gd name="T62" fmla="*/ 1022 w 6125"/>
                  <a:gd name="T63" fmla="*/ 1436 h 4150"/>
                  <a:gd name="T64" fmla="*/ 1120 w 6125"/>
                  <a:gd name="T65" fmla="*/ 1200 h 4150"/>
                  <a:gd name="T66" fmla="*/ 1288 w 6125"/>
                  <a:gd name="T67" fmla="*/ 1013 h 4150"/>
                  <a:gd name="T68" fmla="*/ 1507 w 6125"/>
                  <a:gd name="T69" fmla="*/ 890 h 4150"/>
                  <a:gd name="T70" fmla="*/ 1763 w 6125"/>
                  <a:gd name="T71" fmla="*/ 845 h 4150"/>
                  <a:gd name="T72" fmla="*/ 2031 w 6125"/>
                  <a:gd name="T73" fmla="*/ 894 h 4150"/>
                  <a:gd name="T74" fmla="*/ 2256 w 6125"/>
                  <a:gd name="T75" fmla="*/ 1026 h 4150"/>
                  <a:gd name="T76" fmla="*/ 2362 w 6125"/>
                  <a:gd name="T77" fmla="*/ 801 h 4150"/>
                  <a:gd name="T78" fmla="*/ 2486 w 6125"/>
                  <a:gd name="T79" fmla="*/ 589 h 4150"/>
                  <a:gd name="T80" fmla="*/ 2635 w 6125"/>
                  <a:gd name="T81" fmla="*/ 398 h 4150"/>
                  <a:gd name="T82" fmla="*/ 2817 w 6125"/>
                  <a:gd name="T83" fmla="*/ 234 h 4150"/>
                  <a:gd name="T84" fmla="*/ 3040 w 6125"/>
                  <a:gd name="T85" fmla="*/ 110 h 4150"/>
                  <a:gd name="T86" fmla="*/ 3315 w 6125"/>
                  <a:gd name="T87" fmla="*/ 28 h 4150"/>
                  <a:gd name="T88" fmla="*/ 3648 w 6125"/>
                  <a:gd name="T89" fmla="*/ 0 h 4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125" h="4150">
                    <a:moveTo>
                      <a:pt x="3648" y="0"/>
                    </a:moveTo>
                    <a:lnTo>
                      <a:pt x="3774" y="4"/>
                    </a:lnTo>
                    <a:lnTo>
                      <a:pt x="3895" y="17"/>
                    </a:lnTo>
                    <a:lnTo>
                      <a:pt x="4008" y="35"/>
                    </a:lnTo>
                    <a:lnTo>
                      <a:pt x="4118" y="63"/>
                    </a:lnTo>
                    <a:lnTo>
                      <a:pt x="4222" y="97"/>
                    </a:lnTo>
                    <a:lnTo>
                      <a:pt x="4320" y="138"/>
                    </a:lnTo>
                    <a:lnTo>
                      <a:pt x="4413" y="186"/>
                    </a:lnTo>
                    <a:lnTo>
                      <a:pt x="4499" y="240"/>
                    </a:lnTo>
                    <a:lnTo>
                      <a:pt x="4580" y="297"/>
                    </a:lnTo>
                    <a:lnTo>
                      <a:pt x="4658" y="362"/>
                    </a:lnTo>
                    <a:lnTo>
                      <a:pt x="4729" y="433"/>
                    </a:lnTo>
                    <a:lnTo>
                      <a:pt x="4794" y="507"/>
                    </a:lnTo>
                    <a:lnTo>
                      <a:pt x="4854" y="585"/>
                    </a:lnTo>
                    <a:lnTo>
                      <a:pt x="4909" y="667"/>
                    </a:lnTo>
                    <a:lnTo>
                      <a:pt x="4958" y="754"/>
                    </a:lnTo>
                    <a:lnTo>
                      <a:pt x="5002" y="844"/>
                    </a:lnTo>
                    <a:lnTo>
                      <a:pt x="5041" y="936"/>
                    </a:lnTo>
                    <a:lnTo>
                      <a:pt x="5075" y="1033"/>
                    </a:lnTo>
                    <a:lnTo>
                      <a:pt x="5103" y="1131"/>
                    </a:lnTo>
                    <a:lnTo>
                      <a:pt x="5127" y="1232"/>
                    </a:lnTo>
                    <a:lnTo>
                      <a:pt x="5145" y="1334"/>
                    </a:lnTo>
                    <a:lnTo>
                      <a:pt x="5156" y="1438"/>
                    </a:lnTo>
                    <a:lnTo>
                      <a:pt x="5166" y="1542"/>
                    </a:lnTo>
                    <a:lnTo>
                      <a:pt x="5168" y="1648"/>
                    </a:lnTo>
                    <a:lnTo>
                      <a:pt x="5166" y="1700"/>
                    </a:lnTo>
                    <a:lnTo>
                      <a:pt x="5162" y="1752"/>
                    </a:lnTo>
                    <a:lnTo>
                      <a:pt x="5270" y="1780"/>
                    </a:lnTo>
                    <a:lnTo>
                      <a:pt x="5374" y="1817"/>
                    </a:lnTo>
                    <a:lnTo>
                      <a:pt x="5474" y="1863"/>
                    </a:lnTo>
                    <a:lnTo>
                      <a:pt x="5567" y="1917"/>
                    </a:lnTo>
                    <a:lnTo>
                      <a:pt x="5656" y="1980"/>
                    </a:lnTo>
                    <a:lnTo>
                      <a:pt x="5738" y="2051"/>
                    </a:lnTo>
                    <a:lnTo>
                      <a:pt x="5814" y="2127"/>
                    </a:lnTo>
                    <a:lnTo>
                      <a:pt x="5883" y="2211"/>
                    </a:lnTo>
                    <a:lnTo>
                      <a:pt x="5944" y="2300"/>
                    </a:lnTo>
                    <a:lnTo>
                      <a:pt x="5996" y="2397"/>
                    </a:lnTo>
                    <a:lnTo>
                      <a:pt x="6041" y="2497"/>
                    </a:lnTo>
                    <a:lnTo>
                      <a:pt x="6078" y="2601"/>
                    </a:lnTo>
                    <a:lnTo>
                      <a:pt x="6102" y="2710"/>
                    </a:lnTo>
                    <a:lnTo>
                      <a:pt x="6119" y="2822"/>
                    </a:lnTo>
                    <a:lnTo>
                      <a:pt x="6125" y="2937"/>
                    </a:lnTo>
                    <a:lnTo>
                      <a:pt x="6119" y="3054"/>
                    </a:lnTo>
                    <a:lnTo>
                      <a:pt x="6102" y="3167"/>
                    </a:lnTo>
                    <a:lnTo>
                      <a:pt x="6076" y="3277"/>
                    </a:lnTo>
                    <a:lnTo>
                      <a:pt x="6041" y="3383"/>
                    </a:lnTo>
                    <a:lnTo>
                      <a:pt x="5994" y="3485"/>
                    </a:lnTo>
                    <a:lnTo>
                      <a:pt x="5941" y="3580"/>
                    </a:lnTo>
                    <a:lnTo>
                      <a:pt x="5879" y="3671"/>
                    </a:lnTo>
                    <a:lnTo>
                      <a:pt x="5811" y="3754"/>
                    </a:lnTo>
                    <a:lnTo>
                      <a:pt x="5732" y="3832"/>
                    </a:lnTo>
                    <a:lnTo>
                      <a:pt x="5649" y="3903"/>
                    </a:lnTo>
                    <a:lnTo>
                      <a:pt x="5560" y="3964"/>
                    </a:lnTo>
                    <a:lnTo>
                      <a:pt x="5465" y="4020"/>
                    </a:lnTo>
                    <a:lnTo>
                      <a:pt x="5365" y="4065"/>
                    </a:lnTo>
                    <a:lnTo>
                      <a:pt x="5261" y="4102"/>
                    </a:lnTo>
                    <a:lnTo>
                      <a:pt x="5151" y="4128"/>
                    </a:lnTo>
                    <a:lnTo>
                      <a:pt x="5038" y="4145"/>
                    </a:lnTo>
                    <a:lnTo>
                      <a:pt x="4922" y="4150"/>
                    </a:lnTo>
                    <a:lnTo>
                      <a:pt x="1202" y="4150"/>
                    </a:lnTo>
                    <a:lnTo>
                      <a:pt x="1087" y="4145"/>
                    </a:lnTo>
                    <a:lnTo>
                      <a:pt x="974" y="4128"/>
                    </a:lnTo>
                    <a:lnTo>
                      <a:pt x="864" y="4102"/>
                    </a:lnTo>
                    <a:lnTo>
                      <a:pt x="760" y="4065"/>
                    </a:lnTo>
                    <a:lnTo>
                      <a:pt x="660" y="4020"/>
                    </a:lnTo>
                    <a:lnTo>
                      <a:pt x="565" y="3964"/>
                    </a:lnTo>
                    <a:lnTo>
                      <a:pt x="476" y="3903"/>
                    </a:lnTo>
                    <a:lnTo>
                      <a:pt x="392" y="3832"/>
                    </a:lnTo>
                    <a:lnTo>
                      <a:pt x="314" y="3754"/>
                    </a:lnTo>
                    <a:lnTo>
                      <a:pt x="245" y="3671"/>
                    </a:lnTo>
                    <a:lnTo>
                      <a:pt x="184" y="3580"/>
                    </a:lnTo>
                    <a:lnTo>
                      <a:pt x="130" y="3485"/>
                    </a:lnTo>
                    <a:lnTo>
                      <a:pt x="84" y="3383"/>
                    </a:lnTo>
                    <a:lnTo>
                      <a:pt x="48" y="3277"/>
                    </a:lnTo>
                    <a:lnTo>
                      <a:pt x="22" y="3167"/>
                    </a:lnTo>
                    <a:lnTo>
                      <a:pt x="6" y="3054"/>
                    </a:lnTo>
                    <a:lnTo>
                      <a:pt x="0" y="2937"/>
                    </a:lnTo>
                    <a:lnTo>
                      <a:pt x="6" y="2818"/>
                    </a:lnTo>
                    <a:lnTo>
                      <a:pt x="22" y="2703"/>
                    </a:lnTo>
                    <a:lnTo>
                      <a:pt x="50" y="2592"/>
                    </a:lnTo>
                    <a:lnTo>
                      <a:pt x="87" y="2484"/>
                    </a:lnTo>
                    <a:lnTo>
                      <a:pt x="136" y="2382"/>
                    </a:lnTo>
                    <a:lnTo>
                      <a:pt x="191" y="2283"/>
                    </a:lnTo>
                    <a:lnTo>
                      <a:pt x="256" y="2192"/>
                    </a:lnTo>
                    <a:lnTo>
                      <a:pt x="329" y="2107"/>
                    </a:lnTo>
                    <a:lnTo>
                      <a:pt x="409" y="2029"/>
                    </a:lnTo>
                    <a:lnTo>
                      <a:pt x="496" y="1960"/>
                    </a:lnTo>
                    <a:lnTo>
                      <a:pt x="589" y="1897"/>
                    </a:lnTo>
                    <a:lnTo>
                      <a:pt x="688" y="1845"/>
                    </a:lnTo>
                    <a:lnTo>
                      <a:pt x="792" y="1800"/>
                    </a:lnTo>
                    <a:lnTo>
                      <a:pt x="899" y="1767"/>
                    </a:lnTo>
                    <a:lnTo>
                      <a:pt x="1013" y="1743"/>
                    </a:lnTo>
                    <a:lnTo>
                      <a:pt x="1005" y="1678"/>
                    </a:lnTo>
                    <a:lnTo>
                      <a:pt x="1002" y="1611"/>
                    </a:lnTo>
                    <a:lnTo>
                      <a:pt x="1007" y="1522"/>
                    </a:lnTo>
                    <a:lnTo>
                      <a:pt x="1022" y="1436"/>
                    </a:lnTo>
                    <a:lnTo>
                      <a:pt x="1046" y="1353"/>
                    </a:lnTo>
                    <a:lnTo>
                      <a:pt x="1080" y="1274"/>
                    </a:lnTo>
                    <a:lnTo>
                      <a:pt x="1120" y="1200"/>
                    </a:lnTo>
                    <a:lnTo>
                      <a:pt x="1169" y="1131"/>
                    </a:lnTo>
                    <a:lnTo>
                      <a:pt x="1225" y="1068"/>
                    </a:lnTo>
                    <a:lnTo>
                      <a:pt x="1288" y="1013"/>
                    </a:lnTo>
                    <a:lnTo>
                      <a:pt x="1355" y="964"/>
                    </a:lnTo>
                    <a:lnTo>
                      <a:pt x="1429" y="923"/>
                    </a:lnTo>
                    <a:lnTo>
                      <a:pt x="1507" y="890"/>
                    </a:lnTo>
                    <a:lnTo>
                      <a:pt x="1589" y="866"/>
                    </a:lnTo>
                    <a:lnTo>
                      <a:pt x="1674" y="851"/>
                    </a:lnTo>
                    <a:lnTo>
                      <a:pt x="1763" y="845"/>
                    </a:lnTo>
                    <a:lnTo>
                      <a:pt x="1856" y="851"/>
                    </a:lnTo>
                    <a:lnTo>
                      <a:pt x="1946" y="868"/>
                    </a:lnTo>
                    <a:lnTo>
                      <a:pt x="2031" y="894"/>
                    </a:lnTo>
                    <a:lnTo>
                      <a:pt x="2111" y="929"/>
                    </a:lnTo>
                    <a:lnTo>
                      <a:pt x="2185" y="974"/>
                    </a:lnTo>
                    <a:lnTo>
                      <a:pt x="2256" y="1026"/>
                    </a:lnTo>
                    <a:lnTo>
                      <a:pt x="2289" y="949"/>
                    </a:lnTo>
                    <a:lnTo>
                      <a:pt x="2325" y="875"/>
                    </a:lnTo>
                    <a:lnTo>
                      <a:pt x="2362" y="801"/>
                    </a:lnTo>
                    <a:lnTo>
                      <a:pt x="2401" y="728"/>
                    </a:lnTo>
                    <a:lnTo>
                      <a:pt x="2444" y="658"/>
                    </a:lnTo>
                    <a:lnTo>
                      <a:pt x="2486" y="589"/>
                    </a:lnTo>
                    <a:lnTo>
                      <a:pt x="2533" y="522"/>
                    </a:lnTo>
                    <a:lnTo>
                      <a:pt x="2583" y="457"/>
                    </a:lnTo>
                    <a:lnTo>
                      <a:pt x="2635" y="398"/>
                    </a:lnTo>
                    <a:lnTo>
                      <a:pt x="2691" y="340"/>
                    </a:lnTo>
                    <a:lnTo>
                      <a:pt x="2752" y="286"/>
                    </a:lnTo>
                    <a:lnTo>
                      <a:pt x="2817" y="234"/>
                    </a:lnTo>
                    <a:lnTo>
                      <a:pt x="2886" y="188"/>
                    </a:lnTo>
                    <a:lnTo>
                      <a:pt x="2960" y="147"/>
                    </a:lnTo>
                    <a:lnTo>
                      <a:pt x="3040" y="110"/>
                    </a:lnTo>
                    <a:lnTo>
                      <a:pt x="3125" y="76"/>
                    </a:lnTo>
                    <a:lnTo>
                      <a:pt x="3217" y="50"/>
                    </a:lnTo>
                    <a:lnTo>
                      <a:pt x="3315" y="28"/>
                    </a:lnTo>
                    <a:lnTo>
                      <a:pt x="3419" y="13"/>
                    </a:lnTo>
                    <a:lnTo>
                      <a:pt x="3531" y="4"/>
                    </a:lnTo>
                    <a:lnTo>
                      <a:pt x="3648" y="0"/>
                    </a:lnTo>
                    <a:close/>
                  </a:path>
                </a:pathLst>
              </a:custGeom>
              <a:noFill/>
              <a:ln w="381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134"/>
              <p:cNvSpPr>
                <a:spLocks noEditPoints="1"/>
              </p:cNvSpPr>
              <p:nvPr/>
            </p:nvSpPr>
            <p:spPr bwMode="auto">
              <a:xfrm>
                <a:off x="5105446" y="4478930"/>
                <a:ext cx="1098340" cy="759707"/>
              </a:xfrm>
              <a:custGeom>
                <a:avLst/>
                <a:gdLst>
                  <a:gd name="T0" fmla="*/ 2889 w 5943"/>
                  <a:gd name="T1" fmla="*/ 2683 h 4110"/>
                  <a:gd name="T2" fmla="*/ 2889 w 5943"/>
                  <a:gd name="T3" fmla="*/ 2804 h 4110"/>
                  <a:gd name="T4" fmla="*/ 3003 w 5943"/>
                  <a:gd name="T5" fmla="*/ 2840 h 4110"/>
                  <a:gd name="T6" fmla="*/ 3073 w 5943"/>
                  <a:gd name="T7" fmla="*/ 2742 h 4110"/>
                  <a:gd name="T8" fmla="*/ 3003 w 5943"/>
                  <a:gd name="T9" fmla="*/ 2645 h 4110"/>
                  <a:gd name="T10" fmla="*/ 4332 w 5943"/>
                  <a:gd name="T11" fmla="*/ 2497 h 4110"/>
                  <a:gd name="T12" fmla="*/ 3571 w 5943"/>
                  <a:gd name="T13" fmla="*/ 732 h 4110"/>
                  <a:gd name="T14" fmla="*/ 4590 w 5943"/>
                  <a:gd name="T15" fmla="*/ 767 h 4110"/>
                  <a:gd name="T16" fmla="*/ 4650 w 5943"/>
                  <a:gd name="T17" fmla="*/ 891 h 4110"/>
                  <a:gd name="T18" fmla="*/ 3571 w 5943"/>
                  <a:gd name="T19" fmla="*/ 265 h 4110"/>
                  <a:gd name="T20" fmla="*/ 1293 w 5943"/>
                  <a:gd name="T21" fmla="*/ 891 h 4110"/>
                  <a:gd name="T22" fmla="*/ 1353 w 5943"/>
                  <a:gd name="T23" fmla="*/ 767 h 4110"/>
                  <a:gd name="T24" fmla="*/ 2372 w 5943"/>
                  <a:gd name="T25" fmla="*/ 732 h 4110"/>
                  <a:gd name="T26" fmla="*/ 2503 w 5943"/>
                  <a:gd name="T27" fmla="*/ 0 h 4110"/>
                  <a:gd name="T28" fmla="*/ 2619 w 5943"/>
                  <a:gd name="T29" fmla="*/ 65 h 4110"/>
                  <a:gd name="T30" fmla="*/ 3306 w 5943"/>
                  <a:gd name="T31" fmla="*/ 732 h 4110"/>
                  <a:gd name="T32" fmla="*/ 3346 w 5943"/>
                  <a:gd name="T33" fmla="*/ 39 h 4110"/>
                  <a:gd name="T34" fmla="*/ 5811 w 5943"/>
                  <a:gd name="T35" fmla="*/ 0 h 4110"/>
                  <a:gd name="T36" fmla="*/ 5925 w 5943"/>
                  <a:gd name="T37" fmla="*/ 65 h 4110"/>
                  <a:gd name="T38" fmla="*/ 5938 w 5943"/>
                  <a:gd name="T39" fmla="*/ 1640 h 4110"/>
                  <a:gd name="T40" fmla="*/ 5846 w 5943"/>
                  <a:gd name="T41" fmla="*/ 1732 h 4110"/>
                  <a:gd name="T42" fmla="*/ 5104 w 5943"/>
                  <a:gd name="T43" fmla="*/ 1811 h 4110"/>
                  <a:gd name="T44" fmla="*/ 5218 w 5943"/>
                  <a:gd name="T45" fmla="*/ 1876 h 4110"/>
                  <a:gd name="T46" fmla="*/ 5218 w 5943"/>
                  <a:gd name="T47" fmla="*/ 2010 h 4110"/>
                  <a:gd name="T48" fmla="*/ 5104 w 5943"/>
                  <a:gd name="T49" fmla="*/ 2076 h 4110"/>
                  <a:gd name="T50" fmla="*/ 4634 w 5943"/>
                  <a:gd name="T51" fmla="*/ 2847 h 4110"/>
                  <a:gd name="T52" fmla="*/ 4527 w 5943"/>
                  <a:gd name="T53" fmla="*/ 2932 h 4110"/>
                  <a:gd name="T54" fmla="*/ 3586 w 5943"/>
                  <a:gd name="T55" fmla="*/ 3053 h 4110"/>
                  <a:gd name="T56" fmla="*/ 3708 w 5943"/>
                  <a:gd name="T57" fmla="*/ 3112 h 4110"/>
                  <a:gd name="T58" fmla="*/ 3739 w 5943"/>
                  <a:gd name="T59" fmla="*/ 3247 h 4110"/>
                  <a:gd name="T60" fmla="*/ 3654 w 5943"/>
                  <a:gd name="T61" fmla="*/ 3354 h 4110"/>
                  <a:gd name="T62" fmla="*/ 3073 w 5943"/>
                  <a:gd name="T63" fmla="*/ 3641 h 4110"/>
                  <a:gd name="T64" fmla="*/ 3438 w 5943"/>
                  <a:gd name="T65" fmla="*/ 3684 h 4110"/>
                  <a:gd name="T66" fmla="*/ 5220 w 5943"/>
                  <a:gd name="T67" fmla="*/ 3774 h 4110"/>
                  <a:gd name="T68" fmla="*/ 5317 w 5943"/>
                  <a:gd name="T69" fmla="*/ 3843 h 4110"/>
                  <a:gd name="T70" fmla="*/ 5281 w 5943"/>
                  <a:gd name="T71" fmla="*/ 3958 h 4110"/>
                  <a:gd name="T72" fmla="*/ 3458 w 5943"/>
                  <a:gd name="T73" fmla="*/ 4009 h 4110"/>
                  <a:gd name="T74" fmla="*/ 3387 w 5943"/>
                  <a:gd name="T75" fmla="*/ 4106 h 4110"/>
                  <a:gd name="T76" fmla="*/ 2527 w 5943"/>
                  <a:gd name="T77" fmla="*/ 4092 h 4110"/>
                  <a:gd name="T78" fmla="*/ 2485 w 5943"/>
                  <a:gd name="T79" fmla="*/ 3978 h 4110"/>
                  <a:gd name="T80" fmla="*/ 640 w 5943"/>
                  <a:gd name="T81" fmla="*/ 3937 h 4110"/>
                  <a:gd name="T82" fmla="*/ 640 w 5943"/>
                  <a:gd name="T83" fmla="*/ 3816 h 4110"/>
                  <a:gd name="T84" fmla="*/ 2485 w 5943"/>
                  <a:gd name="T85" fmla="*/ 3774 h 4110"/>
                  <a:gd name="T86" fmla="*/ 2527 w 5943"/>
                  <a:gd name="T87" fmla="*/ 3661 h 4110"/>
                  <a:gd name="T88" fmla="*/ 2870 w 5943"/>
                  <a:gd name="T89" fmla="*/ 3370 h 4110"/>
                  <a:gd name="T90" fmla="*/ 2258 w 5943"/>
                  <a:gd name="T91" fmla="*/ 3336 h 4110"/>
                  <a:gd name="T92" fmla="*/ 2199 w 5943"/>
                  <a:gd name="T93" fmla="*/ 3211 h 4110"/>
                  <a:gd name="T94" fmla="*/ 2258 w 5943"/>
                  <a:gd name="T95" fmla="*/ 3087 h 4110"/>
                  <a:gd name="T96" fmla="*/ 2507 w 5943"/>
                  <a:gd name="T97" fmla="*/ 3053 h 4110"/>
                  <a:gd name="T98" fmla="*/ 1383 w 5943"/>
                  <a:gd name="T99" fmla="*/ 2919 h 4110"/>
                  <a:gd name="T100" fmla="*/ 1299 w 5943"/>
                  <a:gd name="T101" fmla="*/ 2813 h 4110"/>
                  <a:gd name="T102" fmla="*/ 804 w 5943"/>
                  <a:gd name="T103" fmla="*/ 2071 h 4110"/>
                  <a:gd name="T104" fmla="*/ 712 w 5943"/>
                  <a:gd name="T105" fmla="*/ 1979 h 4110"/>
                  <a:gd name="T106" fmla="*/ 747 w 5943"/>
                  <a:gd name="T107" fmla="*/ 1849 h 4110"/>
                  <a:gd name="T108" fmla="*/ 947 w 5943"/>
                  <a:gd name="T109" fmla="*/ 1811 h 4110"/>
                  <a:gd name="T110" fmla="*/ 65 w 5943"/>
                  <a:gd name="T111" fmla="*/ 1719 h 4110"/>
                  <a:gd name="T112" fmla="*/ 0 w 5943"/>
                  <a:gd name="T113" fmla="*/ 1604 h 4110"/>
                  <a:gd name="T114" fmla="*/ 40 w 5943"/>
                  <a:gd name="T115" fmla="*/ 39 h 4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943" h="4110">
                    <a:moveTo>
                      <a:pt x="2972" y="2639"/>
                    </a:moveTo>
                    <a:lnTo>
                      <a:pt x="2940" y="2645"/>
                    </a:lnTo>
                    <a:lnTo>
                      <a:pt x="2911" y="2659"/>
                    </a:lnTo>
                    <a:lnTo>
                      <a:pt x="2889" y="2683"/>
                    </a:lnTo>
                    <a:lnTo>
                      <a:pt x="2875" y="2710"/>
                    </a:lnTo>
                    <a:lnTo>
                      <a:pt x="2870" y="2742"/>
                    </a:lnTo>
                    <a:lnTo>
                      <a:pt x="2875" y="2775"/>
                    </a:lnTo>
                    <a:lnTo>
                      <a:pt x="2889" y="2804"/>
                    </a:lnTo>
                    <a:lnTo>
                      <a:pt x="2911" y="2825"/>
                    </a:lnTo>
                    <a:lnTo>
                      <a:pt x="2940" y="2840"/>
                    </a:lnTo>
                    <a:lnTo>
                      <a:pt x="2972" y="2845"/>
                    </a:lnTo>
                    <a:lnTo>
                      <a:pt x="3003" y="2840"/>
                    </a:lnTo>
                    <a:lnTo>
                      <a:pt x="3032" y="2825"/>
                    </a:lnTo>
                    <a:lnTo>
                      <a:pt x="3054" y="2804"/>
                    </a:lnTo>
                    <a:lnTo>
                      <a:pt x="3068" y="2775"/>
                    </a:lnTo>
                    <a:lnTo>
                      <a:pt x="3073" y="2742"/>
                    </a:lnTo>
                    <a:lnTo>
                      <a:pt x="3068" y="2710"/>
                    </a:lnTo>
                    <a:lnTo>
                      <a:pt x="3054" y="2683"/>
                    </a:lnTo>
                    <a:lnTo>
                      <a:pt x="3032" y="2659"/>
                    </a:lnTo>
                    <a:lnTo>
                      <a:pt x="3003" y="2645"/>
                    </a:lnTo>
                    <a:lnTo>
                      <a:pt x="2972" y="2639"/>
                    </a:lnTo>
                    <a:close/>
                    <a:moveTo>
                      <a:pt x="1611" y="1050"/>
                    </a:moveTo>
                    <a:lnTo>
                      <a:pt x="1611" y="2497"/>
                    </a:lnTo>
                    <a:lnTo>
                      <a:pt x="4332" y="2497"/>
                    </a:lnTo>
                    <a:lnTo>
                      <a:pt x="4332" y="1050"/>
                    </a:lnTo>
                    <a:lnTo>
                      <a:pt x="1611" y="1050"/>
                    </a:lnTo>
                    <a:close/>
                    <a:moveTo>
                      <a:pt x="3571" y="265"/>
                    </a:moveTo>
                    <a:lnTo>
                      <a:pt x="3571" y="732"/>
                    </a:lnTo>
                    <a:lnTo>
                      <a:pt x="4491" y="732"/>
                    </a:lnTo>
                    <a:lnTo>
                      <a:pt x="4527" y="736"/>
                    </a:lnTo>
                    <a:lnTo>
                      <a:pt x="4560" y="749"/>
                    </a:lnTo>
                    <a:lnTo>
                      <a:pt x="4590" y="767"/>
                    </a:lnTo>
                    <a:lnTo>
                      <a:pt x="4614" y="792"/>
                    </a:lnTo>
                    <a:lnTo>
                      <a:pt x="4634" y="821"/>
                    </a:lnTo>
                    <a:lnTo>
                      <a:pt x="4646" y="855"/>
                    </a:lnTo>
                    <a:lnTo>
                      <a:pt x="4650" y="891"/>
                    </a:lnTo>
                    <a:lnTo>
                      <a:pt x="4650" y="1378"/>
                    </a:lnTo>
                    <a:lnTo>
                      <a:pt x="5678" y="1378"/>
                    </a:lnTo>
                    <a:lnTo>
                      <a:pt x="5678" y="265"/>
                    </a:lnTo>
                    <a:lnTo>
                      <a:pt x="3571" y="265"/>
                    </a:lnTo>
                    <a:close/>
                    <a:moveTo>
                      <a:pt x="265" y="265"/>
                    </a:moveTo>
                    <a:lnTo>
                      <a:pt x="265" y="1378"/>
                    </a:lnTo>
                    <a:lnTo>
                      <a:pt x="1293" y="1378"/>
                    </a:lnTo>
                    <a:lnTo>
                      <a:pt x="1293" y="891"/>
                    </a:lnTo>
                    <a:lnTo>
                      <a:pt x="1299" y="855"/>
                    </a:lnTo>
                    <a:lnTo>
                      <a:pt x="1309" y="821"/>
                    </a:lnTo>
                    <a:lnTo>
                      <a:pt x="1329" y="792"/>
                    </a:lnTo>
                    <a:lnTo>
                      <a:pt x="1353" y="767"/>
                    </a:lnTo>
                    <a:lnTo>
                      <a:pt x="1383" y="749"/>
                    </a:lnTo>
                    <a:lnTo>
                      <a:pt x="1416" y="736"/>
                    </a:lnTo>
                    <a:lnTo>
                      <a:pt x="1452" y="732"/>
                    </a:lnTo>
                    <a:lnTo>
                      <a:pt x="2372" y="732"/>
                    </a:lnTo>
                    <a:lnTo>
                      <a:pt x="2372" y="265"/>
                    </a:lnTo>
                    <a:lnTo>
                      <a:pt x="265" y="265"/>
                    </a:lnTo>
                    <a:close/>
                    <a:moveTo>
                      <a:pt x="132" y="0"/>
                    </a:moveTo>
                    <a:lnTo>
                      <a:pt x="2503" y="0"/>
                    </a:lnTo>
                    <a:lnTo>
                      <a:pt x="2540" y="5"/>
                    </a:lnTo>
                    <a:lnTo>
                      <a:pt x="2572" y="18"/>
                    </a:lnTo>
                    <a:lnTo>
                      <a:pt x="2597" y="39"/>
                    </a:lnTo>
                    <a:lnTo>
                      <a:pt x="2619" y="65"/>
                    </a:lnTo>
                    <a:lnTo>
                      <a:pt x="2632" y="97"/>
                    </a:lnTo>
                    <a:lnTo>
                      <a:pt x="2637" y="132"/>
                    </a:lnTo>
                    <a:lnTo>
                      <a:pt x="2637" y="732"/>
                    </a:lnTo>
                    <a:lnTo>
                      <a:pt x="3306" y="732"/>
                    </a:lnTo>
                    <a:lnTo>
                      <a:pt x="3306" y="132"/>
                    </a:lnTo>
                    <a:lnTo>
                      <a:pt x="3311" y="97"/>
                    </a:lnTo>
                    <a:lnTo>
                      <a:pt x="3324" y="65"/>
                    </a:lnTo>
                    <a:lnTo>
                      <a:pt x="3346" y="39"/>
                    </a:lnTo>
                    <a:lnTo>
                      <a:pt x="3373" y="18"/>
                    </a:lnTo>
                    <a:lnTo>
                      <a:pt x="3403" y="5"/>
                    </a:lnTo>
                    <a:lnTo>
                      <a:pt x="3440" y="0"/>
                    </a:lnTo>
                    <a:lnTo>
                      <a:pt x="5811" y="0"/>
                    </a:lnTo>
                    <a:lnTo>
                      <a:pt x="5846" y="5"/>
                    </a:lnTo>
                    <a:lnTo>
                      <a:pt x="5878" y="18"/>
                    </a:lnTo>
                    <a:lnTo>
                      <a:pt x="5905" y="39"/>
                    </a:lnTo>
                    <a:lnTo>
                      <a:pt x="5925" y="65"/>
                    </a:lnTo>
                    <a:lnTo>
                      <a:pt x="5938" y="97"/>
                    </a:lnTo>
                    <a:lnTo>
                      <a:pt x="5943" y="132"/>
                    </a:lnTo>
                    <a:lnTo>
                      <a:pt x="5943" y="1604"/>
                    </a:lnTo>
                    <a:lnTo>
                      <a:pt x="5938" y="1640"/>
                    </a:lnTo>
                    <a:lnTo>
                      <a:pt x="5925" y="1670"/>
                    </a:lnTo>
                    <a:lnTo>
                      <a:pt x="5905" y="1698"/>
                    </a:lnTo>
                    <a:lnTo>
                      <a:pt x="5878" y="1719"/>
                    </a:lnTo>
                    <a:lnTo>
                      <a:pt x="5846" y="1732"/>
                    </a:lnTo>
                    <a:lnTo>
                      <a:pt x="5811" y="1737"/>
                    </a:lnTo>
                    <a:lnTo>
                      <a:pt x="4996" y="1737"/>
                    </a:lnTo>
                    <a:lnTo>
                      <a:pt x="4996" y="1811"/>
                    </a:lnTo>
                    <a:lnTo>
                      <a:pt x="5104" y="1811"/>
                    </a:lnTo>
                    <a:lnTo>
                      <a:pt x="5139" y="1815"/>
                    </a:lnTo>
                    <a:lnTo>
                      <a:pt x="5171" y="1829"/>
                    </a:lnTo>
                    <a:lnTo>
                      <a:pt x="5198" y="1849"/>
                    </a:lnTo>
                    <a:lnTo>
                      <a:pt x="5218" y="1876"/>
                    </a:lnTo>
                    <a:lnTo>
                      <a:pt x="5231" y="1909"/>
                    </a:lnTo>
                    <a:lnTo>
                      <a:pt x="5236" y="1943"/>
                    </a:lnTo>
                    <a:lnTo>
                      <a:pt x="5231" y="1979"/>
                    </a:lnTo>
                    <a:lnTo>
                      <a:pt x="5218" y="2010"/>
                    </a:lnTo>
                    <a:lnTo>
                      <a:pt x="5198" y="2037"/>
                    </a:lnTo>
                    <a:lnTo>
                      <a:pt x="5171" y="2058"/>
                    </a:lnTo>
                    <a:lnTo>
                      <a:pt x="5139" y="2071"/>
                    </a:lnTo>
                    <a:lnTo>
                      <a:pt x="5104" y="2076"/>
                    </a:lnTo>
                    <a:lnTo>
                      <a:pt x="4650" y="2076"/>
                    </a:lnTo>
                    <a:lnTo>
                      <a:pt x="4650" y="2776"/>
                    </a:lnTo>
                    <a:lnTo>
                      <a:pt x="4646" y="2813"/>
                    </a:lnTo>
                    <a:lnTo>
                      <a:pt x="4634" y="2847"/>
                    </a:lnTo>
                    <a:lnTo>
                      <a:pt x="4614" y="2876"/>
                    </a:lnTo>
                    <a:lnTo>
                      <a:pt x="4590" y="2901"/>
                    </a:lnTo>
                    <a:lnTo>
                      <a:pt x="4560" y="2919"/>
                    </a:lnTo>
                    <a:lnTo>
                      <a:pt x="4527" y="2932"/>
                    </a:lnTo>
                    <a:lnTo>
                      <a:pt x="4491" y="2935"/>
                    </a:lnTo>
                    <a:lnTo>
                      <a:pt x="3436" y="2935"/>
                    </a:lnTo>
                    <a:lnTo>
                      <a:pt x="3436" y="3053"/>
                    </a:lnTo>
                    <a:lnTo>
                      <a:pt x="3586" y="3053"/>
                    </a:lnTo>
                    <a:lnTo>
                      <a:pt x="3622" y="3056"/>
                    </a:lnTo>
                    <a:lnTo>
                      <a:pt x="3654" y="3069"/>
                    </a:lnTo>
                    <a:lnTo>
                      <a:pt x="3685" y="3087"/>
                    </a:lnTo>
                    <a:lnTo>
                      <a:pt x="3708" y="3112"/>
                    </a:lnTo>
                    <a:lnTo>
                      <a:pt x="3728" y="3141"/>
                    </a:lnTo>
                    <a:lnTo>
                      <a:pt x="3739" y="3175"/>
                    </a:lnTo>
                    <a:lnTo>
                      <a:pt x="3744" y="3211"/>
                    </a:lnTo>
                    <a:lnTo>
                      <a:pt x="3739" y="3247"/>
                    </a:lnTo>
                    <a:lnTo>
                      <a:pt x="3728" y="3282"/>
                    </a:lnTo>
                    <a:lnTo>
                      <a:pt x="3708" y="3311"/>
                    </a:lnTo>
                    <a:lnTo>
                      <a:pt x="3685" y="3336"/>
                    </a:lnTo>
                    <a:lnTo>
                      <a:pt x="3654" y="3354"/>
                    </a:lnTo>
                    <a:lnTo>
                      <a:pt x="3622" y="3366"/>
                    </a:lnTo>
                    <a:lnTo>
                      <a:pt x="3586" y="3370"/>
                    </a:lnTo>
                    <a:lnTo>
                      <a:pt x="3073" y="3370"/>
                    </a:lnTo>
                    <a:lnTo>
                      <a:pt x="3073" y="3641"/>
                    </a:lnTo>
                    <a:lnTo>
                      <a:pt x="3355" y="3641"/>
                    </a:lnTo>
                    <a:lnTo>
                      <a:pt x="3387" y="3646"/>
                    </a:lnTo>
                    <a:lnTo>
                      <a:pt x="3416" y="3661"/>
                    </a:lnTo>
                    <a:lnTo>
                      <a:pt x="3438" y="3684"/>
                    </a:lnTo>
                    <a:lnTo>
                      <a:pt x="3452" y="3711"/>
                    </a:lnTo>
                    <a:lnTo>
                      <a:pt x="3458" y="3744"/>
                    </a:lnTo>
                    <a:lnTo>
                      <a:pt x="3458" y="3774"/>
                    </a:lnTo>
                    <a:lnTo>
                      <a:pt x="5220" y="3774"/>
                    </a:lnTo>
                    <a:lnTo>
                      <a:pt x="5252" y="3778"/>
                    </a:lnTo>
                    <a:lnTo>
                      <a:pt x="5281" y="3794"/>
                    </a:lnTo>
                    <a:lnTo>
                      <a:pt x="5303" y="3816"/>
                    </a:lnTo>
                    <a:lnTo>
                      <a:pt x="5317" y="3843"/>
                    </a:lnTo>
                    <a:lnTo>
                      <a:pt x="5323" y="3875"/>
                    </a:lnTo>
                    <a:lnTo>
                      <a:pt x="5317" y="3908"/>
                    </a:lnTo>
                    <a:lnTo>
                      <a:pt x="5303" y="3937"/>
                    </a:lnTo>
                    <a:lnTo>
                      <a:pt x="5281" y="3958"/>
                    </a:lnTo>
                    <a:lnTo>
                      <a:pt x="5252" y="3973"/>
                    </a:lnTo>
                    <a:lnTo>
                      <a:pt x="5220" y="3978"/>
                    </a:lnTo>
                    <a:lnTo>
                      <a:pt x="3458" y="3978"/>
                    </a:lnTo>
                    <a:lnTo>
                      <a:pt x="3458" y="4009"/>
                    </a:lnTo>
                    <a:lnTo>
                      <a:pt x="3452" y="4041"/>
                    </a:lnTo>
                    <a:lnTo>
                      <a:pt x="3438" y="4068"/>
                    </a:lnTo>
                    <a:lnTo>
                      <a:pt x="3416" y="4092"/>
                    </a:lnTo>
                    <a:lnTo>
                      <a:pt x="3387" y="4106"/>
                    </a:lnTo>
                    <a:lnTo>
                      <a:pt x="3355" y="4110"/>
                    </a:lnTo>
                    <a:lnTo>
                      <a:pt x="2588" y="4110"/>
                    </a:lnTo>
                    <a:lnTo>
                      <a:pt x="2556" y="4106"/>
                    </a:lnTo>
                    <a:lnTo>
                      <a:pt x="2527" y="4092"/>
                    </a:lnTo>
                    <a:lnTo>
                      <a:pt x="2505" y="4068"/>
                    </a:lnTo>
                    <a:lnTo>
                      <a:pt x="2491" y="4041"/>
                    </a:lnTo>
                    <a:lnTo>
                      <a:pt x="2485" y="4009"/>
                    </a:lnTo>
                    <a:lnTo>
                      <a:pt x="2485" y="3978"/>
                    </a:lnTo>
                    <a:lnTo>
                      <a:pt x="723" y="3978"/>
                    </a:lnTo>
                    <a:lnTo>
                      <a:pt x="691" y="3973"/>
                    </a:lnTo>
                    <a:lnTo>
                      <a:pt x="662" y="3958"/>
                    </a:lnTo>
                    <a:lnTo>
                      <a:pt x="640" y="3937"/>
                    </a:lnTo>
                    <a:lnTo>
                      <a:pt x="626" y="3908"/>
                    </a:lnTo>
                    <a:lnTo>
                      <a:pt x="620" y="3875"/>
                    </a:lnTo>
                    <a:lnTo>
                      <a:pt x="626" y="3843"/>
                    </a:lnTo>
                    <a:lnTo>
                      <a:pt x="640" y="3816"/>
                    </a:lnTo>
                    <a:lnTo>
                      <a:pt x="662" y="3794"/>
                    </a:lnTo>
                    <a:lnTo>
                      <a:pt x="691" y="3778"/>
                    </a:lnTo>
                    <a:lnTo>
                      <a:pt x="723" y="3774"/>
                    </a:lnTo>
                    <a:lnTo>
                      <a:pt x="2485" y="3774"/>
                    </a:lnTo>
                    <a:lnTo>
                      <a:pt x="2485" y="3744"/>
                    </a:lnTo>
                    <a:lnTo>
                      <a:pt x="2491" y="3711"/>
                    </a:lnTo>
                    <a:lnTo>
                      <a:pt x="2505" y="3684"/>
                    </a:lnTo>
                    <a:lnTo>
                      <a:pt x="2527" y="3661"/>
                    </a:lnTo>
                    <a:lnTo>
                      <a:pt x="2556" y="3646"/>
                    </a:lnTo>
                    <a:lnTo>
                      <a:pt x="2588" y="3641"/>
                    </a:lnTo>
                    <a:lnTo>
                      <a:pt x="2870" y="3641"/>
                    </a:lnTo>
                    <a:lnTo>
                      <a:pt x="2870" y="3370"/>
                    </a:lnTo>
                    <a:lnTo>
                      <a:pt x="2357" y="3370"/>
                    </a:lnTo>
                    <a:lnTo>
                      <a:pt x="2321" y="3366"/>
                    </a:lnTo>
                    <a:lnTo>
                      <a:pt x="2289" y="3354"/>
                    </a:lnTo>
                    <a:lnTo>
                      <a:pt x="2258" y="3336"/>
                    </a:lnTo>
                    <a:lnTo>
                      <a:pt x="2235" y="3311"/>
                    </a:lnTo>
                    <a:lnTo>
                      <a:pt x="2215" y="3282"/>
                    </a:lnTo>
                    <a:lnTo>
                      <a:pt x="2204" y="3247"/>
                    </a:lnTo>
                    <a:lnTo>
                      <a:pt x="2199" y="3211"/>
                    </a:lnTo>
                    <a:lnTo>
                      <a:pt x="2204" y="3175"/>
                    </a:lnTo>
                    <a:lnTo>
                      <a:pt x="2215" y="3141"/>
                    </a:lnTo>
                    <a:lnTo>
                      <a:pt x="2235" y="3112"/>
                    </a:lnTo>
                    <a:lnTo>
                      <a:pt x="2258" y="3087"/>
                    </a:lnTo>
                    <a:lnTo>
                      <a:pt x="2289" y="3069"/>
                    </a:lnTo>
                    <a:lnTo>
                      <a:pt x="2321" y="3056"/>
                    </a:lnTo>
                    <a:lnTo>
                      <a:pt x="2357" y="3053"/>
                    </a:lnTo>
                    <a:lnTo>
                      <a:pt x="2507" y="3053"/>
                    </a:lnTo>
                    <a:lnTo>
                      <a:pt x="2507" y="2935"/>
                    </a:lnTo>
                    <a:lnTo>
                      <a:pt x="1452" y="2935"/>
                    </a:lnTo>
                    <a:lnTo>
                      <a:pt x="1416" y="2932"/>
                    </a:lnTo>
                    <a:lnTo>
                      <a:pt x="1383" y="2919"/>
                    </a:lnTo>
                    <a:lnTo>
                      <a:pt x="1353" y="2901"/>
                    </a:lnTo>
                    <a:lnTo>
                      <a:pt x="1329" y="2876"/>
                    </a:lnTo>
                    <a:lnTo>
                      <a:pt x="1309" y="2847"/>
                    </a:lnTo>
                    <a:lnTo>
                      <a:pt x="1299" y="2813"/>
                    </a:lnTo>
                    <a:lnTo>
                      <a:pt x="1293" y="2776"/>
                    </a:lnTo>
                    <a:lnTo>
                      <a:pt x="1293" y="2076"/>
                    </a:lnTo>
                    <a:lnTo>
                      <a:pt x="839" y="2076"/>
                    </a:lnTo>
                    <a:lnTo>
                      <a:pt x="804" y="2071"/>
                    </a:lnTo>
                    <a:lnTo>
                      <a:pt x="772" y="2058"/>
                    </a:lnTo>
                    <a:lnTo>
                      <a:pt x="747" y="2037"/>
                    </a:lnTo>
                    <a:lnTo>
                      <a:pt x="725" y="2010"/>
                    </a:lnTo>
                    <a:lnTo>
                      <a:pt x="712" y="1979"/>
                    </a:lnTo>
                    <a:lnTo>
                      <a:pt x="707" y="1943"/>
                    </a:lnTo>
                    <a:lnTo>
                      <a:pt x="712" y="1909"/>
                    </a:lnTo>
                    <a:lnTo>
                      <a:pt x="725" y="1876"/>
                    </a:lnTo>
                    <a:lnTo>
                      <a:pt x="747" y="1849"/>
                    </a:lnTo>
                    <a:lnTo>
                      <a:pt x="772" y="1829"/>
                    </a:lnTo>
                    <a:lnTo>
                      <a:pt x="804" y="1815"/>
                    </a:lnTo>
                    <a:lnTo>
                      <a:pt x="839" y="1811"/>
                    </a:lnTo>
                    <a:lnTo>
                      <a:pt x="947" y="1811"/>
                    </a:lnTo>
                    <a:lnTo>
                      <a:pt x="947" y="1737"/>
                    </a:lnTo>
                    <a:lnTo>
                      <a:pt x="132" y="1737"/>
                    </a:lnTo>
                    <a:lnTo>
                      <a:pt x="97" y="1732"/>
                    </a:lnTo>
                    <a:lnTo>
                      <a:pt x="65" y="1719"/>
                    </a:lnTo>
                    <a:lnTo>
                      <a:pt x="40" y="1698"/>
                    </a:lnTo>
                    <a:lnTo>
                      <a:pt x="18" y="1670"/>
                    </a:lnTo>
                    <a:lnTo>
                      <a:pt x="5" y="1640"/>
                    </a:lnTo>
                    <a:lnTo>
                      <a:pt x="0" y="1604"/>
                    </a:lnTo>
                    <a:lnTo>
                      <a:pt x="0" y="132"/>
                    </a:lnTo>
                    <a:lnTo>
                      <a:pt x="5" y="97"/>
                    </a:lnTo>
                    <a:lnTo>
                      <a:pt x="18" y="65"/>
                    </a:lnTo>
                    <a:lnTo>
                      <a:pt x="40" y="39"/>
                    </a:lnTo>
                    <a:lnTo>
                      <a:pt x="65" y="18"/>
                    </a:lnTo>
                    <a:lnTo>
                      <a:pt x="97" y="5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10" name="Group 19"/>
              <p:cNvGrpSpPr>
                <a:grpSpLocks noChangeAspect="1"/>
              </p:cNvGrpSpPr>
              <p:nvPr/>
            </p:nvGrpSpPr>
            <p:grpSpPr bwMode="auto">
              <a:xfrm>
                <a:off x="5004281" y="5279778"/>
                <a:ext cx="633500" cy="488492"/>
                <a:chOff x="-1698" y="1247"/>
                <a:chExt cx="2512" cy="1937"/>
              </a:xfrm>
              <a:solidFill>
                <a:schemeClr val="bg1"/>
              </a:solidFill>
            </p:grpSpPr>
            <p:sp>
              <p:nvSpPr>
                <p:cNvPr id="11" name="Freeform 21"/>
                <p:cNvSpPr>
                  <a:spLocks/>
                </p:cNvSpPr>
                <p:nvPr/>
              </p:nvSpPr>
              <p:spPr bwMode="auto">
                <a:xfrm>
                  <a:off x="-1698" y="1629"/>
                  <a:ext cx="2512" cy="1555"/>
                </a:xfrm>
                <a:custGeom>
                  <a:avLst/>
                  <a:gdLst>
                    <a:gd name="T0" fmla="*/ 1567 w 5025"/>
                    <a:gd name="T1" fmla="*/ 0 h 3111"/>
                    <a:gd name="T2" fmla="*/ 687 w 5025"/>
                    <a:gd name="T3" fmla="*/ 329 h 3111"/>
                    <a:gd name="T4" fmla="*/ 4341 w 5025"/>
                    <a:gd name="T5" fmla="*/ 2522 h 3111"/>
                    <a:gd name="T6" fmla="*/ 4130 w 5025"/>
                    <a:gd name="T7" fmla="*/ 329 h 3111"/>
                    <a:gd name="T8" fmla="*/ 4479 w 5025"/>
                    <a:gd name="T9" fmla="*/ 0 h 3111"/>
                    <a:gd name="T10" fmla="*/ 4554 w 5025"/>
                    <a:gd name="T11" fmla="*/ 15 h 3111"/>
                    <a:gd name="T12" fmla="*/ 4614 w 5025"/>
                    <a:gd name="T13" fmla="*/ 55 h 3111"/>
                    <a:gd name="T14" fmla="*/ 4655 w 5025"/>
                    <a:gd name="T15" fmla="*/ 116 h 3111"/>
                    <a:gd name="T16" fmla="*/ 4670 w 5025"/>
                    <a:gd name="T17" fmla="*/ 189 h 3111"/>
                    <a:gd name="T18" fmla="*/ 4939 w 5025"/>
                    <a:gd name="T19" fmla="*/ 2651 h 3111"/>
                    <a:gd name="T20" fmla="*/ 4990 w 5025"/>
                    <a:gd name="T21" fmla="*/ 2668 h 3111"/>
                    <a:gd name="T22" fmla="*/ 5020 w 5025"/>
                    <a:gd name="T23" fmla="*/ 2711 h 3111"/>
                    <a:gd name="T24" fmla="*/ 5022 w 5025"/>
                    <a:gd name="T25" fmla="*/ 2793 h 3111"/>
                    <a:gd name="T26" fmla="*/ 4991 w 5025"/>
                    <a:gd name="T27" fmla="*/ 2894 h 3111"/>
                    <a:gd name="T28" fmla="*/ 4933 w 5025"/>
                    <a:gd name="T29" fmla="*/ 2983 h 3111"/>
                    <a:gd name="T30" fmla="*/ 4855 w 5025"/>
                    <a:gd name="T31" fmla="*/ 3050 h 3111"/>
                    <a:gd name="T32" fmla="*/ 4761 w 5025"/>
                    <a:gd name="T33" fmla="*/ 3094 h 3111"/>
                    <a:gd name="T34" fmla="*/ 4652 w 5025"/>
                    <a:gd name="T35" fmla="*/ 3111 h 3111"/>
                    <a:gd name="T36" fmla="*/ 3969 w 5025"/>
                    <a:gd name="T37" fmla="*/ 2949 h 3111"/>
                    <a:gd name="T38" fmla="*/ 3954 w 5025"/>
                    <a:gd name="T39" fmla="*/ 2897 h 3111"/>
                    <a:gd name="T40" fmla="*/ 3917 w 5025"/>
                    <a:gd name="T41" fmla="*/ 2859 h 3111"/>
                    <a:gd name="T42" fmla="*/ 3866 w 5025"/>
                    <a:gd name="T43" fmla="*/ 2845 h 3111"/>
                    <a:gd name="T44" fmla="*/ 3812 w 5025"/>
                    <a:gd name="T45" fmla="*/ 2859 h 3111"/>
                    <a:gd name="T46" fmla="*/ 3775 w 5025"/>
                    <a:gd name="T47" fmla="*/ 2897 h 3111"/>
                    <a:gd name="T48" fmla="*/ 3762 w 5025"/>
                    <a:gd name="T49" fmla="*/ 2949 h 3111"/>
                    <a:gd name="T50" fmla="*/ 3591 w 5025"/>
                    <a:gd name="T51" fmla="*/ 3111 h 3111"/>
                    <a:gd name="T52" fmla="*/ 3588 w 5025"/>
                    <a:gd name="T53" fmla="*/ 2922 h 3111"/>
                    <a:gd name="T54" fmla="*/ 3560 w 5025"/>
                    <a:gd name="T55" fmla="*/ 2876 h 3111"/>
                    <a:gd name="T56" fmla="*/ 3514 w 5025"/>
                    <a:gd name="T57" fmla="*/ 2850 h 3111"/>
                    <a:gd name="T58" fmla="*/ 3459 w 5025"/>
                    <a:gd name="T59" fmla="*/ 2850 h 3111"/>
                    <a:gd name="T60" fmla="*/ 3413 w 5025"/>
                    <a:gd name="T61" fmla="*/ 2876 h 3111"/>
                    <a:gd name="T62" fmla="*/ 3387 w 5025"/>
                    <a:gd name="T63" fmla="*/ 2922 h 3111"/>
                    <a:gd name="T64" fmla="*/ 3383 w 5025"/>
                    <a:gd name="T65" fmla="*/ 3111 h 3111"/>
                    <a:gd name="T66" fmla="*/ 318 w 5025"/>
                    <a:gd name="T67" fmla="*/ 3106 h 3111"/>
                    <a:gd name="T68" fmla="*/ 215 w 5025"/>
                    <a:gd name="T69" fmla="*/ 3076 h 3111"/>
                    <a:gd name="T70" fmla="*/ 128 w 5025"/>
                    <a:gd name="T71" fmla="*/ 3019 h 3111"/>
                    <a:gd name="T72" fmla="*/ 60 w 5025"/>
                    <a:gd name="T73" fmla="*/ 2940 h 3111"/>
                    <a:gd name="T74" fmla="*/ 15 w 5025"/>
                    <a:gd name="T75" fmla="*/ 2845 h 3111"/>
                    <a:gd name="T76" fmla="*/ 0 w 5025"/>
                    <a:gd name="T77" fmla="*/ 2738 h 3111"/>
                    <a:gd name="T78" fmla="*/ 17 w 5025"/>
                    <a:gd name="T79" fmla="*/ 2687 h 3111"/>
                    <a:gd name="T80" fmla="*/ 60 w 5025"/>
                    <a:gd name="T81" fmla="*/ 2656 h 3111"/>
                    <a:gd name="T82" fmla="*/ 357 w 5025"/>
                    <a:gd name="T83" fmla="*/ 2651 h 3111"/>
                    <a:gd name="T84" fmla="*/ 360 w 5025"/>
                    <a:gd name="T85" fmla="*/ 151 h 3111"/>
                    <a:gd name="T86" fmla="*/ 389 w 5025"/>
                    <a:gd name="T87" fmla="*/ 84 h 3111"/>
                    <a:gd name="T88" fmla="*/ 441 w 5025"/>
                    <a:gd name="T89" fmla="*/ 32 h 3111"/>
                    <a:gd name="T90" fmla="*/ 509 w 5025"/>
                    <a:gd name="T91" fmla="*/ 3 h 3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025" h="3111">
                      <a:moveTo>
                        <a:pt x="547" y="0"/>
                      </a:moveTo>
                      <a:lnTo>
                        <a:pt x="1567" y="0"/>
                      </a:lnTo>
                      <a:lnTo>
                        <a:pt x="1167" y="329"/>
                      </a:lnTo>
                      <a:lnTo>
                        <a:pt x="687" y="329"/>
                      </a:lnTo>
                      <a:lnTo>
                        <a:pt x="687" y="2522"/>
                      </a:lnTo>
                      <a:lnTo>
                        <a:pt x="4341" y="2522"/>
                      </a:lnTo>
                      <a:lnTo>
                        <a:pt x="4341" y="329"/>
                      </a:lnTo>
                      <a:lnTo>
                        <a:pt x="4130" y="329"/>
                      </a:lnTo>
                      <a:lnTo>
                        <a:pt x="4266" y="0"/>
                      </a:lnTo>
                      <a:lnTo>
                        <a:pt x="4479" y="0"/>
                      </a:lnTo>
                      <a:lnTo>
                        <a:pt x="4518" y="3"/>
                      </a:lnTo>
                      <a:lnTo>
                        <a:pt x="4554" y="15"/>
                      </a:lnTo>
                      <a:lnTo>
                        <a:pt x="4586" y="32"/>
                      </a:lnTo>
                      <a:lnTo>
                        <a:pt x="4614" y="55"/>
                      </a:lnTo>
                      <a:lnTo>
                        <a:pt x="4637" y="84"/>
                      </a:lnTo>
                      <a:lnTo>
                        <a:pt x="4655" y="116"/>
                      </a:lnTo>
                      <a:lnTo>
                        <a:pt x="4666" y="151"/>
                      </a:lnTo>
                      <a:lnTo>
                        <a:pt x="4670" y="189"/>
                      </a:lnTo>
                      <a:lnTo>
                        <a:pt x="4670" y="2651"/>
                      </a:lnTo>
                      <a:lnTo>
                        <a:pt x="4939" y="2651"/>
                      </a:lnTo>
                      <a:lnTo>
                        <a:pt x="4965" y="2656"/>
                      </a:lnTo>
                      <a:lnTo>
                        <a:pt x="4990" y="2668"/>
                      </a:lnTo>
                      <a:lnTo>
                        <a:pt x="5008" y="2687"/>
                      </a:lnTo>
                      <a:lnTo>
                        <a:pt x="5020" y="2711"/>
                      </a:lnTo>
                      <a:lnTo>
                        <a:pt x="5025" y="2738"/>
                      </a:lnTo>
                      <a:lnTo>
                        <a:pt x="5022" y="2793"/>
                      </a:lnTo>
                      <a:lnTo>
                        <a:pt x="5009" y="2845"/>
                      </a:lnTo>
                      <a:lnTo>
                        <a:pt x="4991" y="2894"/>
                      </a:lnTo>
                      <a:lnTo>
                        <a:pt x="4965" y="2940"/>
                      </a:lnTo>
                      <a:lnTo>
                        <a:pt x="4933" y="2983"/>
                      </a:lnTo>
                      <a:lnTo>
                        <a:pt x="4896" y="3019"/>
                      </a:lnTo>
                      <a:lnTo>
                        <a:pt x="4855" y="3050"/>
                      </a:lnTo>
                      <a:lnTo>
                        <a:pt x="4809" y="3076"/>
                      </a:lnTo>
                      <a:lnTo>
                        <a:pt x="4761" y="3094"/>
                      </a:lnTo>
                      <a:lnTo>
                        <a:pt x="4707" y="3106"/>
                      </a:lnTo>
                      <a:lnTo>
                        <a:pt x="4652" y="3111"/>
                      </a:lnTo>
                      <a:lnTo>
                        <a:pt x="3969" y="3111"/>
                      </a:lnTo>
                      <a:lnTo>
                        <a:pt x="3969" y="2949"/>
                      </a:lnTo>
                      <a:lnTo>
                        <a:pt x="3965" y="2922"/>
                      </a:lnTo>
                      <a:lnTo>
                        <a:pt x="3954" y="2897"/>
                      </a:lnTo>
                      <a:lnTo>
                        <a:pt x="3939" y="2876"/>
                      </a:lnTo>
                      <a:lnTo>
                        <a:pt x="3917" y="2859"/>
                      </a:lnTo>
                      <a:lnTo>
                        <a:pt x="3893" y="2850"/>
                      </a:lnTo>
                      <a:lnTo>
                        <a:pt x="3866" y="2845"/>
                      </a:lnTo>
                      <a:lnTo>
                        <a:pt x="3838" y="2850"/>
                      </a:lnTo>
                      <a:lnTo>
                        <a:pt x="3812" y="2859"/>
                      </a:lnTo>
                      <a:lnTo>
                        <a:pt x="3792" y="2876"/>
                      </a:lnTo>
                      <a:lnTo>
                        <a:pt x="3775" y="2897"/>
                      </a:lnTo>
                      <a:lnTo>
                        <a:pt x="3765" y="2922"/>
                      </a:lnTo>
                      <a:lnTo>
                        <a:pt x="3762" y="2949"/>
                      </a:lnTo>
                      <a:lnTo>
                        <a:pt x="3762" y="3111"/>
                      </a:lnTo>
                      <a:lnTo>
                        <a:pt x="3591" y="3111"/>
                      </a:lnTo>
                      <a:lnTo>
                        <a:pt x="3591" y="2949"/>
                      </a:lnTo>
                      <a:lnTo>
                        <a:pt x="3588" y="2922"/>
                      </a:lnTo>
                      <a:lnTo>
                        <a:pt x="3577" y="2897"/>
                      </a:lnTo>
                      <a:lnTo>
                        <a:pt x="3560" y="2876"/>
                      </a:lnTo>
                      <a:lnTo>
                        <a:pt x="3540" y="2859"/>
                      </a:lnTo>
                      <a:lnTo>
                        <a:pt x="3514" y="2850"/>
                      </a:lnTo>
                      <a:lnTo>
                        <a:pt x="3487" y="2845"/>
                      </a:lnTo>
                      <a:lnTo>
                        <a:pt x="3459" y="2850"/>
                      </a:lnTo>
                      <a:lnTo>
                        <a:pt x="3435" y="2859"/>
                      </a:lnTo>
                      <a:lnTo>
                        <a:pt x="3413" y="2876"/>
                      </a:lnTo>
                      <a:lnTo>
                        <a:pt x="3398" y="2897"/>
                      </a:lnTo>
                      <a:lnTo>
                        <a:pt x="3387" y="2922"/>
                      </a:lnTo>
                      <a:lnTo>
                        <a:pt x="3383" y="2949"/>
                      </a:lnTo>
                      <a:lnTo>
                        <a:pt x="3383" y="3111"/>
                      </a:lnTo>
                      <a:lnTo>
                        <a:pt x="373" y="3111"/>
                      </a:lnTo>
                      <a:lnTo>
                        <a:pt x="318" y="3106"/>
                      </a:lnTo>
                      <a:lnTo>
                        <a:pt x="266" y="3094"/>
                      </a:lnTo>
                      <a:lnTo>
                        <a:pt x="215" y="3076"/>
                      </a:lnTo>
                      <a:lnTo>
                        <a:pt x="170" y="3050"/>
                      </a:lnTo>
                      <a:lnTo>
                        <a:pt x="128" y="3019"/>
                      </a:lnTo>
                      <a:lnTo>
                        <a:pt x="92" y="2983"/>
                      </a:lnTo>
                      <a:lnTo>
                        <a:pt x="60" y="2940"/>
                      </a:lnTo>
                      <a:lnTo>
                        <a:pt x="35" y="2894"/>
                      </a:lnTo>
                      <a:lnTo>
                        <a:pt x="15" y="2845"/>
                      </a:lnTo>
                      <a:lnTo>
                        <a:pt x="5" y="2793"/>
                      </a:lnTo>
                      <a:lnTo>
                        <a:pt x="0" y="2738"/>
                      </a:lnTo>
                      <a:lnTo>
                        <a:pt x="5" y="2711"/>
                      </a:lnTo>
                      <a:lnTo>
                        <a:pt x="17" y="2687"/>
                      </a:lnTo>
                      <a:lnTo>
                        <a:pt x="35" y="2668"/>
                      </a:lnTo>
                      <a:lnTo>
                        <a:pt x="60" y="2656"/>
                      </a:lnTo>
                      <a:lnTo>
                        <a:pt x="87" y="2651"/>
                      </a:lnTo>
                      <a:lnTo>
                        <a:pt x="357" y="2651"/>
                      </a:lnTo>
                      <a:lnTo>
                        <a:pt x="357" y="189"/>
                      </a:lnTo>
                      <a:lnTo>
                        <a:pt x="360" y="151"/>
                      </a:lnTo>
                      <a:lnTo>
                        <a:pt x="373" y="116"/>
                      </a:lnTo>
                      <a:lnTo>
                        <a:pt x="389" y="84"/>
                      </a:lnTo>
                      <a:lnTo>
                        <a:pt x="412" y="55"/>
                      </a:lnTo>
                      <a:lnTo>
                        <a:pt x="441" y="32"/>
                      </a:lnTo>
                      <a:lnTo>
                        <a:pt x="473" y="15"/>
                      </a:lnTo>
                      <a:lnTo>
                        <a:pt x="509" y="3"/>
                      </a:lnTo>
                      <a:lnTo>
                        <a:pt x="54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" name="Freeform 22"/>
                <p:cNvSpPr>
                  <a:spLocks/>
                </p:cNvSpPr>
                <p:nvPr/>
              </p:nvSpPr>
              <p:spPr bwMode="auto">
                <a:xfrm>
                  <a:off x="-1128" y="1247"/>
                  <a:ext cx="1571" cy="825"/>
                </a:xfrm>
                <a:custGeom>
                  <a:avLst/>
                  <a:gdLst>
                    <a:gd name="T0" fmla="*/ 3101 w 3143"/>
                    <a:gd name="T1" fmla="*/ 0 h 1651"/>
                    <a:gd name="T2" fmla="*/ 3101 w 3143"/>
                    <a:gd name="T3" fmla="*/ 0 h 1651"/>
                    <a:gd name="T4" fmla="*/ 3113 w 3143"/>
                    <a:gd name="T5" fmla="*/ 2 h 1651"/>
                    <a:gd name="T6" fmla="*/ 3124 w 3143"/>
                    <a:gd name="T7" fmla="*/ 6 h 1651"/>
                    <a:gd name="T8" fmla="*/ 3134 w 3143"/>
                    <a:gd name="T9" fmla="*/ 15 h 1651"/>
                    <a:gd name="T10" fmla="*/ 3142 w 3143"/>
                    <a:gd name="T11" fmla="*/ 29 h 1651"/>
                    <a:gd name="T12" fmla="*/ 3143 w 3143"/>
                    <a:gd name="T13" fmla="*/ 44 h 1651"/>
                    <a:gd name="T14" fmla="*/ 3140 w 3143"/>
                    <a:gd name="T15" fmla="*/ 60 h 1651"/>
                    <a:gd name="T16" fmla="*/ 2752 w 3143"/>
                    <a:gd name="T17" fmla="*/ 1001 h 1651"/>
                    <a:gd name="T18" fmla="*/ 2745 w 3143"/>
                    <a:gd name="T19" fmla="*/ 1015 h 1651"/>
                    <a:gd name="T20" fmla="*/ 2733 w 3143"/>
                    <a:gd name="T21" fmla="*/ 1022 h 1651"/>
                    <a:gd name="T22" fmla="*/ 2719 w 3143"/>
                    <a:gd name="T23" fmla="*/ 1029 h 1651"/>
                    <a:gd name="T24" fmla="*/ 2713 w 3143"/>
                    <a:gd name="T25" fmla="*/ 1029 h 1651"/>
                    <a:gd name="T26" fmla="*/ 2701 w 3143"/>
                    <a:gd name="T27" fmla="*/ 1027 h 1651"/>
                    <a:gd name="T28" fmla="*/ 2688 w 3143"/>
                    <a:gd name="T29" fmla="*/ 1021 h 1651"/>
                    <a:gd name="T30" fmla="*/ 2679 w 3143"/>
                    <a:gd name="T31" fmla="*/ 1013 h 1651"/>
                    <a:gd name="T32" fmla="*/ 2484 w 3143"/>
                    <a:gd name="T33" fmla="*/ 775 h 1651"/>
                    <a:gd name="T34" fmla="*/ 1271 w 3143"/>
                    <a:gd name="T35" fmla="*/ 1596 h 1651"/>
                    <a:gd name="T36" fmla="*/ 1189 w 3143"/>
                    <a:gd name="T37" fmla="*/ 1651 h 1651"/>
                    <a:gd name="T38" fmla="*/ 1134 w 3143"/>
                    <a:gd name="T39" fmla="*/ 1584 h 1651"/>
                    <a:gd name="T40" fmla="*/ 677 w 3143"/>
                    <a:gd name="T41" fmla="*/ 1033 h 1651"/>
                    <a:gd name="T42" fmla="*/ 40 w 3143"/>
                    <a:gd name="T43" fmla="*/ 1492 h 1651"/>
                    <a:gd name="T44" fmla="*/ 37 w 3143"/>
                    <a:gd name="T45" fmla="*/ 1488 h 1651"/>
                    <a:gd name="T46" fmla="*/ 29 w 3143"/>
                    <a:gd name="T47" fmla="*/ 1480 h 1651"/>
                    <a:gd name="T48" fmla="*/ 20 w 3143"/>
                    <a:gd name="T49" fmla="*/ 1471 h 1651"/>
                    <a:gd name="T50" fmla="*/ 11 w 3143"/>
                    <a:gd name="T51" fmla="*/ 1460 h 1651"/>
                    <a:gd name="T52" fmla="*/ 5 w 3143"/>
                    <a:gd name="T53" fmla="*/ 1453 h 1651"/>
                    <a:gd name="T54" fmla="*/ 0 w 3143"/>
                    <a:gd name="T55" fmla="*/ 1448 h 1651"/>
                    <a:gd name="T56" fmla="*/ 652 w 3143"/>
                    <a:gd name="T57" fmla="*/ 911 h 1651"/>
                    <a:gd name="T58" fmla="*/ 689 w 3143"/>
                    <a:gd name="T59" fmla="*/ 879 h 1651"/>
                    <a:gd name="T60" fmla="*/ 729 w 3143"/>
                    <a:gd name="T61" fmla="*/ 917 h 1651"/>
                    <a:gd name="T62" fmla="*/ 1211 w 3143"/>
                    <a:gd name="T63" fmla="*/ 1379 h 1651"/>
                    <a:gd name="T64" fmla="*/ 2245 w 3143"/>
                    <a:gd name="T65" fmla="*/ 488 h 1651"/>
                    <a:gd name="T66" fmla="*/ 2067 w 3143"/>
                    <a:gd name="T67" fmla="*/ 273 h 1651"/>
                    <a:gd name="T68" fmla="*/ 2061 w 3143"/>
                    <a:gd name="T69" fmla="*/ 260 h 1651"/>
                    <a:gd name="T70" fmla="*/ 2058 w 3143"/>
                    <a:gd name="T71" fmla="*/ 246 h 1651"/>
                    <a:gd name="T72" fmla="*/ 2061 w 3143"/>
                    <a:gd name="T73" fmla="*/ 231 h 1651"/>
                    <a:gd name="T74" fmla="*/ 2067 w 3143"/>
                    <a:gd name="T75" fmla="*/ 218 h 1651"/>
                    <a:gd name="T76" fmla="*/ 2079 w 3143"/>
                    <a:gd name="T77" fmla="*/ 208 h 1651"/>
                    <a:gd name="T78" fmla="*/ 2093 w 3143"/>
                    <a:gd name="T79" fmla="*/ 203 h 1651"/>
                    <a:gd name="T80" fmla="*/ 3092 w 3143"/>
                    <a:gd name="T81" fmla="*/ 0 h 1651"/>
                    <a:gd name="T82" fmla="*/ 3101 w 3143"/>
                    <a:gd name="T83" fmla="*/ 0 h 16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143" h="1651">
                      <a:moveTo>
                        <a:pt x="3101" y="0"/>
                      </a:moveTo>
                      <a:lnTo>
                        <a:pt x="3101" y="0"/>
                      </a:lnTo>
                      <a:lnTo>
                        <a:pt x="3113" y="2"/>
                      </a:lnTo>
                      <a:lnTo>
                        <a:pt x="3124" y="6"/>
                      </a:lnTo>
                      <a:lnTo>
                        <a:pt x="3134" y="15"/>
                      </a:lnTo>
                      <a:lnTo>
                        <a:pt x="3142" y="29"/>
                      </a:lnTo>
                      <a:lnTo>
                        <a:pt x="3143" y="44"/>
                      </a:lnTo>
                      <a:lnTo>
                        <a:pt x="3140" y="60"/>
                      </a:lnTo>
                      <a:lnTo>
                        <a:pt x="2752" y="1001"/>
                      </a:lnTo>
                      <a:lnTo>
                        <a:pt x="2745" y="1015"/>
                      </a:lnTo>
                      <a:lnTo>
                        <a:pt x="2733" y="1022"/>
                      </a:lnTo>
                      <a:lnTo>
                        <a:pt x="2719" y="1029"/>
                      </a:lnTo>
                      <a:lnTo>
                        <a:pt x="2713" y="1029"/>
                      </a:lnTo>
                      <a:lnTo>
                        <a:pt x="2701" y="1027"/>
                      </a:lnTo>
                      <a:lnTo>
                        <a:pt x="2688" y="1021"/>
                      </a:lnTo>
                      <a:lnTo>
                        <a:pt x="2679" y="1013"/>
                      </a:lnTo>
                      <a:lnTo>
                        <a:pt x="2484" y="775"/>
                      </a:lnTo>
                      <a:lnTo>
                        <a:pt x="1271" y="1596"/>
                      </a:lnTo>
                      <a:lnTo>
                        <a:pt x="1189" y="1651"/>
                      </a:lnTo>
                      <a:lnTo>
                        <a:pt x="1134" y="1584"/>
                      </a:lnTo>
                      <a:lnTo>
                        <a:pt x="677" y="1033"/>
                      </a:lnTo>
                      <a:lnTo>
                        <a:pt x="40" y="1492"/>
                      </a:lnTo>
                      <a:lnTo>
                        <a:pt x="37" y="1488"/>
                      </a:lnTo>
                      <a:lnTo>
                        <a:pt x="29" y="1480"/>
                      </a:lnTo>
                      <a:lnTo>
                        <a:pt x="20" y="1471"/>
                      </a:lnTo>
                      <a:lnTo>
                        <a:pt x="11" y="1460"/>
                      </a:lnTo>
                      <a:lnTo>
                        <a:pt x="5" y="1453"/>
                      </a:lnTo>
                      <a:lnTo>
                        <a:pt x="0" y="1448"/>
                      </a:lnTo>
                      <a:lnTo>
                        <a:pt x="652" y="911"/>
                      </a:lnTo>
                      <a:lnTo>
                        <a:pt x="689" y="879"/>
                      </a:lnTo>
                      <a:lnTo>
                        <a:pt x="729" y="917"/>
                      </a:lnTo>
                      <a:lnTo>
                        <a:pt x="1211" y="1379"/>
                      </a:lnTo>
                      <a:lnTo>
                        <a:pt x="2245" y="488"/>
                      </a:lnTo>
                      <a:lnTo>
                        <a:pt x="2067" y="273"/>
                      </a:lnTo>
                      <a:lnTo>
                        <a:pt x="2061" y="260"/>
                      </a:lnTo>
                      <a:lnTo>
                        <a:pt x="2058" y="246"/>
                      </a:lnTo>
                      <a:lnTo>
                        <a:pt x="2061" y="231"/>
                      </a:lnTo>
                      <a:lnTo>
                        <a:pt x="2067" y="218"/>
                      </a:lnTo>
                      <a:lnTo>
                        <a:pt x="2079" y="208"/>
                      </a:lnTo>
                      <a:lnTo>
                        <a:pt x="2093" y="203"/>
                      </a:lnTo>
                      <a:lnTo>
                        <a:pt x="3092" y="0"/>
                      </a:lnTo>
                      <a:lnTo>
                        <a:pt x="310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" name="Freeform 23"/>
                <p:cNvSpPr>
                  <a:spLocks/>
                </p:cNvSpPr>
                <p:nvPr/>
              </p:nvSpPr>
              <p:spPr bwMode="auto">
                <a:xfrm>
                  <a:off x="-394" y="2507"/>
                  <a:ext cx="102" cy="270"/>
                </a:xfrm>
                <a:custGeom>
                  <a:avLst/>
                  <a:gdLst>
                    <a:gd name="T0" fmla="*/ 102 w 205"/>
                    <a:gd name="T1" fmla="*/ 0 h 540"/>
                    <a:gd name="T2" fmla="*/ 128 w 205"/>
                    <a:gd name="T3" fmla="*/ 3 h 540"/>
                    <a:gd name="T4" fmla="*/ 153 w 205"/>
                    <a:gd name="T5" fmla="*/ 14 h 540"/>
                    <a:gd name="T6" fmla="*/ 174 w 205"/>
                    <a:gd name="T7" fmla="*/ 29 h 540"/>
                    <a:gd name="T8" fmla="*/ 191 w 205"/>
                    <a:gd name="T9" fmla="*/ 50 h 540"/>
                    <a:gd name="T10" fmla="*/ 200 w 205"/>
                    <a:gd name="T11" fmla="*/ 75 h 540"/>
                    <a:gd name="T12" fmla="*/ 205 w 205"/>
                    <a:gd name="T13" fmla="*/ 102 h 540"/>
                    <a:gd name="T14" fmla="*/ 205 w 205"/>
                    <a:gd name="T15" fmla="*/ 438 h 540"/>
                    <a:gd name="T16" fmla="*/ 200 w 205"/>
                    <a:gd name="T17" fmla="*/ 465 h 540"/>
                    <a:gd name="T18" fmla="*/ 191 w 205"/>
                    <a:gd name="T19" fmla="*/ 490 h 540"/>
                    <a:gd name="T20" fmla="*/ 174 w 205"/>
                    <a:gd name="T21" fmla="*/ 511 h 540"/>
                    <a:gd name="T22" fmla="*/ 153 w 205"/>
                    <a:gd name="T23" fmla="*/ 526 h 540"/>
                    <a:gd name="T24" fmla="*/ 128 w 205"/>
                    <a:gd name="T25" fmla="*/ 537 h 540"/>
                    <a:gd name="T26" fmla="*/ 102 w 205"/>
                    <a:gd name="T27" fmla="*/ 540 h 540"/>
                    <a:gd name="T28" fmla="*/ 75 w 205"/>
                    <a:gd name="T29" fmla="*/ 537 h 540"/>
                    <a:gd name="T30" fmla="*/ 50 w 205"/>
                    <a:gd name="T31" fmla="*/ 526 h 540"/>
                    <a:gd name="T32" fmla="*/ 29 w 205"/>
                    <a:gd name="T33" fmla="*/ 511 h 540"/>
                    <a:gd name="T34" fmla="*/ 14 w 205"/>
                    <a:gd name="T35" fmla="*/ 490 h 540"/>
                    <a:gd name="T36" fmla="*/ 3 w 205"/>
                    <a:gd name="T37" fmla="*/ 465 h 540"/>
                    <a:gd name="T38" fmla="*/ 0 w 205"/>
                    <a:gd name="T39" fmla="*/ 438 h 540"/>
                    <a:gd name="T40" fmla="*/ 0 w 205"/>
                    <a:gd name="T41" fmla="*/ 102 h 540"/>
                    <a:gd name="T42" fmla="*/ 3 w 205"/>
                    <a:gd name="T43" fmla="*/ 75 h 540"/>
                    <a:gd name="T44" fmla="*/ 14 w 205"/>
                    <a:gd name="T45" fmla="*/ 50 h 540"/>
                    <a:gd name="T46" fmla="*/ 29 w 205"/>
                    <a:gd name="T47" fmla="*/ 29 h 540"/>
                    <a:gd name="T48" fmla="*/ 50 w 205"/>
                    <a:gd name="T49" fmla="*/ 14 h 540"/>
                    <a:gd name="T50" fmla="*/ 75 w 205"/>
                    <a:gd name="T51" fmla="*/ 3 h 540"/>
                    <a:gd name="T52" fmla="*/ 102 w 205"/>
                    <a:gd name="T53" fmla="*/ 0 h 5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5" h="540">
                      <a:moveTo>
                        <a:pt x="102" y="0"/>
                      </a:moveTo>
                      <a:lnTo>
                        <a:pt x="128" y="3"/>
                      </a:lnTo>
                      <a:lnTo>
                        <a:pt x="153" y="14"/>
                      </a:lnTo>
                      <a:lnTo>
                        <a:pt x="174" y="29"/>
                      </a:lnTo>
                      <a:lnTo>
                        <a:pt x="191" y="50"/>
                      </a:lnTo>
                      <a:lnTo>
                        <a:pt x="200" y="75"/>
                      </a:lnTo>
                      <a:lnTo>
                        <a:pt x="205" y="102"/>
                      </a:lnTo>
                      <a:lnTo>
                        <a:pt x="205" y="438"/>
                      </a:lnTo>
                      <a:lnTo>
                        <a:pt x="200" y="465"/>
                      </a:lnTo>
                      <a:lnTo>
                        <a:pt x="191" y="490"/>
                      </a:lnTo>
                      <a:lnTo>
                        <a:pt x="174" y="511"/>
                      </a:lnTo>
                      <a:lnTo>
                        <a:pt x="153" y="526"/>
                      </a:lnTo>
                      <a:lnTo>
                        <a:pt x="128" y="537"/>
                      </a:lnTo>
                      <a:lnTo>
                        <a:pt x="102" y="540"/>
                      </a:lnTo>
                      <a:lnTo>
                        <a:pt x="75" y="537"/>
                      </a:lnTo>
                      <a:lnTo>
                        <a:pt x="50" y="526"/>
                      </a:lnTo>
                      <a:lnTo>
                        <a:pt x="29" y="511"/>
                      </a:lnTo>
                      <a:lnTo>
                        <a:pt x="14" y="490"/>
                      </a:lnTo>
                      <a:lnTo>
                        <a:pt x="3" y="465"/>
                      </a:lnTo>
                      <a:lnTo>
                        <a:pt x="0" y="438"/>
                      </a:lnTo>
                      <a:lnTo>
                        <a:pt x="0" y="102"/>
                      </a:lnTo>
                      <a:lnTo>
                        <a:pt x="3" y="75"/>
                      </a:lnTo>
                      <a:lnTo>
                        <a:pt x="14" y="50"/>
                      </a:lnTo>
                      <a:lnTo>
                        <a:pt x="29" y="29"/>
                      </a:lnTo>
                      <a:lnTo>
                        <a:pt x="50" y="14"/>
                      </a:lnTo>
                      <a:lnTo>
                        <a:pt x="75" y="3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" name="Freeform 24"/>
                <p:cNvSpPr>
                  <a:spLocks/>
                </p:cNvSpPr>
                <p:nvPr/>
              </p:nvSpPr>
              <p:spPr bwMode="auto">
                <a:xfrm>
                  <a:off x="-587" y="2296"/>
                  <a:ext cx="102" cy="481"/>
                </a:xfrm>
                <a:custGeom>
                  <a:avLst/>
                  <a:gdLst>
                    <a:gd name="T0" fmla="*/ 103 w 205"/>
                    <a:gd name="T1" fmla="*/ 0 h 963"/>
                    <a:gd name="T2" fmla="*/ 130 w 205"/>
                    <a:gd name="T3" fmla="*/ 3 h 963"/>
                    <a:gd name="T4" fmla="*/ 154 w 205"/>
                    <a:gd name="T5" fmla="*/ 14 h 963"/>
                    <a:gd name="T6" fmla="*/ 176 w 205"/>
                    <a:gd name="T7" fmla="*/ 31 h 963"/>
                    <a:gd name="T8" fmla="*/ 191 w 205"/>
                    <a:gd name="T9" fmla="*/ 51 h 963"/>
                    <a:gd name="T10" fmla="*/ 202 w 205"/>
                    <a:gd name="T11" fmla="*/ 75 h 963"/>
                    <a:gd name="T12" fmla="*/ 205 w 205"/>
                    <a:gd name="T13" fmla="*/ 102 h 963"/>
                    <a:gd name="T14" fmla="*/ 205 w 205"/>
                    <a:gd name="T15" fmla="*/ 861 h 963"/>
                    <a:gd name="T16" fmla="*/ 202 w 205"/>
                    <a:gd name="T17" fmla="*/ 888 h 963"/>
                    <a:gd name="T18" fmla="*/ 191 w 205"/>
                    <a:gd name="T19" fmla="*/ 913 h 963"/>
                    <a:gd name="T20" fmla="*/ 176 w 205"/>
                    <a:gd name="T21" fmla="*/ 934 h 963"/>
                    <a:gd name="T22" fmla="*/ 154 w 205"/>
                    <a:gd name="T23" fmla="*/ 949 h 963"/>
                    <a:gd name="T24" fmla="*/ 130 w 205"/>
                    <a:gd name="T25" fmla="*/ 960 h 963"/>
                    <a:gd name="T26" fmla="*/ 103 w 205"/>
                    <a:gd name="T27" fmla="*/ 963 h 963"/>
                    <a:gd name="T28" fmla="*/ 75 w 205"/>
                    <a:gd name="T29" fmla="*/ 960 h 963"/>
                    <a:gd name="T30" fmla="*/ 51 w 205"/>
                    <a:gd name="T31" fmla="*/ 949 h 963"/>
                    <a:gd name="T32" fmla="*/ 31 w 205"/>
                    <a:gd name="T33" fmla="*/ 934 h 963"/>
                    <a:gd name="T34" fmla="*/ 14 w 205"/>
                    <a:gd name="T35" fmla="*/ 913 h 963"/>
                    <a:gd name="T36" fmla="*/ 5 w 205"/>
                    <a:gd name="T37" fmla="*/ 888 h 963"/>
                    <a:gd name="T38" fmla="*/ 0 w 205"/>
                    <a:gd name="T39" fmla="*/ 861 h 963"/>
                    <a:gd name="T40" fmla="*/ 0 w 205"/>
                    <a:gd name="T41" fmla="*/ 102 h 963"/>
                    <a:gd name="T42" fmla="*/ 5 w 205"/>
                    <a:gd name="T43" fmla="*/ 75 h 963"/>
                    <a:gd name="T44" fmla="*/ 14 w 205"/>
                    <a:gd name="T45" fmla="*/ 51 h 963"/>
                    <a:gd name="T46" fmla="*/ 31 w 205"/>
                    <a:gd name="T47" fmla="*/ 31 h 963"/>
                    <a:gd name="T48" fmla="*/ 51 w 205"/>
                    <a:gd name="T49" fmla="*/ 14 h 963"/>
                    <a:gd name="T50" fmla="*/ 75 w 205"/>
                    <a:gd name="T51" fmla="*/ 3 h 963"/>
                    <a:gd name="T52" fmla="*/ 103 w 205"/>
                    <a:gd name="T53" fmla="*/ 0 h 9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5" h="963">
                      <a:moveTo>
                        <a:pt x="103" y="0"/>
                      </a:moveTo>
                      <a:lnTo>
                        <a:pt x="130" y="3"/>
                      </a:lnTo>
                      <a:lnTo>
                        <a:pt x="154" y="14"/>
                      </a:lnTo>
                      <a:lnTo>
                        <a:pt x="176" y="31"/>
                      </a:lnTo>
                      <a:lnTo>
                        <a:pt x="191" y="51"/>
                      </a:lnTo>
                      <a:lnTo>
                        <a:pt x="202" y="75"/>
                      </a:lnTo>
                      <a:lnTo>
                        <a:pt x="205" y="102"/>
                      </a:lnTo>
                      <a:lnTo>
                        <a:pt x="205" y="861"/>
                      </a:lnTo>
                      <a:lnTo>
                        <a:pt x="202" y="888"/>
                      </a:lnTo>
                      <a:lnTo>
                        <a:pt x="191" y="913"/>
                      </a:lnTo>
                      <a:lnTo>
                        <a:pt x="176" y="934"/>
                      </a:lnTo>
                      <a:lnTo>
                        <a:pt x="154" y="949"/>
                      </a:lnTo>
                      <a:lnTo>
                        <a:pt x="130" y="960"/>
                      </a:lnTo>
                      <a:lnTo>
                        <a:pt x="103" y="963"/>
                      </a:lnTo>
                      <a:lnTo>
                        <a:pt x="75" y="960"/>
                      </a:lnTo>
                      <a:lnTo>
                        <a:pt x="51" y="949"/>
                      </a:lnTo>
                      <a:lnTo>
                        <a:pt x="31" y="934"/>
                      </a:lnTo>
                      <a:lnTo>
                        <a:pt x="14" y="913"/>
                      </a:lnTo>
                      <a:lnTo>
                        <a:pt x="5" y="888"/>
                      </a:lnTo>
                      <a:lnTo>
                        <a:pt x="0" y="861"/>
                      </a:lnTo>
                      <a:lnTo>
                        <a:pt x="0" y="102"/>
                      </a:lnTo>
                      <a:lnTo>
                        <a:pt x="5" y="75"/>
                      </a:lnTo>
                      <a:lnTo>
                        <a:pt x="14" y="51"/>
                      </a:lnTo>
                      <a:lnTo>
                        <a:pt x="31" y="31"/>
                      </a:lnTo>
                      <a:lnTo>
                        <a:pt x="51" y="14"/>
                      </a:lnTo>
                      <a:lnTo>
                        <a:pt x="75" y="3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" name="Freeform 25"/>
                <p:cNvSpPr>
                  <a:spLocks/>
                </p:cNvSpPr>
                <p:nvPr/>
              </p:nvSpPr>
              <p:spPr bwMode="auto">
                <a:xfrm>
                  <a:off x="-779" y="2507"/>
                  <a:ext cx="103" cy="270"/>
                </a:xfrm>
                <a:custGeom>
                  <a:avLst/>
                  <a:gdLst>
                    <a:gd name="T0" fmla="*/ 102 w 204"/>
                    <a:gd name="T1" fmla="*/ 0 h 540"/>
                    <a:gd name="T2" fmla="*/ 130 w 204"/>
                    <a:gd name="T3" fmla="*/ 3 h 540"/>
                    <a:gd name="T4" fmla="*/ 154 w 204"/>
                    <a:gd name="T5" fmla="*/ 14 h 540"/>
                    <a:gd name="T6" fmla="*/ 174 w 204"/>
                    <a:gd name="T7" fmla="*/ 29 h 540"/>
                    <a:gd name="T8" fmla="*/ 191 w 204"/>
                    <a:gd name="T9" fmla="*/ 50 h 540"/>
                    <a:gd name="T10" fmla="*/ 200 w 204"/>
                    <a:gd name="T11" fmla="*/ 75 h 540"/>
                    <a:gd name="T12" fmla="*/ 204 w 204"/>
                    <a:gd name="T13" fmla="*/ 102 h 540"/>
                    <a:gd name="T14" fmla="*/ 204 w 204"/>
                    <a:gd name="T15" fmla="*/ 438 h 540"/>
                    <a:gd name="T16" fmla="*/ 200 w 204"/>
                    <a:gd name="T17" fmla="*/ 465 h 540"/>
                    <a:gd name="T18" fmla="*/ 191 w 204"/>
                    <a:gd name="T19" fmla="*/ 490 h 540"/>
                    <a:gd name="T20" fmla="*/ 174 w 204"/>
                    <a:gd name="T21" fmla="*/ 511 h 540"/>
                    <a:gd name="T22" fmla="*/ 154 w 204"/>
                    <a:gd name="T23" fmla="*/ 526 h 540"/>
                    <a:gd name="T24" fmla="*/ 130 w 204"/>
                    <a:gd name="T25" fmla="*/ 537 h 540"/>
                    <a:gd name="T26" fmla="*/ 102 w 204"/>
                    <a:gd name="T27" fmla="*/ 540 h 540"/>
                    <a:gd name="T28" fmla="*/ 75 w 204"/>
                    <a:gd name="T29" fmla="*/ 537 h 540"/>
                    <a:gd name="T30" fmla="*/ 50 w 204"/>
                    <a:gd name="T31" fmla="*/ 526 h 540"/>
                    <a:gd name="T32" fmla="*/ 29 w 204"/>
                    <a:gd name="T33" fmla="*/ 511 h 540"/>
                    <a:gd name="T34" fmla="*/ 14 w 204"/>
                    <a:gd name="T35" fmla="*/ 490 h 540"/>
                    <a:gd name="T36" fmla="*/ 3 w 204"/>
                    <a:gd name="T37" fmla="*/ 465 h 540"/>
                    <a:gd name="T38" fmla="*/ 0 w 204"/>
                    <a:gd name="T39" fmla="*/ 438 h 540"/>
                    <a:gd name="T40" fmla="*/ 0 w 204"/>
                    <a:gd name="T41" fmla="*/ 102 h 540"/>
                    <a:gd name="T42" fmla="*/ 3 w 204"/>
                    <a:gd name="T43" fmla="*/ 75 h 540"/>
                    <a:gd name="T44" fmla="*/ 14 w 204"/>
                    <a:gd name="T45" fmla="*/ 50 h 540"/>
                    <a:gd name="T46" fmla="*/ 29 w 204"/>
                    <a:gd name="T47" fmla="*/ 29 h 540"/>
                    <a:gd name="T48" fmla="*/ 50 w 204"/>
                    <a:gd name="T49" fmla="*/ 14 h 540"/>
                    <a:gd name="T50" fmla="*/ 75 w 204"/>
                    <a:gd name="T51" fmla="*/ 3 h 540"/>
                    <a:gd name="T52" fmla="*/ 102 w 204"/>
                    <a:gd name="T53" fmla="*/ 0 h 5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4" h="540">
                      <a:moveTo>
                        <a:pt x="102" y="0"/>
                      </a:moveTo>
                      <a:lnTo>
                        <a:pt x="130" y="3"/>
                      </a:lnTo>
                      <a:lnTo>
                        <a:pt x="154" y="14"/>
                      </a:lnTo>
                      <a:lnTo>
                        <a:pt x="174" y="29"/>
                      </a:lnTo>
                      <a:lnTo>
                        <a:pt x="191" y="50"/>
                      </a:lnTo>
                      <a:lnTo>
                        <a:pt x="200" y="75"/>
                      </a:lnTo>
                      <a:lnTo>
                        <a:pt x="204" y="102"/>
                      </a:lnTo>
                      <a:lnTo>
                        <a:pt x="204" y="438"/>
                      </a:lnTo>
                      <a:lnTo>
                        <a:pt x="200" y="465"/>
                      </a:lnTo>
                      <a:lnTo>
                        <a:pt x="191" y="490"/>
                      </a:lnTo>
                      <a:lnTo>
                        <a:pt x="174" y="511"/>
                      </a:lnTo>
                      <a:lnTo>
                        <a:pt x="154" y="526"/>
                      </a:lnTo>
                      <a:lnTo>
                        <a:pt x="130" y="537"/>
                      </a:lnTo>
                      <a:lnTo>
                        <a:pt x="102" y="540"/>
                      </a:lnTo>
                      <a:lnTo>
                        <a:pt x="75" y="537"/>
                      </a:lnTo>
                      <a:lnTo>
                        <a:pt x="50" y="526"/>
                      </a:lnTo>
                      <a:lnTo>
                        <a:pt x="29" y="511"/>
                      </a:lnTo>
                      <a:lnTo>
                        <a:pt x="14" y="490"/>
                      </a:lnTo>
                      <a:lnTo>
                        <a:pt x="3" y="465"/>
                      </a:lnTo>
                      <a:lnTo>
                        <a:pt x="0" y="438"/>
                      </a:lnTo>
                      <a:lnTo>
                        <a:pt x="0" y="102"/>
                      </a:lnTo>
                      <a:lnTo>
                        <a:pt x="3" y="75"/>
                      </a:lnTo>
                      <a:lnTo>
                        <a:pt x="14" y="50"/>
                      </a:lnTo>
                      <a:lnTo>
                        <a:pt x="29" y="29"/>
                      </a:lnTo>
                      <a:lnTo>
                        <a:pt x="50" y="14"/>
                      </a:lnTo>
                      <a:lnTo>
                        <a:pt x="75" y="3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" name="Freeform 26"/>
                <p:cNvSpPr>
                  <a:spLocks/>
                </p:cNvSpPr>
                <p:nvPr/>
              </p:nvSpPr>
              <p:spPr bwMode="auto">
                <a:xfrm>
                  <a:off x="-971" y="2296"/>
                  <a:ext cx="102" cy="481"/>
                </a:xfrm>
                <a:custGeom>
                  <a:avLst/>
                  <a:gdLst>
                    <a:gd name="T0" fmla="*/ 102 w 205"/>
                    <a:gd name="T1" fmla="*/ 0 h 963"/>
                    <a:gd name="T2" fmla="*/ 130 w 205"/>
                    <a:gd name="T3" fmla="*/ 3 h 963"/>
                    <a:gd name="T4" fmla="*/ 154 w 205"/>
                    <a:gd name="T5" fmla="*/ 14 h 963"/>
                    <a:gd name="T6" fmla="*/ 176 w 205"/>
                    <a:gd name="T7" fmla="*/ 31 h 963"/>
                    <a:gd name="T8" fmla="*/ 191 w 205"/>
                    <a:gd name="T9" fmla="*/ 51 h 963"/>
                    <a:gd name="T10" fmla="*/ 202 w 205"/>
                    <a:gd name="T11" fmla="*/ 75 h 963"/>
                    <a:gd name="T12" fmla="*/ 205 w 205"/>
                    <a:gd name="T13" fmla="*/ 102 h 963"/>
                    <a:gd name="T14" fmla="*/ 205 w 205"/>
                    <a:gd name="T15" fmla="*/ 861 h 963"/>
                    <a:gd name="T16" fmla="*/ 202 w 205"/>
                    <a:gd name="T17" fmla="*/ 888 h 963"/>
                    <a:gd name="T18" fmla="*/ 191 w 205"/>
                    <a:gd name="T19" fmla="*/ 913 h 963"/>
                    <a:gd name="T20" fmla="*/ 176 w 205"/>
                    <a:gd name="T21" fmla="*/ 934 h 963"/>
                    <a:gd name="T22" fmla="*/ 154 w 205"/>
                    <a:gd name="T23" fmla="*/ 949 h 963"/>
                    <a:gd name="T24" fmla="*/ 130 w 205"/>
                    <a:gd name="T25" fmla="*/ 960 h 963"/>
                    <a:gd name="T26" fmla="*/ 102 w 205"/>
                    <a:gd name="T27" fmla="*/ 963 h 963"/>
                    <a:gd name="T28" fmla="*/ 76 w 205"/>
                    <a:gd name="T29" fmla="*/ 960 h 963"/>
                    <a:gd name="T30" fmla="*/ 50 w 205"/>
                    <a:gd name="T31" fmla="*/ 949 h 963"/>
                    <a:gd name="T32" fmla="*/ 31 w 205"/>
                    <a:gd name="T33" fmla="*/ 934 h 963"/>
                    <a:gd name="T34" fmla="*/ 14 w 205"/>
                    <a:gd name="T35" fmla="*/ 913 h 963"/>
                    <a:gd name="T36" fmla="*/ 5 w 205"/>
                    <a:gd name="T37" fmla="*/ 888 h 963"/>
                    <a:gd name="T38" fmla="*/ 0 w 205"/>
                    <a:gd name="T39" fmla="*/ 861 h 963"/>
                    <a:gd name="T40" fmla="*/ 0 w 205"/>
                    <a:gd name="T41" fmla="*/ 102 h 963"/>
                    <a:gd name="T42" fmla="*/ 5 w 205"/>
                    <a:gd name="T43" fmla="*/ 75 h 963"/>
                    <a:gd name="T44" fmla="*/ 14 w 205"/>
                    <a:gd name="T45" fmla="*/ 51 h 963"/>
                    <a:gd name="T46" fmla="*/ 31 w 205"/>
                    <a:gd name="T47" fmla="*/ 31 h 963"/>
                    <a:gd name="T48" fmla="*/ 50 w 205"/>
                    <a:gd name="T49" fmla="*/ 14 h 963"/>
                    <a:gd name="T50" fmla="*/ 76 w 205"/>
                    <a:gd name="T51" fmla="*/ 3 h 963"/>
                    <a:gd name="T52" fmla="*/ 102 w 205"/>
                    <a:gd name="T53" fmla="*/ 0 h 9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5" h="963">
                      <a:moveTo>
                        <a:pt x="102" y="0"/>
                      </a:moveTo>
                      <a:lnTo>
                        <a:pt x="130" y="3"/>
                      </a:lnTo>
                      <a:lnTo>
                        <a:pt x="154" y="14"/>
                      </a:lnTo>
                      <a:lnTo>
                        <a:pt x="176" y="31"/>
                      </a:lnTo>
                      <a:lnTo>
                        <a:pt x="191" y="51"/>
                      </a:lnTo>
                      <a:lnTo>
                        <a:pt x="202" y="75"/>
                      </a:lnTo>
                      <a:lnTo>
                        <a:pt x="205" y="102"/>
                      </a:lnTo>
                      <a:lnTo>
                        <a:pt x="205" y="861"/>
                      </a:lnTo>
                      <a:lnTo>
                        <a:pt x="202" y="888"/>
                      </a:lnTo>
                      <a:lnTo>
                        <a:pt x="191" y="913"/>
                      </a:lnTo>
                      <a:lnTo>
                        <a:pt x="176" y="934"/>
                      </a:lnTo>
                      <a:lnTo>
                        <a:pt x="154" y="949"/>
                      </a:lnTo>
                      <a:lnTo>
                        <a:pt x="130" y="960"/>
                      </a:lnTo>
                      <a:lnTo>
                        <a:pt x="102" y="963"/>
                      </a:lnTo>
                      <a:lnTo>
                        <a:pt x="76" y="960"/>
                      </a:lnTo>
                      <a:lnTo>
                        <a:pt x="50" y="949"/>
                      </a:lnTo>
                      <a:lnTo>
                        <a:pt x="31" y="934"/>
                      </a:lnTo>
                      <a:lnTo>
                        <a:pt x="14" y="913"/>
                      </a:lnTo>
                      <a:lnTo>
                        <a:pt x="5" y="888"/>
                      </a:lnTo>
                      <a:lnTo>
                        <a:pt x="0" y="861"/>
                      </a:lnTo>
                      <a:lnTo>
                        <a:pt x="0" y="102"/>
                      </a:lnTo>
                      <a:lnTo>
                        <a:pt x="5" y="75"/>
                      </a:lnTo>
                      <a:lnTo>
                        <a:pt x="14" y="51"/>
                      </a:lnTo>
                      <a:lnTo>
                        <a:pt x="31" y="31"/>
                      </a:lnTo>
                      <a:lnTo>
                        <a:pt x="50" y="14"/>
                      </a:lnTo>
                      <a:lnTo>
                        <a:pt x="76" y="3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" name="Freeform 27"/>
                <p:cNvSpPr>
                  <a:spLocks/>
                </p:cNvSpPr>
                <p:nvPr/>
              </p:nvSpPr>
              <p:spPr bwMode="auto">
                <a:xfrm>
                  <a:off x="-1163" y="2161"/>
                  <a:ext cx="103" cy="616"/>
                </a:xfrm>
                <a:custGeom>
                  <a:avLst/>
                  <a:gdLst>
                    <a:gd name="T0" fmla="*/ 102 w 204"/>
                    <a:gd name="T1" fmla="*/ 0 h 1231"/>
                    <a:gd name="T2" fmla="*/ 129 w 204"/>
                    <a:gd name="T3" fmla="*/ 3 h 1231"/>
                    <a:gd name="T4" fmla="*/ 154 w 204"/>
                    <a:gd name="T5" fmla="*/ 13 h 1231"/>
                    <a:gd name="T6" fmla="*/ 174 w 204"/>
                    <a:gd name="T7" fmla="*/ 30 h 1231"/>
                    <a:gd name="T8" fmla="*/ 191 w 204"/>
                    <a:gd name="T9" fmla="*/ 50 h 1231"/>
                    <a:gd name="T10" fmla="*/ 201 w 204"/>
                    <a:gd name="T11" fmla="*/ 74 h 1231"/>
                    <a:gd name="T12" fmla="*/ 204 w 204"/>
                    <a:gd name="T13" fmla="*/ 102 h 1231"/>
                    <a:gd name="T14" fmla="*/ 204 w 204"/>
                    <a:gd name="T15" fmla="*/ 1129 h 1231"/>
                    <a:gd name="T16" fmla="*/ 201 w 204"/>
                    <a:gd name="T17" fmla="*/ 1156 h 1231"/>
                    <a:gd name="T18" fmla="*/ 191 w 204"/>
                    <a:gd name="T19" fmla="*/ 1181 h 1231"/>
                    <a:gd name="T20" fmla="*/ 174 w 204"/>
                    <a:gd name="T21" fmla="*/ 1202 h 1231"/>
                    <a:gd name="T22" fmla="*/ 154 w 204"/>
                    <a:gd name="T23" fmla="*/ 1217 h 1231"/>
                    <a:gd name="T24" fmla="*/ 129 w 204"/>
                    <a:gd name="T25" fmla="*/ 1228 h 1231"/>
                    <a:gd name="T26" fmla="*/ 102 w 204"/>
                    <a:gd name="T27" fmla="*/ 1231 h 1231"/>
                    <a:gd name="T28" fmla="*/ 74 w 204"/>
                    <a:gd name="T29" fmla="*/ 1228 h 1231"/>
                    <a:gd name="T30" fmla="*/ 50 w 204"/>
                    <a:gd name="T31" fmla="*/ 1217 h 1231"/>
                    <a:gd name="T32" fmla="*/ 29 w 204"/>
                    <a:gd name="T33" fmla="*/ 1202 h 1231"/>
                    <a:gd name="T34" fmla="*/ 13 w 204"/>
                    <a:gd name="T35" fmla="*/ 1181 h 1231"/>
                    <a:gd name="T36" fmla="*/ 3 w 204"/>
                    <a:gd name="T37" fmla="*/ 1156 h 1231"/>
                    <a:gd name="T38" fmla="*/ 0 w 204"/>
                    <a:gd name="T39" fmla="*/ 1129 h 1231"/>
                    <a:gd name="T40" fmla="*/ 0 w 204"/>
                    <a:gd name="T41" fmla="*/ 102 h 1231"/>
                    <a:gd name="T42" fmla="*/ 3 w 204"/>
                    <a:gd name="T43" fmla="*/ 74 h 1231"/>
                    <a:gd name="T44" fmla="*/ 13 w 204"/>
                    <a:gd name="T45" fmla="*/ 51 h 1231"/>
                    <a:gd name="T46" fmla="*/ 29 w 204"/>
                    <a:gd name="T47" fmla="*/ 30 h 1231"/>
                    <a:gd name="T48" fmla="*/ 48 w 204"/>
                    <a:gd name="T49" fmla="*/ 15 h 1231"/>
                    <a:gd name="T50" fmla="*/ 74 w 204"/>
                    <a:gd name="T51" fmla="*/ 4 h 1231"/>
                    <a:gd name="T52" fmla="*/ 102 w 204"/>
                    <a:gd name="T53" fmla="*/ 0 h 12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4" h="1231">
                      <a:moveTo>
                        <a:pt x="102" y="0"/>
                      </a:moveTo>
                      <a:lnTo>
                        <a:pt x="129" y="3"/>
                      </a:lnTo>
                      <a:lnTo>
                        <a:pt x="154" y="13"/>
                      </a:lnTo>
                      <a:lnTo>
                        <a:pt x="174" y="30"/>
                      </a:lnTo>
                      <a:lnTo>
                        <a:pt x="191" y="50"/>
                      </a:lnTo>
                      <a:lnTo>
                        <a:pt x="201" y="74"/>
                      </a:lnTo>
                      <a:lnTo>
                        <a:pt x="204" y="102"/>
                      </a:lnTo>
                      <a:lnTo>
                        <a:pt x="204" y="1129"/>
                      </a:lnTo>
                      <a:lnTo>
                        <a:pt x="201" y="1156"/>
                      </a:lnTo>
                      <a:lnTo>
                        <a:pt x="191" y="1181"/>
                      </a:lnTo>
                      <a:lnTo>
                        <a:pt x="174" y="1202"/>
                      </a:lnTo>
                      <a:lnTo>
                        <a:pt x="154" y="1217"/>
                      </a:lnTo>
                      <a:lnTo>
                        <a:pt x="129" y="1228"/>
                      </a:lnTo>
                      <a:lnTo>
                        <a:pt x="102" y="1231"/>
                      </a:lnTo>
                      <a:lnTo>
                        <a:pt x="74" y="1228"/>
                      </a:lnTo>
                      <a:lnTo>
                        <a:pt x="50" y="1217"/>
                      </a:lnTo>
                      <a:lnTo>
                        <a:pt x="29" y="1202"/>
                      </a:lnTo>
                      <a:lnTo>
                        <a:pt x="13" y="1181"/>
                      </a:lnTo>
                      <a:lnTo>
                        <a:pt x="3" y="1156"/>
                      </a:lnTo>
                      <a:lnTo>
                        <a:pt x="0" y="1129"/>
                      </a:lnTo>
                      <a:lnTo>
                        <a:pt x="0" y="102"/>
                      </a:lnTo>
                      <a:lnTo>
                        <a:pt x="3" y="74"/>
                      </a:lnTo>
                      <a:lnTo>
                        <a:pt x="13" y="51"/>
                      </a:lnTo>
                      <a:lnTo>
                        <a:pt x="29" y="30"/>
                      </a:lnTo>
                      <a:lnTo>
                        <a:pt x="48" y="15"/>
                      </a:lnTo>
                      <a:lnTo>
                        <a:pt x="74" y="4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" name="Freeform 28"/>
                <p:cNvSpPr>
                  <a:spLocks/>
                </p:cNvSpPr>
                <p:nvPr/>
              </p:nvSpPr>
              <p:spPr bwMode="auto">
                <a:xfrm>
                  <a:off x="21" y="2418"/>
                  <a:ext cx="337" cy="103"/>
                </a:xfrm>
                <a:custGeom>
                  <a:avLst/>
                  <a:gdLst>
                    <a:gd name="T0" fmla="*/ 102 w 675"/>
                    <a:gd name="T1" fmla="*/ 0 h 204"/>
                    <a:gd name="T2" fmla="*/ 573 w 675"/>
                    <a:gd name="T3" fmla="*/ 0 h 204"/>
                    <a:gd name="T4" fmla="*/ 600 w 675"/>
                    <a:gd name="T5" fmla="*/ 3 h 204"/>
                    <a:gd name="T6" fmla="*/ 625 w 675"/>
                    <a:gd name="T7" fmla="*/ 14 h 204"/>
                    <a:gd name="T8" fmla="*/ 644 w 675"/>
                    <a:gd name="T9" fmla="*/ 29 h 204"/>
                    <a:gd name="T10" fmla="*/ 661 w 675"/>
                    <a:gd name="T11" fmla="*/ 50 h 204"/>
                    <a:gd name="T12" fmla="*/ 670 w 675"/>
                    <a:gd name="T13" fmla="*/ 75 h 204"/>
                    <a:gd name="T14" fmla="*/ 675 w 675"/>
                    <a:gd name="T15" fmla="*/ 102 h 204"/>
                    <a:gd name="T16" fmla="*/ 670 w 675"/>
                    <a:gd name="T17" fmla="*/ 128 h 204"/>
                    <a:gd name="T18" fmla="*/ 661 w 675"/>
                    <a:gd name="T19" fmla="*/ 152 h 204"/>
                    <a:gd name="T20" fmla="*/ 644 w 675"/>
                    <a:gd name="T21" fmla="*/ 174 h 204"/>
                    <a:gd name="T22" fmla="*/ 625 w 675"/>
                    <a:gd name="T23" fmla="*/ 191 h 204"/>
                    <a:gd name="T24" fmla="*/ 600 w 675"/>
                    <a:gd name="T25" fmla="*/ 200 h 204"/>
                    <a:gd name="T26" fmla="*/ 573 w 675"/>
                    <a:gd name="T27" fmla="*/ 204 h 204"/>
                    <a:gd name="T28" fmla="*/ 102 w 675"/>
                    <a:gd name="T29" fmla="*/ 204 h 204"/>
                    <a:gd name="T30" fmla="*/ 76 w 675"/>
                    <a:gd name="T31" fmla="*/ 200 h 204"/>
                    <a:gd name="T32" fmla="*/ 52 w 675"/>
                    <a:gd name="T33" fmla="*/ 191 h 204"/>
                    <a:gd name="T34" fmla="*/ 30 w 675"/>
                    <a:gd name="T35" fmla="*/ 174 h 204"/>
                    <a:gd name="T36" fmla="*/ 14 w 675"/>
                    <a:gd name="T37" fmla="*/ 152 h 204"/>
                    <a:gd name="T38" fmla="*/ 4 w 675"/>
                    <a:gd name="T39" fmla="*/ 128 h 204"/>
                    <a:gd name="T40" fmla="*/ 0 w 675"/>
                    <a:gd name="T41" fmla="*/ 102 h 204"/>
                    <a:gd name="T42" fmla="*/ 4 w 675"/>
                    <a:gd name="T43" fmla="*/ 75 h 204"/>
                    <a:gd name="T44" fmla="*/ 14 w 675"/>
                    <a:gd name="T45" fmla="*/ 50 h 204"/>
                    <a:gd name="T46" fmla="*/ 30 w 675"/>
                    <a:gd name="T47" fmla="*/ 29 h 204"/>
                    <a:gd name="T48" fmla="*/ 52 w 675"/>
                    <a:gd name="T49" fmla="*/ 14 h 204"/>
                    <a:gd name="T50" fmla="*/ 76 w 675"/>
                    <a:gd name="T51" fmla="*/ 3 h 204"/>
                    <a:gd name="T52" fmla="*/ 102 w 675"/>
                    <a:gd name="T53" fmla="*/ 0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75" h="204">
                      <a:moveTo>
                        <a:pt x="102" y="0"/>
                      </a:moveTo>
                      <a:lnTo>
                        <a:pt x="573" y="0"/>
                      </a:lnTo>
                      <a:lnTo>
                        <a:pt x="600" y="3"/>
                      </a:lnTo>
                      <a:lnTo>
                        <a:pt x="625" y="14"/>
                      </a:lnTo>
                      <a:lnTo>
                        <a:pt x="644" y="29"/>
                      </a:lnTo>
                      <a:lnTo>
                        <a:pt x="661" y="50"/>
                      </a:lnTo>
                      <a:lnTo>
                        <a:pt x="670" y="75"/>
                      </a:lnTo>
                      <a:lnTo>
                        <a:pt x="675" y="102"/>
                      </a:lnTo>
                      <a:lnTo>
                        <a:pt x="670" y="128"/>
                      </a:lnTo>
                      <a:lnTo>
                        <a:pt x="661" y="152"/>
                      </a:lnTo>
                      <a:lnTo>
                        <a:pt x="644" y="174"/>
                      </a:lnTo>
                      <a:lnTo>
                        <a:pt x="625" y="191"/>
                      </a:lnTo>
                      <a:lnTo>
                        <a:pt x="600" y="200"/>
                      </a:lnTo>
                      <a:lnTo>
                        <a:pt x="573" y="204"/>
                      </a:lnTo>
                      <a:lnTo>
                        <a:pt x="102" y="204"/>
                      </a:lnTo>
                      <a:lnTo>
                        <a:pt x="76" y="200"/>
                      </a:lnTo>
                      <a:lnTo>
                        <a:pt x="52" y="191"/>
                      </a:lnTo>
                      <a:lnTo>
                        <a:pt x="30" y="174"/>
                      </a:lnTo>
                      <a:lnTo>
                        <a:pt x="14" y="152"/>
                      </a:lnTo>
                      <a:lnTo>
                        <a:pt x="4" y="128"/>
                      </a:lnTo>
                      <a:lnTo>
                        <a:pt x="0" y="102"/>
                      </a:lnTo>
                      <a:lnTo>
                        <a:pt x="4" y="75"/>
                      </a:lnTo>
                      <a:lnTo>
                        <a:pt x="14" y="50"/>
                      </a:lnTo>
                      <a:lnTo>
                        <a:pt x="30" y="29"/>
                      </a:lnTo>
                      <a:lnTo>
                        <a:pt x="52" y="14"/>
                      </a:lnTo>
                      <a:lnTo>
                        <a:pt x="76" y="3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" name="Freeform 29"/>
                <p:cNvSpPr>
                  <a:spLocks/>
                </p:cNvSpPr>
                <p:nvPr/>
              </p:nvSpPr>
              <p:spPr bwMode="auto">
                <a:xfrm>
                  <a:off x="21" y="2642"/>
                  <a:ext cx="337" cy="102"/>
                </a:xfrm>
                <a:custGeom>
                  <a:avLst/>
                  <a:gdLst>
                    <a:gd name="T0" fmla="*/ 102 w 675"/>
                    <a:gd name="T1" fmla="*/ 0 h 204"/>
                    <a:gd name="T2" fmla="*/ 573 w 675"/>
                    <a:gd name="T3" fmla="*/ 0 h 204"/>
                    <a:gd name="T4" fmla="*/ 600 w 675"/>
                    <a:gd name="T5" fmla="*/ 3 h 204"/>
                    <a:gd name="T6" fmla="*/ 625 w 675"/>
                    <a:gd name="T7" fmla="*/ 14 h 204"/>
                    <a:gd name="T8" fmla="*/ 644 w 675"/>
                    <a:gd name="T9" fmla="*/ 30 h 204"/>
                    <a:gd name="T10" fmla="*/ 661 w 675"/>
                    <a:gd name="T11" fmla="*/ 50 h 204"/>
                    <a:gd name="T12" fmla="*/ 670 w 675"/>
                    <a:gd name="T13" fmla="*/ 75 h 204"/>
                    <a:gd name="T14" fmla="*/ 675 w 675"/>
                    <a:gd name="T15" fmla="*/ 102 h 204"/>
                    <a:gd name="T16" fmla="*/ 670 w 675"/>
                    <a:gd name="T17" fmla="*/ 130 h 204"/>
                    <a:gd name="T18" fmla="*/ 661 w 675"/>
                    <a:gd name="T19" fmla="*/ 154 h 204"/>
                    <a:gd name="T20" fmla="*/ 644 w 675"/>
                    <a:gd name="T21" fmla="*/ 174 h 204"/>
                    <a:gd name="T22" fmla="*/ 625 w 675"/>
                    <a:gd name="T23" fmla="*/ 191 h 204"/>
                    <a:gd name="T24" fmla="*/ 600 w 675"/>
                    <a:gd name="T25" fmla="*/ 201 h 204"/>
                    <a:gd name="T26" fmla="*/ 573 w 675"/>
                    <a:gd name="T27" fmla="*/ 204 h 204"/>
                    <a:gd name="T28" fmla="*/ 102 w 675"/>
                    <a:gd name="T29" fmla="*/ 204 h 204"/>
                    <a:gd name="T30" fmla="*/ 76 w 675"/>
                    <a:gd name="T31" fmla="*/ 201 h 204"/>
                    <a:gd name="T32" fmla="*/ 52 w 675"/>
                    <a:gd name="T33" fmla="*/ 191 h 204"/>
                    <a:gd name="T34" fmla="*/ 30 w 675"/>
                    <a:gd name="T35" fmla="*/ 174 h 204"/>
                    <a:gd name="T36" fmla="*/ 14 w 675"/>
                    <a:gd name="T37" fmla="*/ 154 h 204"/>
                    <a:gd name="T38" fmla="*/ 4 w 675"/>
                    <a:gd name="T39" fmla="*/ 130 h 204"/>
                    <a:gd name="T40" fmla="*/ 0 w 675"/>
                    <a:gd name="T41" fmla="*/ 102 h 204"/>
                    <a:gd name="T42" fmla="*/ 4 w 675"/>
                    <a:gd name="T43" fmla="*/ 75 h 204"/>
                    <a:gd name="T44" fmla="*/ 14 w 675"/>
                    <a:gd name="T45" fmla="*/ 50 h 204"/>
                    <a:gd name="T46" fmla="*/ 30 w 675"/>
                    <a:gd name="T47" fmla="*/ 30 h 204"/>
                    <a:gd name="T48" fmla="*/ 52 w 675"/>
                    <a:gd name="T49" fmla="*/ 14 h 204"/>
                    <a:gd name="T50" fmla="*/ 76 w 675"/>
                    <a:gd name="T51" fmla="*/ 3 h 204"/>
                    <a:gd name="T52" fmla="*/ 102 w 675"/>
                    <a:gd name="T53" fmla="*/ 0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75" h="204">
                      <a:moveTo>
                        <a:pt x="102" y="0"/>
                      </a:moveTo>
                      <a:lnTo>
                        <a:pt x="573" y="0"/>
                      </a:lnTo>
                      <a:lnTo>
                        <a:pt x="600" y="3"/>
                      </a:lnTo>
                      <a:lnTo>
                        <a:pt x="625" y="14"/>
                      </a:lnTo>
                      <a:lnTo>
                        <a:pt x="644" y="30"/>
                      </a:lnTo>
                      <a:lnTo>
                        <a:pt x="661" y="50"/>
                      </a:lnTo>
                      <a:lnTo>
                        <a:pt x="670" y="75"/>
                      </a:lnTo>
                      <a:lnTo>
                        <a:pt x="675" y="102"/>
                      </a:lnTo>
                      <a:lnTo>
                        <a:pt x="670" y="130"/>
                      </a:lnTo>
                      <a:lnTo>
                        <a:pt x="661" y="154"/>
                      </a:lnTo>
                      <a:lnTo>
                        <a:pt x="644" y="174"/>
                      </a:lnTo>
                      <a:lnTo>
                        <a:pt x="625" y="191"/>
                      </a:lnTo>
                      <a:lnTo>
                        <a:pt x="600" y="201"/>
                      </a:lnTo>
                      <a:lnTo>
                        <a:pt x="573" y="204"/>
                      </a:lnTo>
                      <a:lnTo>
                        <a:pt x="102" y="204"/>
                      </a:lnTo>
                      <a:lnTo>
                        <a:pt x="76" y="201"/>
                      </a:lnTo>
                      <a:lnTo>
                        <a:pt x="52" y="191"/>
                      </a:lnTo>
                      <a:lnTo>
                        <a:pt x="30" y="174"/>
                      </a:lnTo>
                      <a:lnTo>
                        <a:pt x="14" y="154"/>
                      </a:lnTo>
                      <a:lnTo>
                        <a:pt x="4" y="130"/>
                      </a:lnTo>
                      <a:lnTo>
                        <a:pt x="0" y="102"/>
                      </a:lnTo>
                      <a:lnTo>
                        <a:pt x="4" y="75"/>
                      </a:lnTo>
                      <a:lnTo>
                        <a:pt x="14" y="50"/>
                      </a:lnTo>
                      <a:lnTo>
                        <a:pt x="30" y="30"/>
                      </a:lnTo>
                      <a:lnTo>
                        <a:pt x="52" y="14"/>
                      </a:lnTo>
                      <a:lnTo>
                        <a:pt x="76" y="3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20" name="Group 39"/>
              <p:cNvGrpSpPr>
                <a:grpSpLocks noChangeAspect="1"/>
              </p:cNvGrpSpPr>
              <p:nvPr/>
            </p:nvGrpSpPr>
            <p:grpSpPr bwMode="auto">
              <a:xfrm>
                <a:off x="5687966" y="5369937"/>
                <a:ext cx="353443" cy="362609"/>
                <a:chOff x="-1173" y="2275"/>
                <a:chExt cx="617" cy="633"/>
              </a:xfrm>
              <a:solidFill>
                <a:schemeClr val="bg1"/>
              </a:solidFill>
            </p:grpSpPr>
            <p:sp>
              <p:nvSpPr>
                <p:cNvPr id="21" name="Freeform 41"/>
                <p:cNvSpPr>
                  <a:spLocks noEditPoints="1"/>
                </p:cNvSpPr>
                <p:nvPr/>
              </p:nvSpPr>
              <p:spPr bwMode="auto">
                <a:xfrm>
                  <a:off x="-1040" y="2469"/>
                  <a:ext cx="350" cy="98"/>
                </a:xfrm>
                <a:custGeom>
                  <a:avLst/>
                  <a:gdLst>
                    <a:gd name="T0" fmla="*/ 1337 w 2099"/>
                    <a:gd name="T1" fmla="*/ 294 h 587"/>
                    <a:gd name="T2" fmla="*/ 1337 w 2099"/>
                    <a:gd name="T3" fmla="*/ 450 h 587"/>
                    <a:gd name="T4" fmla="*/ 1812 w 2099"/>
                    <a:gd name="T5" fmla="*/ 450 h 587"/>
                    <a:gd name="T6" fmla="*/ 1812 w 2099"/>
                    <a:gd name="T7" fmla="*/ 294 h 587"/>
                    <a:gd name="T8" fmla="*/ 1337 w 2099"/>
                    <a:gd name="T9" fmla="*/ 294 h 587"/>
                    <a:gd name="T10" fmla="*/ 196 w 2099"/>
                    <a:gd name="T11" fmla="*/ 123 h 587"/>
                    <a:gd name="T12" fmla="*/ 175 w 2099"/>
                    <a:gd name="T13" fmla="*/ 126 h 587"/>
                    <a:gd name="T14" fmla="*/ 156 w 2099"/>
                    <a:gd name="T15" fmla="*/ 136 h 587"/>
                    <a:gd name="T16" fmla="*/ 142 w 2099"/>
                    <a:gd name="T17" fmla="*/ 151 h 587"/>
                    <a:gd name="T18" fmla="*/ 133 w 2099"/>
                    <a:gd name="T19" fmla="*/ 169 h 587"/>
                    <a:gd name="T20" fmla="*/ 129 w 2099"/>
                    <a:gd name="T21" fmla="*/ 190 h 587"/>
                    <a:gd name="T22" fmla="*/ 133 w 2099"/>
                    <a:gd name="T23" fmla="*/ 211 h 587"/>
                    <a:gd name="T24" fmla="*/ 142 w 2099"/>
                    <a:gd name="T25" fmla="*/ 230 h 587"/>
                    <a:gd name="T26" fmla="*/ 156 w 2099"/>
                    <a:gd name="T27" fmla="*/ 244 h 587"/>
                    <a:gd name="T28" fmla="*/ 175 w 2099"/>
                    <a:gd name="T29" fmla="*/ 254 h 587"/>
                    <a:gd name="T30" fmla="*/ 196 w 2099"/>
                    <a:gd name="T31" fmla="*/ 257 h 587"/>
                    <a:gd name="T32" fmla="*/ 218 w 2099"/>
                    <a:gd name="T33" fmla="*/ 254 h 587"/>
                    <a:gd name="T34" fmla="*/ 237 w 2099"/>
                    <a:gd name="T35" fmla="*/ 244 h 587"/>
                    <a:gd name="T36" fmla="*/ 251 w 2099"/>
                    <a:gd name="T37" fmla="*/ 230 h 587"/>
                    <a:gd name="T38" fmla="*/ 260 w 2099"/>
                    <a:gd name="T39" fmla="*/ 211 h 587"/>
                    <a:gd name="T40" fmla="*/ 264 w 2099"/>
                    <a:gd name="T41" fmla="*/ 190 h 587"/>
                    <a:gd name="T42" fmla="*/ 260 w 2099"/>
                    <a:gd name="T43" fmla="*/ 169 h 587"/>
                    <a:gd name="T44" fmla="*/ 251 w 2099"/>
                    <a:gd name="T45" fmla="*/ 151 h 587"/>
                    <a:gd name="T46" fmla="*/ 237 w 2099"/>
                    <a:gd name="T47" fmla="*/ 136 h 587"/>
                    <a:gd name="T48" fmla="*/ 218 w 2099"/>
                    <a:gd name="T49" fmla="*/ 126 h 587"/>
                    <a:gd name="T50" fmla="*/ 196 w 2099"/>
                    <a:gd name="T51" fmla="*/ 123 h 587"/>
                    <a:gd name="T52" fmla="*/ 109 w 2099"/>
                    <a:gd name="T53" fmla="*/ 0 h 587"/>
                    <a:gd name="T54" fmla="*/ 1991 w 2099"/>
                    <a:gd name="T55" fmla="*/ 0 h 587"/>
                    <a:gd name="T56" fmla="*/ 2016 w 2099"/>
                    <a:gd name="T57" fmla="*/ 3 h 587"/>
                    <a:gd name="T58" fmla="*/ 2038 w 2099"/>
                    <a:gd name="T59" fmla="*/ 11 h 587"/>
                    <a:gd name="T60" fmla="*/ 2058 w 2099"/>
                    <a:gd name="T61" fmla="*/ 24 h 587"/>
                    <a:gd name="T62" fmla="*/ 2075 w 2099"/>
                    <a:gd name="T63" fmla="*/ 40 h 587"/>
                    <a:gd name="T64" fmla="*/ 2088 w 2099"/>
                    <a:gd name="T65" fmla="*/ 60 h 587"/>
                    <a:gd name="T66" fmla="*/ 2096 w 2099"/>
                    <a:gd name="T67" fmla="*/ 84 h 587"/>
                    <a:gd name="T68" fmla="*/ 2099 w 2099"/>
                    <a:gd name="T69" fmla="*/ 109 h 587"/>
                    <a:gd name="T70" fmla="*/ 2099 w 2099"/>
                    <a:gd name="T71" fmla="*/ 479 h 587"/>
                    <a:gd name="T72" fmla="*/ 2096 w 2099"/>
                    <a:gd name="T73" fmla="*/ 503 h 587"/>
                    <a:gd name="T74" fmla="*/ 2088 w 2099"/>
                    <a:gd name="T75" fmla="*/ 526 h 587"/>
                    <a:gd name="T76" fmla="*/ 2075 w 2099"/>
                    <a:gd name="T77" fmla="*/ 546 h 587"/>
                    <a:gd name="T78" fmla="*/ 2058 w 2099"/>
                    <a:gd name="T79" fmla="*/ 562 h 587"/>
                    <a:gd name="T80" fmla="*/ 2038 w 2099"/>
                    <a:gd name="T81" fmla="*/ 575 h 587"/>
                    <a:gd name="T82" fmla="*/ 2016 w 2099"/>
                    <a:gd name="T83" fmla="*/ 583 h 587"/>
                    <a:gd name="T84" fmla="*/ 1991 w 2099"/>
                    <a:gd name="T85" fmla="*/ 587 h 587"/>
                    <a:gd name="T86" fmla="*/ 109 w 2099"/>
                    <a:gd name="T87" fmla="*/ 587 h 587"/>
                    <a:gd name="T88" fmla="*/ 84 w 2099"/>
                    <a:gd name="T89" fmla="*/ 583 h 587"/>
                    <a:gd name="T90" fmla="*/ 62 w 2099"/>
                    <a:gd name="T91" fmla="*/ 575 h 587"/>
                    <a:gd name="T92" fmla="*/ 40 w 2099"/>
                    <a:gd name="T93" fmla="*/ 562 h 587"/>
                    <a:gd name="T94" fmla="*/ 24 w 2099"/>
                    <a:gd name="T95" fmla="*/ 546 h 587"/>
                    <a:gd name="T96" fmla="*/ 11 w 2099"/>
                    <a:gd name="T97" fmla="*/ 526 h 587"/>
                    <a:gd name="T98" fmla="*/ 3 w 2099"/>
                    <a:gd name="T99" fmla="*/ 503 h 587"/>
                    <a:gd name="T100" fmla="*/ 0 w 2099"/>
                    <a:gd name="T101" fmla="*/ 479 h 587"/>
                    <a:gd name="T102" fmla="*/ 0 w 2099"/>
                    <a:gd name="T103" fmla="*/ 109 h 587"/>
                    <a:gd name="T104" fmla="*/ 3 w 2099"/>
                    <a:gd name="T105" fmla="*/ 84 h 587"/>
                    <a:gd name="T106" fmla="*/ 11 w 2099"/>
                    <a:gd name="T107" fmla="*/ 60 h 587"/>
                    <a:gd name="T108" fmla="*/ 24 w 2099"/>
                    <a:gd name="T109" fmla="*/ 40 h 587"/>
                    <a:gd name="T110" fmla="*/ 40 w 2099"/>
                    <a:gd name="T111" fmla="*/ 24 h 587"/>
                    <a:gd name="T112" fmla="*/ 62 w 2099"/>
                    <a:gd name="T113" fmla="*/ 11 h 587"/>
                    <a:gd name="T114" fmla="*/ 84 w 2099"/>
                    <a:gd name="T115" fmla="*/ 3 h 587"/>
                    <a:gd name="T116" fmla="*/ 109 w 2099"/>
                    <a:gd name="T117" fmla="*/ 0 h 5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99" h="587">
                      <a:moveTo>
                        <a:pt x="1337" y="294"/>
                      </a:moveTo>
                      <a:lnTo>
                        <a:pt x="1337" y="450"/>
                      </a:lnTo>
                      <a:lnTo>
                        <a:pt x="1812" y="450"/>
                      </a:lnTo>
                      <a:lnTo>
                        <a:pt x="1812" y="294"/>
                      </a:lnTo>
                      <a:lnTo>
                        <a:pt x="1337" y="294"/>
                      </a:lnTo>
                      <a:close/>
                      <a:moveTo>
                        <a:pt x="196" y="123"/>
                      </a:moveTo>
                      <a:lnTo>
                        <a:pt x="175" y="126"/>
                      </a:lnTo>
                      <a:lnTo>
                        <a:pt x="156" y="136"/>
                      </a:lnTo>
                      <a:lnTo>
                        <a:pt x="142" y="151"/>
                      </a:lnTo>
                      <a:lnTo>
                        <a:pt x="133" y="169"/>
                      </a:lnTo>
                      <a:lnTo>
                        <a:pt x="129" y="190"/>
                      </a:lnTo>
                      <a:lnTo>
                        <a:pt x="133" y="211"/>
                      </a:lnTo>
                      <a:lnTo>
                        <a:pt x="142" y="230"/>
                      </a:lnTo>
                      <a:lnTo>
                        <a:pt x="156" y="244"/>
                      </a:lnTo>
                      <a:lnTo>
                        <a:pt x="175" y="254"/>
                      </a:lnTo>
                      <a:lnTo>
                        <a:pt x="196" y="257"/>
                      </a:lnTo>
                      <a:lnTo>
                        <a:pt x="218" y="254"/>
                      </a:lnTo>
                      <a:lnTo>
                        <a:pt x="237" y="244"/>
                      </a:lnTo>
                      <a:lnTo>
                        <a:pt x="251" y="230"/>
                      </a:lnTo>
                      <a:lnTo>
                        <a:pt x="260" y="211"/>
                      </a:lnTo>
                      <a:lnTo>
                        <a:pt x="264" y="190"/>
                      </a:lnTo>
                      <a:lnTo>
                        <a:pt x="260" y="169"/>
                      </a:lnTo>
                      <a:lnTo>
                        <a:pt x="251" y="151"/>
                      </a:lnTo>
                      <a:lnTo>
                        <a:pt x="237" y="136"/>
                      </a:lnTo>
                      <a:lnTo>
                        <a:pt x="218" y="126"/>
                      </a:lnTo>
                      <a:lnTo>
                        <a:pt x="196" y="123"/>
                      </a:lnTo>
                      <a:close/>
                      <a:moveTo>
                        <a:pt x="109" y="0"/>
                      </a:moveTo>
                      <a:lnTo>
                        <a:pt x="1991" y="0"/>
                      </a:lnTo>
                      <a:lnTo>
                        <a:pt x="2016" y="3"/>
                      </a:lnTo>
                      <a:lnTo>
                        <a:pt x="2038" y="11"/>
                      </a:lnTo>
                      <a:lnTo>
                        <a:pt x="2058" y="24"/>
                      </a:lnTo>
                      <a:lnTo>
                        <a:pt x="2075" y="40"/>
                      </a:lnTo>
                      <a:lnTo>
                        <a:pt x="2088" y="60"/>
                      </a:lnTo>
                      <a:lnTo>
                        <a:pt x="2096" y="84"/>
                      </a:lnTo>
                      <a:lnTo>
                        <a:pt x="2099" y="109"/>
                      </a:lnTo>
                      <a:lnTo>
                        <a:pt x="2099" y="479"/>
                      </a:lnTo>
                      <a:lnTo>
                        <a:pt x="2096" y="503"/>
                      </a:lnTo>
                      <a:lnTo>
                        <a:pt x="2088" y="526"/>
                      </a:lnTo>
                      <a:lnTo>
                        <a:pt x="2075" y="546"/>
                      </a:lnTo>
                      <a:lnTo>
                        <a:pt x="2058" y="562"/>
                      </a:lnTo>
                      <a:lnTo>
                        <a:pt x="2038" y="575"/>
                      </a:lnTo>
                      <a:lnTo>
                        <a:pt x="2016" y="583"/>
                      </a:lnTo>
                      <a:lnTo>
                        <a:pt x="1991" y="587"/>
                      </a:lnTo>
                      <a:lnTo>
                        <a:pt x="109" y="587"/>
                      </a:lnTo>
                      <a:lnTo>
                        <a:pt x="84" y="583"/>
                      </a:lnTo>
                      <a:lnTo>
                        <a:pt x="62" y="575"/>
                      </a:lnTo>
                      <a:lnTo>
                        <a:pt x="40" y="562"/>
                      </a:lnTo>
                      <a:lnTo>
                        <a:pt x="24" y="546"/>
                      </a:lnTo>
                      <a:lnTo>
                        <a:pt x="11" y="526"/>
                      </a:lnTo>
                      <a:lnTo>
                        <a:pt x="3" y="503"/>
                      </a:lnTo>
                      <a:lnTo>
                        <a:pt x="0" y="479"/>
                      </a:lnTo>
                      <a:lnTo>
                        <a:pt x="0" y="109"/>
                      </a:lnTo>
                      <a:lnTo>
                        <a:pt x="3" y="84"/>
                      </a:lnTo>
                      <a:lnTo>
                        <a:pt x="11" y="60"/>
                      </a:lnTo>
                      <a:lnTo>
                        <a:pt x="24" y="40"/>
                      </a:lnTo>
                      <a:lnTo>
                        <a:pt x="40" y="24"/>
                      </a:lnTo>
                      <a:lnTo>
                        <a:pt x="62" y="11"/>
                      </a:lnTo>
                      <a:lnTo>
                        <a:pt x="84" y="3"/>
                      </a:lnTo>
                      <a:lnTo>
                        <a:pt x="109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" name="Freeform 42"/>
                <p:cNvSpPr>
                  <a:spLocks noEditPoints="1"/>
                </p:cNvSpPr>
                <p:nvPr/>
              </p:nvSpPr>
              <p:spPr bwMode="auto">
                <a:xfrm>
                  <a:off x="-1040" y="2576"/>
                  <a:ext cx="350" cy="98"/>
                </a:xfrm>
                <a:custGeom>
                  <a:avLst/>
                  <a:gdLst>
                    <a:gd name="T0" fmla="*/ 1337 w 2099"/>
                    <a:gd name="T1" fmla="*/ 293 h 588"/>
                    <a:gd name="T2" fmla="*/ 1337 w 2099"/>
                    <a:gd name="T3" fmla="*/ 451 h 588"/>
                    <a:gd name="T4" fmla="*/ 1812 w 2099"/>
                    <a:gd name="T5" fmla="*/ 451 h 588"/>
                    <a:gd name="T6" fmla="*/ 1812 w 2099"/>
                    <a:gd name="T7" fmla="*/ 293 h 588"/>
                    <a:gd name="T8" fmla="*/ 1337 w 2099"/>
                    <a:gd name="T9" fmla="*/ 293 h 588"/>
                    <a:gd name="T10" fmla="*/ 196 w 2099"/>
                    <a:gd name="T11" fmla="*/ 124 h 588"/>
                    <a:gd name="T12" fmla="*/ 175 w 2099"/>
                    <a:gd name="T13" fmla="*/ 127 h 588"/>
                    <a:gd name="T14" fmla="*/ 156 w 2099"/>
                    <a:gd name="T15" fmla="*/ 137 h 588"/>
                    <a:gd name="T16" fmla="*/ 142 w 2099"/>
                    <a:gd name="T17" fmla="*/ 152 h 588"/>
                    <a:gd name="T18" fmla="*/ 133 w 2099"/>
                    <a:gd name="T19" fmla="*/ 170 h 588"/>
                    <a:gd name="T20" fmla="*/ 129 w 2099"/>
                    <a:gd name="T21" fmla="*/ 191 h 588"/>
                    <a:gd name="T22" fmla="*/ 133 w 2099"/>
                    <a:gd name="T23" fmla="*/ 212 h 588"/>
                    <a:gd name="T24" fmla="*/ 142 w 2099"/>
                    <a:gd name="T25" fmla="*/ 231 h 588"/>
                    <a:gd name="T26" fmla="*/ 156 w 2099"/>
                    <a:gd name="T27" fmla="*/ 245 h 588"/>
                    <a:gd name="T28" fmla="*/ 175 w 2099"/>
                    <a:gd name="T29" fmla="*/ 254 h 588"/>
                    <a:gd name="T30" fmla="*/ 196 w 2099"/>
                    <a:gd name="T31" fmla="*/ 258 h 588"/>
                    <a:gd name="T32" fmla="*/ 218 w 2099"/>
                    <a:gd name="T33" fmla="*/ 254 h 588"/>
                    <a:gd name="T34" fmla="*/ 237 w 2099"/>
                    <a:gd name="T35" fmla="*/ 245 h 588"/>
                    <a:gd name="T36" fmla="*/ 251 w 2099"/>
                    <a:gd name="T37" fmla="*/ 231 h 588"/>
                    <a:gd name="T38" fmla="*/ 260 w 2099"/>
                    <a:gd name="T39" fmla="*/ 212 h 588"/>
                    <a:gd name="T40" fmla="*/ 264 w 2099"/>
                    <a:gd name="T41" fmla="*/ 191 h 588"/>
                    <a:gd name="T42" fmla="*/ 260 w 2099"/>
                    <a:gd name="T43" fmla="*/ 170 h 588"/>
                    <a:gd name="T44" fmla="*/ 251 w 2099"/>
                    <a:gd name="T45" fmla="*/ 152 h 588"/>
                    <a:gd name="T46" fmla="*/ 237 w 2099"/>
                    <a:gd name="T47" fmla="*/ 137 h 588"/>
                    <a:gd name="T48" fmla="*/ 218 w 2099"/>
                    <a:gd name="T49" fmla="*/ 127 h 588"/>
                    <a:gd name="T50" fmla="*/ 196 w 2099"/>
                    <a:gd name="T51" fmla="*/ 124 h 588"/>
                    <a:gd name="T52" fmla="*/ 109 w 2099"/>
                    <a:gd name="T53" fmla="*/ 0 h 588"/>
                    <a:gd name="T54" fmla="*/ 1991 w 2099"/>
                    <a:gd name="T55" fmla="*/ 0 h 588"/>
                    <a:gd name="T56" fmla="*/ 2016 w 2099"/>
                    <a:gd name="T57" fmla="*/ 3 h 588"/>
                    <a:gd name="T58" fmla="*/ 2038 w 2099"/>
                    <a:gd name="T59" fmla="*/ 12 h 588"/>
                    <a:gd name="T60" fmla="*/ 2058 w 2099"/>
                    <a:gd name="T61" fmla="*/ 25 h 588"/>
                    <a:gd name="T62" fmla="*/ 2075 w 2099"/>
                    <a:gd name="T63" fmla="*/ 41 h 588"/>
                    <a:gd name="T64" fmla="*/ 2088 w 2099"/>
                    <a:gd name="T65" fmla="*/ 61 h 588"/>
                    <a:gd name="T66" fmla="*/ 2096 w 2099"/>
                    <a:gd name="T67" fmla="*/ 85 h 588"/>
                    <a:gd name="T68" fmla="*/ 2099 w 2099"/>
                    <a:gd name="T69" fmla="*/ 109 h 588"/>
                    <a:gd name="T70" fmla="*/ 2099 w 2099"/>
                    <a:gd name="T71" fmla="*/ 478 h 588"/>
                    <a:gd name="T72" fmla="*/ 2096 w 2099"/>
                    <a:gd name="T73" fmla="*/ 504 h 588"/>
                    <a:gd name="T74" fmla="*/ 2088 w 2099"/>
                    <a:gd name="T75" fmla="*/ 527 h 588"/>
                    <a:gd name="T76" fmla="*/ 2075 w 2099"/>
                    <a:gd name="T77" fmla="*/ 547 h 588"/>
                    <a:gd name="T78" fmla="*/ 2058 w 2099"/>
                    <a:gd name="T79" fmla="*/ 563 h 588"/>
                    <a:gd name="T80" fmla="*/ 2038 w 2099"/>
                    <a:gd name="T81" fmla="*/ 576 h 588"/>
                    <a:gd name="T82" fmla="*/ 2016 w 2099"/>
                    <a:gd name="T83" fmla="*/ 584 h 588"/>
                    <a:gd name="T84" fmla="*/ 1991 w 2099"/>
                    <a:gd name="T85" fmla="*/ 588 h 588"/>
                    <a:gd name="T86" fmla="*/ 109 w 2099"/>
                    <a:gd name="T87" fmla="*/ 588 h 588"/>
                    <a:gd name="T88" fmla="*/ 84 w 2099"/>
                    <a:gd name="T89" fmla="*/ 584 h 588"/>
                    <a:gd name="T90" fmla="*/ 62 w 2099"/>
                    <a:gd name="T91" fmla="*/ 576 h 588"/>
                    <a:gd name="T92" fmla="*/ 40 w 2099"/>
                    <a:gd name="T93" fmla="*/ 563 h 588"/>
                    <a:gd name="T94" fmla="*/ 24 w 2099"/>
                    <a:gd name="T95" fmla="*/ 547 h 588"/>
                    <a:gd name="T96" fmla="*/ 11 w 2099"/>
                    <a:gd name="T97" fmla="*/ 527 h 588"/>
                    <a:gd name="T98" fmla="*/ 3 w 2099"/>
                    <a:gd name="T99" fmla="*/ 504 h 588"/>
                    <a:gd name="T100" fmla="*/ 0 w 2099"/>
                    <a:gd name="T101" fmla="*/ 478 h 588"/>
                    <a:gd name="T102" fmla="*/ 0 w 2099"/>
                    <a:gd name="T103" fmla="*/ 109 h 588"/>
                    <a:gd name="T104" fmla="*/ 3 w 2099"/>
                    <a:gd name="T105" fmla="*/ 85 h 588"/>
                    <a:gd name="T106" fmla="*/ 11 w 2099"/>
                    <a:gd name="T107" fmla="*/ 61 h 588"/>
                    <a:gd name="T108" fmla="*/ 24 w 2099"/>
                    <a:gd name="T109" fmla="*/ 41 h 588"/>
                    <a:gd name="T110" fmla="*/ 40 w 2099"/>
                    <a:gd name="T111" fmla="*/ 25 h 588"/>
                    <a:gd name="T112" fmla="*/ 62 w 2099"/>
                    <a:gd name="T113" fmla="*/ 12 h 588"/>
                    <a:gd name="T114" fmla="*/ 84 w 2099"/>
                    <a:gd name="T115" fmla="*/ 3 h 588"/>
                    <a:gd name="T116" fmla="*/ 109 w 2099"/>
                    <a:gd name="T117" fmla="*/ 0 h 5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99" h="588">
                      <a:moveTo>
                        <a:pt x="1337" y="293"/>
                      </a:moveTo>
                      <a:lnTo>
                        <a:pt x="1337" y="451"/>
                      </a:lnTo>
                      <a:lnTo>
                        <a:pt x="1812" y="451"/>
                      </a:lnTo>
                      <a:lnTo>
                        <a:pt x="1812" y="293"/>
                      </a:lnTo>
                      <a:lnTo>
                        <a:pt x="1337" y="293"/>
                      </a:lnTo>
                      <a:close/>
                      <a:moveTo>
                        <a:pt x="196" y="124"/>
                      </a:moveTo>
                      <a:lnTo>
                        <a:pt x="175" y="127"/>
                      </a:lnTo>
                      <a:lnTo>
                        <a:pt x="156" y="137"/>
                      </a:lnTo>
                      <a:lnTo>
                        <a:pt x="142" y="152"/>
                      </a:lnTo>
                      <a:lnTo>
                        <a:pt x="133" y="170"/>
                      </a:lnTo>
                      <a:lnTo>
                        <a:pt x="129" y="191"/>
                      </a:lnTo>
                      <a:lnTo>
                        <a:pt x="133" y="212"/>
                      </a:lnTo>
                      <a:lnTo>
                        <a:pt x="142" y="231"/>
                      </a:lnTo>
                      <a:lnTo>
                        <a:pt x="156" y="245"/>
                      </a:lnTo>
                      <a:lnTo>
                        <a:pt x="175" y="254"/>
                      </a:lnTo>
                      <a:lnTo>
                        <a:pt x="196" y="258"/>
                      </a:lnTo>
                      <a:lnTo>
                        <a:pt x="218" y="254"/>
                      </a:lnTo>
                      <a:lnTo>
                        <a:pt x="237" y="245"/>
                      </a:lnTo>
                      <a:lnTo>
                        <a:pt x="251" y="231"/>
                      </a:lnTo>
                      <a:lnTo>
                        <a:pt x="260" y="212"/>
                      </a:lnTo>
                      <a:lnTo>
                        <a:pt x="264" y="191"/>
                      </a:lnTo>
                      <a:lnTo>
                        <a:pt x="260" y="170"/>
                      </a:lnTo>
                      <a:lnTo>
                        <a:pt x="251" y="152"/>
                      </a:lnTo>
                      <a:lnTo>
                        <a:pt x="237" y="137"/>
                      </a:lnTo>
                      <a:lnTo>
                        <a:pt x="218" y="127"/>
                      </a:lnTo>
                      <a:lnTo>
                        <a:pt x="196" y="124"/>
                      </a:lnTo>
                      <a:close/>
                      <a:moveTo>
                        <a:pt x="109" y="0"/>
                      </a:moveTo>
                      <a:lnTo>
                        <a:pt x="1991" y="0"/>
                      </a:lnTo>
                      <a:lnTo>
                        <a:pt x="2016" y="3"/>
                      </a:lnTo>
                      <a:lnTo>
                        <a:pt x="2038" y="12"/>
                      </a:lnTo>
                      <a:lnTo>
                        <a:pt x="2058" y="25"/>
                      </a:lnTo>
                      <a:lnTo>
                        <a:pt x="2075" y="41"/>
                      </a:lnTo>
                      <a:lnTo>
                        <a:pt x="2088" y="61"/>
                      </a:lnTo>
                      <a:lnTo>
                        <a:pt x="2096" y="85"/>
                      </a:lnTo>
                      <a:lnTo>
                        <a:pt x="2099" y="109"/>
                      </a:lnTo>
                      <a:lnTo>
                        <a:pt x="2099" y="478"/>
                      </a:lnTo>
                      <a:lnTo>
                        <a:pt x="2096" y="504"/>
                      </a:lnTo>
                      <a:lnTo>
                        <a:pt x="2088" y="527"/>
                      </a:lnTo>
                      <a:lnTo>
                        <a:pt x="2075" y="547"/>
                      </a:lnTo>
                      <a:lnTo>
                        <a:pt x="2058" y="563"/>
                      </a:lnTo>
                      <a:lnTo>
                        <a:pt x="2038" y="576"/>
                      </a:lnTo>
                      <a:lnTo>
                        <a:pt x="2016" y="584"/>
                      </a:lnTo>
                      <a:lnTo>
                        <a:pt x="1991" y="588"/>
                      </a:lnTo>
                      <a:lnTo>
                        <a:pt x="109" y="588"/>
                      </a:lnTo>
                      <a:lnTo>
                        <a:pt x="84" y="584"/>
                      </a:lnTo>
                      <a:lnTo>
                        <a:pt x="62" y="576"/>
                      </a:lnTo>
                      <a:lnTo>
                        <a:pt x="40" y="563"/>
                      </a:lnTo>
                      <a:lnTo>
                        <a:pt x="24" y="547"/>
                      </a:lnTo>
                      <a:lnTo>
                        <a:pt x="11" y="527"/>
                      </a:lnTo>
                      <a:lnTo>
                        <a:pt x="3" y="504"/>
                      </a:lnTo>
                      <a:lnTo>
                        <a:pt x="0" y="478"/>
                      </a:lnTo>
                      <a:lnTo>
                        <a:pt x="0" y="109"/>
                      </a:lnTo>
                      <a:lnTo>
                        <a:pt x="3" y="85"/>
                      </a:lnTo>
                      <a:lnTo>
                        <a:pt x="11" y="61"/>
                      </a:lnTo>
                      <a:lnTo>
                        <a:pt x="24" y="41"/>
                      </a:lnTo>
                      <a:lnTo>
                        <a:pt x="40" y="25"/>
                      </a:lnTo>
                      <a:lnTo>
                        <a:pt x="62" y="12"/>
                      </a:lnTo>
                      <a:lnTo>
                        <a:pt x="84" y="3"/>
                      </a:lnTo>
                      <a:lnTo>
                        <a:pt x="109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" name="Freeform 43"/>
                <p:cNvSpPr>
                  <a:spLocks noEditPoints="1"/>
                </p:cNvSpPr>
                <p:nvPr/>
              </p:nvSpPr>
              <p:spPr bwMode="auto">
                <a:xfrm>
                  <a:off x="-1040" y="2684"/>
                  <a:ext cx="350" cy="98"/>
                </a:xfrm>
                <a:custGeom>
                  <a:avLst/>
                  <a:gdLst>
                    <a:gd name="T0" fmla="*/ 1337 w 2099"/>
                    <a:gd name="T1" fmla="*/ 293 h 586"/>
                    <a:gd name="T2" fmla="*/ 1337 w 2099"/>
                    <a:gd name="T3" fmla="*/ 451 h 586"/>
                    <a:gd name="T4" fmla="*/ 1812 w 2099"/>
                    <a:gd name="T5" fmla="*/ 451 h 586"/>
                    <a:gd name="T6" fmla="*/ 1812 w 2099"/>
                    <a:gd name="T7" fmla="*/ 293 h 586"/>
                    <a:gd name="T8" fmla="*/ 1337 w 2099"/>
                    <a:gd name="T9" fmla="*/ 293 h 586"/>
                    <a:gd name="T10" fmla="*/ 196 w 2099"/>
                    <a:gd name="T11" fmla="*/ 123 h 586"/>
                    <a:gd name="T12" fmla="*/ 175 w 2099"/>
                    <a:gd name="T13" fmla="*/ 127 h 586"/>
                    <a:gd name="T14" fmla="*/ 156 w 2099"/>
                    <a:gd name="T15" fmla="*/ 136 h 586"/>
                    <a:gd name="T16" fmla="*/ 142 w 2099"/>
                    <a:gd name="T17" fmla="*/ 151 h 586"/>
                    <a:gd name="T18" fmla="*/ 133 w 2099"/>
                    <a:gd name="T19" fmla="*/ 169 h 586"/>
                    <a:gd name="T20" fmla="*/ 129 w 2099"/>
                    <a:gd name="T21" fmla="*/ 191 h 586"/>
                    <a:gd name="T22" fmla="*/ 133 w 2099"/>
                    <a:gd name="T23" fmla="*/ 212 h 586"/>
                    <a:gd name="T24" fmla="*/ 142 w 2099"/>
                    <a:gd name="T25" fmla="*/ 231 h 586"/>
                    <a:gd name="T26" fmla="*/ 156 w 2099"/>
                    <a:gd name="T27" fmla="*/ 245 h 586"/>
                    <a:gd name="T28" fmla="*/ 175 w 2099"/>
                    <a:gd name="T29" fmla="*/ 254 h 586"/>
                    <a:gd name="T30" fmla="*/ 196 w 2099"/>
                    <a:gd name="T31" fmla="*/ 258 h 586"/>
                    <a:gd name="T32" fmla="*/ 218 w 2099"/>
                    <a:gd name="T33" fmla="*/ 254 h 586"/>
                    <a:gd name="T34" fmla="*/ 237 w 2099"/>
                    <a:gd name="T35" fmla="*/ 245 h 586"/>
                    <a:gd name="T36" fmla="*/ 251 w 2099"/>
                    <a:gd name="T37" fmla="*/ 231 h 586"/>
                    <a:gd name="T38" fmla="*/ 260 w 2099"/>
                    <a:gd name="T39" fmla="*/ 212 h 586"/>
                    <a:gd name="T40" fmla="*/ 264 w 2099"/>
                    <a:gd name="T41" fmla="*/ 191 h 586"/>
                    <a:gd name="T42" fmla="*/ 260 w 2099"/>
                    <a:gd name="T43" fmla="*/ 169 h 586"/>
                    <a:gd name="T44" fmla="*/ 251 w 2099"/>
                    <a:gd name="T45" fmla="*/ 151 h 586"/>
                    <a:gd name="T46" fmla="*/ 237 w 2099"/>
                    <a:gd name="T47" fmla="*/ 136 h 586"/>
                    <a:gd name="T48" fmla="*/ 218 w 2099"/>
                    <a:gd name="T49" fmla="*/ 127 h 586"/>
                    <a:gd name="T50" fmla="*/ 196 w 2099"/>
                    <a:gd name="T51" fmla="*/ 123 h 586"/>
                    <a:gd name="T52" fmla="*/ 109 w 2099"/>
                    <a:gd name="T53" fmla="*/ 0 h 586"/>
                    <a:gd name="T54" fmla="*/ 1991 w 2099"/>
                    <a:gd name="T55" fmla="*/ 0 h 586"/>
                    <a:gd name="T56" fmla="*/ 2016 w 2099"/>
                    <a:gd name="T57" fmla="*/ 3 h 586"/>
                    <a:gd name="T58" fmla="*/ 2038 w 2099"/>
                    <a:gd name="T59" fmla="*/ 12 h 586"/>
                    <a:gd name="T60" fmla="*/ 2058 w 2099"/>
                    <a:gd name="T61" fmla="*/ 24 h 586"/>
                    <a:gd name="T62" fmla="*/ 2075 w 2099"/>
                    <a:gd name="T63" fmla="*/ 41 h 586"/>
                    <a:gd name="T64" fmla="*/ 2088 w 2099"/>
                    <a:gd name="T65" fmla="*/ 61 h 586"/>
                    <a:gd name="T66" fmla="*/ 2096 w 2099"/>
                    <a:gd name="T67" fmla="*/ 83 h 586"/>
                    <a:gd name="T68" fmla="*/ 2099 w 2099"/>
                    <a:gd name="T69" fmla="*/ 108 h 586"/>
                    <a:gd name="T70" fmla="*/ 2099 w 2099"/>
                    <a:gd name="T71" fmla="*/ 478 h 586"/>
                    <a:gd name="T72" fmla="*/ 2096 w 2099"/>
                    <a:gd name="T73" fmla="*/ 503 h 586"/>
                    <a:gd name="T74" fmla="*/ 2088 w 2099"/>
                    <a:gd name="T75" fmla="*/ 526 h 586"/>
                    <a:gd name="T76" fmla="*/ 2075 w 2099"/>
                    <a:gd name="T77" fmla="*/ 546 h 586"/>
                    <a:gd name="T78" fmla="*/ 2058 w 2099"/>
                    <a:gd name="T79" fmla="*/ 563 h 586"/>
                    <a:gd name="T80" fmla="*/ 2038 w 2099"/>
                    <a:gd name="T81" fmla="*/ 576 h 586"/>
                    <a:gd name="T82" fmla="*/ 2016 w 2099"/>
                    <a:gd name="T83" fmla="*/ 584 h 586"/>
                    <a:gd name="T84" fmla="*/ 1991 w 2099"/>
                    <a:gd name="T85" fmla="*/ 586 h 586"/>
                    <a:gd name="T86" fmla="*/ 109 w 2099"/>
                    <a:gd name="T87" fmla="*/ 586 h 586"/>
                    <a:gd name="T88" fmla="*/ 84 w 2099"/>
                    <a:gd name="T89" fmla="*/ 584 h 586"/>
                    <a:gd name="T90" fmla="*/ 62 w 2099"/>
                    <a:gd name="T91" fmla="*/ 576 h 586"/>
                    <a:gd name="T92" fmla="*/ 40 w 2099"/>
                    <a:gd name="T93" fmla="*/ 563 h 586"/>
                    <a:gd name="T94" fmla="*/ 24 w 2099"/>
                    <a:gd name="T95" fmla="*/ 546 h 586"/>
                    <a:gd name="T96" fmla="*/ 11 w 2099"/>
                    <a:gd name="T97" fmla="*/ 526 h 586"/>
                    <a:gd name="T98" fmla="*/ 3 w 2099"/>
                    <a:gd name="T99" fmla="*/ 503 h 586"/>
                    <a:gd name="T100" fmla="*/ 0 w 2099"/>
                    <a:gd name="T101" fmla="*/ 478 h 586"/>
                    <a:gd name="T102" fmla="*/ 0 w 2099"/>
                    <a:gd name="T103" fmla="*/ 108 h 586"/>
                    <a:gd name="T104" fmla="*/ 3 w 2099"/>
                    <a:gd name="T105" fmla="*/ 83 h 586"/>
                    <a:gd name="T106" fmla="*/ 11 w 2099"/>
                    <a:gd name="T107" fmla="*/ 61 h 586"/>
                    <a:gd name="T108" fmla="*/ 24 w 2099"/>
                    <a:gd name="T109" fmla="*/ 41 h 586"/>
                    <a:gd name="T110" fmla="*/ 40 w 2099"/>
                    <a:gd name="T111" fmla="*/ 24 h 586"/>
                    <a:gd name="T112" fmla="*/ 62 w 2099"/>
                    <a:gd name="T113" fmla="*/ 12 h 586"/>
                    <a:gd name="T114" fmla="*/ 84 w 2099"/>
                    <a:gd name="T115" fmla="*/ 3 h 586"/>
                    <a:gd name="T116" fmla="*/ 109 w 2099"/>
                    <a:gd name="T117" fmla="*/ 0 h 5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99" h="586">
                      <a:moveTo>
                        <a:pt x="1337" y="293"/>
                      </a:moveTo>
                      <a:lnTo>
                        <a:pt x="1337" y="451"/>
                      </a:lnTo>
                      <a:lnTo>
                        <a:pt x="1812" y="451"/>
                      </a:lnTo>
                      <a:lnTo>
                        <a:pt x="1812" y="293"/>
                      </a:lnTo>
                      <a:lnTo>
                        <a:pt x="1337" y="293"/>
                      </a:lnTo>
                      <a:close/>
                      <a:moveTo>
                        <a:pt x="196" y="123"/>
                      </a:moveTo>
                      <a:lnTo>
                        <a:pt x="175" y="127"/>
                      </a:lnTo>
                      <a:lnTo>
                        <a:pt x="156" y="136"/>
                      </a:lnTo>
                      <a:lnTo>
                        <a:pt x="142" y="151"/>
                      </a:lnTo>
                      <a:lnTo>
                        <a:pt x="133" y="169"/>
                      </a:lnTo>
                      <a:lnTo>
                        <a:pt x="129" y="191"/>
                      </a:lnTo>
                      <a:lnTo>
                        <a:pt x="133" y="212"/>
                      </a:lnTo>
                      <a:lnTo>
                        <a:pt x="142" y="231"/>
                      </a:lnTo>
                      <a:lnTo>
                        <a:pt x="156" y="245"/>
                      </a:lnTo>
                      <a:lnTo>
                        <a:pt x="175" y="254"/>
                      </a:lnTo>
                      <a:lnTo>
                        <a:pt x="196" y="258"/>
                      </a:lnTo>
                      <a:lnTo>
                        <a:pt x="218" y="254"/>
                      </a:lnTo>
                      <a:lnTo>
                        <a:pt x="237" y="245"/>
                      </a:lnTo>
                      <a:lnTo>
                        <a:pt x="251" y="231"/>
                      </a:lnTo>
                      <a:lnTo>
                        <a:pt x="260" y="212"/>
                      </a:lnTo>
                      <a:lnTo>
                        <a:pt x="264" y="191"/>
                      </a:lnTo>
                      <a:lnTo>
                        <a:pt x="260" y="169"/>
                      </a:lnTo>
                      <a:lnTo>
                        <a:pt x="251" y="151"/>
                      </a:lnTo>
                      <a:lnTo>
                        <a:pt x="237" y="136"/>
                      </a:lnTo>
                      <a:lnTo>
                        <a:pt x="218" y="127"/>
                      </a:lnTo>
                      <a:lnTo>
                        <a:pt x="196" y="123"/>
                      </a:lnTo>
                      <a:close/>
                      <a:moveTo>
                        <a:pt x="109" y="0"/>
                      </a:moveTo>
                      <a:lnTo>
                        <a:pt x="1991" y="0"/>
                      </a:lnTo>
                      <a:lnTo>
                        <a:pt x="2016" y="3"/>
                      </a:lnTo>
                      <a:lnTo>
                        <a:pt x="2038" y="12"/>
                      </a:lnTo>
                      <a:lnTo>
                        <a:pt x="2058" y="24"/>
                      </a:lnTo>
                      <a:lnTo>
                        <a:pt x="2075" y="41"/>
                      </a:lnTo>
                      <a:lnTo>
                        <a:pt x="2088" y="61"/>
                      </a:lnTo>
                      <a:lnTo>
                        <a:pt x="2096" y="83"/>
                      </a:lnTo>
                      <a:lnTo>
                        <a:pt x="2099" y="108"/>
                      </a:lnTo>
                      <a:lnTo>
                        <a:pt x="2099" y="478"/>
                      </a:lnTo>
                      <a:lnTo>
                        <a:pt x="2096" y="503"/>
                      </a:lnTo>
                      <a:lnTo>
                        <a:pt x="2088" y="526"/>
                      </a:lnTo>
                      <a:lnTo>
                        <a:pt x="2075" y="546"/>
                      </a:lnTo>
                      <a:lnTo>
                        <a:pt x="2058" y="563"/>
                      </a:lnTo>
                      <a:lnTo>
                        <a:pt x="2038" y="576"/>
                      </a:lnTo>
                      <a:lnTo>
                        <a:pt x="2016" y="584"/>
                      </a:lnTo>
                      <a:lnTo>
                        <a:pt x="1991" y="586"/>
                      </a:lnTo>
                      <a:lnTo>
                        <a:pt x="109" y="586"/>
                      </a:lnTo>
                      <a:lnTo>
                        <a:pt x="84" y="584"/>
                      </a:lnTo>
                      <a:lnTo>
                        <a:pt x="62" y="576"/>
                      </a:lnTo>
                      <a:lnTo>
                        <a:pt x="40" y="563"/>
                      </a:lnTo>
                      <a:lnTo>
                        <a:pt x="24" y="546"/>
                      </a:lnTo>
                      <a:lnTo>
                        <a:pt x="11" y="526"/>
                      </a:lnTo>
                      <a:lnTo>
                        <a:pt x="3" y="503"/>
                      </a:lnTo>
                      <a:lnTo>
                        <a:pt x="0" y="478"/>
                      </a:lnTo>
                      <a:lnTo>
                        <a:pt x="0" y="108"/>
                      </a:lnTo>
                      <a:lnTo>
                        <a:pt x="3" y="83"/>
                      </a:lnTo>
                      <a:lnTo>
                        <a:pt x="11" y="61"/>
                      </a:lnTo>
                      <a:lnTo>
                        <a:pt x="24" y="41"/>
                      </a:lnTo>
                      <a:lnTo>
                        <a:pt x="40" y="24"/>
                      </a:lnTo>
                      <a:lnTo>
                        <a:pt x="62" y="12"/>
                      </a:lnTo>
                      <a:lnTo>
                        <a:pt x="84" y="3"/>
                      </a:lnTo>
                      <a:lnTo>
                        <a:pt x="109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" name="Freeform 44"/>
                <p:cNvSpPr>
                  <a:spLocks/>
                </p:cNvSpPr>
                <p:nvPr/>
              </p:nvSpPr>
              <p:spPr bwMode="auto">
                <a:xfrm>
                  <a:off x="-1036" y="2793"/>
                  <a:ext cx="342" cy="115"/>
                </a:xfrm>
                <a:custGeom>
                  <a:avLst/>
                  <a:gdLst>
                    <a:gd name="T0" fmla="*/ 903 w 2053"/>
                    <a:gd name="T1" fmla="*/ 0 h 692"/>
                    <a:gd name="T2" fmla="*/ 1151 w 2053"/>
                    <a:gd name="T3" fmla="*/ 0 h 692"/>
                    <a:gd name="T4" fmla="*/ 1151 w 2053"/>
                    <a:gd name="T5" fmla="*/ 291 h 692"/>
                    <a:gd name="T6" fmla="*/ 1352 w 2053"/>
                    <a:gd name="T7" fmla="*/ 291 h 692"/>
                    <a:gd name="T8" fmla="*/ 1352 w 2053"/>
                    <a:gd name="T9" fmla="*/ 368 h 692"/>
                    <a:gd name="T10" fmla="*/ 2053 w 2053"/>
                    <a:gd name="T11" fmla="*/ 368 h 692"/>
                    <a:gd name="T12" fmla="*/ 2053 w 2053"/>
                    <a:gd name="T13" fmla="*/ 615 h 692"/>
                    <a:gd name="T14" fmla="*/ 1352 w 2053"/>
                    <a:gd name="T15" fmla="*/ 615 h 692"/>
                    <a:gd name="T16" fmla="*/ 1352 w 2053"/>
                    <a:gd name="T17" fmla="*/ 692 h 692"/>
                    <a:gd name="T18" fmla="*/ 702 w 2053"/>
                    <a:gd name="T19" fmla="*/ 692 h 692"/>
                    <a:gd name="T20" fmla="*/ 702 w 2053"/>
                    <a:gd name="T21" fmla="*/ 615 h 692"/>
                    <a:gd name="T22" fmla="*/ 0 w 2053"/>
                    <a:gd name="T23" fmla="*/ 615 h 692"/>
                    <a:gd name="T24" fmla="*/ 0 w 2053"/>
                    <a:gd name="T25" fmla="*/ 368 h 692"/>
                    <a:gd name="T26" fmla="*/ 702 w 2053"/>
                    <a:gd name="T27" fmla="*/ 368 h 692"/>
                    <a:gd name="T28" fmla="*/ 702 w 2053"/>
                    <a:gd name="T29" fmla="*/ 291 h 692"/>
                    <a:gd name="T30" fmla="*/ 903 w 2053"/>
                    <a:gd name="T31" fmla="*/ 291 h 692"/>
                    <a:gd name="T32" fmla="*/ 903 w 2053"/>
                    <a:gd name="T33" fmla="*/ 0 h 6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053" h="692">
                      <a:moveTo>
                        <a:pt x="903" y="0"/>
                      </a:moveTo>
                      <a:lnTo>
                        <a:pt x="1151" y="0"/>
                      </a:lnTo>
                      <a:lnTo>
                        <a:pt x="1151" y="291"/>
                      </a:lnTo>
                      <a:lnTo>
                        <a:pt x="1352" y="291"/>
                      </a:lnTo>
                      <a:lnTo>
                        <a:pt x="1352" y="368"/>
                      </a:lnTo>
                      <a:lnTo>
                        <a:pt x="2053" y="368"/>
                      </a:lnTo>
                      <a:lnTo>
                        <a:pt x="2053" y="615"/>
                      </a:lnTo>
                      <a:lnTo>
                        <a:pt x="1352" y="615"/>
                      </a:lnTo>
                      <a:lnTo>
                        <a:pt x="1352" y="692"/>
                      </a:lnTo>
                      <a:lnTo>
                        <a:pt x="702" y="692"/>
                      </a:lnTo>
                      <a:lnTo>
                        <a:pt x="702" y="615"/>
                      </a:lnTo>
                      <a:lnTo>
                        <a:pt x="0" y="615"/>
                      </a:lnTo>
                      <a:lnTo>
                        <a:pt x="0" y="368"/>
                      </a:lnTo>
                      <a:lnTo>
                        <a:pt x="702" y="368"/>
                      </a:lnTo>
                      <a:lnTo>
                        <a:pt x="702" y="291"/>
                      </a:lnTo>
                      <a:lnTo>
                        <a:pt x="903" y="291"/>
                      </a:lnTo>
                      <a:lnTo>
                        <a:pt x="9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" name="Freeform 45"/>
                <p:cNvSpPr>
                  <a:spLocks/>
                </p:cNvSpPr>
                <p:nvPr/>
              </p:nvSpPr>
              <p:spPr bwMode="auto">
                <a:xfrm>
                  <a:off x="-1173" y="2275"/>
                  <a:ext cx="617" cy="360"/>
                </a:xfrm>
                <a:custGeom>
                  <a:avLst/>
                  <a:gdLst>
                    <a:gd name="T0" fmla="*/ 1806 w 3701"/>
                    <a:gd name="T1" fmla="*/ 27 h 2156"/>
                    <a:gd name="T2" fmla="*/ 2072 w 3701"/>
                    <a:gd name="T3" fmla="*/ 140 h 2156"/>
                    <a:gd name="T4" fmla="*/ 2195 w 3701"/>
                    <a:gd name="T5" fmla="*/ 200 h 2156"/>
                    <a:gd name="T6" fmla="*/ 2449 w 3701"/>
                    <a:gd name="T7" fmla="*/ 226 h 2156"/>
                    <a:gd name="T8" fmla="*/ 2696 w 3701"/>
                    <a:gd name="T9" fmla="*/ 339 h 2156"/>
                    <a:gd name="T10" fmla="*/ 2893 w 3701"/>
                    <a:gd name="T11" fmla="*/ 526 h 2156"/>
                    <a:gd name="T12" fmla="*/ 2961 w 3701"/>
                    <a:gd name="T13" fmla="*/ 564 h 2156"/>
                    <a:gd name="T14" fmla="*/ 3252 w 3701"/>
                    <a:gd name="T15" fmla="*/ 645 h 2156"/>
                    <a:gd name="T16" fmla="*/ 3486 w 3701"/>
                    <a:gd name="T17" fmla="*/ 821 h 2156"/>
                    <a:gd name="T18" fmla="*/ 3643 w 3701"/>
                    <a:gd name="T19" fmla="*/ 1069 h 2156"/>
                    <a:gd name="T20" fmla="*/ 3701 w 3701"/>
                    <a:gd name="T21" fmla="*/ 1367 h 2156"/>
                    <a:gd name="T22" fmla="*/ 3645 w 3701"/>
                    <a:gd name="T23" fmla="*/ 1660 h 2156"/>
                    <a:gd name="T24" fmla="*/ 3494 w 3701"/>
                    <a:gd name="T25" fmla="*/ 1905 h 2156"/>
                    <a:gd name="T26" fmla="*/ 3267 w 3701"/>
                    <a:gd name="T27" fmla="*/ 2081 h 2156"/>
                    <a:gd name="T28" fmla="*/ 3060 w 3701"/>
                    <a:gd name="T29" fmla="*/ 1916 h 2156"/>
                    <a:gd name="T30" fmla="*/ 3097 w 3701"/>
                    <a:gd name="T31" fmla="*/ 1810 h 2156"/>
                    <a:gd name="T32" fmla="*/ 3270 w 3701"/>
                    <a:gd name="T33" fmla="*/ 1677 h 2156"/>
                    <a:gd name="T34" fmla="*/ 3369 w 3701"/>
                    <a:gd name="T35" fmla="*/ 1482 h 2156"/>
                    <a:gd name="T36" fmla="*/ 3370 w 3701"/>
                    <a:gd name="T37" fmla="*/ 1256 h 2156"/>
                    <a:gd name="T38" fmla="*/ 3274 w 3701"/>
                    <a:gd name="T39" fmla="*/ 1062 h 2156"/>
                    <a:gd name="T40" fmla="*/ 3107 w 3701"/>
                    <a:gd name="T41" fmla="*/ 929 h 2156"/>
                    <a:gd name="T42" fmla="*/ 2892 w 3701"/>
                    <a:gd name="T43" fmla="*/ 880 h 2156"/>
                    <a:gd name="T44" fmla="*/ 2762 w 3701"/>
                    <a:gd name="T45" fmla="*/ 868 h 2156"/>
                    <a:gd name="T46" fmla="*/ 2684 w 3701"/>
                    <a:gd name="T47" fmla="*/ 793 h 2156"/>
                    <a:gd name="T48" fmla="*/ 2547 w 3701"/>
                    <a:gd name="T49" fmla="*/ 622 h 2156"/>
                    <a:gd name="T50" fmla="*/ 2353 w 3701"/>
                    <a:gd name="T51" fmla="*/ 529 h 2156"/>
                    <a:gd name="T52" fmla="*/ 2143 w 3701"/>
                    <a:gd name="T53" fmla="*/ 526 h 2156"/>
                    <a:gd name="T54" fmla="*/ 2023 w 3701"/>
                    <a:gd name="T55" fmla="*/ 504 h 2156"/>
                    <a:gd name="T56" fmla="*/ 1860 w 3701"/>
                    <a:gd name="T57" fmla="*/ 384 h 2156"/>
                    <a:gd name="T58" fmla="*/ 1645 w 3701"/>
                    <a:gd name="T59" fmla="*/ 320 h 2156"/>
                    <a:gd name="T60" fmla="*/ 1408 w 3701"/>
                    <a:gd name="T61" fmla="*/ 345 h 2156"/>
                    <a:gd name="T62" fmla="*/ 1202 w 3701"/>
                    <a:gd name="T63" fmla="*/ 460 h 2156"/>
                    <a:gd name="T64" fmla="*/ 1058 w 3701"/>
                    <a:gd name="T65" fmla="*/ 646 h 2156"/>
                    <a:gd name="T66" fmla="*/ 988 w 3701"/>
                    <a:gd name="T67" fmla="*/ 820 h 2156"/>
                    <a:gd name="T68" fmla="*/ 882 w 3701"/>
                    <a:gd name="T69" fmla="*/ 881 h 2156"/>
                    <a:gd name="T70" fmla="*/ 696 w 3701"/>
                    <a:gd name="T71" fmla="*/ 891 h 2156"/>
                    <a:gd name="T72" fmla="*/ 502 w 3701"/>
                    <a:gd name="T73" fmla="*/ 987 h 2156"/>
                    <a:gd name="T74" fmla="*/ 369 w 3701"/>
                    <a:gd name="T75" fmla="*/ 1153 h 2156"/>
                    <a:gd name="T76" fmla="*/ 319 w 3701"/>
                    <a:gd name="T77" fmla="*/ 1367 h 2156"/>
                    <a:gd name="T78" fmla="*/ 371 w 3701"/>
                    <a:gd name="T79" fmla="*/ 1585 h 2156"/>
                    <a:gd name="T80" fmla="*/ 510 w 3701"/>
                    <a:gd name="T81" fmla="*/ 1754 h 2156"/>
                    <a:gd name="T82" fmla="*/ 649 w 3701"/>
                    <a:gd name="T83" fmla="*/ 1859 h 2156"/>
                    <a:gd name="T84" fmla="*/ 570 w 3701"/>
                    <a:gd name="T85" fmla="*/ 2137 h 2156"/>
                    <a:gd name="T86" fmla="*/ 313 w 3701"/>
                    <a:gd name="T87" fmla="*/ 2003 h 2156"/>
                    <a:gd name="T88" fmla="*/ 120 w 3701"/>
                    <a:gd name="T89" fmla="*/ 1789 h 2156"/>
                    <a:gd name="T90" fmla="*/ 15 w 3701"/>
                    <a:gd name="T91" fmla="*/ 1518 h 2156"/>
                    <a:gd name="T92" fmla="*/ 14 w 3701"/>
                    <a:gd name="T93" fmla="*/ 1219 h 2156"/>
                    <a:gd name="T94" fmla="*/ 117 w 3701"/>
                    <a:gd name="T95" fmla="*/ 950 h 2156"/>
                    <a:gd name="T96" fmla="*/ 304 w 3701"/>
                    <a:gd name="T97" fmla="*/ 739 h 2156"/>
                    <a:gd name="T98" fmla="*/ 553 w 3701"/>
                    <a:gd name="T99" fmla="*/ 603 h 2156"/>
                    <a:gd name="T100" fmla="*/ 739 w 3701"/>
                    <a:gd name="T101" fmla="*/ 552 h 2156"/>
                    <a:gd name="T102" fmla="*/ 841 w 3701"/>
                    <a:gd name="T103" fmla="*/ 390 h 2156"/>
                    <a:gd name="T104" fmla="*/ 1040 w 3701"/>
                    <a:gd name="T105" fmla="*/ 182 h 2156"/>
                    <a:gd name="T106" fmla="*/ 1295 w 3701"/>
                    <a:gd name="T107" fmla="*/ 48 h 2156"/>
                    <a:gd name="T108" fmla="*/ 1587 w 3701"/>
                    <a:gd name="T109" fmla="*/ 0 h 2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3701" h="2156">
                      <a:moveTo>
                        <a:pt x="1587" y="0"/>
                      </a:moveTo>
                      <a:lnTo>
                        <a:pt x="1662" y="3"/>
                      </a:lnTo>
                      <a:lnTo>
                        <a:pt x="1735" y="11"/>
                      </a:lnTo>
                      <a:lnTo>
                        <a:pt x="1806" y="27"/>
                      </a:lnTo>
                      <a:lnTo>
                        <a:pt x="1876" y="47"/>
                      </a:lnTo>
                      <a:lnTo>
                        <a:pt x="1944" y="71"/>
                      </a:lnTo>
                      <a:lnTo>
                        <a:pt x="2009" y="103"/>
                      </a:lnTo>
                      <a:lnTo>
                        <a:pt x="2072" y="140"/>
                      </a:lnTo>
                      <a:lnTo>
                        <a:pt x="2132" y="181"/>
                      </a:lnTo>
                      <a:lnTo>
                        <a:pt x="2152" y="193"/>
                      </a:lnTo>
                      <a:lnTo>
                        <a:pt x="2172" y="199"/>
                      </a:lnTo>
                      <a:lnTo>
                        <a:pt x="2195" y="200"/>
                      </a:lnTo>
                      <a:lnTo>
                        <a:pt x="2243" y="199"/>
                      </a:lnTo>
                      <a:lnTo>
                        <a:pt x="2313" y="202"/>
                      </a:lnTo>
                      <a:lnTo>
                        <a:pt x="2382" y="210"/>
                      </a:lnTo>
                      <a:lnTo>
                        <a:pt x="2449" y="226"/>
                      </a:lnTo>
                      <a:lnTo>
                        <a:pt x="2514" y="246"/>
                      </a:lnTo>
                      <a:lnTo>
                        <a:pt x="2578" y="272"/>
                      </a:lnTo>
                      <a:lnTo>
                        <a:pt x="2638" y="302"/>
                      </a:lnTo>
                      <a:lnTo>
                        <a:pt x="2696" y="339"/>
                      </a:lnTo>
                      <a:lnTo>
                        <a:pt x="2752" y="379"/>
                      </a:lnTo>
                      <a:lnTo>
                        <a:pt x="2802" y="424"/>
                      </a:lnTo>
                      <a:lnTo>
                        <a:pt x="2850" y="473"/>
                      </a:lnTo>
                      <a:lnTo>
                        <a:pt x="2893" y="526"/>
                      </a:lnTo>
                      <a:lnTo>
                        <a:pt x="2906" y="542"/>
                      </a:lnTo>
                      <a:lnTo>
                        <a:pt x="2923" y="553"/>
                      </a:lnTo>
                      <a:lnTo>
                        <a:pt x="2941" y="560"/>
                      </a:lnTo>
                      <a:lnTo>
                        <a:pt x="2961" y="564"/>
                      </a:lnTo>
                      <a:lnTo>
                        <a:pt x="3038" y="575"/>
                      </a:lnTo>
                      <a:lnTo>
                        <a:pt x="3112" y="592"/>
                      </a:lnTo>
                      <a:lnTo>
                        <a:pt x="3183" y="616"/>
                      </a:lnTo>
                      <a:lnTo>
                        <a:pt x="3252" y="645"/>
                      </a:lnTo>
                      <a:lnTo>
                        <a:pt x="3315" y="682"/>
                      </a:lnTo>
                      <a:lnTo>
                        <a:pt x="3377" y="723"/>
                      </a:lnTo>
                      <a:lnTo>
                        <a:pt x="3434" y="769"/>
                      </a:lnTo>
                      <a:lnTo>
                        <a:pt x="3486" y="821"/>
                      </a:lnTo>
                      <a:lnTo>
                        <a:pt x="3533" y="877"/>
                      </a:lnTo>
                      <a:lnTo>
                        <a:pt x="3575" y="937"/>
                      </a:lnTo>
                      <a:lnTo>
                        <a:pt x="3612" y="1001"/>
                      </a:lnTo>
                      <a:lnTo>
                        <a:pt x="3643" y="1069"/>
                      </a:lnTo>
                      <a:lnTo>
                        <a:pt x="3668" y="1140"/>
                      </a:lnTo>
                      <a:lnTo>
                        <a:pt x="3685" y="1213"/>
                      </a:lnTo>
                      <a:lnTo>
                        <a:pt x="3697" y="1290"/>
                      </a:lnTo>
                      <a:lnTo>
                        <a:pt x="3701" y="1367"/>
                      </a:lnTo>
                      <a:lnTo>
                        <a:pt x="3697" y="1444"/>
                      </a:lnTo>
                      <a:lnTo>
                        <a:pt x="3687" y="1518"/>
                      </a:lnTo>
                      <a:lnTo>
                        <a:pt x="3669" y="1590"/>
                      </a:lnTo>
                      <a:lnTo>
                        <a:pt x="3645" y="1660"/>
                      </a:lnTo>
                      <a:lnTo>
                        <a:pt x="3616" y="1727"/>
                      </a:lnTo>
                      <a:lnTo>
                        <a:pt x="3580" y="1789"/>
                      </a:lnTo>
                      <a:lnTo>
                        <a:pt x="3540" y="1849"/>
                      </a:lnTo>
                      <a:lnTo>
                        <a:pt x="3494" y="1905"/>
                      </a:lnTo>
                      <a:lnTo>
                        <a:pt x="3443" y="1957"/>
                      </a:lnTo>
                      <a:lnTo>
                        <a:pt x="3389" y="2003"/>
                      </a:lnTo>
                      <a:lnTo>
                        <a:pt x="3330" y="2045"/>
                      </a:lnTo>
                      <a:lnTo>
                        <a:pt x="3267" y="2081"/>
                      </a:lnTo>
                      <a:lnTo>
                        <a:pt x="3201" y="2112"/>
                      </a:lnTo>
                      <a:lnTo>
                        <a:pt x="3131" y="2137"/>
                      </a:lnTo>
                      <a:lnTo>
                        <a:pt x="3060" y="2156"/>
                      </a:lnTo>
                      <a:lnTo>
                        <a:pt x="3060" y="1916"/>
                      </a:lnTo>
                      <a:lnTo>
                        <a:pt x="3058" y="1887"/>
                      </a:lnTo>
                      <a:lnTo>
                        <a:pt x="3053" y="1859"/>
                      </a:lnTo>
                      <a:lnTo>
                        <a:pt x="3045" y="1830"/>
                      </a:lnTo>
                      <a:lnTo>
                        <a:pt x="3097" y="1810"/>
                      </a:lnTo>
                      <a:lnTo>
                        <a:pt x="3145" y="1785"/>
                      </a:lnTo>
                      <a:lnTo>
                        <a:pt x="3191" y="1754"/>
                      </a:lnTo>
                      <a:lnTo>
                        <a:pt x="3233" y="1717"/>
                      </a:lnTo>
                      <a:lnTo>
                        <a:pt x="3270" y="1677"/>
                      </a:lnTo>
                      <a:lnTo>
                        <a:pt x="3302" y="1634"/>
                      </a:lnTo>
                      <a:lnTo>
                        <a:pt x="3331" y="1585"/>
                      </a:lnTo>
                      <a:lnTo>
                        <a:pt x="3352" y="1535"/>
                      </a:lnTo>
                      <a:lnTo>
                        <a:pt x="3369" y="1482"/>
                      </a:lnTo>
                      <a:lnTo>
                        <a:pt x="3379" y="1425"/>
                      </a:lnTo>
                      <a:lnTo>
                        <a:pt x="3383" y="1367"/>
                      </a:lnTo>
                      <a:lnTo>
                        <a:pt x="3379" y="1311"/>
                      </a:lnTo>
                      <a:lnTo>
                        <a:pt x="3370" y="1256"/>
                      </a:lnTo>
                      <a:lnTo>
                        <a:pt x="3353" y="1203"/>
                      </a:lnTo>
                      <a:lnTo>
                        <a:pt x="3332" y="1153"/>
                      </a:lnTo>
                      <a:lnTo>
                        <a:pt x="3306" y="1106"/>
                      </a:lnTo>
                      <a:lnTo>
                        <a:pt x="3274" y="1062"/>
                      </a:lnTo>
                      <a:lnTo>
                        <a:pt x="3239" y="1022"/>
                      </a:lnTo>
                      <a:lnTo>
                        <a:pt x="3198" y="987"/>
                      </a:lnTo>
                      <a:lnTo>
                        <a:pt x="3155" y="955"/>
                      </a:lnTo>
                      <a:lnTo>
                        <a:pt x="3107" y="929"/>
                      </a:lnTo>
                      <a:lnTo>
                        <a:pt x="3058" y="908"/>
                      </a:lnTo>
                      <a:lnTo>
                        <a:pt x="3005" y="891"/>
                      </a:lnTo>
                      <a:lnTo>
                        <a:pt x="2949" y="882"/>
                      </a:lnTo>
                      <a:lnTo>
                        <a:pt x="2892" y="880"/>
                      </a:lnTo>
                      <a:lnTo>
                        <a:pt x="2843" y="882"/>
                      </a:lnTo>
                      <a:lnTo>
                        <a:pt x="2815" y="882"/>
                      </a:lnTo>
                      <a:lnTo>
                        <a:pt x="2788" y="877"/>
                      </a:lnTo>
                      <a:lnTo>
                        <a:pt x="2762" y="868"/>
                      </a:lnTo>
                      <a:lnTo>
                        <a:pt x="2737" y="855"/>
                      </a:lnTo>
                      <a:lnTo>
                        <a:pt x="2716" y="837"/>
                      </a:lnTo>
                      <a:lnTo>
                        <a:pt x="2698" y="817"/>
                      </a:lnTo>
                      <a:lnTo>
                        <a:pt x="2684" y="793"/>
                      </a:lnTo>
                      <a:lnTo>
                        <a:pt x="2657" y="743"/>
                      </a:lnTo>
                      <a:lnTo>
                        <a:pt x="2625" y="698"/>
                      </a:lnTo>
                      <a:lnTo>
                        <a:pt x="2588" y="658"/>
                      </a:lnTo>
                      <a:lnTo>
                        <a:pt x="2547" y="622"/>
                      </a:lnTo>
                      <a:lnTo>
                        <a:pt x="2503" y="590"/>
                      </a:lnTo>
                      <a:lnTo>
                        <a:pt x="2456" y="564"/>
                      </a:lnTo>
                      <a:lnTo>
                        <a:pt x="2406" y="544"/>
                      </a:lnTo>
                      <a:lnTo>
                        <a:pt x="2353" y="529"/>
                      </a:lnTo>
                      <a:lnTo>
                        <a:pt x="2299" y="519"/>
                      </a:lnTo>
                      <a:lnTo>
                        <a:pt x="2243" y="516"/>
                      </a:lnTo>
                      <a:lnTo>
                        <a:pt x="2192" y="519"/>
                      </a:lnTo>
                      <a:lnTo>
                        <a:pt x="2143" y="526"/>
                      </a:lnTo>
                      <a:lnTo>
                        <a:pt x="2112" y="530"/>
                      </a:lnTo>
                      <a:lnTo>
                        <a:pt x="2080" y="527"/>
                      </a:lnTo>
                      <a:lnTo>
                        <a:pt x="2051" y="518"/>
                      </a:lnTo>
                      <a:lnTo>
                        <a:pt x="2023" y="504"/>
                      </a:lnTo>
                      <a:lnTo>
                        <a:pt x="1999" y="485"/>
                      </a:lnTo>
                      <a:lnTo>
                        <a:pt x="1956" y="446"/>
                      </a:lnTo>
                      <a:lnTo>
                        <a:pt x="1910" y="413"/>
                      </a:lnTo>
                      <a:lnTo>
                        <a:pt x="1860" y="384"/>
                      </a:lnTo>
                      <a:lnTo>
                        <a:pt x="1809" y="360"/>
                      </a:lnTo>
                      <a:lnTo>
                        <a:pt x="1756" y="341"/>
                      </a:lnTo>
                      <a:lnTo>
                        <a:pt x="1701" y="328"/>
                      </a:lnTo>
                      <a:lnTo>
                        <a:pt x="1645" y="320"/>
                      </a:lnTo>
                      <a:lnTo>
                        <a:pt x="1587" y="318"/>
                      </a:lnTo>
                      <a:lnTo>
                        <a:pt x="1526" y="320"/>
                      </a:lnTo>
                      <a:lnTo>
                        <a:pt x="1466" y="329"/>
                      </a:lnTo>
                      <a:lnTo>
                        <a:pt x="1408" y="345"/>
                      </a:lnTo>
                      <a:lnTo>
                        <a:pt x="1352" y="366"/>
                      </a:lnTo>
                      <a:lnTo>
                        <a:pt x="1299" y="392"/>
                      </a:lnTo>
                      <a:lnTo>
                        <a:pt x="1249" y="424"/>
                      </a:lnTo>
                      <a:lnTo>
                        <a:pt x="1202" y="460"/>
                      </a:lnTo>
                      <a:lnTo>
                        <a:pt x="1159" y="500"/>
                      </a:lnTo>
                      <a:lnTo>
                        <a:pt x="1122" y="545"/>
                      </a:lnTo>
                      <a:lnTo>
                        <a:pt x="1087" y="595"/>
                      </a:lnTo>
                      <a:lnTo>
                        <a:pt x="1058" y="646"/>
                      </a:lnTo>
                      <a:lnTo>
                        <a:pt x="1034" y="703"/>
                      </a:lnTo>
                      <a:lnTo>
                        <a:pt x="1016" y="762"/>
                      </a:lnTo>
                      <a:lnTo>
                        <a:pt x="1006" y="793"/>
                      </a:lnTo>
                      <a:lnTo>
                        <a:pt x="988" y="820"/>
                      </a:lnTo>
                      <a:lnTo>
                        <a:pt x="967" y="842"/>
                      </a:lnTo>
                      <a:lnTo>
                        <a:pt x="942" y="861"/>
                      </a:lnTo>
                      <a:lnTo>
                        <a:pt x="914" y="874"/>
                      </a:lnTo>
                      <a:lnTo>
                        <a:pt x="882" y="881"/>
                      </a:lnTo>
                      <a:lnTo>
                        <a:pt x="850" y="881"/>
                      </a:lnTo>
                      <a:lnTo>
                        <a:pt x="808" y="880"/>
                      </a:lnTo>
                      <a:lnTo>
                        <a:pt x="752" y="882"/>
                      </a:lnTo>
                      <a:lnTo>
                        <a:pt x="696" y="891"/>
                      </a:lnTo>
                      <a:lnTo>
                        <a:pt x="644" y="908"/>
                      </a:lnTo>
                      <a:lnTo>
                        <a:pt x="593" y="929"/>
                      </a:lnTo>
                      <a:lnTo>
                        <a:pt x="546" y="955"/>
                      </a:lnTo>
                      <a:lnTo>
                        <a:pt x="502" y="987"/>
                      </a:lnTo>
                      <a:lnTo>
                        <a:pt x="462" y="1022"/>
                      </a:lnTo>
                      <a:lnTo>
                        <a:pt x="427" y="1062"/>
                      </a:lnTo>
                      <a:lnTo>
                        <a:pt x="396" y="1106"/>
                      </a:lnTo>
                      <a:lnTo>
                        <a:pt x="369" y="1153"/>
                      </a:lnTo>
                      <a:lnTo>
                        <a:pt x="347" y="1203"/>
                      </a:lnTo>
                      <a:lnTo>
                        <a:pt x="332" y="1256"/>
                      </a:lnTo>
                      <a:lnTo>
                        <a:pt x="323" y="1311"/>
                      </a:lnTo>
                      <a:lnTo>
                        <a:pt x="319" y="1367"/>
                      </a:lnTo>
                      <a:lnTo>
                        <a:pt x="323" y="1425"/>
                      </a:lnTo>
                      <a:lnTo>
                        <a:pt x="332" y="1482"/>
                      </a:lnTo>
                      <a:lnTo>
                        <a:pt x="349" y="1535"/>
                      </a:lnTo>
                      <a:lnTo>
                        <a:pt x="371" y="1585"/>
                      </a:lnTo>
                      <a:lnTo>
                        <a:pt x="398" y="1634"/>
                      </a:lnTo>
                      <a:lnTo>
                        <a:pt x="431" y="1677"/>
                      </a:lnTo>
                      <a:lnTo>
                        <a:pt x="468" y="1717"/>
                      </a:lnTo>
                      <a:lnTo>
                        <a:pt x="510" y="1754"/>
                      </a:lnTo>
                      <a:lnTo>
                        <a:pt x="555" y="1785"/>
                      </a:lnTo>
                      <a:lnTo>
                        <a:pt x="604" y="1810"/>
                      </a:lnTo>
                      <a:lnTo>
                        <a:pt x="656" y="1830"/>
                      </a:lnTo>
                      <a:lnTo>
                        <a:pt x="649" y="1859"/>
                      </a:lnTo>
                      <a:lnTo>
                        <a:pt x="643" y="1887"/>
                      </a:lnTo>
                      <a:lnTo>
                        <a:pt x="642" y="1916"/>
                      </a:lnTo>
                      <a:lnTo>
                        <a:pt x="642" y="2156"/>
                      </a:lnTo>
                      <a:lnTo>
                        <a:pt x="570" y="2137"/>
                      </a:lnTo>
                      <a:lnTo>
                        <a:pt x="501" y="2112"/>
                      </a:lnTo>
                      <a:lnTo>
                        <a:pt x="435" y="2081"/>
                      </a:lnTo>
                      <a:lnTo>
                        <a:pt x="372" y="2045"/>
                      </a:lnTo>
                      <a:lnTo>
                        <a:pt x="313" y="2003"/>
                      </a:lnTo>
                      <a:lnTo>
                        <a:pt x="257" y="1957"/>
                      </a:lnTo>
                      <a:lnTo>
                        <a:pt x="208" y="1905"/>
                      </a:lnTo>
                      <a:lnTo>
                        <a:pt x="162" y="1849"/>
                      </a:lnTo>
                      <a:lnTo>
                        <a:pt x="120" y="1789"/>
                      </a:lnTo>
                      <a:lnTo>
                        <a:pt x="85" y="1727"/>
                      </a:lnTo>
                      <a:lnTo>
                        <a:pt x="55" y="1660"/>
                      </a:lnTo>
                      <a:lnTo>
                        <a:pt x="32" y="1590"/>
                      </a:lnTo>
                      <a:lnTo>
                        <a:pt x="15" y="1518"/>
                      </a:lnTo>
                      <a:lnTo>
                        <a:pt x="5" y="1444"/>
                      </a:lnTo>
                      <a:lnTo>
                        <a:pt x="0" y="1367"/>
                      </a:lnTo>
                      <a:lnTo>
                        <a:pt x="3" y="1292"/>
                      </a:lnTo>
                      <a:lnTo>
                        <a:pt x="14" y="1219"/>
                      </a:lnTo>
                      <a:lnTo>
                        <a:pt x="31" y="1147"/>
                      </a:lnTo>
                      <a:lnTo>
                        <a:pt x="54" y="1079"/>
                      </a:lnTo>
                      <a:lnTo>
                        <a:pt x="83" y="1013"/>
                      </a:lnTo>
                      <a:lnTo>
                        <a:pt x="117" y="950"/>
                      </a:lnTo>
                      <a:lnTo>
                        <a:pt x="157" y="891"/>
                      </a:lnTo>
                      <a:lnTo>
                        <a:pt x="201" y="836"/>
                      </a:lnTo>
                      <a:lnTo>
                        <a:pt x="250" y="785"/>
                      </a:lnTo>
                      <a:lnTo>
                        <a:pt x="304" y="739"/>
                      </a:lnTo>
                      <a:lnTo>
                        <a:pt x="360" y="697"/>
                      </a:lnTo>
                      <a:lnTo>
                        <a:pt x="422" y="661"/>
                      </a:lnTo>
                      <a:lnTo>
                        <a:pt x="486" y="629"/>
                      </a:lnTo>
                      <a:lnTo>
                        <a:pt x="553" y="603"/>
                      </a:lnTo>
                      <a:lnTo>
                        <a:pt x="623" y="583"/>
                      </a:lnTo>
                      <a:lnTo>
                        <a:pt x="696" y="570"/>
                      </a:lnTo>
                      <a:lnTo>
                        <a:pt x="718" y="563"/>
                      </a:lnTo>
                      <a:lnTo>
                        <a:pt x="739" y="552"/>
                      </a:lnTo>
                      <a:lnTo>
                        <a:pt x="755" y="537"/>
                      </a:lnTo>
                      <a:lnTo>
                        <a:pt x="768" y="517"/>
                      </a:lnTo>
                      <a:lnTo>
                        <a:pt x="802" y="452"/>
                      </a:lnTo>
                      <a:lnTo>
                        <a:pt x="841" y="390"/>
                      </a:lnTo>
                      <a:lnTo>
                        <a:pt x="884" y="332"/>
                      </a:lnTo>
                      <a:lnTo>
                        <a:pt x="932" y="278"/>
                      </a:lnTo>
                      <a:lnTo>
                        <a:pt x="984" y="228"/>
                      </a:lnTo>
                      <a:lnTo>
                        <a:pt x="1040" y="182"/>
                      </a:lnTo>
                      <a:lnTo>
                        <a:pt x="1099" y="141"/>
                      </a:lnTo>
                      <a:lnTo>
                        <a:pt x="1162" y="106"/>
                      </a:lnTo>
                      <a:lnTo>
                        <a:pt x="1227" y="74"/>
                      </a:lnTo>
                      <a:lnTo>
                        <a:pt x="1295" y="48"/>
                      </a:lnTo>
                      <a:lnTo>
                        <a:pt x="1365" y="27"/>
                      </a:lnTo>
                      <a:lnTo>
                        <a:pt x="1437" y="13"/>
                      </a:lnTo>
                      <a:lnTo>
                        <a:pt x="1512" y="3"/>
                      </a:lnTo>
                      <a:lnTo>
                        <a:pt x="158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26" name="Group 48"/>
              <p:cNvGrpSpPr>
                <a:grpSpLocks noChangeAspect="1"/>
              </p:cNvGrpSpPr>
              <p:nvPr/>
            </p:nvGrpSpPr>
            <p:grpSpPr bwMode="auto">
              <a:xfrm>
                <a:off x="3278438" y="3607812"/>
                <a:ext cx="611932" cy="541818"/>
                <a:chOff x="-1883" y="1872"/>
                <a:chExt cx="2243" cy="1986"/>
              </a:xfrm>
              <a:solidFill>
                <a:schemeClr val="bg1"/>
              </a:solidFill>
            </p:grpSpPr>
            <p:sp>
              <p:nvSpPr>
                <p:cNvPr id="27" name="Freeform 50"/>
                <p:cNvSpPr>
                  <a:spLocks/>
                </p:cNvSpPr>
                <p:nvPr/>
              </p:nvSpPr>
              <p:spPr bwMode="auto">
                <a:xfrm>
                  <a:off x="-229" y="3019"/>
                  <a:ext cx="377" cy="527"/>
                </a:xfrm>
                <a:custGeom>
                  <a:avLst/>
                  <a:gdLst>
                    <a:gd name="T0" fmla="*/ 533 w 754"/>
                    <a:gd name="T1" fmla="*/ 0 h 1055"/>
                    <a:gd name="T2" fmla="*/ 570 w 754"/>
                    <a:gd name="T3" fmla="*/ 36 h 1055"/>
                    <a:gd name="T4" fmla="*/ 611 w 754"/>
                    <a:gd name="T5" fmla="*/ 66 h 1055"/>
                    <a:gd name="T6" fmla="*/ 656 w 754"/>
                    <a:gd name="T7" fmla="*/ 92 h 1055"/>
                    <a:gd name="T8" fmla="*/ 704 w 754"/>
                    <a:gd name="T9" fmla="*/ 113 h 1055"/>
                    <a:gd name="T10" fmla="*/ 754 w 754"/>
                    <a:gd name="T11" fmla="*/ 128 h 1055"/>
                    <a:gd name="T12" fmla="*/ 220 w 754"/>
                    <a:gd name="T13" fmla="*/ 1055 h 1055"/>
                    <a:gd name="T14" fmla="*/ 183 w 754"/>
                    <a:gd name="T15" fmla="*/ 1019 h 1055"/>
                    <a:gd name="T16" fmla="*/ 142 w 754"/>
                    <a:gd name="T17" fmla="*/ 988 h 1055"/>
                    <a:gd name="T18" fmla="*/ 98 w 754"/>
                    <a:gd name="T19" fmla="*/ 961 h 1055"/>
                    <a:gd name="T20" fmla="*/ 51 w 754"/>
                    <a:gd name="T21" fmla="*/ 939 h 1055"/>
                    <a:gd name="T22" fmla="*/ 0 w 754"/>
                    <a:gd name="T23" fmla="*/ 924 h 1055"/>
                    <a:gd name="T24" fmla="*/ 533 w 754"/>
                    <a:gd name="T25" fmla="*/ 0 h 10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54" h="1055">
                      <a:moveTo>
                        <a:pt x="533" y="0"/>
                      </a:moveTo>
                      <a:lnTo>
                        <a:pt x="570" y="36"/>
                      </a:lnTo>
                      <a:lnTo>
                        <a:pt x="611" y="66"/>
                      </a:lnTo>
                      <a:lnTo>
                        <a:pt x="656" y="92"/>
                      </a:lnTo>
                      <a:lnTo>
                        <a:pt x="704" y="113"/>
                      </a:lnTo>
                      <a:lnTo>
                        <a:pt x="754" y="128"/>
                      </a:lnTo>
                      <a:lnTo>
                        <a:pt x="220" y="1055"/>
                      </a:lnTo>
                      <a:lnTo>
                        <a:pt x="183" y="1019"/>
                      </a:lnTo>
                      <a:lnTo>
                        <a:pt x="142" y="988"/>
                      </a:lnTo>
                      <a:lnTo>
                        <a:pt x="98" y="961"/>
                      </a:lnTo>
                      <a:lnTo>
                        <a:pt x="51" y="939"/>
                      </a:lnTo>
                      <a:lnTo>
                        <a:pt x="0" y="924"/>
                      </a:lnTo>
                      <a:lnTo>
                        <a:pt x="53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" name="Freeform 51"/>
                <p:cNvSpPr>
                  <a:spLocks/>
                </p:cNvSpPr>
                <p:nvPr/>
              </p:nvSpPr>
              <p:spPr bwMode="auto">
                <a:xfrm>
                  <a:off x="-1671" y="2184"/>
                  <a:ext cx="377" cy="527"/>
                </a:xfrm>
                <a:custGeom>
                  <a:avLst/>
                  <a:gdLst>
                    <a:gd name="T0" fmla="*/ 535 w 754"/>
                    <a:gd name="T1" fmla="*/ 0 h 1055"/>
                    <a:gd name="T2" fmla="*/ 571 w 754"/>
                    <a:gd name="T3" fmla="*/ 36 h 1055"/>
                    <a:gd name="T4" fmla="*/ 612 w 754"/>
                    <a:gd name="T5" fmla="*/ 67 h 1055"/>
                    <a:gd name="T6" fmla="*/ 657 w 754"/>
                    <a:gd name="T7" fmla="*/ 94 h 1055"/>
                    <a:gd name="T8" fmla="*/ 705 w 754"/>
                    <a:gd name="T9" fmla="*/ 116 h 1055"/>
                    <a:gd name="T10" fmla="*/ 754 w 754"/>
                    <a:gd name="T11" fmla="*/ 131 h 1055"/>
                    <a:gd name="T12" fmla="*/ 222 w 754"/>
                    <a:gd name="T13" fmla="*/ 1055 h 1055"/>
                    <a:gd name="T14" fmla="*/ 184 w 754"/>
                    <a:gd name="T15" fmla="*/ 1019 h 1055"/>
                    <a:gd name="T16" fmla="*/ 143 w 754"/>
                    <a:gd name="T17" fmla="*/ 989 h 1055"/>
                    <a:gd name="T18" fmla="*/ 98 w 754"/>
                    <a:gd name="T19" fmla="*/ 963 h 1055"/>
                    <a:gd name="T20" fmla="*/ 51 w 754"/>
                    <a:gd name="T21" fmla="*/ 942 h 1055"/>
                    <a:gd name="T22" fmla="*/ 0 w 754"/>
                    <a:gd name="T23" fmla="*/ 927 h 1055"/>
                    <a:gd name="T24" fmla="*/ 535 w 754"/>
                    <a:gd name="T25" fmla="*/ 0 h 10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54" h="1055">
                      <a:moveTo>
                        <a:pt x="535" y="0"/>
                      </a:moveTo>
                      <a:lnTo>
                        <a:pt x="571" y="36"/>
                      </a:lnTo>
                      <a:lnTo>
                        <a:pt x="612" y="67"/>
                      </a:lnTo>
                      <a:lnTo>
                        <a:pt x="657" y="94"/>
                      </a:lnTo>
                      <a:lnTo>
                        <a:pt x="705" y="116"/>
                      </a:lnTo>
                      <a:lnTo>
                        <a:pt x="754" y="131"/>
                      </a:lnTo>
                      <a:lnTo>
                        <a:pt x="222" y="1055"/>
                      </a:lnTo>
                      <a:lnTo>
                        <a:pt x="184" y="1019"/>
                      </a:lnTo>
                      <a:lnTo>
                        <a:pt x="143" y="989"/>
                      </a:lnTo>
                      <a:lnTo>
                        <a:pt x="98" y="963"/>
                      </a:lnTo>
                      <a:lnTo>
                        <a:pt x="51" y="942"/>
                      </a:lnTo>
                      <a:lnTo>
                        <a:pt x="0" y="927"/>
                      </a:lnTo>
                      <a:lnTo>
                        <a:pt x="53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" name="Freeform 52"/>
                <p:cNvSpPr>
                  <a:spLocks/>
                </p:cNvSpPr>
                <p:nvPr/>
              </p:nvSpPr>
              <p:spPr bwMode="auto">
                <a:xfrm>
                  <a:off x="-229" y="2184"/>
                  <a:ext cx="377" cy="527"/>
                </a:xfrm>
                <a:custGeom>
                  <a:avLst/>
                  <a:gdLst>
                    <a:gd name="T0" fmla="*/ 220 w 754"/>
                    <a:gd name="T1" fmla="*/ 0 h 1055"/>
                    <a:gd name="T2" fmla="*/ 754 w 754"/>
                    <a:gd name="T3" fmla="*/ 927 h 1055"/>
                    <a:gd name="T4" fmla="*/ 704 w 754"/>
                    <a:gd name="T5" fmla="*/ 942 h 1055"/>
                    <a:gd name="T6" fmla="*/ 656 w 754"/>
                    <a:gd name="T7" fmla="*/ 963 h 1055"/>
                    <a:gd name="T8" fmla="*/ 611 w 754"/>
                    <a:gd name="T9" fmla="*/ 989 h 1055"/>
                    <a:gd name="T10" fmla="*/ 570 w 754"/>
                    <a:gd name="T11" fmla="*/ 1019 h 1055"/>
                    <a:gd name="T12" fmla="*/ 533 w 754"/>
                    <a:gd name="T13" fmla="*/ 1055 h 1055"/>
                    <a:gd name="T14" fmla="*/ 0 w 754"/>
                    <a:gd name="T15" fmla="*/ 131 h 1055"/>
                    <a:gd name="T16" fmla="*/ 51 w 754"/>
                    <a:gd name="T17" fmla="*/ 116 h 1055"/>
                    <a:gd name="T18" fmla="*/ 98 w 754"/>
                    <a:gd name="T19" fmla="*/ 94 h 1055"/>
                    <a:gd name="T20" fmla="*/ 142 w 754"/>
                    <a:gd name="T21" fmla="*/ 67 h 1055"/>
                    <a:gd name="T22" fmla="*/ 183 w 754"/>
                    <a:gd name="T23" fmla="*/ 36 h 1055"/>
                    <a:gd name="T24" fmla="*/ 220 w 754"/>
                    <a:gd name="T25" fmla="*/ 0 h 10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54" h="1055">
                      <a:moveTo>
                        <a:pt x="220" y="0"/>
                      </a:moveTo>
                      <a:lnTo>
                        <a:pt x="754" y="927"/>
                      </a:lnTo>
                      <a:lnTo>
                        <a:pt x="704" y="942"/>
                      </a:lnTo>
                      <a:lnTo>
                        <a:pt x="656" y="963"/>
                      </a:lnTo>
                      <a:lnTo>
                        <a:pt x="611" y="989"/>
                      </a:lnTo>
                      <a:lnTo>
                        <a:pt x="570" y="1019"/>
                      </a:lnTo>
                      <a:lnTo>
                        <a:pt x="533" y="1055"/>
                      </a:lnTo>
                      <a:lnTo>
                        <a:pt x="0" y="131"/>
                      </a:lnTo>
                      <a:lnTo>
                        <a:pt x="51" y="116"/>
                      </a:lnTo>
                      <a:lnTo>
                        <a:pt x="98" y="94"/>
                      </a:lnTo>
                      <a:lnTo>
                        <a:pt x="142" y="67"/>
                      </a:lnTo>
                      <a:lnTo>
                        <a:pt x="183" y="36"/>
                      </a:lnTo>
                      <a:lnTo>
                        <a:pt x="22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" name="Freeform 53"/>
                <p:cNvSpPr>
                  <a:spLocks/>
                </p:cNvSpPr>
                <p:nvPr/>
              </p:nvSpPr>
              <p:spPr bwMode="auto">
                <a:xfrm>
                  <a:off x="-1671" y="3019"/>
                  <a:ext cx="377" cy="527"/>
                </a:xfrm>
                <a:custGeom>
                  <a:avLst/>
                  <a:gdLst>
                    <a:gd name="T0" fmla="*/ 222 w 754"/>
                    <a:gd name="T1" fmla="*/ 0 h 1055"/>
                    <a:gd name="T2" fmla="*/ 754 w 754"/>
                    <a:gd name="T3" fmla="*/ 924 h 1055"/>
                    <a:gd name="T4" fmla="*/ 705 w 754"/>
                    <a:gd name="T5" fmla="*/ 939 h 1055"/>
                    <a:gd name="T6" fmla="*/ 657 w 754"/>
                    <a:gd name="T7" fmla="*/ 961 h 1055"/>
                    <a:gd name="T8" fmla="*/ 612 w 754"/>
                    <a:gd name="T9" fmla="*/ 988 h 1055"/>
                    <a:gd name="T10" fmla="*/ 571 w 754"/>
                    <a:gd name="T11" fmla="*/ 1019 h 1055"/>
                    <a:gd name="T12" fmla="*/ 535 w 754"/>
                    <a:gd name="T13" fmla="*/ 1055 h 1055"/>
                    <a:gd name="T14" fmla="*/ 0 w 754"/>
                    <a:gd name="T15" fmla="*/ 128 h 1055"/>
                    <a:gd name="T16" fmla="*/ 51 w 754"/>
                    <a:gd name="T17" fmla="*/ 113 h 1055"/>
                    <a:gd name="T18" fmla="*/ 98 w 754"/>
                    <a:gd name="T19" fmla="*/ 92 h 1055"/>
                    <a:gd name="T20" fmla="*/ 143 w 754"/>
                    <a:gd name="T21" fmla="*/ 66 h 1055"/>
                    <a:gd name="T22" fmla="*/ 184 w 754"/>
                    <a:gd name="T23" fmla="*/ 36 h 1055"/>
                    <a:gd name="T24" fmla="*/ 222 w 754"/>
                    <a:gd name="T25" fmla="*/ 0 h 10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54" h="1055">
                      <a:moveTo>
                        <a:pt x="222" y="0"/>
                      </a:moveTo>
                      <a:lnTo>
                        <a:pt x="754" y="924"/>
                      </a:lnTo>
                      <a:lnTo>
                        <a:pt x="705" y="939"/>
                      </a:lnTo>
                      <a:lnTo>
                        <a:pt x="657" y="961"/>
                      </a:lnTo>
                      <a:lnTo>
                        <a:pt x="612" y="988"/>
                      </a:lnTo>
                      <a:lnTo>
                        <a:pt x="571" y="1019"/>
                      </a:lnTo>
                      <a:lnTo>
                        <a:pt x="535" y="1055"/>
                      </a:lnTo>
                      <a:lnTo>
                        <a:pt x="0" y="128"/>
                      </a:lnTo>
                      <a:lnTo>
                        <a:pt x="51" y="113"/>
                      </a:lnTo>
                      <a:lnTo>
                        <a:pt x="98" y="92"/>
                      </a:lnTo>
                      <a:lnTo>
                        <a:pt x="143" y="66"/>
                      </a:lnTo>
                      <a:lnTo>
                        <a:pt x="184" y="36"/>
                      </a:lnTo>
                      <a:lnTo>
                        <a:pt x="22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" name="Freeform 54"/>
                <p:cNvSpPr>
                  <a:spLocks noEditPoints="1"/>
                </p:cNvSpPr>
                <p:nvPr/>
              </p:nvSpPr>
              <p:spPr bwMode="auto">
                <a:xfrm>
                  <a:off x="-1528" y="1968"/>
                  <a:ext cx="1534" cy="1794"/>
                </a:xfrm>
                <a:custGeom>
                  <a:avLst/>
                  <a:gdLst>
                    <a:gd name="T0" fmla="*/ 2006 w 3070"/>
                    <a:gd name="T1" fmla="*/ 3331 h 3588"/>
                    <a:gd name="T2" fmla="*/ 1193 w 3070"/>
                    <a:gd name="T3" fmla="*/ 2571 h 3588"/>
                    <a:gd name="T4" fmla="*/ 1531 w 3070"/>
                    <a:gd name="T5" fmla="*/ 1980 h 3588"/>
                    <a:gd name="T6" fmla="*/ 2910 w 3070"/>
                    <a:gd name="T7" fmla="*/ 1889 h 3588"/>
                    <a:gd name="T8" fmla="*/ 2033 w 3070"/>
                    <a:gd name="T9" fmla="*/ 2464 h 3588"/>
                    <a:gd name="T10" fmla="*/ 1702 w 3070"/>
                    <a:gd name="T11" fmla="*/ 1889 h 3588"/>
                    <a:gd name="T12" fmla="*/ 1032 w 3070"/>
                    <a:gd name="T13" fmla="*/ 2465 h 3588"/>
                    <a:gd name="T14" fmla="*/ 153 w 3070"/>
                    <a:gd name="T15" fmla="*/ 1889 h 3588"/>
                    <a:gd name="T16" fmla="*/ 153 w 3070"/>
                    <a:gd name="T17" fmla="*/ 1889 h 3588"/>
                    <a:gd name="T18" fmla="*/ 2910 w 3070"/>
                    <a:gd name="T19" fmla="*/ 1699 h 3588"/>
                    <a:gd name="T20" fmla="*/ 153 w 3070"/>
                    <a:gd name="T21" fmla="*/ 1699 h 3588"/>
                    <a:gd name="T22" fmla="*/ 1035 w 3070"/>
                    <a:gd name="T23" fmla="*/ 1120 h 3588"/>
                    <a:gd name="T24" fmla="*/ 1369 w 3070"/>
                    <a:gd name="T25" fmla="*/ 1699 h 3588"/>
                    <a:gd name="T26" fmla="*/ 1692 w 3070"/>
                    <a:gd name="T27" fmla="*/ 1699 h 3588"/>
                    <a:gd name="T28" fmla="*/ 2024 w 3070"/>
                    <a:gd name="T29" fmla="*/ 1119 h 3588"/>
                    <a:gd name="T30" fmla="*/ 1530 w 3070"/>
                    <a:gd name="T31" fmla="*/ 1593 h 3588"/>
                    <a:gd name="T32" fmla="*/ 1057 w 3070"/>
                    <a:gd name="T33" fmla="*/ 257 h 3588"/>
                    <a:gd name="T34" fmla="*/ 1057 w 3070"/>
                    <a:gd name="T35" fmla="*/ 257 h 3588"/>
                    <a:gd name="T36" fmla="*/ 2050 w 3070"/>
                    <a:gd name="T37" fmla="*/ 41 h 3588"/>
                    <a:gd name="T38" fmla="*/ 2046 w 3070"/>
                    <a:gd name="T39" fmla="*/ 189 h 3588"/>
                    <a:gd name="T40" fmla="*/ 2103 w 3070"/>
                    <a:gd name="T41" fmla="*/ 354 h 3588"/>
                    <a:gd name="T42" fmla="*/ 1958 w 3070"/>
                    <a:gd name="T43" fmla="*/ 846 h 3588"/>
                    <a:gd name="T44" fmla="*/ 2258 w 3070"/>
                    <a:gd name="T45" fmla="*/ 512 h 3588"/>
                    <a:gd name="T46" fmla="*/ 2119 w 3070"/>
                    <a:gd name="T47" fmla="*/ 951 h 3588"/>
                    <a:gd name="T48" fmla="*/ 2441 w 3070"/>
                    <a:gd name="T49" fmla="*/ 575 h 3588"/>
                    <a:gd name="T50" fmla="*/ 2587 w 3070"/>
                    <a:gd name="T51" fmla="*/ 566 h 3588"/>
                    <a:gd name="T52" fmla="*/ 3044 w 3070"/>
                    <a:gd name="T53" fmla="*/ 1623 h 3588"/>
                    <a:gd name="T54" fmla="*/ 3011 w 3070"/>
                    <a:gd name="T55" fmla="*/ 1794 h 3588"/>
                    <a:gd name="T56" fmla="*/ 3044 w 3070"/>
                    <a:gd name="T57" fmla="*/ 1965 h 3588"/>
                    <a:gd name="T58" fmla="*/ 2587 w 3070"/>
                    <a:gd name="T59" fmla="*/ 3022 h 3588"/>
                    <a:gd name="T60" fmla="*/ 2441 w 3070"/>
                    <a:gd name="T61" fmla="*/ 3013 h 3588"/>
                    <a:gd name="T62" fmla="*/ 2129 w 3070"/>
                    <a:gd name="T63" fmla="*/ 2630 h 3588"/>
                    <a:gd name="T64" fmla="*/ 2271 w 3070"/>
                    <a:gd name="T65" fmla="*/ 3069 h 3588"/>
                    <a:gd name="T66" fmla="*/ 1968 w 3070"/>
                    <a:gd name="T67" fmla="*/ 2735 h 3588"/>
                    <a:gd name="T68" fmla="*/ 2103 w 3070"/>
                    <a:gd name="T69" fmla="*/ 3234 h 3588"/>
                    <a:gd name="T70" fmla="*/ 2046 w 3070"/>
                    <a:gd name="T71" fmla="*/ 3399 h 3588"/>
                    <a:gd name="T72" fmla="*/ 2050 w 3070"/>
                    <a:gd name="T73" fmla="*/ 3547 h 3588"/>
                    <a:gd name="T74" fmla="*/ 1021 w 3070"/>
                    <a:gd name="T75" fmla="*/ 3547 h 3588"/>
                    <a:gd name="T76" fmla="*/ 1026 w 3070"/>
                    <a:gd name="T77" fmla="*/ 3398 h 3588"/>
                    <a:gd name="T78" fmla="*/ 967 w 3070"/>
                    <a:gd name="T79" fmla="*/ 3230 h 3588"/>
                    <a:gd name="T80" fmla="*/ 1098 w 3070"/>
                    <a:gd name="T81" fmla="*/ 2738 h 3588"/>
                    <a:gd name="T82" fmla="*/ 799 w 3070"/>
                    <a:gd name="T83" fmla="*/ 3068 h 3588"/>
                    <a:gd name="T84" fmla="*/ 937 w 3070"/>
                    <a:gd name="T85" fmla="*/ 2633 h 3588"/>
                    <a:gd name="T86" fmla="*/ 625 w 3070"/>
                    <a:gd name="T87" fmla="*/ 3013 h 3588"/>
                    <a:gd name="T88" fmla="*/ 476 w 3070"/>
                    <a:gd name="T89" fmla="*/ 3024 h 3588"/>
                    <a:gd name="T90" fmla="*/ 26 w 3070"/>
                    <a:gd name="T91" fmla="*/ 1969 h 3588"/>
                    <a:gd name="T92" fmla="*/ 61 w 3070"/>
                    <a:gd name="T93" fmla="*/ 1794 h 3588"/>
                    <a:gd name="T94" fmla="*/ 26 w 3070"/>
                    <a:gd name="T95" fmla="*/ 1619 h 3588"/>
                    <a:gd name="T96" fmla="*/ 476 w 3070"/>
                    <a:gd name="T97" fmla="*/ 564 h 3588"/>
                    <a:gd name="T98" fmla="*/ 625 w 3070"/>
                    <a:gd name="T99" fmla="*/ 575 h 3588"/>
                    <a:gd name="T100" fmla="*/ 940 w 3070"/>
                    <a:gd name="T101" fmla="*/ 954 h 3588"/>
                    <a:gd name="T102" fmla="*/ 801 w 3070"/>
                    <a:gd name="T103" fmla="*/ 519 h 3588"/>
                    <a:gd name="T104" fmla="*/ 1101 w 3070"/>
                    <a:gd name="T105" fmla="*/ 847 h 3588"/>
                    <a:gd name="T106" fmla="*/ 967 w 3070"/>
                    <a:gd name="T107" fmla="*/ 358 h 3588"/>
                    <a:gd name="T108" fmla="*/ 1026 w 3070"/>
                    <a:gd name="T109" fmla="*/ 190 h 3588"/>
                    <a:gd name="T110" fmla="*/ 1021 w 3070"/>
                    <a:gd name="T111" fmla="*/ 41 h 35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3070" h="3588">
                      <a:moveTo>
                        <a:pt x="1531" y="3022"/>
                      </a:moveTo>
                      <a:lnTo>
                        <a:pt x="1057" y="3331"/>
                      </a:lnTo>
                      <a:lnTo>
                        <a:pt x="2006" y="3331"/>
                      </a:lnTo>
                      <a:lnTo>
                        <a:pt x="1531" y="3022"/>
                      </a:lnTo>
                      <a:close/>
                      <a:moveTo>
                        <a:pt x="1531" y="1980"/>
                      </a:moveTo>
                      <a:lnTo>
                        <a:pt x="1193" y="2571"/>
                      </a:lnTo>
                      <a:lnTo>
                        <a:pt x="1531" y="2792"/>
                      </a:lnTo>
                      <a:lnTo>
                        <a:pt x="1872" y="2569"/>
                      </a:lnTo>
                      <a:lnTo>
                        <a:pt x="1531" y="1980"/>
                      </a:lnTo>
                      <a:close/>
                      <a:moveTo>
                        <a:pt x="2587" y="1889"/>
                      </a:moveTo>
                      <a:lnTo>
                        <a:pt x="2587" y="2102"/>
                      </a:lnTo>
                      <a:lnTo>
                        <a:pt x="2910" y="1889"/>
                      </a:lnTo>
                      <a:lnTo>
                        <a:pt x="2587" y="1889"/>
                      </a:lnTo>
                      <a:close/>
                      <a:moveTo>
                        <a:pt x="1702" y="1889"/>
                      </a:moveTo>
                      <a:lnTo>
                        <a:pt x="2033" y="2464"/>
                      </a:lnTo>
                      <a:lnTo>
                        <a:pt x="2395" y="2228"/>
                      </a:lnTo>
                      <a:lnTo>
                        <a:pt x="2395" y="1889"/>
                      </a:lnTo>
                      <a:lnTo>
                        <a:pt x="1702" y="1889"/>
                      </a:lnTo>
                      <a:close/>
                      <a:moveTo>
                        <a:pt x="668" y="1889"/>
                      </a:moveTo>
                      <a:lnTo>
                        <a:pt x="668" y="2228"/>
                      </a:lnTo>
                      <a:lnTo>
                        <a:pt x="1032" y="2465"/>
                      </a:lnTo>
                      <a:lnTo>
                        <a:pt x="1361" y="1889"/>
                      </a:lnTo>
                      <a:lnTo>
                        <a:pt x="668" y="1889"/>
                      </a:lnTo>
                      <a:close/>
                      <a:moveTo>
                        <a:pt x="153" y="1889"/>
                      </a:moveTo>
                      <a:lnTo>
                        <a:pt x="476" y="2102"/>
                      </a:lnTo>
                      <a:lnTo>
                        <a:pt x="476" y="1889"/>
                      </a:lnTo>
                      <a:lnTo>
                        <a:pt x="153" y="1889"/>
                      </a:lnTo>
                      <a:close/>
                      <a:moveTo>
                        <a:pt x="2587" y="1486"/>
                      </a:moveTo>
                      <a:lnTo>
                        <a:pt x="2587" y="1699"/>
                      </a:lnTo>
                      <a:lnTo>
                        <a:pt x="2910" y="1699"/>
                      </a:lnTo>
                      <a:lnTo>
                        <a:pt x="2587" y="1486"/>
                      </a:lnTo>
                      <a:close/>
                      <a:moveTo>
                        <a:pt x="476" y="1486"/>
                      </a:moveTo>
                      <a:lnTo>
                        <a:pt x="153" y="1699"/>
                      </a:lnTo>
                      <a:lnTo>
                        <a:pt x="476" y="1699"/>
                      </a:lnTo>
                      <a:lnTo>
                        <a:pt x="476" y="1486"/>
                      </a:lnTo>
                      <a:close/>
                      <a:moveTo>
                        <a:pt x="1035" y="1120"/>
                      </a:moveTo>
                      <a:lnTo>
                        <a:pt x="668" y="1360"/>
                      </a:lnTo>
                      <a:lnTo>
                        <a:pt x="668" y="1699"/>
                      </a:lnTo>
                      <a:lnTo>
                        <a:pt x="1369" y="1699"/>
                      </a:lnTo>
                      <a:lnTo>
                        <a:pt x="1035" y="1120"/>
                      </a:lnTo>
                      <a:close/>
                      <a:moveTo>
                        <a:pt x="2024" y="1119"/>
                      </a:moveTo>
                      <a:lnTo>
                        <a:pt x="1692" y="1699"/>
                      </a:lnTo>
                      <a:lnTo>
                        <a:pt x="2395" y="1699"/>
                      </a:lnTo>
                      <a:lnTo>
                        <a:pt x="2395" y="1360"/>
                      </a:lnTo>
                      <a:lnTo>
                        <a:pt x="2024" y="1119"/>
                      </a:lnTo>
                      <a:close/>
                      <a:moveTo>
                        <a:pt x="1531" y="796"/>
                      </a:moveTo>
                      <a:lnTo>
                        <a:pt x="1197" y="1015"/>
                      </a:lnTo>
                      <a:lnTo>
                        <a:pt x="1530" y="1593"/>
                      </a:lnTo>
                      <a:lnTo>
                        <a:pt x="1863" y="1012"/>
                      </a:lnTo>
                      <a:lnTo>
                        <a:pt x="1531" y="796"/>
                      </a:lnTo>
                      <a:close/>
                      <a:moveTo>
                        <a:pt x="1057" y="257"/>
                      </a:moveTo>
                      <a:lnTo>
                        <a:pt x="1531" y="566"/>
                      </a:lnTo>
                      <a:lnTo>
                        <a:pt x="2006" y="257"/>
                      </a:lnTo>
                      <a:lnTo>
                        <a:pt x="1057" y="257"/>
                      </a:lnTo>
                      <a:close/>
                      <a:moveTo>
                        <a:pt x="1011" y="0"/>
                      </a:moveTo>
                      <a:lnTo>
                        <a:pt x="2061" y="0"/>
                      </a:lnTo>
                      <a:lnTo>
                        <a:pt x="2050" y="41"/>
                      </a:lnTo>
                      <a:lnTo>
                        <a:pt x="2044" y="84"/>
                      </a:lnTo>
                      <a:lnTo>
                        <a:pt x="2041" y="129"/>
                      </a:lnTo>
                      <a:lnTo>
                        <a:pt x="2046" y="189"/>
                      </a:lnTo>
                      <a:lnTo>
                        <a:pt x="2058" y="247"/>
                      </a:lnTo>
                      <a:lnTo>
                        <a:pt x="2077" y="302"/>
                      </a:lnTo>
                      <a:lnTo>
                        <a:pt x="2103" y="354"/>
                      </a:lnTo>
                      <a:lnTo>
                        <a:pt x="2134" y="401"/>
                      </a:lnTo>
                      <a:lnTo>
                        <a:pt x="1706" y="681"/>
                      </a:lnTo>
                      <a:lnTo>
                        <a:pt x="1958" y="846"/>
                      </a:lnTo>
                      <a:lnTo>
                        <a:pt x="2182" y="453"/>
                      </a:lnTo>
                      <a:lnTo>
                        <a:pt x="2219" y="485"/>
                      </a:lnTo>
                      <a:lnTo>
                        <a:pt x="2258" y="512"/>
                      </a:lnTo>
                      <a:lnTo>
                        <a:pt x="2302" y="535"/>
                      </a:lnTo>
                      <a:lnTo>
                        <a:pt x="2347" y="553"/>
                      </a:lnTo>
                      <a:lnTo>
                        <a:pt x="2119" y="951"/>
                      </a:lnTo>
                      <a:lnTo>
                        <a:pt x="2395" y="1131"/>
                      </a:lnTo>
                      <a:lnTo>
                        <a:pt x="2395" y="566"/>
                      </a:lnTo>
                      <a:lnTo>
                        <a:pt x="2441" y="575"/>
                      </a:lnTo>
                      <a:lnTo>
                        <a:pt x="2490" y="576"/>
                      </a:lnTo>
                      <a:lnTo>
                        <a:pt x="2539" y="575"/>
                      </a:lnTo>
                      <a:lnTo>
                        <a:pt x="2587" y="566"/>
                      </a:lnTo>
                      <a:lnTo>
                        <a:pt x="2587" y="1257"/>
                      </a:lnTo>
                      <a:lnTo>
                        <a:pt x="3070" y="1573"/>
                      </a:lnTo>
                      <a:lnTo>
                        <a:pt x="3044" y="1623"/>
                      </a:lnTo>
                      <a:lnTo>
                        <a:pt x="3026" y="1678"/>
                      </a:lnTo>
                      <a:lnTo>
                        <a:pt x="3014" y="1734"/>
                      </a:lnTo>
                      <a:lnTo>
                        <a:pt x="3011" y="1794"/>
                      </a:lnTo>
                      <a:lnTo>
                        <a:pt x="3014" y="1854"/>
                      </a:lnTo>
                      <a:lnTo>
                        <a:pt x="3026" y="1910"/>
                      </a:lnTo>
                      <a:lnTo>
                        <a:pt x="3044" y="1965"/>
                      </a:lnTo>
                      <a:lnTo>
                        <a:pt x="3070" y="2015"/>
                      </a:lnTo>
                      <a:lnTo>
                        <a:pt x="2587" y="2331"/>
                      </a:lnTo>
                      <a:lnTo>
                        <a:pt x="2587" y="3022"/>
                      </a:lnTo>
                      <a:lnTo>
                        <a:pt x="2539" y="3013"/>
                      </a:lnTo>
                      <a:lnTo>
                        <a:pt x="2490" y="3012"/>
                      </a:lnTo>
                      <a:lnTo>
                        <a:pt x="2441" y="3013"/>
                      </a:lnTo>
                      <a:lnTo>
                        <a:pt x="2395" y="3022"/>
                      </a:lnTo>
                      <a:lnTo>
                        <a:pt x="2395" y="2457"/>
                      </a:lnTo>
                      <a:lnTo>
                        <a:pt x="2129" y="2630"/>
                      </a:lnTo>
                      <a:lnTo>
                        <a:pt x="2361" y="3031"/>
                      </a:lnTo>
                      <a:lnTo>
                        <a:pt x="2314" y="3048"/>
                      </a:lnTo>
                      <a:lnTo>
                        <a:pt x="2271" y="3069"/>
                      </a:lnTo>
                      <a:lnTo>
                        <a:pt x="2231" y="3095"/>
                      </a:lnTo>
                      <a:lnTo>
                        <a:pt x="2193" y="3125"/>
                      </a:lnTo>
                      <a:lnTo>
                        <a:pt x="1968" y="2735"/>
                      </a:lnTo>
                      <a:lnTo>
                        <a:pt x="1706" y="2907"/>
                      </a:lnTo>
                      <a:lnTo>
                        <a:pt x="2134" y="3187"/>
                      </a:lnTo>
                      <a:lnTo>
                        <a:pt x="2103" y="3234"/>
                      </a:lnTo>
                      <a:lnTo>
                        <a:pt x="2077" y="3286"/>
                      </a:lnTo>
                      <a:lnTo>
                        <a:pt x="2058" y="3341"/>
                      </a:lnTo>
                      <a:lnTo>
                        <a:pt x="2046" y="3399"/>
                      </a:lnTo>
                      <a:lnTo>
                        <a:pt x="2041" y="3459"/>
                      </a:lnTo>
                      <a:lnTo>
                        <a:pt x="2044" y="3504"/>
                      </a:lnTo>
                      <a:lnTo>
                        <a:pt x="2050" y="3547"/>
                      </a:lnTo>
                      <a:lnTo>
                        <a:pt x="2061" y="3588"/>
                      </a:lnTo>
                      <a:lnTo>
                        <a:pt x="1011" y="3588"/>
                      </a:lnTo>
                      <a:lnTo>
                        <a:pt x="1021" y="3547"/>
                      </a:lnTo>
                      <a:lnTo>
                        <a:pt x="1027" y="3504"/>
                      </a:lnTo>
                      <a:lnTo>
                        <a:pt x="1030" y="3459"/>
                      </a:lnTo>
                      <a:lnTo>
                        <a:pt x="1026" y="3398"/>
                      </a:lnTo>
                      <a:lnTo>
                        <a:pt x="1013" y="3339"/>
                      </a:lnTo>
                      <a:lnTo>
                        <a:pt x="993" y="3284"/>
                      </a:lnTo>
                      <a:lnTo>
                        <a:pt x="967" y="3230"/>
                      </a:lnTo>
                      <a:lnTo>
                        <a:pt x="933" y="3183"/>
                      </a:lnTo>
                      <a:lnTo>
                        <a:pt x="1356" y="2907"/>
                      </a:lnTo>
                      <a:lnTo>
                        <a:pt x="1098" y="2738"/>
                      </a:lnTo>
                      <a:lnTo>
                        <a:pt x="877" y="3124"/>
                      </a:lnTo>
                      <a:lnTo>
                        <a:pt x="840" y="3094"/>
                      </a:lnTo>
                      <a:lnTo>
                        <a:pt x="799" y="3068"/>
                      </a:lnTo>
                      <a:lnTo>
                        <a:pt x="756" y="3046"/>
                      </a:lnTo>
                      <a:lnTo>
                        <a:pt x="709" y="3030"/>
                      </a:lnTo>
                      <a:lnTo>
                        <a:pt x="937" y="2633"/>
                      </a:lnTo>
                      <a:lnTo>
                        <a:pt x="668" y="2457"/>
                      </a:lnTo>
                      <a:lnTo>
                        <a:pt x="668" y="3020"/>
                      </a:lnTo>
                      <a:lnTo>
                        <a:pt x="625" y="3013"/>
                      </a:lnTo>
                      <a:lnTo>
                        <a:pt x="581" y="3012"/>
                      </a:lnTo>
                      <a:lnTo>
                        <a:pt x="528" y="3015"/>
                      </a:lnTo>
                      <a:lnTo>
                        <a:pt x="476" y="3024"/>
                      </a:lnTo>
                      <a:lnTo>
                        <a:pt x="476" y="2331"/>
                      </a:lnTo>
                      <a:lnTo>
                        <a:pt x="0" y="2020"/>
                      </a:lnTo>
                      <a:lnTo>
                        <a:pt x="26" y="1969"/>
                      </a:lnTo>
                      <a:lnTo>
                        <a:pt x="45" y="1913"/>
                      </a:lnTo>
                      <a:lnTo>
                        <a:pt x="57" y="1855"/>
                      </a:lnTo>
                      <a:lnTo>
                        <a:pt x="61" y="1794"/>
                      </a:lnTo>
                      <a:lnTo>
                        <a:pt x="57" y="1733"/>
                      </a:lnTo>
                      <a:lnTo>
                        <a:pt x="45" y="1675"/>
                      </a:lnTo>
                      <a:lnTo>
                        <a:pt x="26" y="1619"/>
                      </a:lnTo>
                      <a:lnTo>
                        <a:pt x="0" y="1568"/>
                      </a:lnTo>
                      <a:lnTo>
                        <a:pt x="476" y="1257"/>
                      </a:lnTo>
                      <a:lnTo>
                        <a:pt x="476" y="564"/>
                      </a:lnTo>
                      <a:lnTo>
                        <a:pt x="528" y="573"/>
                      </a:lnTo>
                      <a:lnTo>
                        <a:pt x="581" y="576"/>
                      </a:lnTo>
                      <a:lnTo>
                        <a:pt x="625" y="575"/>
                      </a:lnTo>
                      <a:lnTo>
                        <a:pt x="668" y="568"/>
                      </a:lnTo>
                      <a:lnTo>
                        <a:pt x="668" y="1131"/>
                      </a:lnTo>
                      <a:lnTo>
                        <a:pt x="940" y="954"/>
                      </a:lnTo>
                      <a:lnTo>
                        <a:pt x="711" y="557"/>
                      </a:lnTo>
                      <a:lnTo>
                        <a:pt x="757" y="540"/>
                      </a:lnTo>
                      <a:lnTo>
                        <a:pt x="801" y="519"/>
                      </a:lnTo>
                      <a:lnTo>
                        <a:pt x="841" y="493"/>
                      </a:lnTo>
                      <a:lnTo>
                        <a:pt x="878" y="463"/>
                      </a:lnTo>
                      <a:lnTo>
                        <a:pt x="1101" y="847"/>
                      </a:lnTo>
                      <a:lnTo>
                        <a:pt x="1356" y="681"/>
                      </a:lnTo>
                      <a:lnTo>
                        <a:pt x="933" y="405"/>
                      </a:lnTo>
                      <a:lnTo>
                        <a:pt x="967" y="358"/>
                      </a:lnTo>
                      <a:lnTo>
                        <a:pt x="993" y="305"/>
                      </a:lnTo>
                      <a:lnTo>
                        <a:pt x="1013" y="249"/>
                      </a:lnTo>
                      <a:lnTo>
                        <a:pt x="1026" y="190"/>
                      </a:lnTo>
                      <a:lnTo>
                        <a:pt x="1030" y="129"/>
                      </a:lnTo>
                      <a:lnTo>
                        <a:pt x="1027" y="84"/>
                      </a:lnTo>
                      <a:lnTo>
                        <a:pt x="1021" y="41"/>
                      </a:lnTo>
                      <a:lnTo>
                        <a:pt x="101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" name="Freeform 55"/>
                <p:cNvSpPr>
                  <a:spLocks/>
                </p:cNvSpPr>
                <p:nvPr/>
              </p:nvSpPr>
              <p:spPr bwMode="auto">
                <a:xfrm>
                  <a:off x="-1399" y="1872"/>
                  <a:ext cx="321" cy="321"/>
                </a:xfrm>
                <a:custGeom>
                  <a:avLst/>
                  <a:gdLst>
                    <a:gd name="T0" fmla="*/ 321 w 641"/>
                    <a:gd name="T1" fmla="*/ 0 h 641"/>
                    <a:gd name="T2" fmla="*/ 372 w 641"/>
                    <a:gd name="T3" fmla="*/ 4 h 641"/>
                    <a:gd name="T4" fmla="*/ 422 w 641"/>
                    <a:gd name="T5" fmla="*/ 16 h 641"/>
                    <a:gd name="T6" fmla="*/ 468 w 641"/>
                    <a:gd name="T7" fmla="*/ 35 h 641"/>
                    <a:gd name="T8" fmla="*/ 510 w 641"/>
                    <a:gd name="T9" fmla="*/ 61 h 641"/>
                    <a:gd name="T10" fmla="*/ 547 w 641"/>
                    <a:gd name="T11" fmla="*/ 94 h 641"/>
                    <a:gd name="T12" fmla="*/ 580 w 641"/>
                    <a:gd name="T13" fmla="*/ 131 h 641"/>
                    <a:gd name="T14" fmla="*/ 606 w 641"/>
                    <a:gd name="T15" fmla="*/ 173 h 641"/>
                    <a:gd name="T16" fmla="*/ 625 w 641"/>
                    <a:gd name="T17" fmla="*/ 218 h 641"/>
                    <a:gd name="T18" fmla="*/ 637 w 641"/>
                    <a:gd name="T19" fmla="*/ 269 h 641"/>
                    <a:gd name="T20" fmla="*/ 641 w 641"/>
                    <a:gd name="T21" fmla="*/ 321 h 641"/>
                    <a:gd name="T22" fmla="*/ 637 w 641"/>
                    <a:gd name="T23" fmla="*/ 372 h 641"/>
                    <a:gd name="T24" fmla="*/ 625 w 641"/>
                    <a:gd name="T25" fmla="*/ 421 h 641"/>
                    <a:gd name="T26" fmla="*/ 606 w 641"/>
                    <a:gd name="T27" fmla="*/ 468 h 641"/>
                    <a:gd name="T28" fmla="*/ 580 w 641"/>
                    <a:gd name="T29" fmla="*/ 509 h 641"/>
                    <a:gd name="T30" fmla="*/ 547 w 641"/>
                    <a:gd name="T31" fmla="*/ 547 h 641"/>
                    <a:gd name="T32" fmla="*/ 510 w 641"/>
                    <a:gd name="T33" fmla="*/ 578 h 641"/>
                    <a:gd name="T34" fmla="*/ 468 w 641"/>
                    <a:gd name="T35" fmla="*/ 604 h 641"/>
                    <a:gd name="T36" fmla="*/ 422 w 641"/>
                    <a:gd name="T37" fmla="*/ 625 h 641"/>
                    <a:gd name="T38" fmla="*/ 372 w 641"/>
                    <a:gd name="T39" fmla="*/ 636 h 641"/>
                    <a:gd name="T40" fmla="*/ 321 w 641"/>
                    <a:gd name="T41" fmla="*/ 641 h 641"/>
                    <a:gd name="T42" fmla="*/ 269 w 641"/>
                    <a:gd name="T43" fmla="*/ 636 h 641"/>
                    <a:gd name="T44" fmla="*/ 220 w 641"/>
                    <a:gd name="T45" fmla="*/ 625 h 641"/>
                    <a:gd name="T46" fmla="*/ 173 w 641"/>
                    <a:gd name="T47" fmla="*/ 604 h 641"/>
                    <a:gd name="T48" fmla="*/ 132 w 641"/>
                    <a:gd name="T49" fmla="*/ 578 h 641"/>
                    <a:gd name="T50" fmla="*/ 94 w 641"/>
                    <a:gd name="T51" fmla="*/ 547 h 641"/>
                    <a:gd name="T52" fmla="*/ 63 w 641"/>
                    <a:gd name="T53" fmla="*/ 509 h 641"/>
                    <a:gd name="T54" fmla="*/ 37 w 641"/>
                    <a:gd name="T55" fmla="*/ 468 h 641"/>
                    <a:gd name="T56" fmla="*/ 17 w 641"/>
                    <a:gd name="T57" fmla="*/ 421 h 641"/>
                    <a:gd name="T58" fmla="*/ 4 w 641"/>
                    <a:gd name="T59" fmla="*/ 372 h 641"/>
                    <a:gd name="T60" fmla="*/ 0 w 641"/>
                    <a:gd name="T61" fmla="*/ 321 h 641"/>
                    <a:gd name="T62" fmla="*/ 4 w 641"/>
                    <a:gd name="T63" fmla="*/ 269 h 641"/>
                    <a:gd name="T64" fmla="*/ 17 w 641"/>
                    <a:gd name="T65" fmla="*/ 218 h 641"/>
                    <a:gd name="T66" fmla="*/ 37 w 641"/>
                    <a:gd name="T67" fmla="*/ 173 h 641"/>
                    <a:gd name="T68" fmla="*/ 63 w 641"/>
                    <a:gd name="T69" fmla="*/ 131 h 641"/>
                    <a:gd name="T70" fmla="*/ 94 w 641"/>
                    <a:gd name="T71" fmla="*/ 94 h 641"/>
                    <a:gd name="T72" fmla="*/ 132 w 641"/>
                    <a:gd name="T73" fmla="*/ 61 h 641"/>
                    <a:gd name="T74" fmla="*/ 173 w 641"/>
                    <a:gd name="T75" fmla="*/ 35 h 641"/>
                    <a:gd name="T76" fmla="*/ 220 w 641"/>
                    <a:gd name="T77" fmla="*/ 16 h 641"/>
                    <a:gd name="T78" fmla="*/ 269 w 641"/>
                    <a:gd name="T79" fmla="*/ 4 h 641"/>
                    <a:gd name="T80" fmla="*/ 321 w 641"/>
                    <a:gd name="T81" fmla="*/ 0 h 641"/>
                    <a:gd name="T82" fmla="*/ 321 w 641"/>
                    <a:gd name="T83" fmla="*/ 0 h 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641" h="641">
                      <a:moveTo>
                        <a:pt x="321" y="0"/>
                      </a:moveTo>
                      <a:lnTo>
                        <a:pt x="372" y="4"/>
                      </a:lnTo>
                      <a:lnTo>
                        <a:pt x="422" y="16"/>
                      </a:lnTo>
                      <a:lnTo>
                        <a:pt x="468" y="35"/>
                      </a:lnTo>
                      <a:lnTo>
                        <a:pt x="510" y="61"/>
                      </a:lnTo>
                      <a:lnTo>
                        <a:pt x="547" y="94"/>
                      </a:lnTo>
                      <a:lnTo>
                        <a:pt x="580" y="131"/>
                      </a:lnTo>
                      <a:lnTo>
                        <a:pt x="606" y="173"/>
                      </a:lnTo>
                      <a:lnTo>
                        <a:pt x="625" y="218"/>
                      </a:lnTo>
                      <a:lnTo>
                        <a:pt x="637" y="269"/>
                      </a:lnTo>
                      <a:lnTo>
                        <a:pt x="641" y="321"/>
                      </a:lnTo>
                      <a:lnTo>
                        <a:pt x="637" y="372"/>
                      </a:lnTo>
                      <a:lnTo>
                        <a:pt x="625" y="421"/>
                      </a:lnTo>
                      <a:lnTo>
                        <a:pt x="606" y="468"/>
                      </a:lnTo>
                      <a:lnTo>
                        <a:pt x="580" y="509"/>
                      </a:lnTo>
                      <a:lnTo>
                        <a:pt x="547" y="547"/>
                      </a:lnTo>
                      <a:lnTo>
                        <a:pt x="510" y="578"/>
                      </a:lnTo>
                      <a:lnTo>
                        <a:pt x="468" y="604"/>
                      </a:lnTo>
                      <a:lnTo>
                        <a:pt x="422" y="625"/>
                      </a:lnTo>
                      <a:lnTo>
                        <a:pt x="372" y="636"/>
                      </a:lnTo>
                      <a:lnTo>
                        <a:pt x="321" y="641"/>
                      </a:lnTo>
                      <a:lnTo>
                        <a:pt x="269" y="636"/>
                      </a:lnTo>
                      <a:lnTo>
                        <a:pt x="220" y="625"/>
                      </a:lnTo>
                      <a:lnTo>
                        <a:pt x="173" y="604"/>
                      </a:lnTo>
                      <a:lnTo>
                        <a:pt x="132" y="578"/>
                      </a:lnTo>
                      <a:lnTo>
                        <a:pt x="94" y="547"/>
                      </a:lnTo>
                      <a:lnTo>
                        <a:pt x="63" y="509"/>
                      </a:lnTo>
                      <a:lnTo>
                        <a:pt x="37" y="468"/>
                      </a:lnTo>
                      <a:lnTo>
                        <a:pt x="17" y="421"/>
                      </a:lnTo>
                      <a:lnTo>
                        <a:pt x="4" y="372"/>
                      </a:lnTo>
                      <a:lnTo>
                        <a:pt x="0" y="321"/>
                      </a:lnTo>
                      <a:lnTo>
                        <a:pt x="4" y="269"/>
                      </a:lnTo>
                      <a:lnTo>
                        <a:pt x="17" y="218"/>
                      </a:lnTo>
                      <a:lnTo>
                        <a:pt x="37" y="173"/>
                      </a:lnTo>
                      <a:lnTo>
                        <a:pt x="63" y="131"/>
                      </a:lnTo>
                      <a:lnTo>
                        <a:pt x="94" y="94"/>
                      </a:lnTo>
                      <a:lnTo>
                        <a:pt x="132" y="61"/>
                      </a:lnTo>
                      <a:lnTo>
                        <a:pt x="173" y="35"/>
                      </a:lnTo>
                      <a:lnTo>
                        <a:pt x="220" y="16"/>
                      </a:lnTo>
                      <a:lnTo>
                        <a:pt x="269" y="4"/>
                      </a:lnTo>
                      <a:lnTo>
                        <a:pt x="321" y="0"/>
                      </a:lnTo>
                      <a:lnTo>
                        <a:pt x="32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" name="Freeform 56"/>
                <p:cNvSpPr>
                  <a:spLocks/>
                </p:cNvSpPr>
                <p:nvPr/>
              </p:nvSpPr>
              <p:spPr bwMode="auto">
                <a:xfrm>
                  <a:off x="-444" y="1872"/>
                  <a:ext cx="320" cy="321"/>
                </a:xfrm>
                <a:custGeom>
                  <a:avLst/>
                  <a:gdLst>
                    <a:gd name="T0" fmla="*/ 321 w 641"/>
                    <a:gd name="T1" fmla="*/ 0 h 641"/>
                    <a:gd name="T2" fmla="*/ 373 w 641"/>
                    <a:gd name="T3" fmla="*/ 4 h 641"/>
                    <a:gd name="T4" fmla="*/ 422 w 641"/>
                    <a:gd name="T5" fmla="*/ 16 h 641"/>
                    <a:gd name="T6" fmla="*/ 468 w 641"/>
                    <a:gd name="T7" fmla="*/ 35 h 641"/>
                    <a:gd name="T8" fmla="*/ 510 w 641"/>
                    <a:gd name="T9" fmla="*/ 61 h 641"/>
                    <a:gd name="T10" fmla="*/ 547 w 641"/>
                    <a:gd name="T11" fmla="*/ 94 h 641"/>
                    <a:gd name="T12" fmla="*/ 580 w 641"/>
                    <a:gd name="T13" fmla="*/ 131 h 641"/>
                    <a:gd name="T14" fmla="*/ 606 w 641"/>
                    <a:gd name="T15" fmla="*/ 173 h 641"/>
                    <a:gd name="T16" fmla="*/ 625 w 641"/>
                    <a:gd name="T17" fmla="*/ 218 h 641"/>
                    <a:gd name="T18" fmla="*/ 637 w 641"/>
                    <a:gd name="T19" fmla="*/ 269 h 641"/>
                    <a:gd name="T20" fmla="*/ 641 w 641"/>
                    <a:gd name="T21" fmla="*/ 321 h 641"/>
                    <a:gd name="T22" fmla="*/ 637 w 641"/>
                    <a:gd name="T23" fmla="*/ 372 h 641"/>
                    <a:gd name="T24" fmla="*/ 625 w 641"/>
                    <a:gd name="T25" fmla="*/ 421 h 641"/>
                    <a:gd name="T26" fmla="*/ 606 w 641"/>
                    <a:gd name="T27" fmla="*/ 468 h 641"/>
                    <a:gd name="T28" fmla="*/ 580 w 641"/>
                    <a:gd name="T29" fmla="*/ 509 h 641"/>
                    <a:gd name="T30" fmla="*/ 547 w 641"/>
                    <a:gd name="T31" fmla="*/ 547 h 641"/>
                    <a:gd name="T32" fmla="*/ 510 w 641"/>
                    <a:gd name="T33" fmla="*/ 578 h 641"/>
                    <a:gd name="T34" fmla="*/ 468 w 641"/>
                    <a:gd name="T35" fmla="*/ 604 h 641"/>
                    <a:gd name="T36" fmla="*/ 422 w 641"/>
                    <a:gd name="T37" fmla="*/ 625 h 641"/>
                    <a:gd name="T38" fmla="*/ 373 w 641"/>
                    <a:gd name="T39" fmla="*/ 636 h 641"/>
                    <a:gd name="T40" fmla="*/ 321 w 641"/>
                    <a:gd name="T41" fmla="*/ 641 h 641"/>
                    <a:gd name="T42" fmla="*/ 269 w 641"/>
                    <a:gd name="T43" fmla="*/ 636 h 641"/>
                    <a:gd name="T44" fmla="*/ 220 w 641"/>
                    <a:gd name="T45" fmla="*/ 625 h 641"/>
                    <a:gd name="T46" fmla="*/ 173 w 641"/>
                    <a:gd name="T47" fmla="*/ 604 h 641"/>
                    <a:gd name="T48" fmla="*/ 131 w 641"/>
                    <a:gd name="T49" fmla="*/ 578 h 641"/>
                    <a:gd name="T50" fmla="*/ 94 w 641"/>
                    <a:gd name="T51" fmla="*/ 547 h 641"/>
                    <a:gd name="T52" fmla="*/ 63 w 641"/>
                    <a:gd name="T53" fmla="*/ 509 h 641"/>
                    <a:gd name="T54" fmla="*/ 36 w 641"/>
                    <a:gd name="T55" fmla="*/ 468 h 641"/>
                    <a:gd name="T56" fmla="*/ 17 w 641"/>
                    <a:gd name="T57" fmla="*/ 421 h 641"/>
                    <a:gd name="T58" fmla="*/ 4 w 641"/>
                    <a:gd name="T59" fmla="*/ 372 h 641"/>
                    <a:gd name="T60" fmla="*/ 0 w 641"/>
                    <a:gd name="T61" fmla="*/ 321 h 641"/>
                    <a:gd name="T62" fmla="*/ 4 w 641"/>
                    <a:gd name="T63" fmla="*/ 269 h 641"/>
                    <a:gd name="T64" fmla="*/ 17 w 641"/>
                    <a:gd name="T65" fmla="*/ 218 h 641"/>
                    <a:gd name="T66" fmla="*/ 36 w 641"/>
                    <a:gd name="T67" fmla="*/ 173 h 641"/>
                    <a:gd name="T68" fmla="*/ 63 w 641"/>
                    <a:gd name="T69" fmla="*/ 131 h 641"/>
                    <a:gd name="T70" fmla="*/ 94 w 641"/>
                    <a:gd name="T71" fmla="*/ 94 h 641"/>
                    <a:gd name="T72" fmla="*/ 131 w 641"/>
                    <a:gd name="T73" fmla="*/ 61 h 641"/>
                    <a:gd name="T74" fmla="*/ 173 w 641"/>
                    <a:gd name="T75" fmla="*/ 35 h 641"/>
                    <a:gd name="T76" fmla="*/ 220 w 641"/>
                    <a:gd name="T77" fmla="*/ 16 h 641"/>
                    <a:gd name="T78" fmla="*/ 269 w 641"/>
                    <a:gd name="T79" fmla="*/ 4 h 641"/>
                    <a:gd name="T80" fmla="*/ 321 w 641"/>
                    <a:gd name="T81" fmla="*/ 0 h 641"/>
                    <a:gd name="T82" fmla="*/ 321 w 641"/>
                    <a:gd name="T83" fmla="*/ 0 h 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641" h="641">
                      <a:moveTo>
                        <a:pt x="321" y="0"/>
                      </a:moveTo>
                      <a:lnTo>
                        <a:pt x="373" y="4"/>
                      </a:lnTo>
                      <a:lnTo>
                        <a:pt x="422" y="16"/>
                      </a:lnTo>
                      <a:lnTo>
                        <a:pt x="468" y="35"/>
                      </a:lnTo>
                      <a:lnTo>
                        <a:pt x="510" y="61"/>
                      </a:lnTo>
                      <a:lnTo>
                        <a:pt x="547" y="94"/>
                      </a:lnTo>
                      <a:lnTo>
                        <a:pt x="580" y="131"/>
                      </a:lnTo>
                      <a:lnTo>
                        <a:pt x="606" y="173"/>
                      </a:lnTo>
                      <a:lnTo>
                        <a:pt x="625" y="218"/>
                      </a:lnTo>
                      <a:lnTo>
                        <a:pt x="637" y="269"/>
                      </a:lnTo>
                      <a:lnTo>
                        <a:pt x="641" y="321"/>
                      </a:lnTo>
                      <a:lnTo>
                        <a:pt x="637" y="372"/>
                      </a:lnTo>
                      <a:lnTo>
                        <a:pt x="625" y="421"/>
                      </a:lnTo>
                      <a:lnTo>
                        <a:pt x="606" y="468"/>
                      </a:lnTo>
                      <a:lnTo>
                        <a:pt x="580" y="509"/>
                      </a:lnTo>
                      <a:lnTo>
                        <a:pt x="547" y="547"/>
                      </a:lnTo>
                      <a:lnTo>
                        <a:pt x="510" y="578"/>
                      </a:lnTo>
                      <a:lnTo>
                        <a:pt x="468" y="604"/>
                      </a:lnTo>
                      <a:lnTo>
                        <a:pt x="422" y="625"/>
                      </a:lnTo>
                      <a:lnTo>
                        <a:pt x="373" y="636"/>
                      </a:lnTo>
                      <a:lnTo>
                        <a:pt x="321" y="641"/>
                      </a:lnTo>
                      <a:lnTo>
                        <a:pt x="269" y="636"/>
                      </a:lnTo>
                      <a:lnTo>
                        <a:pt x="220" y="625"/>
                      </a:lnTo>
                      <a:lnTo>
                        <a:pt x="173" y="604"/>
                      </a:lnTo>
                      <a:lnTo>
                        <a:pt x="131" y="578"/>
                      </a:lnTo>
                      <a:lnTo>
                        <a:pt x="94" y="547"/>
                      </a:lnTo>
                      <a:lnTo>
                        <a:pt x="63" y="509"/>
                      </a:lnTo>
                      <a:lnTo>
                        <a:pt x="36" y="468"/>
                      </a:lnTo>
                      <a:lnTo>
                        <a:pt x="17" y="421"/>
                      </a:lnTo>
                      <a:lnTo>
                        <a:pt x="4" y="372"/>
                      </a:lnTo>
                      <a:lnTo>
                        <a:pt x="0" y="321"/>
                      </a:lnTo>
                      <a:lnTo>
                        <a:pt x="4" y="269"/>
                      </a:lnTo>
                      <a:lnTo>
                        <a:pt x="17" y="218"/>
                      </a:lnTo>
                      <a:lnTo>
                        <a:pt x="36" y="173"/>
                      </a:lnTo>
                      <a:lnTo>
                        <a:pt x="63" y="131"/>
                      </a:lnTo>
                      <a:lnTo>
                        <a:pt x="94" y="94"/>
                      </a:lnTo>
                      <a:lnTo>
                        <a:pt x="131" y="61"/>
                      </a:lnTo>
                      <a:lnTo>
                        <a:pt x="173" y="35"/>
                      </a:lnTo>
                      <a:lnTo>
                        <a:pt x="220" y="16"/>
                      </a:lnTo>
                      <a:lnTo>
                        <a:pt x="269" y="4"/>
                      </a:lnTo>
                      <a:lnTo>
                        <a:pt x="321" y="0"/>
                      </a:lnTo>
                      <a:lnTo>
                        <a:pt x="32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" name="Freeform 57"/>
                <p:cNvSpPr>
                  <a:spLocks/>
                </p:cNvSpPr>
                <p:nvPr/>
              </p:nvSpPr>
              <p:spPr bwMode="auto">
                <a:xfrm>
                  <a:off x="-1399" y="3537"/>
                  <a:ext cx="321" cy="321"/>
                </a:xfrm>
                <a:custGeom>
                  <a:avLst/>
                  <a:gdLst>
                    <a:gd name="T0" fmla="*/ 321 w 641"/>
                    <a:gd name="T1" fmla="*/ 0 h 641"/>
                    <a:gd name="T2" fmla="*/ 372 w 641"/>
                    <a:gd name="T3" fmla="*/ 5 h 641"/>
                    <a:gd name="T4" fmla="*/ 422 w 641"/>
                    <a:gd name="T5" fmla="*/ 16 h 641"/>
                    <a:gd name="T6" fmla="*/ 468 w 641"/>
                    <a:gd name="T7" fmla="*/ 37 h 641"/>
                    <a:gd name="T8" fmla="*/ 510 w 641"/>
                    <a:gd name="T9" fmla="*/ 63 h 641"/>
                    <a:gd name="T10" fmla="*/ 547 w 641"/>
                    <a:gd name="T11" fmla="*/ 94 h 641"/>
                    <a:gd name="T12" fmla="*/ 580 w 641"/>
                    <a:gd name="T13" fmla="*/ 132 h 641"/>
                    <a:gd name="T14" fmla="*/ 606 w 641"/>
                    <a:gd name="T15" fmla="*/ 173 h 641"/>
                    <a:gd name="T16" fmla="*/ 625 w 641"/>
                    <a:gd name="T17" fmla="*/ 220 h 641"/>
                    <a:gd name="T18" fmla="*/ 637 w 641"/>
                    <a:gd name="T19" fmla="*/ 269 h 641"/>
                    <a:gd name="T20" fmla="*/ 641 w 641"/>
                    <a:gd name="T21" fmla="*/ 320 h 641"/>
                    <a:gd name="T22" fmla="*/ 637 w 641"/>
                    <a:gd name="T23" fmla="*/ 372 h 641"/>
                    <a:gd name="T24" fmla="*/ 625 w 641"/>
                    <a:gd name="T25" fmla="*/ 423 h 641"/>
                    <a:gd name="T26" fmla="*/ 606 w 641"/>
                    <a:gd name="T27" fmla="*/ 468 h 641"/>
                    <a:gd name="T28" fmla="*/ 580 w 641"/>
                    <a:gd name="T29" fmla="*/ 510 h 641"/>
                    <a:gd name="T30" fmla="*/ 547 w 641"/>
                    <a:gd name="T31" fmla="*/ 547 h 641"/>
                    <a:gd name="T32" fmla="*/ 510 w 641"/>
                    <a:gd name="T33" fmla="*/ 580 h 641"/>
                    <a:gd name="T34" fmla="*/ 468 w 641"/>
                    <a:gd name="T35" fmla="*/ 606 h 641"/>
                    <a:gd name="T36" fmla="*/ 422 w 641"/>
                    <a:gd name="T37" fmla="*/ 625 h 641"/>
                    <a:gd name="T38" fmla="*/ 372 w 641"/>
                    <a:gd name="T39" fmla="*/ 637 h 641"/>
                    <a:gd name="T40" fmla="*/ 321 w 641"/>
                    <a:gd name="T41" fmla="*/ 641 h 641"/>
                    <a:gd name="T42" fmla="*/ 269 w 641"/>
                    <a:gd name="T43" fmla="*/ 637 h 641"/>
                    <a:gd name="T44" fmla="*/ 220 w 641"/>
                    <a:gd name="T45" fmla="*/ 625 h 641"/>
                    <a:gd name="T46" fmla="*/ 173 w 641"/>
                    <a:gd name="T47" fmla="*/ 606 h 641"/>
                    <a:gd name="T48" fmla="*/ 132 w 641"/>
                    <a:gd name="T49" fmla="*/ 580 h 641"/>
                    <a:gd name="T50" fmla="*/ 94 w 641"/>
                    <a:gd name="T51" fmla="*/ 547 h 641"/>
                    <a:gd name="T52" fmla="*/ 63 w 641"/>
                    <a:gd name="T53" fmla="*/ 510 h 641"/>
                    <a:gd name="T54" fmla="*/ 37 w 641"/>
                    <a:gd name="T55" fmla="*/ 468 h 641"/>
                    <a:gd name="T56" fmla="*/ 17 w 641"/>
                    <a:gd name="T57" fmla="*/ 423 h 641"/>
                    <a:gd name="T58" fmla="*/ 4 w 641"/>
                    <a:gd name="T59" fmla="*/ 372 h 641"/>
                    <a:gd name="T60" fmla="*/ 0 w 641"/>
                    <a:gd name="T61" fmla="*/ 320 h 641"/>
                    <a:gd name="T62" fmla="*/ 4 w 641"/>
                    <a:gd name="T63" fmla="*/ 269 h 641"/>
                    <a:gd name="T64" fmla="*/ 17 w 641"/>
                    <a:gd name="T65" fmla="*/ 220 h 641"/>
                    <a:gd name="T66" fmla="*/ 37 w 641"/>
                    <a:gd name="T67" fmla="*/ 173 h 641"/>
                    <a:gd name="T68" fmla="*/ 63 w 641"/>
                    <a:gd name="T69" fmla="*/ 132 h 641"/>
                    <a:gd name="T70" fmla="*/ 94 w 641"/>
                    <a:gd name="T71" fmla="*/ 94 h 641"/>
                    <a:gd name="T72" fmla="*/ 132 w 641"/>
                    <a:gd name="T73" fmla="*/ 63 h 641"/>
                    <a:gd name="T74" fmla="*/ 173 w 641"/>
                    <a:gd name="T75" fmla="*/ 37 h 641"/>
                    <a:gd name="T76" fmla="*/ 220 w 641"/>
                    <a:gd name="T77" fmla="*/ 16 h 641"/>
                    <a:gd name="T78" fmla="*/ 269 w 641"/>
                    <a:gd name="T79" fmla="*/ 5 h 641"/>
                    <a:gd name="T80" fmla="*/ 321 w 641"/>
                    <a:gd name="T81" fmla="*/ 0 h 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41" h="641">
                      <a:moveTo>
                        <a:pt x="321" y="0"/>
                      </a:moveTo>
                      <a:lnTo>
                        <a:pt x="372" y="5"/>
                      </a:lnTo>
                      <a:lnTo>
                        <a:pt x="422" y="16"/>
                      </a:lnTo>
                      <a:lnTo>
                        <a:pt x="468" y="37"/>
                      </a:lnTo>
                      <a:lnTo>
                        <a:pt x="510" y="63"/>
                      </a:lnTo>
                      <a:lnTo>
                        <a:pt x="547" y="94"/>
                      </a:lnTo>
                      <a:lnTo>
                        <a:pt x="580" y="132"/>
                      </a:lnTo>
                      <a:lnTo>
                        <a:pt x="606" y="173"/>
                      </a:lnTo>
                      <a:lnTo>
                        <a:pt x="625" y="220"/>
                      </a:lnTo>
                      <a:lnTo>
                        <a:pt x="637" y="269"/>
                      </a:lnTo>
                      <a:lnTo>
                        <a:pt x="641" y="320"/>
                      </a:lnTo>
                      <a:lnTo>
                        <a:pt x="637" y="372"/>
                      </a:lnTo>
                      <a:lnTo>
                        <a:pt x="625" y="423"/>
                      </a:lnTo>
                      <a:lnTo>
                        <a:pt x="606" y="468"/>
                      </a:lnTo>
                      <a:lnTo>
                        <a:pt x="580" y="510"/>
                      </a:lnTo>
                      <a:lnTo>
                        <a:pt x="547" y="547"/>
                      </a:lnTo>
                      <a:lnTo>
                        <a:pt x="510" y="580"/>
                      </a:lnTo>
                      <a:lnTo>
                        <a:pt x="468" y="606"/>
                      </a:lnTo>
                      <a:lnTo>
                        <a:pt x="422" y="625"/>
                      </a:lnTo>
                      <a:lnTo>
                        <a:pt x="372" y="637"/>
                      </a:lnTo>
                      <a:lnTo>
                        <a:pt x="321" y="641"/>
                      </a:lnTo>
                      <a:lnTo>
                        <a:pt x="269" y="637"/>
                      </a:lnTo>
                      <a:lnTo>
                        <a:pt x="220" y="625"/>
                      </a:lnTo>
                      <a:lnTo>
                        <a:pt x="173" y="606"/>
                      </a:lnTo>
                      <a:lnTo>
                        <a:pt x="132" y="580"/>
                      </a:lnTo>
                      <a:lnTo>
                        <a:pt x="94" y="547"/>
                      </a:lnTo>
                      <a:lnTo>
                        <a:pt x="63" y="510"/>
                      </a:lnTo>
                      <a:lnTo>
                        <a:pt x="37" y="468"/>
                      </a:lnTo>
                      <a:lnTo>
                        <a:pt x="17" y="423"/>
                      </a:lnTo>
                      <a:lnTo>
                        <a:pt x="4" y="372"/>
                      </a:lnTo>
                      <a:lnTo>
                        <a:pt x="0" y="320"/>
                      </a:lnTo>
                      <a:lnTo>
                        <a:pt x="4" y="269"/>
                      </a:lnTo>
                      <a:lnTo>
                        <a:pt x="17" y="220"/>
                      </a:lnTo>
                      <a:lnTo>
                        <a:pt x="37" y="173"/>
                      </a:lnTo>
                      <a:lnTo>
                        <a:pt x="63" y="132"/>
                      </a:lnTo>
                      <a:lnTo>
                        <a:pt x="94" y="94"/>
                      </a:lnTo>
                      <a:lnTo>
                        <a:pt x="132" y="63"/>
                      </a:lnTo>
                      <a:lnTo>
                        <a:pt x="173" y="37"/>
                      </a:lnTo>
                      <a:lnTo>
                        <a:pt x="220" y="16"/>
                      </a:lnTo>
                      <a:lnTo>
                        <a:pt x="269" y="5"/>
                      </a:lnTo>
                      <a:lnTo>
                        <a:pt x="32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5" name="Freeform 58"/>
                <p:cNvSpPr>
                  <a:spLocks/>
                </p:cNvSpPr>
                <p:nvPr/>
              </p:nvSpPr>
              <p:spPr bwMode="auto">
                <a:xfrm>
                  <a:off x="-444" y="3537"/>
                  <a:ext cx="320" cy="321"/>
                </a:xfrm>
                <a:custGeom>
                  <a:avLst/>
                  <a:gdLst>
                    <a:gd name="T0" fmla="*/ 321 w 641"/>
                    <a:gd name="T1" fmla="*/ 0 h 641"/>
                    <a:gd name="T2" fmla="*/ 373 w 641"/>
                    <a:gd name="T3" fmla="*/ 5 h 641"/>
                    <a:gd name="T4" fmla="*/ 422 w 641"/>
                    <a:gd name="T5" fmla="*/ 16 h 641"/>
                    <a:gd name="T6" fmla="*/ 468 w 641"/>
                    <a:gd name="T7" fmla="*/ 37 h 641"/>
                    <a:gd name="T8" fmla="*/ 510 w 641"/>
                    <a:gd name="T9" fmla="*/ 63 h 641"/>
                    <a:gd name="T10" fmla="*/ 547 w 641"/>
                    <a:gd name="T11" fmla="*/ 94 h 641"/>
                    <a:gd name="T12" fmla="*/ 580 w 641"/>
                    <a:gd name="T13" fmla="*/ 132 h 641"/>
                    <a:gd name="T14" fmla="*/ 606 w 641"/>
                    <a:gd name="T15" fmla="*/ 173 h 641"/>
                    <a:gd name="T16" fmla="*/ 625 w 641"/>
                    <a:gd name="T17" fmla="*/ 220 h 641"/>
                    <a:gd name="T18" fmla="*/ 637 w 641"/>
                    <a:gd name="T19" fmla="*/ 269 h 641"/>
                    <a:gd name="T20" fmla="*/ 641 w 641"/>
                    <a:gd name="T21" fmla="*/ 320 h 641"/>
                    <a:gd name="T22" fmla="*/ 637 w 641"/>
                    <a:gd name="T23" fmla="*/ 372 h 641"/>
                    <a:gd name="T24" fmla="*/ 625 w 641"/>
                    <a:gd name="T25" fmla="*/ 423 h 641"/>
                    <a:gd name="T26" fmla="*/ 606 w 641"/>
                    <a:gd name="T27" fmla="*/ 468 h 641"/>
                    <a:gd name="T28" fmla="*/ 580 w 641"/>
                    <a:gd name="T29" fmla="*/ 510 h 641"/>
                    <a:gd name="T30" fmla="*/ 547 w 641"/>
                    <a:gd name="T31" fmla="*/ 547 h 641"/>
                    <a:gd name="T32" fmla="*/ 510 w 641"/>
                    <a:gd name="T33" fmla="*/ 580 h 641"/>
                    <a:gd name="T34" fmla="*/ 468 w 641"/>
                    <a:gd name="T35" fmla="*/ 606 h 641"/>
                    <a:gd name="T36" fmla="*/ 422 w 641"/>
                    <a:gd name="T37" fmla="*/ 625 h 641"/>
                    <a:gd name="T38" fmla="*/ 373 w 641"/>
                    <a:gd name="T39" fmla="*/ 637 h 641"/>
                    <a:gd name="T40" fmla="*/ 321 w 641"/>
                    <a:gd name="T41" fmla="*/ 641 h 641"/>
                    <a:gd name="T42" fmla="*/ 269 w 641"/>
                    <a:gd name="T43" fmla="*/ 637 h 641"/>
                    <a:gd name="T44" fmla="*/ 220 w 641"/>
                    <a:gd name="T45" fmla="*/ 625 h 641"/>
                    <a:gd name="T46" fmla="*/ 173 w 641"/>
                    <a:gd name="T47" fmla="*/ 606 h 641"/>
                    <a:gd name="T48" fmla="*/ 131 w 641"/>
                    <a:gd name="T49" fmla="*/ 580 h 641"/>
                    <a:gd name="T50" fmla="*/ 94 w 641"/>
                    <a:gd name="T51" fmla="*/ 547 h 641"/>
                    <a:gd name="T52" fmla="*/ 63 w 641"/>
                    <a:gd name="T53" fmla="*/ 510 h 641"/>
                    <a:gd name="T54" fmla="*/ 36 w 641"/>
                    <a:gd name="T55" fmla="*/ 468 h 641"/>
                    <a:gd name="T56" fmla="*/ 17 w 641"/>
                    <a:gd name="T57" fmla="*/ 423 h 641"/>
                    <a:gd name="T58" fmla="*/ 4 w 641"/>
                    <a:gd name="T59" fmla="*/ 372 h 641"/>
                    <a:gd name="T60" fmla="*/ 0 w 641"/>
                    <a:gd name="T61" fmla="*/ 320 h 641"/>
                    <a:gd name="T62" fmla="*/ 4 w 641"/>
                    <a:gd name="T63" fmla="*/ 269 h 641"/>
                    <a:gd name="T64" fmla="*/ 17 w 641"/>
                    <a:gd name="T65" fmla="*/ 220 h 641"/>
                    <a:gd name="T66" fmla="*/ 36 w 641"/>
                    <a:gd name="T67" fmla="*/ 173 h 641"/>
                    <a:gd name="T68" fmla="*/ 63 w 641"/>
                    <a:gd name="T69" fmla="*/ 132 h 641"/>
                    <a:gd name="T70" fmla="*/ 94 w 641"/>
                    <a:gd name="T71" fmla="*/ 94 h 641"/>
                    <a:gd name="T72" fmla="*/ 131 w 641"/>
                    <a:gd name="T73" fmla="*/ 63 h 641"/>
                    <a:gd name="T74" fmla="*/ 173 w 641"/>
                    <a:gd name="T75" fmla="*/ 37 h 641"/>
                    <a:gd name="T76" fmla="*/ 220 w 641"/>
                    <a:gd name="T77" fmla="*/ 16 h 641"/>
                    <a:gd name="T78" fmla="*/ 269 w 641"/>
                    <a:gd name="T79" fmla="*/ 5 h 641"/>
                    <a:gd name="T80" fmla="*/ 321 w 641"/>
                    <a:gd name="T81" fmla="*/ 0 h 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41" h="641">
                      <a:moveTo>
                        <a:pt x="321" y="0"/>
                      </a:moveTo>
                      <a:lnTo>
                        <a:pt x="373" y="5"/>
                      </a:lnTo>
                      <a:lnTo>
                        <a:pt x="422" y="16"/>
                      </a:lnTo>
                      <a:lnTo>
                        <a:pt x="468" y="37"/>
                      </a:lnTo>
                      <a:lnTo>
                        <a:pt x="510" y="63"/>
                      </a:lnTo>
                      <a:lnTo>
                        <a:pt x="547" y="94"/>
                      </a:lnTo>
                      <a:lnTo>
                        <a:pt x="580" y="132"/>
                      </a:lnTo>
                      <a:lnTo>
                        <a:pt x="606" y="173"/>
                      </a:lnTo>
                      <a:lnTo>
                        <a:pt x="625" y="220"/>
                      </a:lnTo>
                      <a:lnTo>
                        <a:pt x="637" y="269"/>
                      </a:lnTo>
                      <a:lnTo>
                        <a:pt x="641" y="320"/>
                      </a:lnTo>
                      <a:lnTo>
                        <a:pt x="637" y="372"/>
                      </a:lnTo>
                      <a:lnTo>
                        <a:pt x="625" y="423"/>
                      </a:lnTo>
                      <a:lnTo>
                        <a:pt x="606" y="468"/>
                      </a:lnTo>
                      <a:lnTo>
                        <a:pt x="580" y="510"/>
                      </a:lnTo>
                      <a:lnTo>
                        <a:pt x="547" y="547"/>
                      </a:lnTo>
                      <a:lnTo>
                        <a:pt x="510" y="580"/>
                      </a:lnTo>
                      <a:lnTo>
                        <a:pt x="468" y="606"/>
                      </a:lnTo>
                      <a:lnTo>
                        <a:pt x="422" y="625"/>
                      </a:lnTo>
                      <a:lnTo>
                        <a:pt x="373" y="637"/>
                      </a:lnTo>
                      <a:lnTo>
                        <a:pt x="321" y="641"/>
                      </a:lnTo>
                      <a:lnTo>
                        <a:pt x="269" y="637"/>
                      </a:lnTo>
                      <a:lnTo>
                        <a:pt x="220" y="625"/>
                      </a:lnTo>
                      <a:lnTo>
                        <a:pt x="173" y="606"/>
                      </a:lnTo>
                      <a:lnTo>
                        <a:pt x="131" y="580"/>
                      </a:lnTo>
                      <a:lnTo>
                        <a:pt x="94" y="547"/>
                      </a:lnTo>
                      <a:lnTo>
                        <a:pt x="63" y="510"/>
                      </a:lnTo>
                      <a:lnTo>
                        <a:pt x="36" y="468"/>
                      </a:lnTo>
                      <a:lnTo>
                        <a:pt x="17" y="423"/>
                      </a:lnTo>
                      <a:lnTo>
                        <a:pt x="4" y="372"/>
                      </a:lnTo>
                      <a:lnTo>
                        <a:pt x="0" y="320"/>
                      </a:lnTo>
                      <a:lnTo>
                        <a:pt x="4" y="269"/>
                      </a:lnTo>
                      <a:lnTo>
                        <a:pt x="17" y="220"/>
                      </a:lnTo>
                      <a:lnTo>
                        <a:pt x="36" y="173"/>
                      </a:lnTo>
                      <a:lnTo>
                        <a:pt x="63" y="132"/>
                      </a:lnTo>
                      <a:lnTo>
                        <a:pt x="94" y="94"/>
                      </a:lnTo>
                      <a:lnTo>
                        <a:pt x="131" y="63"/>
                      </a:lnTo>
                      <a:lnTo>
                        <a:pt x="173" y="37"/>
                      </a:lnTo>
                      <a:lnTo>
                        <a:pt x="220" y="16"/>
                      </a:lnTo>
                      <a:lnTo>
                        <a:pt x="269" y="5"/>
                      </a:lnTo>
                      <a:lnTo>
                        <a:pt x="32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6" name="Freeform 59"/>
                <p:cNvSpPr>
                  <a:spLocks/>
                </p:cNvSpPr>
                <p:nvPr/>
              </p:nvSpPr>
              <p:spPr bwMode="auto">
                <a:xfrm>
                  <a:off x="-1883" y="2705"/>
                  <a:ext cx="320" cy="320"/>
                </a:xfrm>
                <a:custGeom>
                  <a:avLst/>
                  <a:gdLst>
                    <a:gd name="T0" fmla="*/ 320 w 641"/>
                    <a:gd name="T1" fmla="*/ 0 h 642"/>
                    <a:gd name="T2" fmla="*/ 372 w 641"/>
                    <a:gd name="T3" fmla="*/ 5 h 642"/>
                    <a:gd name="T4" fmla="*/ 421 w 641"/>
                    <a:gd name="T5" fmla="*/ 17 h 642"/>
                    <a:gd name="T6" fmla="*/ 468 w 641"/>
                    <a:gd name="T7" fmla="*/ 36 h 642"/>
                    <a:gd name="T8" fmla="*/ 510 w 641"/>
                    <a:gd name="T9" fmla="*/ 62 h 642"/>
                    <a:gd name="T10" fmla="*/ 547 w 641"/>
                    <a:gd name="T11" fmla="*/ 95 h 642"/>
                    <a:gd name="T12" fmla="*/ 578 w 641"/>
                    <a:gd name="T13" fmla="*/ 131 h 642"/>
                    <a:gd name="T14" fmla="*/ 605 w 641"/>
                    <a:gd name="T15" fmla="*/ 174 h 642"/>
                    <a:gd name="T16" fmla="*/ 625 w 641"/>
                    <a:gd name="T17" fmla="*/ 220 h 642"/>
                    <a:gd name="T18" fmla="*/ 637 w 641"/>
                    <a:gd name="T19" fmla="*/ 269 h 642"/>
                    <a:gd name="T20" fmla="*/ 641 w 641"/>
                    <a:gd name="T21" fmla="*/ 321 h 642"/>
                    <a:gd name="T22" fmla="*/ 637 w 641"/>
                    <a:gd name="T23" fmla="*/ 373 h 642"/>
                    <a:gd name="T24" fmla="*/ 625 w 641"/>
                    <a:gd name="T25" fmla="*/ 422 h 642"/>
                    <a:gd name="T26" fmla="*/ 605 w 641"/>
                    <a:gd name="T27" fmla="*/ 468 h 642"/>
                    <a:gd name="T28" fmla="*/ 578 w 641"/>
                    <a:gd name="T29" fmla="*/ 511 h 642"/>
                    <a:gd name="T30" fmla="*/ 547 w 641"/>
                    <a:gd name="T31" fmla="*/ 547 h 642"/>
                    <a:gd name="T32" fmla="*/ 510 w 641"/>
                    <a:gd name="T33" fmla="*/ 580 h 642"/>
                    <a:gd name="T34" fmla="*/ 468 w 641"/>
                    <a:gd name="T35" fmla="*/ 606 h 642"/>
                    <a:gd name="T36" fmla="*/ 421 w 641"/>
                    <a:gd name="T37" fmla="*/ 625 h 642"/>
                    <a:gd name="T38" fmla="*/ 372 w 641"/>
                    <a:gd name="T39" fmla="*/ 637 h 642"/>
                    <a:gd name="T40" fmla="*/ 320 w 641"/>
                    <a:gd name="T41" fmla="*/ 642 h 642"/>
                    <a:gd name="T42" fmla="*/ 269 w 641"/>
                    <a:gd name="T43" fmla="*/ 637 h 642"/>
                    <a:gd name="T44" fmla="*/ 220 w 641"/>
                    <a:gd name="T45" fmla="*/ 625 h 642"/>
                    <a:gd name="T46" fmla="*/ 173 w 641"/>
                    <a:gd name="T47" fmla="*/ 606 h 642"/>
                    <a:gd name="T48" fmla="*/ 131 w 641"/>
                    <a:gd name="T49" fmla="*/ 580 h 642"/>
                    <a:gd name="T50" fmla="*/ 94 w 641"/>
                    <a:gd name="T51" fmla="*/ 547 h 642"/>
                    <a:gd name="T52" fmla="*/ 61 w 641"/>
                    <a:gd name="T53" fmla="*/ 511 h 642"/>
                    <a:gd name="T54" fmla="*/ 35 w 641"/>
                    <a:gd name="T55" fmla="*/ 468 h 642"/>
                    <a:gd name="T56" fmla="*/ 16 w 641"/>
                    <a:gd name="T57" fmla="*/ 422 h 642"/>
                    <a:gd name="T58" fmla="*/ 4 w 641"/>
                    <a:gd name="T59" fmla="*/ 373 h 642"/>
                    <a:gd name="T60" fmla="*/ 0 w 641"/>
                    <a:gd name="T61" fmla="*/ 321 h 642"/>
                    <a:gd name="T62" fmla="*/ 4 w 641"/>
                    <a:gd name="T63" fmla="*/ 269 h 642"/>
                    <a:gd name="T64" fmla="*/ 16 w 641"/>
                    <a:gd name="T65" fmla="*/ 220 h 642"/>
                    <a:gd name="T66" fmla="*/ 35 w 641"/>
                    <a:gd name="T67" fmla="*/ 174 h 642"/>
                    <a:gd name="T68" fmla="*/ 61 w 641"/>
                    <a:gd name="T69" fmla="*/ 131 h 642"/>
                    <a:gd name="T70" fmla="*/ 94 w 641"/>
                    <a:gd name="T71" fmla="*/ 95 h 642"/>
                    <a:gd name="T72" fmla="*/ 131 w 641"/>
                    <a:gd name="T73" fmla="*/ 62 h 642"/>
                    <a:gd name="T74" fmla="*/ 173 w 641"/>
                    <a:gd name="T75" fmla="*/ 36 h 642"/>
                    <a:gd name="T76" fmla="*/ 220 w 641"/>
                    <a:gd name="T77" fmla="*/ 17 h 642"/>
                    <a:gd name="T78" fmla="*/ 269 w 641"/>
                    <a:gd name="T79" fmla="*/ 5 h 642"/>
                    <a:gd name="T80" fmla="*/ 320 w 641"/>
                    <a:gd name="T81" fmla="*/ 0 h 6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41" h="642">
                      <a:moveTo>
                        <a:pt x="320" y="0"/>
                      </a:moveTo>
                      <a:lnTo>
                        <a:pt x="372" y="5"/>
                      </a:lnTo>
                      <a:lnTo>
                        <a:pt x="421" y="17"/>
                      </a:lnTo>
                      <a:lnTo>
                        <a:pt x="468" y="36"/>
                      </a:lnTo>
                      <a:lnTo>
                        <a:pt x="510" y="62"/>
                      </a:lnTo>
                      <a:lnTo>
                        <a:pt x="547" y="95"/>
                      </a:lnTo>
                      <a:lnTo>
                        <a:pt x="578" y="131"/>
                      </a:lnTo>
                      <a:lnTo>
                        <a:pt x="605" y="174"/>
                      </a:lnTo>
                      <a:lnTo>
                        <a:pt x="625" y="220"/>
                      </a:lnTo>
                      <a:lnTo>
                        <a:pt x="637" y="269"/>
                      </a:lnTo>
                      <a:lnTo>
                        <a:pt x="641" y="321"/>
                      </a:lnTo>
                      <a:lnTo>
                        <a:pt x="637" y="373"/>
                      </a:lnTo>
                      <a:lnTo>
                        <a:pt x="625" y="422"/>
                      </a:lnTo>
                      <a:lnTo>
                        <a:pt x="605" y="468"/>
                      </a:lnTo>
                      <a:lnTo>
                        <a:pt x="578" y="511"/>
                      </a:lnTo>
                      <a:lnTo>
                        <a:pt x="547" y="547"/>
                      </a:lnTo>
                      <a:lnTo>
                        <a:pt x="510" y="580"/>
                      </a:lnTo>
                      <a:lnTo>
                        <a:pt x="468" y="606"/>
                      </a:lnTo>
                      <a:lnTo>
                        <a:pt x="421" y="625"/>
                      </a:lnTo>
                      <a:lnTo>
                        <a:pt x="372" y="637"/>
                      </a:lnTo>
                      <a:lnTo>
                        <a:pt x="320" y="642"/>
                      </a:lnTo>
                      <a:lnTo>
                        <a:pt x="269" y="637"/>
                      </a:lnTo>
                      <a:lnTo>
                        <a:pt x="220" y="625"/>
                      </a:lnTo>
                      <a:lnTo>
                        <a:pt x="173" y="606"/>
                      </a:lnTo>
                      <a:lnTo>
                        <a:pt x="131" y="580"/>
                      </a:lnTo>
                      <a:lnTo>
                        <a:pt x="94" y="547"/>
                      </a:lnTo>
                      <a:lnTo>
                        <a:pt x="61" y="511"/>
                      </a:lnTo>
                      <a:lnTo>
                        <a:pt x="35" y="468"/>
                      </a:lnTo>
                      <a:lnTo>
                        <a:pt x="16" y="422"/>
                      </a:lnTo>
                      <a:lnTo>
                        <a:pt x="4" y="373"/>
                      </a:lnTo>
                      <a:lnTo>
                        <a:pt x="0" y="321"/>
                      </a:lnTo>
                      <a:lnTo>
                        <a:pt x="4" y="269"/>
                      </a:lnTo>
                      <a:lnTo>
                        <a:pt x="16" y="220"/>
                      </a:lnTo>
                      <a:lnTo>
                        <a:pt x="35" y="174"/>
                      </a:lnTo>
                      <a:lnTo>
                        <a:pt x="61" y="131"/>
                      </a:lnTo>
                      <a:lnTo>
                        <a:pt x="94" y="95"/>
                      </a:lnTo>
                      <a:lnTo>
                        <a:pt x="131" y="62"/>
                      </a:lnTo>
                      <a:lnTo>
                        <a:pt x="173" y="36"/>
                      </a:lnTo>
                      <a:lnTo>
                        <a:pt x="220" y="17"/>
                      </a:lnTo>
                      <a:lnTo>
                        <a:pt x="269" y="5"/>
                      </a:lnTo>
                      <a:lnTo>
                        <a:pt x="32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7" name="Freeform 60"/>
                <p:cNvSpPr>
                  <a:spLocks/>
                </p:cNvSpPr>
                <p:nvPr/>
              </p:nvSpPr>
              <p:spPr bwMode="auto">
                <a:xfrm>
                  <a:off x="40" y="2705"/>
                  <a:ext cx="320" cy="320"/>
                </a:xfrm>
                <a:custGeom>
                  <a:avLst/>
                  <a:gdLst>
                    <a:gd name="T0" fmla="*/ 319 w 639"/>
                    <a:gd name="T1" fmla="*/ 0 h 642"/>
                    <a:gd name="T2" fmla="*/ 372 w 639"/>
                    <a:gd name="T3" fmla="*/ 5 h 642"/>
                    <a:gd name="T4" fmla="*/ 421 w 639"/>
                    <a:gd name="T5" fmla="*/ 17 h 642"/>
                    <a:gd name="T6" fmla="*/ 466 w 639"/>
                    <a:gd name="T7" fmla="*/ 36 h 642"/>
                    <a:gd name="T8" fmla="*/ 508 w 639"/>
                    <a:gd name="T9" fmla="*/ 62 h 642"/>
                    <a:gd name="T10" fmla="*/ 547 w 639"/>
                    <a:gd name="T11" fmla="*/ 95 h 642"/>
                    <a:gd name="T12" fmla="*/ 578 w 639"/>
                    <a:gd name="T13" fmla="*/ 131 h 642"/>
                    <a:gd name="T14" fmla="*/ 604 w 639"/>
                    <a:gd name="T15" fmla="*/ 174 h 642"/>
                    <a:gd name="T16" fmla="*/ 623 w 639"/>
                    <a:gd name="T17" fmla="*/ 220 h 642"/>
                    <a:gd name="T18" fmla="*/ 635 w 639"/>
                    <a:gd name="T19" fmla="*/ 269 h 642"/>
                    <a:gd name="T20" fmla="*/ 639 w 639"/>
                    <a:gd name="T21" fmla="*/ 321 h 642"/>
                    <a:gd name="T22" fmla="*/ 635 w 639"/>
                    <a:gd name="T23" fmla="*/ 373 h 642"/>
                    <a:gd name="T24" fmla="*/ 623 w 639"/>
                    <a:gd name="T25" fmla="*/ 422 h 642"/>
                    <a:gd name="T26" fmla="*/ 604 w 639"/>
                    <a:gd name="T27" fmla="*/ 468 h 642"/>
                    <a:gd name="T28" fmla="*/ 578 w 639"/>
                    <a:gd name="T29" fmla="*/ 511 h 642"/>
                    <a:gd name="T30" fmla="*/ 547 w 639"/>
                    <a:gd name="T31" fmla="*/ 547 h 642"/>
                    <a:gd name="T32" fmla="*/ 508 w 639"/>
                    <a:gd name="T33" fmla="*/ 580 h 642"/>
                    <a:gd name="T34" fmla="*/ 466 w 639"/>
                    <a:gd name="T35" fmla="*/ 606 h 642"/>
                    <a:gd name="T36" fmla="*/ 421 w 639"/>
                    <a:gd name="T37" fmla="*/ 625 h 642"/>
                    <a:gd name="T38" fmla="*/ 372 w 639"/>
                    <a:gd name="T39" fmla="*/ 637 h 642"/>
                    <a:gd name="T40" fmla="*/ 319 w 639"/>
                    <a:gd name="T41" fmla="*/ 642 h 642"/>
                    <a:gd name="T42" fmla="*/ 267 w 639"/>
                    <a:gd name="T43" fmla="*/ 637 h 642"/>
                    <a:gd name="T44" fmla="*/ 218 w 639"/>
                    <a:gd name="T45" fmla="*/ 625 h 642"/>
                    <a:gd name="T46" fmla="*/ 173 w 639"/>
                    <a:gd name="T47" fmla="*/ 606 h 642"/>
                    <a:gd name="T48" fmla="*/ 131 w 639"/>
                    <a:gd name="T49" fmla="*/ 580 h 642"/>
                    <a:gd name="T50" fmla="*/ 93 w 639"/>
                    <a:gd name="T51" fmla="*/ 547 h 642"/>
                    <a:gd name="T52" fmla="*/ 61 w 639"/>
                    <a:gd name="T53" fmla="*/ 511 h 642"/>
                    <a:gd name="T54" fmla="*/ 35 w 639"/>
                    <a:gd name="T55" fmla="*/ 468 h 642"/>
                    <a:gd name="T56" fmla="*/ 16 w 639"/>
                    <a:gd name="T57" fmla="*/ 422 h 642"/>
                    <a:gd name="T58" fmla="*/ 4 w 639"/>
                    <a:gd name="T59" fmla="*/ 373 h 642"/>
                    <a:gd name="T60" fmla="*/ 0 w 639"/>
                    <a:gd name="T61" fmla="*/ 321 h 642"/>
                    <a:gd name="T62" fmla="*/ 4 w 639"/>
                    <a:gd name="T63" fmla="*/ 269 h 642"/>
                    <a:gd name="T64" fmla="*/ 16 w 639"/>
                    <a:gd name="T65" fmla="*/ 220 h 642"/>
                    <a:gd name="T66" fmla="*/ 35 w 639"/>
                    <a:gd name="T67" fmla="*/ 174 h 642"/>
                    <a:gd name="T68" fmla="*/ 61 w 639"/>
                    <a:gd name="T69" fmla="*/ 131 h 642"/>
                    <a:gd name="T70" fmla="*/ 93 w 639"/>
                    <a:gd name="T71" fmla="*/ 95 h 642"/>
                    <a:gd name="T72" fmla="*/ 131 w 639"/>
                    <a:gd name="T73" fmla="*/ 62 h 642"/>
                    <a:gd name="T74" fmla="*/ 173 w 639"/>
                    <a:gd name="T75" fmla="*/ 36 h 642"/>
                    <a:gd name="T76" fmla="*/ 218 w 639"/>
                    <a:gd name="T77" fmla="*/ 17 h 642"/>
                    <a:gd name="T78" fmla="*/ 267 w 639"/>
                    <a:gd name="T79" fmla="*/ 5 h 642"/>
                    <a:gd name="T80" fmla="*/ 319 w 639"/>
                    <a:gd name="T81" fmla="*/ 0 h 6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39" h="642">
                      <a:moveTo>
                        <a:pt x="319" y="0"/>
                      </a:moveTo>
                      <a:lnTo>
                        <a:pt x="372" y="5"/>
                      </a:lnTo>
                      <a:lnTo>
                        <a:pt x="421" y="17"/>
                      </a:lnTo>
                      <a:lnTo>
                        <a:pt x="466" y="36"/>
                      </a:lnTo>
                      <a:lnTo>
                        <a:pt x="508" y="62"/>
                      </a:lnTo>
                      <a:lnTo>
                        <a:pt x="547" y="95"/>
                      </a:lnTo>
                      <a:lnTo>
                        <a:pt x="578" y="131"/>
                      </a:lnTo>
                      <a:lnTo>
                        <a:pt x="604" y="174"/>
                      </a:lnTo>
                      <a:lnTo>
                        <a:pt x="623" y="220"/>
                      </a:lnTo>
                      <a:lnTo>
                        <a:pt x="635" y="269"/>
                      </a:lnTo>
                      <a:lnTo>
                        <a:pt x="639" y="321"/>
                      </a:lnTo>
                      <a:lnTo>
                        <a:pt x="635" y="373"/>
                      </a:lnTo>
                      <a:lnTo>
                        <a:pt x="623" y="422"/>
                      </a:lnTo>
                      <a:lnTo>
                        <a:pt x="604" y="468"/>
                      </a:lnTo>
                      <a:lnTo>
                        <a:pt x="578" y="511"/>
                      </a:lnTo>
                      <a:lnTo>
                        <a:pt x="547" y="547"/>
                      </a:lnTo>
                      <a:lnTo>
                        <a:pt x="508" y="580"/>
                      </a:lnTo>
                      <a:lnTo>
                        <a:pt x="466" y="606"/>
                      </a:lnTo>
                      <a:lnTo>
                        <a:pt x="421" y="625"/>
                      </a:lnTo>
                      <a:lnTo>
                        <a:pt x="372" y="637"/>
                      </a:lnTo>
                      <a:lnTo>
                        <a:pt x="319" y="642"/>
                      </a:lnTo>
                      <a:lnTo>
                        <a:pt x="267" y="637"/>
                      </a:lnTo>
                      <a:lnTo>
                        <a:pt x="218" y="625"/>
                      </a:lnTo>
                      <a:lnTo>
                        <a:pt x="173" y="606"/>
                      </a:lnTo>
                      <a:lnTo>
                        <a:pt x="131" y="580"/>
                      </a:lnTo>
                      <a:lnTo>
                        <a:pt x="93" y="547"/>
                      </a:lnTo>
                      <a:lnTo>
                        <a:pt x="61" y="511"/>
                      </a:lnTo>
                      <a:lnTo>
                        <a:pt x="35" y="468"/>
                      </a:lnTo>
                      <a:lnTo>
                        <a:pt x="16" y="422"/>
                      </a:lnTo>
                      <a:lnTo>
                        <a:pt x="4" y="373"/>
                      </a:lnTo>
                      <a:lnTo>
                        <a:pt x="0" y="321"/>
                      </a:lnTo>
                      <a:lnTo>
                        <a:pt x="4" y="269"/>
                      </a:lnTo>
                      <a:lnTo>
                        <a:pt x="16" y="220"/>
                      </a:lnTo>
                      <a:lnTo>
                        <a:pt x="35" y="174"/>
                      </a:lnTo>
                      <a:lnTo>
                        <a:pt x="61" y="131"/>
                      </a:lnTo>
                      <a:lnTo>
                        <a:pt x="93" y="95"/>
                      </a:lnTo>
                      <a:lnTo>
                        <a:pt x="131" y="62"/>
                      </a:lnTo>
                      <a:lnTo>
                        <a:pt x="173" y="36"/>
                      </a:lnTo>
                      <a:lnTo>
                        <a:pt x="218" y="17"/>
                      </a:lnTo>
                      <a:lnTo>
                        <a:pt x="267" y="5"/>
                      </a:lnTo>
                      <a:lnTo>
                        <a:pt x="319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38" name="Group 63"/>
              <p:cNvGrpSpPr>
                <a:grpSpLocks noChangeAspect="1"/>
              </p:cNvGrpSpPr>
              <p:nvPr/>
            </p:nvGrpSpPr>
            <p:grpSpPr bwMode="auto">
              <a:xfrm>
                <a:off x="2452339" y="4375322"/>
                <a:ext cx="1006718" cy="1294187"/>
                <a:chOff x="-1697" y="2004"/>
                <a:chExt cx="1744" cy="2242"/>
              </a:xfrm>
              <a:solidFill>
                <a:schemeClr val="bg1"/>
              </a:solidFill>
            </p:grpSpPr>
            <p:sp>
              <p:nvSpPr>
                <p:cNvPr id="39" name="Freeform 65"/>
                <p:cNvSpPr>
                  <a:spLocks/>
                </p:cNvSpPr>
                <p:nvPr/>
              </p:nvSpPr>
              <p:spPr bwMode="auto">
                <a:xfrm>
                  <a:off x="-1093" y="2708"/>
                  <a:ext cx="51" cy="141"/>
                </a:xfrm>
                <a:custGeom>
                  <a:avLst/>
                  <a:gdLst>
                    <a:gd name="T0" fmla="*/ 0 w 104"/>
                    <a:gd name="T1" fmla="*/ 0 h 284"/>
                    <a:gd name="T2" fmla="*/ 104 w 104"/>
                    <a:gd name="T3" fmla="*/ 0 h 284"/>
                    <a:gd name="T4" fmla="*/ 104 w 104"/>
                    <a:gd name="T5" fmla="*/ 284 h 284"/>
                    <a:gd name="T6" fmla="*/ 55 w 104"/>
                    <a:gd name="T7" fmla="*/ 284 h 284"/>
                    <a:gd name="T8" fmla="*/ 55 w 104"/>
                    <a:gd name="T9" fmla="*/ 43 h 284"/>
                    <a:gd name="T10" fmla="*/ 0 w 104"/>
                    <a:gd name="T11" fmla="*/ 43 h 284"/>
                    <a:gd name="T12" fmla="*/ 0 w 104"/>
                    <a:gd name="T13" fmla="*/ 0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4" h="284">
                      <a:moveTo>
                        <a:pt x="0" y="0"/>
                      </a:moveTo>
                      <a:lnTo>
                        <a:pt x="104" y="0"/>
                      </a:lnTo>
                      <a:lnTo>
                        <a:pt x="104" y="284"/>
                      </a:lnTo>
                      <a:lnTo>
                        <a:pt x="55" y="284"/>
                      </a:lnTo>
                      <a:lnTo>
                        <a:pt x="55" y="43"/>
                      </a:lnTo>
                      <a:lnTo>
                        <a:pt x="0" y="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0" name="Freeform 66"/>
                <p:cNvSpPr>
                  <a:spLocks noEditPoints="1"/>
                </p:cNvSpPr>
                <p:nvPr/>
              </p:nvSpPr>
              <p:spPr bwMode="auto">
                <a:xfrm>
                  <a:off x="-1220" y="2707"/>
                  <a:ext cx="120" cy="143"/>
                </a:xfrm>
                <a:custGeom>
                  <a:avLst/>
                  <a:gdLst>
                    <a:gd name="T0" fmla="*/ 122 w 242"/>
                    <a:gd name="T1" fmla="*/ 38 h 286"/>
                    <a:gd name="T2" fmla="*/ 100 w 242"/>
                    <a:gd name="T3" fmla="*/ 41 h 286"/>
                    <a:gd name="T4" fmla="*/ 81 w 242"/>
                    <a:gd name="T5" fmla="*/ 49 h 286"/>
                    <a:gd name="T6" fmla="*/ 67 w 242"/>
                    <a:gd name="T7" fmla="*/ 63 h 286"/>
                    <a:gd name="T8" fmla="*/ 58 w 242"/>
                    <a:gd name="T9" fmla="*/ 83 h 286"/>
                    <a:gd name="T10" fmla="*/ 51 w 242"/>
                    <a:gd name="T11" fmla="*/ 110 h 286"/>
                    <a:gd name="T12" fmla="*/ 50 w 242"/>
                    <a:gd name="T13" fmla="*/ 143 h 286"/>
                    <a:gd name="T14" fmla="*/ 51 w 242"/>
                    <a:gd name="T15" fmla="*/ 176 h 286"/>
                    <a:gd name="T16" fmla="*/ 58 w 242"/>
                    <a:gd name="T17" fmla="*/ 202 h 286"/>
                    <a:gd name="T18" fmla="*/ 67 w 242"/>
                    <a:gd name="T19" fmla="*/ 222 h 286"/>
                    <a:gd name="T20" fmla="*/ 81 w 242"/>
                    <a:gd name="T21" fmla="*/ 237 h 286"/>
                    <a:gd name="T22" fmla="*/ 100 w 242"/>
                    <a:gd name="T23" fmla="*/ 245 h 286"/>
                    <a:gd name="T24" fmla="*/ 122 w 242"/>
                    <a:gd name="T25" fmla="*/ 248 h 286"/>
                    <a:gd name="T26" fmla="*/ 144 w 242"/>
                    <a:gd name="T27" fmla="*/ 245 h 286"/>
                    <a:gd name="T28" fmla="*/ 161 w 242"/>
                    <a:gd name="T29" fmla="*/ 237 h 286"/>
                    <a:gd name="T30" fmla="*/ 175 w 242"/>
                    <a:gd name="T31" fmla="*/ 222 h 286"/>
                    <a:gd name="T32" fmla="*/ 185 w 242"/>
                    <a:gd name="T33" fmla="*/ 202 h 286"/>
                    <a:gd name="T34" fmla="*/ 191 w 242"/>
                    <a:gd name="T35" fmla="*/ 176 h 286"/>
                    <a:gd name="T36" fmla="*/ 193 w 242"/>
                    <a:gd name="T37" fmla="*/ 143 h 286"/>
                    <a:gd name="T38" fmla="*/ 191 w 242"/>
                    <a:gd name="T39" fmla="*/ 110 h 286"/>
                    <a:gd name="T40" fmla="*/ 185 w 242"/>
                    <a:gd name="T41" fmla="*/ 83 h 286"/>
                    <a:gd name="T42" fmla="*/ 175 w 242"/>
                    <a:gd name="T43" fmla="*/ 63 h 286"/>
                    <a:gd name="T44" fmla="*/ 161 w 242"/>
                    <a:gd name="T45" fmla="*/ 49 h 286"/>
                    <a:gd name="T46" fmla="*/ 144 w 242"/>
                    <a:gd name="T47" fmla="*/ 41 h 286"/>
                    <a:gd name="T48" fmla="*/ 122 w 242"/>
                    <a:gd name="T49" fmla="*/ 38 h 286"/>
                    <a:gd name="T50" fmla="*/ 122 w 242"/>
                    <a:gd name="T51" fmla="*/ 0 h 286"/>
                    <a:gd name="T52" fmla="*/ 152 w 242"/>
                    <a:gd name="T53" fmla="*/ 3 h 286"/>
                    <a:gd name="T54" fmla="*/ 179 w 242"/>
                    <a:gd name="T55" fmla="*/ 12 h 286"/>
                    <a:gd name="T56" fmla="*/ 201 w 242"/>
                    <a:gd name="T57" fmla="*/ 27 h 286"/>
                    <a:gd name="T58" fmla="*/ 219 w 242"/>
                    <a:gd name="T59" fmla="*/ 48 h 286"/>
                    <a:gd name="T60" fmla="*/ 231 w 242"/>
                    <a:gd name="T61" fmla="*/ 75 h 286"/>
                    <a:gd name="T62" fmla="*/ 239 w 242"/>
                    <a:gd name="T63" fmla="*/ 106 h 286"/>
                    <a:gd name="T64" fmla="*/ 242 w 242"/>
                    <a:gd name="T65" fmla="*/ 143 h 286"/>
                    <a:gd name="T66" fmla="*/ 239 w 242"/>
                    <a:gd name="T67" fmla="*/ 180 h 286"/>
                    <a:gd name="T68" fmla="*/ 231 w 242"/>
                    <a:gd name="T69" fmla="*/ 211 h 286"/>
                    <a:gd name="T70" fmla="*/ 219 w 242"/>
                    <a:gd name="T71" fmla="*/ 239 h 286"/>
                    <a:gd name="T72" fmla="*/ 201 w 242"/>
                    <a:gd name="T73" fmla="*/ 259 h 286"/>
                    <a:gd name="T74" fmla="*/ 179 w 242"/>
                    <a:gd name="T75" fmla="*/ 274 h 286"/>
                    <a:gd name="T76" fmla="*/ 152 w 242"/>
                    <a:gd name="T77" fmla="*/ 284 h 286"/>
                    <a:gd name="T78" fmla="*/ 122 w 242"/>
                    <a:gd name="T79" fmla="*/ 286 h 286"/>
                    <a:gd name="T80" fmla="*/ 91 w 242"/>
                    <a:gd name="T81" fmla="*/ 284 h 286"/>
                    <a:gd name="T82" fmla="*/ 63 w 242"/>
                    <a:gd name="T83" fmla="*/ 274 h 286"/>
                    <a:gd name="T84" fmla="*/ 41 w 242"/>
                    <a:gd name="T85" fmla="*/ 259 h 286"/>
                    <a:gd name="T86" fmla="*/ 24 w 242"/>
                    <a:gd name="T87" fmla="*/ 239 h 286"/>
                    <a:gd name="T88" fmla="*/ 11 w 242"/>
                    <a:gd name="T89" fmla="*/ 211 h 286"/>
                    <a:gd name="T90" fmla="*/ 3 w 242"/>
                    <a:gd name="T91" fmla="*/ 180 h 286"/>
                    <a:gd name="T92" fmla="*/ 0 w 242"/>
                    <a:gd name="T93" fmla="*/ 143 h 286"/>
                    <a:gd name="T94" fmla="*/ 3 w 242"/>
                    <a:gd name="T95" fmla="*/ 106 h 286"/>
                    <a:gd name="T96" fmla="*/ 11 w 242"/>
                    <a:gd name="T97" fmla="*/ 75 h 286"/>
                    <a:gd name="T98" fmla="*/ 24 w 242"/>
                    <a:gd name="T99" fmla="*/ 48 h 286"/>
                    <a:gd name="T100" fmla="*/ 41 w 242"/>
                    <a:gd name="T101" fmla="*/ 27 h 286"/>
                    <a:gd name="T102" fmla="*/ 63 w 242"/>
                    <a:gd name="T103" fmla="*/ 12 h 286"/>
                    <a:gd name="T104" fmla="*/ 91 w 242"/>
                    <a:gd name="T105" fmla="*/ 3 h 286"/>
                    <a:gd name="T106" fmla="*/ 122 w 242"/>
                    <a:gd name="T107" fmla="*/ 0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2" h="286">
                      <a:moveTo>
                        <a:pt x="122" y="38"/>
                      </a:moveTo>
                      <a:lnTo>
                        <a:pt x="100" y="41"/>
                      </a:lnTo>
                      <a:lnTo>
                        <a:pt x="81" y="49"/>
                      </a:lnTo>
                      <a:lnTo>
                        <a:pt x="67" y="63"/>
                      </a:lnTo>
                      <a:lnTo>
                        <a:pt x="58" y="83"/>
                      </a:lnTo>
                      <a:lnTo>
                        <a:pt x="51" y="110"/>
                      </a:lnTo>
                      <a:lnTo>
                        <a:pt x="50" y="143"/>
                      </a:lnTo>
                      <a:lnTo>
                        <a:pt x="51" y="176"/>
                      </a:lnTo>
                      <a:lnTo>
                        <a:pt x="58" y="202"/>
                      </a:lnTo>
                      <a:lnTo>
                        <a:pt x="67" y="222"/>
                      </a:lnTo>
                      <a:lnTo>
                        <a:pt x="81" y="237"/>
                      </a:lnTo>
                      <a:lnTo>
                        <a:pt x="100" y="245"/>
                      </a:lnTo>
                      <a:lnTo>
                        <a:pt x="122" y="248"/>
                      </a:lnTo>
                      <a:lnTo>
                        <a:pt x="144" y="245"/>
                      </a:lnTo>
                      <a:lnTo>
                        <a:pt x="161" y="237"/>
                      </a:lnTo>
                      <a:lnTo>
                        <a:pt x="175" y="222"/>
                      </a:lnTo>
                      <a:lnTo>
                        <a:pt x="185" y="202"/>
                      </a:lnTo>
                      <a:lnTo>
                        <a:pt x="191" y="176"/>
                      </a:lnTo>
                      <a:lnTo>
                        <a:pt x="193" y="143"/>
                      </a:lnTo>
                      <a:lnTo>
                        <a:pt x="191" y="110"/>
                      </a:lnTo>
                      <a:lnTo>
                        <a:pt x="185" y="83"/>
                      </a:lnTo>
                      <a:lnTo>
                        <a:pt x="175" y="63"/>
                      </a:lnTo>
                      <a:lnTo>
                        <a:pt x="161" y="49"/>
                      </a:lnTo>
                      <a:lnTo>
                        <a:pt x="144" y="41"/>
                      </a:lnTo>
                      <a:lnTo>
                        <a:pt x="122" y="38"/>
                      </a:lnTo>
                      <a:close/>
                      <a:moveTo>
                        <a:pt x="122" y="0"/>
                      </a:moveTo>
                      <a:lnTo>
                        <a:pt x="152" y="3"/>
                      </a:lnTo>
                      <a:lnTo>
                        <a:pt x="179" y="12"/>
                      </a:lnTo>
                      <a:lnTo>
                        <a:pt x="201" y="27"/>
                      </a:lnTo>
                      <a:lnTo>
                        <a:pt x="219" y="48"/>
                      </a:lnTo>
                      <a:lnTo>
                        <a:pt x="231" y="75"/>
                      </a:lnTo>
                      <a:lnTo>
                        <a:pt x="239" y="106"/>
                      </a:lnTo>
                      <a:lnTo>
                        <a:pt x="242" y="143"/>
                      </a:lnTo>
                      <a:lnTo>
                        <a:pt x="239" y="180"/>
                      </a:lnTo>
                      <a:lnTo>
                        <a:pt x="231" y="211"/>
                      </a:lnTo>
                      <a:lnTo>
                        <a:pt x="219" y="239"/>
                      </a:lnTo>
                      <a:lnTo>
                        <a:pt x="201" y="259"/>
                      </a:lnTo>
                      <a:lnTo>
                        <a:pt x="179" y="274"/>
                      </a:lnTo>
                      <a:lnTo>
                        <a:pt x="152" y="284"/>
                      </a:lnTo>
                      <a:lnTo>
                        <a:pt x="122" y="286"/>
                      </a:lnTo>
                      <a:lnTo>
                        <a:pt x="91" y="284"/>
                      </a:lnTo>
                      <a:lnTo>
                        <a:pt x="63" y="274"/>
                      </a:lnTo>
                      <a:lnTo>
                        <a:pt x="41" y="259"/>
                      </a:lnTo>
                      <a:lnTo>
                        <a:pt x="24" y="239"/>
                      </a:lnTo>
                      <a:lnTo>
                        <a:pt x="11" y="211"/>
                      </a:lnTo>
                      <a:lnTo>
                        <a:pt x="3" y="180"/>
                      </a:lnTo>
                      <a:lnTo>
                        <a:pt x="0" y="143"/>
                      </a:lnTo>
                      <a:lnTo>
                        <a:pt x="3" y="106"/>
                      </a:lnTo>
                      <a:lnTo>
                        <a:pt x="11" y="75"/>
                      </a:lnTo>
                      <a:lnTo>
                        <a:pt x="24" y="48"/>
                      </a:lnTo>
                      <a:lnTo>
                        <a:pt x="41" y="27"/>
                      </a:lnTo>
                      <a:lnTo>
                        <a:pt x="63" y="12"/>
                      </a:lnTo>
                      <a:lnTo>
                        <a:pt x="91" y="3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1" name="Freeform 67"/>
                <p:cNvSpPr>
                  <a:spLocks/>
                </p:cNvSpPr>
                <p:nvPr/>
              </p:nvSpPr>
              <p:spPr bwMode="auto">
                <a:xfrm>
                  <a:off x="-887" y="2273"/>
                  <a:ext cx="51" cy="142"/>
                </a:xfrm>
                <a:custGeom>
                  <a:avLst/>
                  <a:gdLst>
                    <a:gd name="T0" fmla="*/ 0 w 102"/>
                    <a:gd name="T1" fmla="*/ 0 h 285"/>
                    <a:gd name="T2" fmla="*/ 102 w 102"/>
                    <a:gd name="T3" fmla="*/ 0 h 285"/>
                    <a:gd name="T4" fmla="*/ 102 w 102"/>
                    <a:gd name="T5" fmla="*/ 285 h 285"/>
                    <a:gd name="T6" fmla="*/ 55 w 102"/>
                    <a:gd name="T7" fmla="*/ 285 h 285"/>
                    <a:gd name="T8" fmla="*/ 55 w 102"/>
                    <a:gd name="T9" fmla="*/ 44 h 285"/>
                    <a:gd name="T10" fmla="*/ 0 w 102"/>
                    <a:gd name="T11" fmla="*/ 44 h 285"/>
                    <a:gd name="T12" fmla="*/ 0 w 102"/>
                    <a:gd name="T13" fmla="*/ 0 h 2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2" h="285">
                      <a:moveTo>
                        <a:pt x="0" y="0"/>
                      </a:moveTo>
                      <a:lnTo>
                        <a:pt x="102" y="0"/>
                      </a:lnTo>
                      <a:lnTo>
                        <a:pt x="102" y="285"/>
                      </a:lnTo>
                      <a:lnTo>
                        <a:pt x="55" y="285"/>
                      </a:lnTo>
                      <a:lnTo>
                        <a:pt x="55" y="44"/>
                      </a:lnTo>
                      <a:lnTo>
                        <a:pt x="0" y="4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" name="Freeform 68"/>
                <p:cNvSpPr>
                  <a:spLocks/>
                </p:cNvSpPr>
                <p:nvPr/>
              </p:nvSpPr>
              <p:spPr bwMode="auto">
                <a:xfrm>
                  <a:off x="-548" y="2490"/>
                  <a:ext cx="51" cy="142"/>
                </a:xfrm>
                <a:custGeom>
                  <a:avLst/>
                  <a:gdLst>
                    <a:gd name="T0" fmla="*/ 0 w 104"/>
                    <a:gd name="T1" fmla="*/ 0 h 284"/>
                    <a:gd name="T2" fmla="*/ 104 w 104"/>
                    <a:gd name="T3" fmla="*/ 0 h 284"/>
                    <a:gd name="T4" fmla="*/ 104 w 104"/>
                    <a:gd name="T5" fmla="*/ 284 h 284"/>
                    <a:gd name="T6" fmla="*/ 56 w 104"/>
                    <a:gd name="T7" fmla="*/ 284 h 284"/>
                    <a:gd name="T8" fmla="*/ 56 w 104"/>
                    <a:gd name="T9" fmla="*/ 43 h 284"/>
                    <a:gd name="T10" fmla="*/ 0 w 104"/>
                    <a:gd name="T11" fmla="*/ 43 h 284"/>
                    <a:gd name="T12" fmla="*/ 0 w 104"/>
                    <a:gd name="T13" fmla="*/ 0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4" h="284">
                      <a:moveTo>
                        <a:pt x="0" y="0"/>
                      </a:moveTo>
                      <a:lnTo>
                        <a:pt x="104" y="0"/>
                      </a:lnTo>
                      <a:lnTo>
                        <a:pt x="104" y="284"/>
                      </a:lnTo>
                      <a:lnTo>
                        <a:pt x="56" y="284"/>
                      </a:lnTo>
                      <a:lnTo>
                        <a:pt x="56" y="43"/>
                      </a:lnTo>
                      <a:lnTo>
                        <a:pt x="0" y="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" name="Freeform 69"/>
                <p:cNvSpPr>
                  <a:spLocks noEditPoints="1"/>
                </p:cNvSpPr>
                <p:nvPr/>
              </p:nvSpPr>
              <p:spPr bwMode="auto">
                <a:xfrm>
                  <a:off x="-808" y="2272"/>
                  <a:ext cx="120" cy="144"/>
                </a:xfrm>
                <a:custGeom>
                  <a:avLst/>
                  <a:gdLst>
                    <a:gd name="T0" fmla="*/ 120 w 242"/>
                    <a:gd name="T1" fmla="*/ 38 h 288"/>
                    <a:gd name="T2" fmla="*/ 99 w 242"/>
                    <a:gd name="T3" fmla="*/ 41 h 288"/>
                    <a:gd name="T4" fmla="*/ 81 w 242"/>
                    <a:gd name="T5" fmla="*/ 49 h 288"/>
                    <a:gd name="T6" fmla="*/ 67 w 242"/>
                    <a:gd name="T7" fmla="*/ 64 h 288"/>
                    <a:gd name="T8" fmla="*/ 56 w 242"/>
                    <a:gd name="T9" fmla="*/ 84 h 288"/>
                    <a:gd name="T10" fmla="*/ 51 w 242"/>
                    <a:gd name="T11" fmla="*/ 110 h 288"/>
                    <a:gd name="T12" fmla="*/ 49 w 242"/>
                    <a:gd name="T13" fmla="*/ 144 h 288"/>
                    <a:gd name="T14" fmla="*/ 51 w 242"/>
                    <a:gd name="T15" fmla="*/ 177 h 288"/>
                    <a:gd name="T16" fmla="*/ 56 w 242"/>
                    <a:gd name="T17" fmla="*/ 203 h 288"/>
                    <a:gd name="T18" fmla="*/ 67 w 242"/>
                    <a:gd name="T19" fmla="*/ 224 h 288"/>
                    <a:gd name="T20" fmla="*/ 81 w 242"/>
                    <a:gd name="T21" fmla="*/ 239 h 288"/>
                    <a:gd name="T22" fmla="*/ 99 w 242"/>
                    <a:gd name="T23" fmla="*/ 247 h 288"/>
                    <a:gd name="T24" fmla="*/ 120 w 242"/>
                    <a:gd name="T25" fmla="*/ 249 h 288"/>
                    <a:gd name="T26" fmla="*/ 142 w 242"/>
                    <a:gd name="T27" fmla="*/ 247 h 288"/>
                    <a:gd name="T28" fmla="*/ 160 w 242"/>
                    <a:gd name="T29" fmla="*/ 239 h 288"/>
                    <a:gd name="T30" fmla="*/ 174 w 242"/>
                    <a:gd name="T31" fmla="*/ 224 h 288"/>
                    <a:gd name="T32" fmla="*/ 185 w 242"/>
                    <a:gd name="T33" fmla="*/ 203 h 288"/>
                    <a:gd name="T34" fmla="*/ 190 w 242"/>
                    <a:gd name="T35" fmla="*/ 177 h 288"/>
                    <a:gd name="T36" fmla="*/ 193 w 242"/>
                    <a:gd name="T37" fmla="*/ 144 h 288"/>
                    <a:gd name="T38" fmla="*/ 190 w 242"/>
                    <a:gd name="T39" fmla="*/ 110 h 288"/>
                    <a:gd name="T40" fmla="*/ 185 w 242"/>
                    <a:gd name="T41" fmla="*/ 84 h 288"/>
                    <a:gd name="T42" fmla="*/ 174 w 242"/>
                    <a:gd name="T43" fmla="*/ 64 h 288"/>
                    <a:gd name="T44" fmla="*/ 160 w 242"/>
                    <a:gd name="T45" fmla="*/ 49 h 288"/>
                    <a:gd name="T46" fmla="*/ 142 w 242"/>
                    <a:gd name="T47" fmla="*/ 41 h 288"/>
                    <a:gd name="T48" fmla="*/ 120 w 242"/>
                    <a:gd name="T49" fmla="*/ 38 h 288"/>
                    <a:gd name="T50" fmla="*/ 120 w 242"/>
                    <a:gd name="T51" fmla="*/ 0 h 288"/>
                    <a:gd name="T52" fmla="*/ 152 w 242"/>
                    <a:gd name="T53" fmla="*/ 4 h 288"/>
                    <a:gd name="T54" fmla="*/ 179 w 242"/>
                    <a:gd name="T55" fmla="*/ 12 h 288"/>
                    <a:gd name="T56" fmla="*/ 201 w 242"/>
                    <a:gd name="T57" fmla="*/ 29 h 288"/>
                    <a:gd name="T58" fmla="*/ 219 w 242"/>
                    <a:gd name="T59" fmla="*/ 49 h 288"/>
                    <a:gd name="T60" fmla="*/ 231 w 242"/>
                    <a:gd name="T61" fmla="*/ 75 h 288"/>
                    <a:gd name="T62" fmla="*/ 239 w 242"/>
                    <a:gd name="T63" fmla="*/ 106 h 288"/>
                    <a:gd name="T64" fmla="*/ 242 w 242"/>
                    <a:gd name="T65" fmla="*/ 144 h 288"/>
                    <a:gd name="T66" fmla="*/ 239 w 242"/>
                    <a:gd name="T67" fmla="*/ 181 h 288"/>
                    <a:gd name="T68" fmla="*/ 231 w 242"/>
                    <a:gd name="T69" fmla="*/ 213 h 288"/>
                    <a:gd name="T70" fmla="*/ 219 w 242"/>
                    <a:gd name="T71" fmla="*/ 239 h 288"/>
                    <a:gd name="T72" fmla="*/ 201 w 242"/>
                    <a:gd name="T73" fmla="*/ 260 h 288"/>
                    <a:gd name="T74" fmla="*/ 179 w 242"/>
                    <a:gd name="T75" fmla="*/ 275 h 288"/>
                    <a:gd name="T76" fmla="*/ 152 w 242"/>
                    <a:gd name="T77" fmla="*/ 284 h 288"/>
                    <a:gd name="T78" fmla="*/ 120 w 242"/>
                    <a:gd name="T79" fmla="*/ 288 h 288"/>
                    <a:gd name="T80" fmla="*/ 89 w 242"/>
                    <a:gd name="T81" fmla="*/ 284 h 288"/>
                    <a:gd name="T82" fmla="*/ 63 w 242"/>
                    <a:gd name="T83" fmla="*/ 275 h 288"/>
                    <a:gd name="T84" fmla="*/ 40 w 242"/>
                    <a:gd name="T85" fmla="*/ 260 h 288"/>
                    <a:gd name="T86" fmla="*/ 22 w 242"/>
                    <a:gd name="T87" fmla="*/ 239 h 288"/>
                    <a:gd name="T88" fmla="*/ 10 w 242"/>
                    <a:gd name="T89" fmla="*/ 213 h 288"/>
                    <a:gd name="T90" fmla="*/ 2 w 242"/>
                    <a:gd name="T91" fmla="*/ 181 h 288"/>
                    <a:gd name="T92" fmla="*/ 0 w 242"/>
                    <a:gd name="T93" fmla="*/ 144 h 288"/>
                    <a:gd name="T94" fmla="*/ 2 w 242"/>
                    <a:gd name="T95" fmla="*/ 106 h 288"/>
                    <a:gd name="T96" fmla="*/ 10 w 242"/>
                    <a:gd name="T97" fmla="*/ 75 h 288"/>
                    <a:gd name="T98" fmla="*/ 22 w 242"/>
                    <a:gd name="T99" fmla="*/ 49 h 288"/>
                    <a:gd name="T100" fmla="*/ 40 w 242"/>
                    <a:gd name="T101" fmla="*/ 29 h 288"/>
                    <a:gd name="T102" fmla="*/ 63 w 242"/>
                    <a:gd name="T103" fmla="*/ 12 h 288"/>
                    <a:gd name="T104" fmla="*/ 89 w 242"/>
                    <a:gd name="T105" fmla="*/ 4 h 288"/>
                    <a:gd name="T106" fmla="*/ 120 w 242"/>
                    <a:gd name="T107" fmla="*/ 0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2" h="288">
                      <a:moveTo>
                        <a:pt x="120" y="38"/>
                      </a:moveTo>
                      <a:lnTo>
                        <a:pt x="99" y="41"/>
                      </a:lnTo>
                      <a:lnTo>
                        <a:pt x="81" y="49"/>
                      </a:lnTo>
                      <a:lnTo>
                        <a:pt x="67" y="64"/>
                      </a:lnTo>
                      <a:lnTo>
                        <a:pt x="56" y="84"/>
                      </a:lnTo>
                      <a:lnTo>
                        <a:pt x="51" y="110"/>
                      </a:lnTo>
                      <a:lnTo>
                        <a:pt x="49" y="144"/>
                      </a:lnTo>
                      <a:lnTo>
                        <a:pt x="51" y="177"/>
                      </a:lnTo>
                      <a:lnTo>
                        <a:pt x="56" y="203"/>
                      </a:lnTo>
                      <a:lnTo>
                        <a:pt x="67" y="224"/>
                      </a:lnTo>
                      <a:lnTo>
                        <a:pt x="81" y="239"/>
                      </a:lnTo>
                      <a:lnTo>
                        <a:pt x="99" y="247"/>
                      </a:lnTo>
                      <a:lnTo>
                        <a:pt x="120" y="249"/>
                      </a:lnTo>
                      <a:lnTo>
                        <a:pt x="142" y="247"/>
                      </a:lnTo>
                      <a:lnTo>
                        <a:pt x="160" y="239"/>
                      </a:lnTo>
                      <a:lnTo>
                        <a:pt x="174" y="224"/>
                      </a:lnTo>
                      <a:lnTo>
                        <a:pt x="185" y="203"/>
                      </a:lnTo>
                      <a:lnTo>
                        <a:pt x="190" y="177"/>
                      </a:lnTo>
                      <a:lnTo>
                        <a:pt x="193" y="144"/>
                      </a:lnTo>
                      <a:lnTo>
                        <a:pt x="190" y="110"/>
                      </a:lnTo>
                      <a:lnTo>
                        <a:pt x="185" y="84"/>
                      </a:lnTo>
                      <a:lnTo>
                        <a:pt x="174" y="64"/>
                      </a:lnTo>
                      <a:lnTo>
                        <a:pt x="160" y="49"/>
                      </a:lnTo>
                      <a:lnTo>
                        <a:pt x="142" y="41"/>
                      </a:lnTo>
                      <a:lnTo>
                        <a:pt x="120" y="38"/>
                      </a:lnTo>
                      <a:close/>
                      <a:moveTo>
                        <a:pt x="120" y="0"/>
                      </a:moveTo>
                      <a:lnTo>
                        <a:pt x="152" y="4"/>
                      </a:lnTo>
                      <a:lnTo>
                        <a:pt x="179" y="12"/>
                      </a:lnTo>
                      <a:lnTo>
                        <a:pt x="201" y="29"/>
                      </a:lnTo>
                      <a:lnTo>
                        <a:pt x="219" y="49"/>
                      </a:lnTo>
                      <a:lnTo>
                        <a:pt x="231" y="75"/>
                      </a:lnTo>
                      <a:lnTo>
                        <a:pt x="239" y="106"/>
                      </a:lnTo>
                      <a:lnTo>
                        <a:pt x="242" y="144"/>
                      </a:lnTo>
                      <a:lnTo>
                        <a:pt x="239" y="181"/>
                      </a:lnTo>
                      <a:lnTo>
                        <a:pt x="231" y="213"/>
                      </a:lnTo>
                      <a:lnTo>
                        <a:pt x="219" y="239"/>
                      </a:lnTo>
                      <a:lnTo>
                        <a:pt x="201" y="260"/>
                      </a:lnTo>
                      <a:lnTo>
                        <a:pt x="179" y="275"/>
                      </a:lnTo>
                      <a:lnTo>
                        <a:pt x="152" y="284"/>
                      </a:lnTo>
                      <a:lnTo>
                        <a:pt x="120" y="288"/>
                      </a:lnTo>
                      <a:lnTo>
                        <a:pt x="89" y="284"/>
                      </a:lnTo>
                      <a:lnTo>
                        <a:pt x="63" y="275"/>
                      </a:lnTo>
                      <a:lnTo>
                        <a:pt x="40" y="260"/>
                      </a:lnTo>
                      <a:lnTo>
                        <a:pt x="22" y="239"/>
                      </a:lnTo>
                      <a:lnTo>
                        <a:pt x="10" y="213"/>
                      </a:lnTo>
                      <a:lnTo>
                        <a:pt x="2" y="181"/>
                      </a:lnTo>
                      <a:lnTo>
                        <a:pt x="0" y="144"/>
                      </a:lnTo>
                      <a:lnTo>
                        <a:pt x="2" y="106"/>
                      </a:lnTo>
                      <a:lnTo>
                        <a:pt x="10" y="75"/>
                      </a:lnTo>
                      <a:lnTo>
                        <a:pt x="22" y="49"/>
                      </a:lnTo>
                      <a:lnTo>
                        <a:pt x="40" y="29"/>
                      </a:lnTo>
                      <a:lnTo>
                        <a:pt x="63" y="12"/>
                      </a:lnTo>
                      <a:lnTo>
                        <a:pt x="89" y="4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" name="Freeform 70"/>
                <p:cNvSpPr>
                  <a:spLocks noEditPoints="1"/>
                </p:cNvSpPr>
                <p:nvPr/>
              </p:nvSpPr>
              <p:spPr bwMode="auto">
                <a:xfrm>
                  <a:off x="-1697" y="2004"/>
                  <a:ext cx="1744" cy="2242"/>
                </a:xfrm>
                <a:custGeom>
                  <a:avLst/>
                  <a:gdLst>
                    <a:gd name="T0" fmla="*/ 2948 w 3488"/>
                    <a:gd name="T1" fmla="*/ 1170 h 4484"/>
                    <a:gd name="T2" fmla="*/ 898 w 3488"/>
                    <a:gd name="T3" fmla="*/ 1214 h 4484"/>
                    <a:gd name="T4" fmla="*/ 1000 w 3488"/>
                    <a:gd name="T5" fmla="*/ 1147 h 4484"/>
                    <a:gd name="T6" fmla="*/ 2524 w 3488"/>
                    <a:gd name="T7" fmla="*/ 1035 h 4484"/>
                    <a:gd name="T8" fmla="*/ 2537 w 3488"/>
                    <a:gd name="T9" fmla="*/ 1208 h 4484"/>
                    <a:gd name="T10" fmla="*/ 2646 w 3488"/>
                    <a:gd name="T11" fmla="*/ 1147 h 4484"/>
                    <a:gd name="T12" fmla="*/ 2577 w 3488"/>
                    <a:gd name="T13" fmla="*/ 1009 h 4484"/>
                    <a:gd name="T14" fmla="*/ 1125 w 3488"/>
                    <a:gd name="T15" fmla="*/ 1114 h 4484"/>
                    <a:gd name="T16" fmla="*/ 1219 w 3488"/>
                    <a:gd name="T17" fmla="*/ 1218 h 4484"/>
                    <a:gd name="T18" fmla="*/ 1262 w 3488"/>
                    <a:gd name="T19" fmla="*/ 1055 h 4484"/>
                    <a:gd name="T20" fmla="*/ 2095 w 3488"/>
                    <a:gd name="T21" fmla="*/ 713 h 4484"/>
                    <a:gd name="T22" fmla="*/ 2204 w 3488"/>
                    <a:gd name="T23" fmla="*/ 775 h 4484"/>
                    <a:gd name="T24" fmla="*/ 2117 w 3488"/>
                    <a:gd name="T25" fmla="*/ 680 h 4484"/>
                    <a:gd name="T26" fmla="*/ 1401 w 3488"/>
                    <a:gd name="T27" fmla="*/ 535 h 4484"/>
                    <a:gd name="T28" fmla="*/ 1206 w 3488"/>
                    <a:gd name="T29" fmla="*/ 757 h 4484"/>
                    <a:gd name="T30" fmla="*/ 1229 w 3488"/>
                    <a:gd name="T31" fmla="*/ 974 h 4484"/>
                    <a:gd name="T32" fmla="*/ 1316 w 3488"/>
                    <a:gd name="T33" fmla="*/ 1151 h 4484"/>
                    <a:gd name="T34" fmla="*/ 1166 w 3488"/>
                    <a:gd name="T35" fmla="*/ 1255 h 4484"/>
                    <a:gd name="T36" fmla="*/ 1079 w 3488"/>
                    <a:gd name="T37" fmla="*/ 1084 h 4484"/>
                    <a:gd name="T38" fmla="*/ 1044 w 3488"/>
                    <a:gd name="T39" fmla="*/ 1058 h 4484"/>
                    <a:gd name="T40" fmla="*/ 988 w 3488"/>
                    <a:gd name="T41" fmla="*/ 1245 h 4484"/>
                    <a:gd name="T42" fmla="*/ 853 w 3488"/>
                    <a:gd name="T43" fmla="*/ 1324 h 4484"/>
                    <a:gd name="T44" fmla="*/ 997 w 3488"/>
                    <a:gd name="T45" fmla="*/ 1672 h 4484"/>
                    <a:gd name="T46" fmla="*/ 2663 w 3488"/>
                    <a:gd name="T47" fmla="*/ 1752 h 4484"/>
                    <a:gd name="T48" fmla="*/ 2910 w 3488"/>
                    <a:gd name="T49" fmla="*/ 1450 h 4484"/>
                    <a:gd name="T50" fmla="*/ 2998 w 3488"/>
                    <a:gd name="T51" fmla="*/ 1415 h 4484"/>
                    <a:gd name="T52" fmla="*/ 2890 w 3488"/>
                    <a:gd name="T53" fmla="*/ 1208 h 4484"/>
                    <a:gd name="T54" fmla="*/ 2813 w 3488"/>
                    <a:gd name="T55" fmla="*/ 1034 h 4484"/>
                    <a:gd name="T56" fmla="*/ 2620 w 3488"/>
                    <a:gd name="T57" fmla="*/ 978 h 4484"/>
                    <a:gd name="T58" fmla="*/ 2695 w 3488"/>
                    <a:gd name="T59" fmla="*/ 1151 h 4484"/>
                    <a:gd name="T60" fmla="*/ 2545 w 3488"/>
                    <a:gd name="T61" fmla="*/ 1255 h 4484"/>
                    <a:gd name="T62" fmla="*/ 2458 w 3488"/>
                    <a:gd name="T63" fmla="*/ 1077 h 4484"/>
                    <a:gd name="T64" fmla="*/ 2503 w 3488"/>
                    <a:gd name="T65" fmla="*/ 885 h 4484"/>
                    <a:gd name="T66" fmla="*/ 2319 w 3488"/>
                    <a:gd name="T67" fmla="*/ 736 h 4484"/>
                    <a:gd name="T68" fmla="*/ 2165 w 3488"/>
                    <a:gd name="T69" fmla="*/ 824 h 4484"/>
                    <a:gd name="T70" fmla="*/ 2045 w 3488"/>
                    <a:gd name="T71" fmla="*/ 680 h 4484"/>
                    <a:gd name="T72" fmla="*/ 1862 w 3488"/>
                    <a:gd name="T73" fmla="*/ 483 h 4484"/>
                    <a:gd name="T74" fmla="*/ 2002 w 3488"/>
                    <a:gd name="T75" fmla="*/ 15 h 4484"/>
                    <a:gd name="T76" fmla="*/ 2652 w 3488"/>
                    <a:gd name="T77" fmla="*/ 240 h 4484"/>
                    <a:gd name="T78" fmla="*/ 3088 w 3488"/>
                    <a:gd name="T79" fmla="*/ 577 h 4484"/>
                    <a:gd name="T80" fmla="*/ 3365 w 3488"/>
                    <a:gd name="T81" fmla="*/ 1012 h 4484"/>
                    <a:gd name="T82" fmla="*/ 3488 w 3488"/>
                    <a:gd name="T83" fmla="*/ 1616 h 4484"/>
                    <a:gd name="T84" fmla="*/ 3335 w 3488"/>
                    <a:gd name="T85" fmla="*/ 2223 h 4484"/>
                    <a:gd name="T86" fmla="*/ 3021 w 3488"/>
                    <a:gd name="T87" fmla="*/ 2708 h 4484"/>
                    <a:gd name="T88" fmla="*/ 2863 w 3488"/>
                    <a:gd name="T89" fmla="*/ 3147 h 4484"/>
                    <a:gd name="T90" fmla="*/ 2871 w 3488"/>
                    <a:gd name="T91" fmla="*/ 3408 h 4484"/>
                    <a:gd name="T92" fmla="*/ 1682 w 3488"/>
                    <a:gd name="T93" fmla="*/ 4473 h 4484"/>
                    <a:gd name="T94" fmla="*/ 1552 w 3488"/>
                    <a:gd name="T95" fmla="*/ 4137 h 4484"/>
                    <a:gd name="T96" fmla="*/ 1310 w 3488"/>
                    <a:gd name="T97" fmla="*/ 3755 h 4484"/>
                    <a:gd name="T98" fmla="*/ 1069 w 3488"/>
                    <a:gd name="T99" fmla="*/ 3672 h 4484"/>
                    <a:gd name="T100" fmla="*/ 615 w 3488"/>
                    <a:gd name="T101" fmla="*/ 3705 h 4484"/>
                    <a:gd name="T102" fmla="*/ 385 w 3488"/>
                    <a:gd name="T103" fmla="*/ 3573 h 4484"/>
                    <a:gd name="T104" fmla="*/ 311 w 3488"/>
                    <a:gd name="T105" fmla="*/ 3097 h 4484"/>
                    <a:gd name="T106" fmla="*/ 173 w 3488"/>
                    <a:gd name="T107" fmla="*/ 2733 h 4484"/>
                    <a:gd name="T108" fmla="*/ 1 w 3488"/>
                    <a:gd name="T109" fmla="*/ 2527 h 4484"/>
                    <a:gd name="T110" fmla="*/ 72 w 3488"/>
                    <a:gd name="T111" fmla="*/ 2291 h 4484"/>
                    <a:gd name="T112" fmla="*/ 217 w 3488"/>
                    <a:gd name="T113" fmla="*/ 2024 h 4484"/>
                    <a:gd name="T114" fmla="*/ 236 w 3488"/>
                    <a:gd name="T115" fmla="*/ 1691 h 4484"/>
                    <a:gd name="T116" fmla="*/ 214 w 3488"/>
                    <a:gd name="T117" fmla="*/ 1143 h 4484"/>
                    <a:gd name="T118" fmla="*/ 450 w 3488"/>
                    <a:gd name="T119" fmla="*/ 631 h 4484"/>
                    <a:gd name="T120" fmla="*/ 1074 w 3488"/>
                    <a:gd name="T121" fmla="*/ 166 h 44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3488" h="4484">
                      <a:moveTo>
                        <a:pt x="2916" y="1125"/>
                      </a:moveTo>
                      <a:lnTo>
                        <a:pt x="2920" y="1155"/>
                      </a:lnTo>
                      <a:lnTo>
                        <a:pt x="2927" y="1180"/>
                      </a:lnTo>
                      <a:lnTo>
                        <a:pt x="2938" y="1199"/>
                      </a:lnTo>
                      <a:lnTo>
                        <a:pt x="2953" y="1211"/>
                      </a:lnTo>
                      <a:lnTo>
                        <a:pt x="2972" y="1219"/>
                      </a:lnTo>
                      <a:lnTo>
                        <a:pt x="2948" y="1170"/>
                      </a:lnTo>
                      <a:lnTo>
                        <a:pt x="2916" y="1125"/>
                      </a:lnTo>
                      <a:close/>
                      <a:moveTo>
                        <a:pt x="996" y="1062"/>
                      </a:moveTo>
                      <a:lnTo>
                        <a:pt x="963" y="1094"/>
                      </a:lnTo>
                      <a:lnTo>
                        <a:pt x="933" y="1126"/>
                      </a:lnTo>
                      <a:lnTo>
                        <a:pt x="907" y="1165"/>
                      </a:lnTo>
                      <a:lnTo>
                        <a:pt x="885" y="1204"/>
                      </a:lnTo>
                      <a:lnTo>
                        <a:pt x="898" y="1214"/>
                      </a:lnTo>
                      <a:lnTo>
                        <a:pt x="913" y="1218"/>
                      </a:lnTo>
                      <a:lnTo>
                        <a:pt x="930" y="1220"/>
                      </a:lnTo>
                      <a:lnTo>
                        <a:pt x="952" y="1218"/>
                      </a:lnTo>
                      <a:lnTo>
                        <a:pt x="970" y="1208"/>
                      </a:lnTo>
                      <a:lnTo>
                        <a:pt x="983" y="1195"/>
                      </a:lnTo>
                      <a:lnTo>
                        <a:pt x="994" y="1174"/>
                      </a:lnTo>
                      <a:lnTo>
                        <a:pt x="1000" y="1147"/>
                      </a:lnTo>
                      <a:lnTo>
                        <a:pt x="1001" y="1114"/>
                      </a:lnTo>
                      <a:lnTo>
                        <a:pt x="1000" y="1087"/>
                      </a:lnTo>
                      <a:lnTo>
                        <a:pt x="996" y="1062"/>
                      </a:lnTo>
                      <a:close/>
                      <a:moveTo>
                        <a:pt x="2577" y="1009"/>
                      </a:moveTo>
                      <a:lnTo>
                        <a:pt x="2555" y="1012"/>
                      </a:lnTo>
                      <a:lnTo>
                        <a:pt x="2537" y="1020"/>
                      </a:lnTo>
                      <a:lnTo>
                        <a:pt x="2524" y="1035"/>
                      </a:lnTo>
                      <a:lnTo>
                        <a:pt x="2513" y="1055"/>
                      </a:lnTo>
                      <a:lnTo>
                        <a:pt x="2507" y="1081"/>
                      </a:lnTo>
                      <a:lnTo>
                        <a:pt x="2506" y="1114"/>
                      </a:lnTo>
                      <a:lnTo>
                        <a:pt x="2507" y="1147"/>
                      </a:lnTo>
                      <a:lnTo>
                        <a:pt x="2513" y="1174"/>
                      </a:lnTo>
                      <a:lnTo>
                        <a:pt x="2524" y="1195"/>
                      </a:lnTo>
                      <a:lnTo>
                        <a:pt x="2537" y="1208"/>
                      </a:lnTo>
                      <a:lnTo>
                        <a:pt x="2555" y="1218"/>
                      </a:lnTo>
                      <a:lnTo>
                        <a:pt x="2577" y="1220"/>
                      </a:lnTo>
                      <a:lnTo>
                        <a:pt x="2599" y="1218"/>
                      </a:lnTo>
                      <a:lnTo>
                        <a:pt x="2616" y="1208"/>
                      </a:lnTo>
                      <a:lnTo>
                        <a:pt x="2630" y="1195"/>
                      </a:lnTo>
                      <a:lnTo>
                        <a:pt x="2641" y="1174"/>
                      </a:lnTo>
                      <a:lnTo>
                        <a:pt x="2646" y="1147"/>
                      </a:lnTo>
                      <a:lnTo>
                        <a:pt x="2649" y="1114"/>
                      </a:lnTo>
                      <a:lnTo>
                        <a:pt x="2646" y="1081"/>
                      </a:lnTo>
                      <a:lnTo>
                        <a:pt x="2641" y="1055"/>
                      </a:lnTo>
                      <a:lnTo>
                        <a:pt x="2630" y="1035"/>
                      </a:lnTo>
                      <a:lnTo>
                        <a:pt x="2616" y="1020"/>
                      </a:lnTo>
                      <a:lnTo>
                        <a:pt x="2599" y="1012"/>
                      </a:lnTo>
                      <a:lnTo>
                        <a:pt x="2577" y="1009"/>
                      </a:lnTo>
                      <a:close/>
                      <a:moveTo>
                        <a:pt x="1198" y="1009"/>
                      </a:moveTo>
                      <a:lnTo>
                        <a:pt x="1176" y="1012"/>
                      </a:lnTo>
                      <a:lnTo>
                        <a:pt x="1158" y="1020"/>
                      </a:lnTo>
                      <a:lnTo>
                        <a:pt x="1144" y="1035"/>
                      </a:lnTo>
                      <a:lnTo>
                        <a:pt x="1134" y="1055"/>
                      </a:lnTo>
                      <a:lnTo>
                        <a:pt x="1128" y="1081"/>
                      </a:lnTo>
                      <a:lnTo>
                        <a:pt x="1125" y="1114"/>
                      </a:lnTo>
                      <a:lnTo>
                        <a:pt x="1128" y="1147"/>
                      </a:lnTo>
                      <a:lnTo>
                        <a:pt x="1134" y="1174"/>
                      </a:lnTo>
                      <a:lnTo>
                        <a:pt x="1144" y="1195"/>
                      </a:lnTo>
                      <a:lnTo>
                        <a:pt x="1158" y="1208"/>
                      </a:lnTo>
                      <a:lnTo>
                        <a:pt x="1176" y="1218"/>
                      </a:lnTo>
                      <a:lnTo>
                        <a:pt x="1198" y="1220"/>
                      </a:lnTo>
                      <a:lnTo>
                        <a:pt x="1219" y="1218"/>
                      </a:lnTo>
                      <a:lnTo>
                        <a:pt x="1237" y="1208"/>
                      </a:lnTo>
                      <a:lnTo>
                        <a:pt x="1251" y="1195"/>
                      </a:lnTo>
                      <a:lnTo>
                        <a:pt x="1262" y="1174"/>
                      </a:lnTo>
                      <a:lnTo>
                        <a:pt x="1267" y="1147"/>
                      </a:lnTo>
                      <a:lnTo>
                        <a:pt x="1269" y="1114"/>
                      </a:lnTo>
                      <a:lnTo>
                        <a:pt x="1267" y="1081"/>
                      </a:lnTo>
                      <a:lnTo>
                        <a:pt x="1262" y="1055"/>
                      </a:lnTo>
                      <a:lnTo>
                        <a:pt x="1251" y="1035"/>
                      </a:lnTo>
                      <a:lnTo>
                        <a:pt x="1237" y="1020"/>
                      </a:lnTo>
                      <a:lnTo>
                        <a:pt x="1219" y="1012"/>
                      </a:lnTo>
                      <a:lnTo>
                        <a:pt x="1198" y="1009"/>
                      </a:lnTo>
                      <a:close/>
                      <a:moveTo>
                        <a:pt x="2095" y="650"/>
                      </a:moveTo>
                      <a:lnTo>
                        <a:pt x="2094" y="680"/>
                      </a:lnTo>
                      <a:lnTo>
                        <a:pt x="2095" y="713"/>
                      </a:lnTo>
                      <a:lnTo>
                        <a:pt x="2102" y="739"/>
                      </a:lnTo>
                      <a:lnTo>
                        <a:pt x="2112" y="760"/>
                      </a:lnTo>
                      <a:lnTo>
                        <a:pt x="2125" y="775"/>
                      </a:lnTo>
                      <a:lnTo>
                        <a:pt x="2143" y="783"/>
                      </a:lnTo>
                      <a:lnTo>
                        <a:pt x="2165" y="785"/>
                      </a:lnTo>
                      <a:lnTo>
                        <a:pt x="2187" y="783"/>
                      </a:lnTo>
                      <a:lnTo>
                        <a:pt x="2204" y="775"/>
                      </a:lnTo>
                      <a:lnTo>
                        <a:pt x="2218" y="760"/>
                      </a:lnTo>
                      <a:lnTo>
                        <a:pt x="2229" y="740"/>
                      </a:lnTo>
                      <a:lnTo>
                        <a:pt x="2234" y="713"/>
                      </a:lnTo>
                      <a:lnTo>
                        <a:pt x="2206" y="710"/>
                      </a:lnTo>
                      <a:lnTo>
                        <a:pt x="2177" y="709"/>
                      </a:lnTo>
                      <a:lnTo>
                        <a:pt x="2137" y="712"/>
                      </a:lnTo>
                      <a:lnTo>
                        <a:pt x="2117" y="680"/>
                      </a:lnTo>
                      <a:lnTo>
                        <a:pt x="2095" y="650"/>
                      </a:lnTo>
                      <a:close/>
                      <a:moveTo>
                        <a:pt x="1683" y="451"/>
                      </a:moveTo>
                      <a:lnTo>
                        <a:pt x="1622" y="455"/>
                      </a:lnTo>
                      <a:lnTo>
                        <a:pt x="1562" y="466"/>
                      </a:lnTo>
                      <a:lnTo>
                        <a:pt x="1506" y="483"/>
                      </a:lnTo>
                      <a:lnTo>
                        <a:pt x="1451" y="506"/>
                      </a:lnTo>
                      <a:lnTo>
                        <a:pt x="1401" y="535"/>
                      </a:lnTo>
                      <a:lnTo>
                        <a:pt x="1353" y="569"/>
                      </a:lnTo>
                      <a:lnTo>
                        <a:pt x="1311" y="608"/>
                      </a:lnTo>
                      <a:lnTo>
                        <a:pt x="1311" y="822"/>
                      </a:lnTo>
                      <a:lnTo>
                        <a:pt x="1262" y="822"/>
                      </a:lnTo>
                      <a:lnTo>
                        <a:pt x="1262" y="663"/>
                      </a:lnTo>
                      <a:lnTo>
                        <a:pt x="1232" y="708"/>
                      </a:lnTo>
                      <a:lnTo>
                        <a:pt x="1206" y="757"/>
                      </a:lnTo>
                      <a:lnTo>
                        <a:pt x="1185" y="809"/>
                      </a:lnTo>
                      <a:lnTo>
                        <a:pt x="1170" y="862"/>
                      </a:lnTo>
                      <a:lnTo>
                        <a:pt x="1161" y="919"/>
                      </a:lnTo>
                      <a:lnTo>
                        <a:pt x="1158" y="976"/>
                      </a:lnTo>
                      <a:lnTo>
                        <a:pt x="1177" y="972"/>
                      </a:lnTo>
                      <a:lnTo>
                        <a:pt x="1198" y="971"/>
                      </a:lnTo>
                      <a:lnTo>
                        <a:pt x="1229" y="974"/>
                      </a:lnTo>
                      <a:lnTo>
                        <a:pt x="1255" y="983"/>
                      </a:lnTo>
                      <a:lnTo>
                        <a:pt x="1278" y="998"/>
                      </a:lnTo>
                      <a:lnTo>
                        <a:pt x="1296" y="1020"/>
                      </a:lnTo>
                      <a:lnTo>
                        <a:pt x="1308" y="1046"/>
                      </a:lnTo>
                      <a:lnTo>
                        <a:pt x="1316" y="1077"/>
                      </a:lnTo>
                      <a:lnTo>
                        <a:pt x="1319" y="1114"/>
                      </a:lnTo>
                      <a:lnTo>
                        <a:pt x="1316" y="1151"/>
                      </a:lnTo>
                      <a:lnTo>
                        <a:pt x="1308" y="1184"/>
                      </a:lnTo>
                      <a:lnTo>
                        <a:pt x="1296" y="1210"/>
                      </a:lnTo>
                      <a:lnTo>
                        <a:pt x="1278" y="1230"/>
                      </a:lnTo>
                      <a:lnTo>
                        <a:pt x="1255" y="1245"/>
                      </a:lnTo>
                      <a:lnTo>
                        <a:pt x="1229" y="1255"/>
                      </a:lnTo>
                      <a:lnTo>
                        <a:pt x="1198" y="1257"/>
                      </a:lnTo>
                      <a:lnTo>
                        <a:pt x="1166" y="1255"/>
                      </a:lnTo>
                      <a:lnTo>
                        <a:pt x="1140" y="1245"/>
                      </a:lnTo>
                      <a:lnTo>
                        <a:pt x="1117" y="1230"/>
                      </a:lnTo>
                      <a:lnTo>
                        <a:pt x="1099" y="1210"/>
                      </a:lnTo>
                      <a:lnTo>
                        <a:pt x="1087" y="1184"/>
                      </a:lnTo>
                      <a:lnTo>
                        <a:pt x="1079" y="1151"/>
                      </a:lnTo>
                      <a:lnTo>
                        <a:pt x="1076" y="1114"/>
                      </a:lnTo>
                      <a:lnTo>
                        <a:pt x="1079" y="1084"/>
                      </a:lnTo>
                      <a:lnTo>
                        <a:pt x="1084" y="1055"/>
                      </a:lnTo>
                      <a:lnTo>
                        <a:pt x="1093" y="1032"/>
                      </a:lnTo>
                      <a:lnTo>
                        <a:pt x="1105" y="1012"/>
                      </a:lnTo>
                      <a:lnTo>
                        <a:pt x="1121" y="995"/>
                      </a:lnTo>
                      <a:lnTo>
                        <a:pt x="1078" y="1013"/>
                      </a:lnTo>
                      <a:lnTo>
                        <a:pt x="1035" y="1035"/>
                      </a:lnTo>
                      <a:lnTo>
                        <a:pt x="1044" y="1058"/>
                      </a:lnTo>
                      <a:lnTo>
                        <a:pt x="1049" y="1084"/>
                      </a:lnTo>
                      <a:lnTo>
                        <a:pt x="1050" y="1114"/>
                      </a:lnTo>
                      <a:lnTo>
                        <a:pt x="1048" y="1151"/>
                      </a:lnTo>
                      <a:lnTo>
                        <a:pt x="1041" y="1184"/>
                      </a:lnTo>
                      <a:lnTo>
                        <a:pt x="1027" y="1210"/>
                      </a:lnTo>
                      <a:lnTo>
                        <a:pt x="1011" y="1230"/>
                      </a:lnTo>
                      <a:lnTo>
                        <a:pt x="988" y="1245"/>
                      </a:lnTo>
                      <a:lnTo>
                        <a:pt x="962" y="1255"/>
                      </a:lnTo>
                      <a:lnTo>
                        <a:pt x="930" y="1257"/>
                      </a:lnTo>
                      <a:lnTo>
                        <a:pt x="908" y="1256"/>
                      </a:lnTo>
                      <a:lnTo>
                        <a:pt x="888" y="1252"/>
                      </a:lnTo>
                      <a:lnTo>
                        <a:pt x="869" y="1244"/>
                      </a:lnTo>
                      <a:lnTo>
                        <a:pt x="859" y="1283"/>
                      </a:lnTo>
                      <a:lnTo>
                        <a:pt x="853" y="1324"/>
                      </a:lnTo>
                      <a:lnTo>
                        <a:pt x="850" y="1366"/>
                      </a:lnTo>
                      <a:lnTo>
                        <a:pt x="851" y="1407"/>
                      </a:lnTo>
                      <a:lnTo>
                        <a:pt x="899" y="1407"/>
                      </a:lnTo>
                      <a:lnTo>
                        <a:pt x="899" y="1556"/>
                      </a:lnTo>
                      <a:lnTo>
                        <a:pt x="926" y="1598"/>
                      </a:lnTo>
                      <a:lnTo>
                        <a:pt x="959" y="1638"/>
                      </a:lnTo>
                      <a:lnTo>
                        <a:pt x="997" y="1672"/>
                      </a:lnTo>
                      <a:lnTo>
                        <a:pt x="1039" y="1700"/>
                      </a:lnTo>
                      <a:lnTo>
                        <a:pt x="1084" y="1724"/>
                      </a:lnTo>
                      <a:lnTo>
                        <a:pt x="1134" y="1741"/>
                      </a:lnTo>
                      <a:lnTo>
                        <a:pt x="1185" y="1752"/>
                      </a:lnTo>
                      <a:lnTo>
                        <a:pt x="1239" y="1756"/>
                      </a:lnTo>
                      <a:lnTo>
                        <a:pt x="2612" y="1756"/>
                      </a:lnTo>
                      <a:lnTo>
                        <a:pt x="2663" y="1752"/>
                      </a:lnTo>
                      <a:lnTo>
                        <a:pt x="2710" y="1744"/>
                      </a:lnTo>
                      <a:lnTo>
                        <a:pt x="2757" y="1729"/>
                      </a:lnTo>
                      <a:lnTo>
                        <a:pt x="2800" y="1709"/>
                      </a:lnTo>
                      <a:lnTo>
                        <a:pt x="2840" y="1683"/>
                      </a:lnTo>
                      <a:lnTo>
                        <a:pt x="2877" y="1653"/>
                      </a:lnTo>
                      <a:lnTo>
                        <a:pt x="2910" y="1619"/>
                      </a:lnTo>
                      <a:lnTo>
                        <a:pt x="2910" y="1450"/>
                      </a:lnTo>
                      <a:lnTo>
                        <a:pt x="2854" y="1450"/>
                      </a:lnTo>
                      <a:lnTo>
                        <a:pt x="2854" y="1407"/>
                      </a:lnTo>
                      <a:lnTo>
                        <a:pt x="2957" y="1407"/>
                      </a:lnTo>
                      <a:lnTo>
                        <a:pt x="2957" y="1548"/>
                      </a:lnTo>
                      <a:lnTo>
                        <a:pt x="2976" y="1505"/>
                      </a:lnTo>
                      <a:lnTo>
                        <a:pt x="2990" y="1462"/>
                      </a:lnTo>
                      <a:lnTo>
                        <a:pt x="2998" y="1415"/>
                      </a:lnTo>
                      <a:lnTo>
                        <a:pt x="3002" y="1366"/>
                      </a:lnTo>
                      <a:lnTo>
                        <a:pt x="2998" y="1310"/>
                      </a:lnTo>
                      <a:lnTo>
                        <a:pt x="2986" y="1257"/>
                      </a:lnTo>
                      <a:lnTo>
                        <a:pt x="2956" y="1255"/>
                      </a:lnTo>
                      <a:lnTo>
                        <a:pt x="2929" y="1245"/>
                      </a:lnTo>
                      <a:lnTo>
                        <a:pt x="2907" y="1230"/>
                      </a:lnTo>
                      <a:lnTo>
                        <a:pt x="2890" y="1208"/>
                      </a:lnTo>
                      <a:lnTo>
                        <a:pt x="2878" y="1182"/>
                      </a:lnTo>
                      <a:lnTo>
                        <a:pt x="2870" y="1151"/>
                      </a:lnTo>
                      <a:lnTo>
                        <a:pt x="2867" y="1114"/>
                      </a:lnTo>
                      <a:lnTo>
                        <a:pt x="2869" y="1095"/>
                      </a:lnTo>
                      <a:lnTo>
                        <a:pt x="2870" y="1076"/>
                      </a:lnTo>
                      <a:lnTo>
                        <a:pt x="2843" y="1053"/>
                      </a:lnTo>
                      <a:lnTo>
                        <a:pt x="2813" y="1034"/>
                      </a:lnTo>
                      <a:lnTo>
                        <a:pt x="2813" y="1256"/>
                      </a:lnTo>
                      <a:lnTo>
                        <a:pt x="2765" y="1256"/>
                      </a:lnTo>
                      <a:lnTo>
                        <a:pt x="2765" y="1015"/>
                      </a:lnTo>
                      <a:lnTo>
                        <a:pt x="2709" y="1015"/>
                      </a:lnTo>
                      <a:lnTo>
                        <a:pt x="2709" y="990"/>
                      </a:lnTo>
                      <a:lnTo>
                        <a:pt x="2665" y="982"/>
                      </a:lnTo>
                      <a:lnTo>
                        <a:pt x="2620" y="978"/>
                      </a:lnTo>
                      <a:lnTo>
                        <a:pt x="2644" y="989"/>
                      </a:lnTo>
                      <a:lnTo>
                        <a:pt x="2663" y="1005"/>
                      </a:lnTo>
                      <a:lnTo>
                        <a:pt x="2678" y="1025"/>
                      </a:lnTo>
                      <a:lnTo>
                        <a:pt x="2689" y="1050"/>
                      </a:lnTo>
                      <a:lnTo>
                        <a:pt x="2695" y="1080"/>
                      </a:lnTo>
                      <a:lnTo>
                        <a:pt x="2698" y="1114"/>
                      </a:lnTo>
                      <a:lnTo>
                        <a:pt x="2695" y="1151"/>
                      </a:lnTo>
                      <a:lnTo>
                        <a:pt x="2687" y="1184"/>
                      </a:lnTo>
                      <a:lnTo>
                        <a:pt x="2675" y="1210"/>
                      </a:lnTo>
                      <a:lnTo>
                        <a:pt x="2657" y="1230"/>
                      </a:lnTo>
                      <a:lnTo>
                        <a:pt x="2635" y="1245"/>
                      </a:lnTo>
                      <a:lnTo>
                        <a:pt x="2608" y="1255"/>
                      </a:lnTo>
                      <a:lnTo>
                        <a:pt x="2577" y="1257"/>
                      </a:lnTo>
                      <a:lnTo>
                        <a:pt x="2545" y="1255"/>
                      </a:lnTo>
                      <a:lnTo>
                        <a:pt x="2519" y="1245"/>
                      </a:lnTo>
                      <a:lnTo>
                        <a:pt x="2496" y="1230"/>
                      </a:lnTo>
                      <a:lnTo>
                        <a:pt x="2479" y="1210"/>
                      </a:lnTo>
                      <a:lnTo>
                        <a:pt x="2466" y="1184"/>
                      </a:lnTo>
                      <a:lnTo>
                        <a:pt x="2458" y="1151"/>
                      </a:lnTo>
                      <a:lnTo>
                        <a:pt x="2455" y="1114"/>
                      </a:lnTo>
                      <a:lnTo>
                        <a:pt x="2458" y="1077"/>
                      </a:lnTo>
                      <a:lnTo>
                        <a:pt x="2466" y="1046"/>
                      </a:lnTo>
                      <a:lnTo>
                        <a:pt x="2480" y="1019"/>
                      </a:lnTo>
                      <a:lnTo>
                        <a:pt x="2496" y="998"/>
                      </a:lnTo>
                      <a:lnTo>
                        <a:pt x="2519" y="983"/>
                      </a:lnTo>
                      <a:lnTo>
                        <a:pt x="2547" y="975"/>
                      </a:lnTo>
                      <a:lnTo>
                        <a:pt x="2528" y="929"/>
                      </a:lnTo>
                      <a:lnTo>
                        <a:pt x="2503" y="885"/>
                      </a:lnTo>
                      <a:lnTo>
                        <a:pt x="2473" y="847"/>
                      </a:lnTo>
                      <a:lnTo>
                        <a:pt x="2439" y="811"/>
                      </a:lnTo>
                      <a:lnTo>
                        <a:pt x="2401" y="780"/>
                      </a:lnTo>
                      <a:lnTo>
                        <a:pt x="2401" y="822"/>
                      </a:lnTo>
                      <a:lnTo>
                        <a:pt x="2353" y="822"/>
                      </a:lnTo>
                      <a:lnTo>
                        <a:pt x="2353" y="751"/>
                      </a:lnTo>
                      <a:lnTo>
                        <a:pt x="2319" y="736"/>
                      </a:lnTo>
                      <a:lnTo>
                        <a:pt x="2282" y="724"/>
                      </a:lnTo>
                      <a:lnTo>
                        <a:pt x="2274" y="754"/>
                      </a:lnTo>
                      <a:lnTo>
                        <a:pt x="2260" y="779"/>
                      </a:lnTo>
                      <a:lnTo>
                        <a:pt x="2243" y="798"/>
                      </a:lnTo>
                      <a:lnTo>
                        <a:pt x="2221" y="811"/>
                      </a:lnTo>
                      <a:lnTo>
                        <a:pt x="2195" y="820"/>
                      </a:lnTo>
                      <a:lnTo>
                        <a:pt x="2165" y="824"/>
                      </a:lnTo>
                      <a:lnTo>
                        <a:pt x="2133" y="820"/>
                      </a:lnTo>
                      <a:lnTo>
                        <a:pt x="2107" y="811"/>
                      </a:lnTo>
                      <a:lnTo>
                        <a:pt x="2086" y="796"/>
                      </a:lnTo>
                      <a:lnTo>
                        <a:pt x="2068" y="775"/>
                      </a:lnTo>
                      <a:lnTo>
                        <a:pt x="2054" y="749"/>
                      </a:lnTo>
                      <a:lnTo>
                        <a:pt x="2047" y="717"/>
                      </a:lnTo>
                      <a:lnTo>
                        <a:pt x="2045" y="680"/>
                      </a:lnTo>
                      <a:lnTo>
                        <a:pt x="2046" y="653"/>
                      </a:lnTo>
                      <a:lnTo>
                        <a:pt x="2050" y="629"/>
                      </a:lnTo>
                      <a:lnTo>
                        <a:pt x="2056" y="607"/>
                      </a:lnTo>
                      <a:lnTo>
                        <a:pt x="2013" y="569"/>
                      </a:lnTo>
                      <a:lnTo>
                        <a:pt x="1967" y="535"/>
                      </a:lnTo>
                      <a:lnTo>
                        <a:pt x="1915" y="506"/>
                      </a:lnTo>
                      <a:lnTo>
                        <a:pt x="1862" y="483"/>
                      </a:lnTo>
                      <a:lnTo>
                        <a:pt x="1805" y="466"/>
                      </a:lnTo>
                      <a:lnTo>
                        <a:pt x="1745" y="455"/>
                      </a:lnTo>
                      <a:lnTo>
                        <a:pt x="1683" y="451"/>
                      </a:lnTo>
                      <a:close/>
                      <a:moveTo>
                        <a:pt x="1786" y="0"/>
                      </a:moveTo>
                      <a:lnTo>
                        <a:pt x="1786" y="0"/>
                      </a:lnTo>
                      <a:lnTo>
                        <a:pt x="1895" y="4"/>
                      </a:lnTo>
                      <a:lnTo>
                        <a:pt x="2002" y="15"/>
                      </a:lnTo>
                      <a:lnTo>
                        <a:pt x="2106" y="33"/>
                      </a:lnTo>
                      <a:lnTo>
                        <a:pt x="2207" y="56"/>
                      </a:lnTo>
                      <a:lnTo>
                        <a:pt x="2304" y="85"/>
                      </a:lnTo>
                      <a:lnTo>
                        <a:pt x="2397" y="117"/>
                      </a:lnTo>
                      <a:lnTo>
                        <a:pt x="2485" y="155"/>
                      </a:lnTo>
                      <a:lnTo>
                        <a:pt x="2571" y="196"/>
                      </a:lnTo>
                      <a:lnTo>
                        <a:pt x="2652" y="240"/>
                      </a:lnTo>
                      <a:lnTo>
                        <a:pt x="2729" y="286"/>
                      </a:lnTo>
                      <a:lnTo>
                        <a:pt x="2800" y="334"/>
                      </a:lnTo>
                      <a:lnTo>
                        <a:pt x="2869" y="383"/>
                      </a:lnTo>
                      <a:lnTo>
                        <a:pt x="2931" y="432"/>
                      </a:lnTo>
                      <a:lnTo>
                        <a:pt x="2989" y="481"/>
                      </a:lnTo>
                      <a:lnTo>
                        <a:pt x="3040" y="530"/>
                      </a:lnTo>
                      <a:lnTo>
                        <a:pt x="3088" y="577"/>
                      </a:lnTo>
                      <a:lnTo>
                        <a:pt x="3129" y="622"/>
                      </a:lnTo>
                      <a:lnTo>
                        <a:pt x="3165" y="665"/>
                      </a:lnTo>
                      <a:lnTo>
                        <a:pt x="3210" y="725"/>
                      </a:lnTo>
                      <a:lnTo>
                        <a:pt x="3253" y="791"/>
                      </a:lnTo>
                      <a:lnTo>
                        <a:pt x="3293" y="860"/>
                      </a:lnTo>
                      <a:lnTo>
                        <a:pt x="3331" y="934"/>
                      </a:lnTo>
                      <a:lnTo>
                        <a:pt x="3365" y="1012"/>
                      </a:lnTo>
                      <a:lnTo>
                        <a:pt x="3395" y="1092"/>
                      </a:lnTo>
                      <a:lnTo>
                        <a:pt x="3422" y="1175"/>
                      </a:lnTo>
                      <a:lnTo>
                        <a:pt x="3444" y="1260"/>
                      </a:lnTo>
                      <a:lnTo>
                        <a:pt x="3462" y="1347"/>
                      </a:lnTo>
                      <a:lnTo>
                        <a:pt x="3476" y="1436"/>
                      </a:lnTo>
                      <a:lnTo>
                        <a:pt x="3484" y="1526"/>
                      </a:lnTo>
                      <a:lnTo>
                        <a:pt x="3488" y="1616"/>
                      </a:lnTo>
                      <a:lnTo>
                        <a:pt x="3485" y="1706"/>
                      </a:lnTo>
                      <a:lnTo>
                        <a:pt x="3477" y="1796"/>
                      </a:lnTo>
                      <a:lnTo>
                        <a:pt x="3462" y="1885"/>
                      </a:lnTo>
                      <a:lnTo>
                        <a:pt x="3440" y="1972"/>
                      </a:lnTo>
                      <a:lnTo>
                        <a:pt x="3412" y="2058"/>
                      </a:lnTo>
                      <a:lnTo>
                        <a:pt x="3377" y="2142"/>
                      </a:lnTo>
                      <a:lnTo>
                        <a:pt x="3335" y="2223"/>
                      </a:lnTo>
                      <a:lnTo>
                        <a:pt x="3286" y="2305"/>
                      </a:lnTo>
                      <a:lnTo>
                        <a:pt x="3231" y="2388"/>
                      </a:lnTo>
                      <a:lnTo>
                        <a:pt x="3174" y="2474"/>
                      </a:lnTo>
                      <a:lnTo>
                        <a:pt x="3135" y="2531"/>
                      </a:lnTo>
                      <a:lnTo>
                        <a:pt x="3096" y="2588"/>
                      </a:lnTo>
                      <a:lnTo>
                        <a:pt x="3058" y="2648"/>
                      </a:lnTo>
                      <a:lnTo>
                        <a:pt x="3021" y="2708"/>
                      </a:lnTo>
                      <a:lnTo>
                        <a:pt x="2986" y="2768"/>
                      </a:lnTo>
                      <a:lnTo>
                        <a:pt x="2955" y="2830"/>
                      </a:lnTo>
                      <a:lnTo>
                        <a:pt x="2927" y="2892"/>
                      </a:lnTo>
                      <a:lnTo>
                        <a:pt x="2903" y="2955"/>
                      </a:lnTo>
                      <a:lnTo>
                        <a:pt x="2884" y="3019"/>
                      </a:lnTo>
                      <a:lnTo>
                        <a:pt x="2870" y="3083"/>
                      </a:lnTo>
                      <a:lnTo>
                        <a:pt x="2863" y="3147"/>
                      </a:lnTo>
                      <a:lnTo>
                        <a:pt x="2863" y="3213"/>
                      </a:lnTo>
                      <a:lnTo>
                        <a:pt x="2871" y="3278"/>
                      </a:lnTo>
                      <a:lnTo>
                        <a:pt x="2888" y="3344"/>
                      </a:lnTo>
                      <a:lnTo>
                        <a:pt x="2890" y="3360"/>
                      </a:lnTo>
                      <a:lnTo>
                        <a:pt x="2889" y="3378"/>
                      </a:lnTo>
                      <a:lnTo>
                        <a:pt x="2882" y="3394"/>
                      </a:lnTo>
                      <a:lnTo>
                        <a:pt x="2871" y="3408"/>
                      </a:lnTo>
                      <a:lnTo>
                        <a:pt x="1761" y="4467"/>
                      </a:lnTo>
                      <a:lnTo>
                        <a:pt x="1749" y="4477"/>
                      </a:lnTo>
                      <a:lnTo>
                        <a:pt x="1734" y="4482"/>
                      </a:lnTo>
                      <a:lnTo>
                        <a:pt x="1719" y="4484"/>
                      </a:lnTo>
                      <a:lnTo>
                        <a:pt x="1709" y="4484"/>
                      </a:lnTo>
                      <a:lnTo>
                        <a:pt x="1701" y="4481"/>
                      </a:lnTo>
                      <a:lnTo>
                        <a:pt x="1682" y="4473"/>
                      </a:lnTo>
                      <a:lnTo>
                        <a:pt x="1667" y="4458"/>
                      </a:lnTo>
                      <a:lnTo>
                        <a:pt x="1659" y="4437"/>
                      </a:lnTo>
                      <a:lnTo>
                        <a:pt x="1642" y="4383"/>
                      </a:lnTo>
                      <a:lnTo>
                        <a:pt x="1625" y="4324"/>
                      </a:lnTo>
                      <a:lnTo>
                        <a:pt x="1603" y="4264"/>
                      </a:lnTo>
                      <a:lnTo>
                        <a:pt x="1580" y="4201"/>
                      </a:lnTo>
                      <a:lnTo>
                        <a:pt x="1552" y="4137"/>
                      </a:lnTo>
                      <a:lnTo>
                        <a:pt x="1524" y="4075"/>
                      </a:lnTo>
                      <a:lnTo>
                        <a:pt x="1494" y="4012"/>
                      </a:lnTo>
                      <a:lnTo>
                        <a:pt x="1460" y="3952"/>
                      </a:lnTo>
                      <a:lnTo>
                        <a:pt x="1424" y="3896"/>
                      </a:lnTo>
                      <a:lnTo>
                        <a:pt x="1387" y="3843"/>
                      </a:lnTo>
                      <a:lnTo>
                        <a:pt x="1349" y="3796"/>
                      </a:lnTo>
                      <a:lnTo>
                        <a:pt x="1310" y="3755"/>
                      </a:lnTo>
                      <a:lnTo>
                        <a:pt x="1269" y="3721"/>
                      </a:lnTo>
                      <a:lnTo>
                        <a:pt x="1226" y="3695"/>
                      </a:lnTo>
                      <a:lnTo>
                        <a:pt x="1184" y="3679"/>
                      </a:lnTo>
                      <a:lnTo>
                        <a:pt x="1164" y="3675"/>
                      </a:lnTo>
                      <a:lnTo>
                        <a:pt x="1140" y="3672"/>
                      </a:lnTo>
                      <a:lnTo>
                        <a:pt x="1112" y="3671"/>
                      </a:lnTo>
                      <a:lnTo>
                        <a:pt x="1069" y="3672"/>
                      </a:lnTo>
                      <a:lnTo>
                        <a:pt x="1023" y="3676"/>
                      </a:lnTo>
                      <a:lnTo>
                        <a:pt x="973" y="3682"/>
                      </a:lnTo>
                      <a:lnTo>
                        <a:pt x="921" y="3687"/>
                      </a:lnTo>
                      <a:lnTo>
                        <a:pt x="836" y="3697"/>
                      </a:lnTo>
                      <a:lnTo>
                        <a:pt x="753" y="3704"/>
                      </a:lnTo>
                      <a:lnTo>
                        <a:pt x="671" y="3706"/>
                      </a:lnTo>
                      <a:lnTo>
                        <a:pt x="615" y="3705"/>
                      </a:lnTo>
                      <a:lnTo>
                        <a:pt x="563" y="3698"/>
                      </a:lnTo>
                      <a:lnTo>
                        <a:pt x="518" y="3689"/>
                      </a:lnTo>
                      <a:lnTo>
                        <a:pt x="480" y="3674"/>
                      </a:lnTo>
                      <a:lnTo>
                        <a:pt x="447" y="3655"/>
                      </a:lnTo>
                      <a:lnTo>
                        <a:pt x="420" y="3631"/>
                      </a:lnTo>
                      <a:lnTo>
                        <a:pt x="400" y="3604"/>
                      </a:lnTo>
                      <a:lnTo>
                        <a:pt x="385" y="3573"/>
                      </a:lnTo>
                      <a:lnTo>
                        <a:pt x="375" y="3536"/>
                      </a:lnTo>
                      <a:lnTo>
                        <a:pt x="360" y="3435"/>
                      </a:lnTo>
                      <a:lnTo>
                        <a:pt x="346" y="3334"/>
                      </a:lnTo>
                      <a:lnTo>
                        <a:pt x="338" y="3274"/>
                      </a:lnTo>
                      <a:lnTo>
                        <a:pt x="330" y="3215"/>
                      </a:lnTo>
                      <a:lnTo>
                        <a:pt x="322" y="3155"/>
                      </a:lnTo>
                      <a:lnTo>
                        <a:pt x="311" y="3097"/>
                      </a:lnTo>
                      <a:lnTo>
                        <a:pt x="299" y="3040"/>
                      </a:lnTo>
                      <a:lnTo>
                        <a:pt x="285" y="2982"/>
                      </a:lnTo>
                      <a:lnTo>
                        <a:pt x="269" y="2928"/>
                      </a:lnTo>
                      <a:lnTo>
                        <a:pt x="251" y="2876"/>
                      </a:lnTo>
                      <a:lnTo>
                        <a:pt x="228" y="2825"/>
                      </a:lnTo>
                      <a:lnTo>
                        <a:pt x="203" y="2778"/>
                      </a:lnTo>
                      <a:lnTo>
                        <a:pt x="173" y="2733"/>
                      </a:lnTo>
                      <a:lnTo>
                        <a:pt x="140" y="2692"/>
                      </a:lnTo>
                      <a:lnTo>
                        <a:pt x="101" y="2655"/>
                      </a:lnTo>
                      <a:lnTo>
                        <a:pt x="59" y="2621"/>
                      </a:lnTo>
                      <a:lnTo>
                        <a:pt x="34" y="2600"/>
                      </a:lnTo>
                      <a:lnTo>
                        <a:pt x="18" y="2579"/>
                      </a:lnTo>
                      <a:lnTo>
                        <a:pt x="7" y="2554"/>
                      </a:lnTo>
                      <a:lnTo>
                        <a:pt x="1" y="2527"/>
                      </a:lnTo>
                      <a:lnTo>
                        <a:pt x="0" y="2497"/>
                      </a:lnTo>
                      <a:lnTo>
                        <a:pt x="4" y="2465"/>
                      </a:lnTo>
                      <a:lnTo>
                        <a:pt x="12" y="2433"/>
                      </a:lnTo>
                      <a:lnTo>
                        <a:pt x="23" y="2399"/>
                      </a:lnTo>
                      <a:lnTo>
                        <a:pt x="37" y="2363"/>
                      </a:lnTo>
                      <a:lnTo>
                        <a:pt x="55" y="2328"/>
                      </a:lnTo>
                      <a:lnTo>
                        <a:pt x="72" y="2291"/>
                      </a:lnTo>
                      <a:lnTo>
                        <a:pt x="93" y="2254"/>
                      </a:lnTo>
                      <a:lnTo>
                        <a:pt x="113" y="2216"/>
                      </a:lnTo>
                      <a:lnTo>
                        <a:pt x="135" y="2178"/>
                      </a:lnTo>
                      <a:lnTo>
                        <a:pt x="157" y="2140"/>
                      </a:lnTo>
                      <a:lnTo>
                        <a:pt x="179" y="2100"/>
                      </a:lnTo>
                      <a:lnTo>
                        <a:pt x="199" y="2062"/>
                      </a:lnTo>
                      <a:lnTo>
                        <a:pt x="217" y="2024"/>
                      </a:lnTo>
                      <a:lnTo>
                        <a:pt x="233" y="1988"/>
                      </a:lnTo>
                      <a:lnTo>
                        <a:pt x="247" y="1953"/>
                      </a:lnTo>
                      <a:lnTo>
                        <a:pt x="255" y="1920"/>
                      </a:lnTo>
                      <a:lnTo>
                        <a:pt x="259" y="1890"/>
                      </a:lnTo>
                      <a:lnTo>
                        <a:pt x="259" y="1863"/>
                      </a:lnTo>
                      <a:lnTo>
                        <a:pt x="247" y="1777"/>
                      </a:lnTo>
                      <a:lnTo>
                        <a:pt x="236" y="1691"/>
                      </a:lnTo>
                      <a:lnTo>
                        <a:pt x="225" y="1608"/>
                      </a:lnTo>
                      <a:lnTo>
                        <a:pt x="216" y="1526"/>
                      </a:lnTo>
                      <a:lnTo>
                        <a:pt x="209" y="1447"/>
                      </a:lnTo>
                      <a:lnTo>
                        <a:pt x="205" y="1369"/>
                      </a:lnTo>
                      <a:lnTo>
                        <a:pt x="203" y="1293"/>
                      </a:lnTo>
                      <a:lnTo>
                        <a:pt x="207" y="1216"/>
                      </a:lnTo>
                      <a:lnTo>
                        <a:pt x="214" y="1143"/>
                      </a:lnTo>
                      <a:lnTo>
                        <a:pt x="228" y="1068"/>
                      </a:lnTo>
                      <a:lnTo>
                        <a:pt x="247" y="995"/>
                      </a:lnTo>
                      <a:lnTo>
                        <a:pt x="271" y="922"/>
                      </a:lnTo>
                      <a:lnTo>
                        <a:pt x="304" y="850"/>
                      </a:lnTo>
                      <a:lnTo>
                        <a:pt x="344" y="777"/>
                      </a:lnTo>
                      <a:lnTo>
                        <a:pt x="393" y="705"/>
                      </a:lnTo>
                      <a:lnTo>
                        <a:pt x="450" y="631"/>
                      </a:lnTo>
                      <a:lnTo>
                        <a:pt x="517" y="558"/>
                      </a:lnTo>
                      <a:lnTo>
                        <a:pt x="518" y="556"/>
                      </a:lnTo>
                      <a:lnTo>
                        <a:pt x="626" y="460"/>
                      </a:lnTo>
                      <a:lnTo>
                        <a:pt x="737" y="374"/>
                      </a:lnTo>
                      <a:lnTo>
                        <a:pt x="847" y="295"/>
                      </a:lnTo>
                      <a:lnTo>
                        <a:pt x="960" y="226"/>
                      </a:lnTo>
                      <a:lnTo>
                        <a:pt x="1074" y="166"/>
                      </a:lnTo>
                      <a:lnTo>
                        <a:pt x="1189" y="116"/>
                      </a:lnTo>
                      <a:lnTo>
                        <a:pt x="1305" y="74"/>
                      </a:lnTo>
                      <a:lnTo>
                        <a:pt x="1424" y="42"/>
                      </a:lnTo>
                      <a:lnTo>
                        <a:pt x="1543" y="19"/>
                      </a:lnTo>
                      <a:lnTo>
                        <a:pt x="1664" y="4"/>
                      </a:lnTo>
                      <a:lnTo>
                        <a:pt x="178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" name="Freeform 71"/>
                <p:cNvSpPr>
                  <a:spLocks noEditPoints="1"/>
                </p:cNvSpPr>
                <p:nvPr/>
              </p:nvSpPr>
              <p:spPr bwMode="auto">
                <a:xfrm>
                  <a:off x="-397" y="2707"/>
                  <a:ext cx="121" cy="143"/>
                </a:xfrm>
                <a:custGeom>
                  <a:avLst/>
                  <a:gdLst>
                    <a:gd name="T0" fmla="*/ 121 w 241"/>
                    <a:gd name="T1" fmla="*/ 38 h 286"/>
                    <a:gd name="T2" fmla="*/ 99 w 241"/>
                    <a:gd name="T3" fmla="*/ 41 h 286"/>
                    <a:gd name="T4" fmla="*/ 82 w 241"/>
                    <a:gd name="T5" fmla="*/ 49 h 286"/>
                    <a:gd name="T6" fmla="*/ 67 w 241"/>
                    <a:gd name="T7" fmla="*/ 63 h 286"/>
                    <a:gd name="T8" fmla="*/ 57 w 241"/>
                    <a:gd name="T9" fmla="*/ 83 h 286"/>
                    <a:gd name="T10" fmla="*/ 52 w 241"/>
                    <a:gd name="T11" fmla="*/ 110 h 286"/>
                    <a:gd name="T12" fmla="*/ 49 w 241"/>
                    <a:gd name="T13" fmla="*/ 143 h 286"/>
                    <a:gd name="T14" fmla="*/ 52 w 241"/>
                    <a:gd name="T15" fmla="*/ 176 h 286"/>
                    <a:gd name="T16" fmla="*/ 57 w 241"/>
                    <a:gd name="T17" fmla="*/ 202 h 286"/>
                    <a:gd name="T18" fmla="*/ 67 w 241"/>
                    <a:gd name="T19" fmla="*/ 222 h 286"/>
                    <a:gd name="T20" fmla="*/ 82 w 241"/>
                    <a:gd name="T21" fmla="*/ 237 h 286"/>
                    <a:gd name="T22" fmla="*/ 99 w 241"/>
                    <a:gd name="T23" fmla="*/ 245 h 286"/>
                    <a:gd name="T24" fmla="*/ 121 w 241"/>
                    <a:gd name="T25" fmla="*/ 248 h 286"/>
                    <a:gd name="T26" fmla="*/ 143 w 241"/>
                    <a:gd name="T27" fmla="*/ 245 h 286"/>
                    <a:gd name="T28" fmla="*/ 161 w 241"/>
                    <a:gd name="T29" fmla="*/ 237 h 286"/>
                    <a:gd name="T30" fmla="*/ 175 w 241"/>
                    <a:gd name="T31" fmla="*/ 222 h 286"/>
                    <a:gd name="T32" fmla="*/ 184 w 241"/>
                    <a:gd name="T33" fmla="*/ 202 h 286"/>
                    <a:gd name="T34" fmla="*/ 191 w 241"/>
                    <a:gd name="T35" fmla="*/ 176 h 286"/>
                    <a:gd name="T36" fmla="*/ 192 w 241"/>
                    <a:gd name="T37" fmla="*/ 143 h 286"/>
                    <a:gd name="T38" fmla="*/ 191 w 241"/>
                    <a:gd name="T39" fmla="*/ 110 h 286"/>
                    <a:gd name="T40" fmla="*/ 184 w 241"/>
                    <a:gd name="T41" fmla="*/ 83 h 286"/>
                    <a:gd name="T42" fmla="*/ 175 w 241"/>
                    <a:gd name="T43" fmla="*/ 63 h 286"/>
                    <a:gd name="T44" fmla="*/ 161 w 241"/>
                    <a:gd name="T45" fmla="*/ 49 h 286"/>
                    <a:gd name="T46" fmla="*/ 143 w 241"/>
                    <a:gd name="T47" fmla="*/ 41 h 286"/>
                    <a:gd name="T48" fmla="*/ 121 w 241"/>
                    <a:gd name="T49" fmla="*/ 38 h 286"/>
                    <a:gd name="T50" fmla="*/ 121 w 241"/>
                    <a:gd name="T51" fmla="*/ 0 h 286"/>
                    <a:gd name="T52" fmla="*/ 153 w 241"/>
                    <a:gd name="T53" fmla="*/ 3 h 286"/>
                    <a:gd name="T54" fmla="*/ 179 w 241"/>
                    <a:gd name="T55" fmla="*/ 12 h 286"/>
                    <a:gd name="T56" fmla="*/ 200 w 241"/>
                    <a:gd name="T57" fmla="*/ 27 h 286"/>
                    <a:gd name="T58" fmla="*/ 218 w 241"/>
                    <a:gd name="T59" fmla="*/ 48 h 286"/>
                    <a:gd name="T60" fmla="*/ 232 w 241"/>
                    <a:gd name="T61" fmla="*/ 75 h 286"/>
                    <a:gd name="T62" fmla="*/ 239 w 241"/>
                    <a:gd name="T63" fmla="*/ 106 h 286"/>
                    <a:gd name="T64" fmla="*/ 241 w 241"/>
                    <a:gd name="T65" fmla="*/ 143 h 286"/>
                    <a:gd name="T66" fmla="*/ 239 w 241"/>
                    <a:gd name="T67" fmla="*/ 180 h 286"/>
                    <a:gd name="T68" fmla="*/ 232 w 241"/>
                    <a:gd name="T69" fmla="*/ 211 h 286"/>
                    <a:gd name="T70" fmla="*/ 218 w 241"/>
                    <a:gd name="T71" fmla="*/ 239 h 286"/>
                    <a:gd name="T72" fmla="*/ 200 w 241"/>
                    <a:gd name="T73" fmla="*/ 259 h 286"/>
                    <a:gd name="T74" fmla="*/ 179 w 241"/>
                    <a:gd name="T75" fmla="*/ 274 h 286"/>
                    <a:gd name="T76" fmla="*/ 153 w 241"/>
                    <a:gd name="T77" fmla="*/ 284 h 286"/>
                    <a:gd name="T78" fmla="*/ 121 w 241"/>
                    <a:gd name="T79" fmla="*/ 286 h 286"/>
                    <a:gd name="T80" fmla="*/ 90 w 241"/>
                    <a:gd name="T81" fmla="*/ 284 h 286"/>
                    <a:gd name="T82" fmla="*/ 63 w 241"/>
                    <a:gd name="T83" fmla="*/ 274 h 286"/>
                    <a:gd name="T84" fmla="*/ 41 w 241"/>
                    <a:gd name="T85" fmla="*/ 259 h 286"/>
                    <a:gd name="T86" fmla="*/ 23 w 241"/>
                    <a:gd name="T87" fmla="*/ 239 h 286"/>
                    <a:gd name="T88" fmla="*/ 11 w 241"/>
                    <a:gd name="T89" fmla="*/ 211 h 286"/>
                    <a:gd name="T90" fmla="*/ 3 w 241"/>
                    <a:gd name="T91" fmla="*/ 180 h 286"/>
                    <a:gd name="T92" fmla="*/ 0 w 241"/>
                    <a:gd name="T93" fmla="*/ 143 h 286"/>
                    <a:gd name="T94" fmla="*/ 3 w 241"/>
                    <a:gd name="T95" fmla="*/ 106 h 286"/>
                    <a:gd name="T96" fmla="*/ 11 w 241"/>
                    <a:gd name="T97" fmla="*/ 75 h 286"/>
                    <a:gd name="T98" fmla="*/ 23 w 241"/>
                    <a:gd name="T99" fmla="*/ 48 h 286"/>
                    <a:gd name="T100" fmla="*/ 41 w 241"/>
                    <a:gd name="T101" fmla="*/ 27 h 286"/>
                    <a:gd name="T102" fmla="*/ 63 w 241"/>
                    <a:gd name="T103" fmla="*/ 12 h 286"/>
                    <a:gd name="T104" fmla="*/ 90 w 241"/>
                    <a:gd name="T105" fmla="*/ 3 h 286"/>
                    <a:gd name="T106" fmla="*/ 121 w 241"/>
                    <a:gd name="T107" fmla="*/ 0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1" h="286">
                      <a:moveTo>
                        <a:pt x="121" y="38"/>
                      </a:moveTo>
                      <a:lnTo>
                        <a:pt x="99" y="41"/>
                      </a:lnTo>
                      <a:lnTo>
                        <a:pt x="82" y="49"/>
                      </a:lnTo>
                      <a:lnTo>
                        <a:pt x="67" y="63"/>
                      </a:lnTo>
                      <a:lnTo>
                        <a:pt x="57" y="83"/>
                      </a:lnTo>
                      <a:lnTo>
                        <a:pt x="52" y="110"/>
                      </a:lnTo>
                      <a:lnTo>
                        <a:pt x="49" y="143"/>
                      </a:lnTo>
                      <a:lnTo>
                        <a:pt x="52" y="176"/>
                      </a:lnTo>
                      <a:lnTo>
                        <a:pt x="57" y="202"/>
                      </a:lnTo>
                      <a:lnTo>
                        <a:pt x="67" y="222"/>
                      </a:lnTo>
                      <a:lnTo>
                        <a:pt x="82" y="237"/>
                      </a:lnTo>
                      <a:lnTo>
                        <a:pt x="99" y="245"/>
                      </a:lnTo>
                      <a:lnTo>
                        <a:pt x="121" y="248"/>
                      </a:lnTo>
                      <a:lnTo>
                        <a:pt x="143" y="245"/>
                      </a:lnTo>
                      <a:lnTo>
                        <a:pt x="161" y="237"/>
                      </a:lnTo>
                      <a:lnTo>
                        <a:pt x="175" y="222"/>
                      </a:lnTo>
                      <a:lnTo>
                        <a:pt x="184" y="202"/>
                      </a:lnTo>
                      <a:lnTo>
                        <a:pt x="191" y="176"/>
                      </a:lnTo>
                      <a:lnTo>
                        <a:pt x="192" y="143"/>
                      </a:lnTo>
                      <a:lnTo>
                        <a:pt x="191" y="110"/>
                      </a:lnTo>
                      <a:lnTo>
                        <a:pt x="184" y="83"/>
                      </a:lnTo>
                      <a:lnTo>
                        <a:pt x="175" y="63"/>
                      </a:lnTo>
                      <a:lnTo>
                        <a:pt x="161" y="49"/>
                      </a:lnTo>
                      <a:lnTo>
                        <a:pt x="143" y="41"/>
                      </a:lnTo>
                      <a:lnTo>
                        <a:pt x="121" y="38"/>
                      </a:lnTo>
                      <a:close/>
                      <a:moveTo>
                        <a:pt x="121" y="0"/>
                      </a:moveTo>
                      <a:lnTo>
                        <a:pt x="153" y="3"/>
                      </a:lnTo>
                      <a:lnTo>
                        <a:pt x="179" y="12"/>
                      </a:lnTo>
                      <a:lnTo>
                        <a:pt x="200" y="27"/>
                      </a:lnTo>
                      <a:lnTo>
                        <a:pt x="218" y="48"/>
                      </a:lnTo>
                      <a:lnTo>
                        <a:pt x="232" y="75"/>
                      </a:lnTo>
                      <a:lnTo>
                        <a:pt x="239" y="106"/>
                      </a:lnTo>
                      <a:lnTo>
                        <a:pt x="241" y="143"/>
                      </a:lnTo>
                      <a:lnTo>
                        <a:pt x="239" y="180"/>
                      </a:lnTo>
                      <a:lnTo>
                        <a:pt x="232" y="211"/>
                      </a:lnTo>
                      <a:lnTo>
                        <a:pt x="218" y="239"/>
                      </a:lnTo>
                      <a:lnTo>
                        <a:pt x="200" y="259"/>
                      </a:lnTo>
                      <a:lnTo>
                        <a:pt x="179" y="274"/>
                      </a:lnTo>
                      <a:lnTo>
                        <a:pt x="153" y="284"/>
                      </a:lnTo>
                      <a:lnTo>
                        <a:pt x="121" y="286"/>
                      </a:lnTo>
                      <a:lnTo>
                        <a:pt x="90" y="284"/>
                      </a:lnTo>
                      <a:lnTo>
                        <a:pt x="63" y="274"/>
                      </a:lnTo>
                      <a:lnTo>
                        <a:pt x="41" y="259"/>
                      </a:lnTo>
                      <a:lnTo>
                        <a:pt x="23" y="239"/>
                      </a:lnTo>
                      <a:lnTo>
                        <a:pt x="11" y="211"/>
                      </a:lnTo>
                      <a:lnTo>
                        <a:pt x="3" y="180"/>
                      </a:lnTo>
                      <a:lnTo>
                        <a:pt x="0" y="143"/>
                      </a:lnTo>
                      <a:lnTo>
                        <a:pt x="3" y="106"/>
                      </a:lnTo>
                      <a:lnTo>
                        <a:pt x="11" y="75"/>
                      </a:lnTo>
                      <a:lnTo>
                        <a:pt x="23" y="48"/>
                      </a:lnTo>
                      <a:lnTo>
                        <a:pt x="41" y="27"/>
                      </a:lnTo>
                      <a:lnTo>
                        <a:pt x="63" y="12"/>
                      </a:lnTo>
                      <a:lnTo>
                        <a:pt x="90" y="3"/>
                      </a:lnTo>
                      <a:lnTo>
                        <a:pt x="12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" name="Freeform 72"/>
                <p:cNvSpPr>
                  <a:spLocks noEditPoints="1"/>
                </p:cNvSpPr>
                <p:nvPr/>
              </p:nvSpPr>
              <p:spPr bwMode="auto">
                <a:xfrm>
                  <a:off x="-808" y="2707"/>
                  <a:ext cx="120" cy="143"/>
                </a:xfrm>
                <a:custGeom>
                  <a:avLst/>
                  <a:gdLst>
                    <a:gd name="T0" fmla="*/ 120 w 242"/>
                    <a:gd name="T1" fmla="*/ 38 h 286"/>
                    <a:gd name="T2" fmla="*/ 99 w 242"/>
                    <a:gd name="T3" fmla="*/ 41 h 286"/>
                    <a:gd name="T4" fmla="*/ 81 w 242"/>
                    <a:gd name="T5" fmla="*/ 49 h 286"/>
                    <a:gd name="T6" fmla="*/ 67 w 242"/>
                    <a:gd name="T7" fmla="*/ 63 h 286"/>
                    <a:gd name="T8" fmla="*/ 56 w 242"/>
                    <a:gd name="T9" fmla="*/ 83 h 286"/>
                    <a:gd name="T10" fmla="*/ 51 w 242"/>
                    <a:gd name="T11" fmla="*/ 110 h 286"/>
                    <a:gd name="T12" fmla="*/ 49 w 242"/>
                    <a:gd name="T13" fmla="*/ 143 h 286"/>
                    <a:gd name="T14" fmla="*/ 51 w 242"/>
                    <a:gd name="T15" fmla="*/ 176 h 286"/>
                    <a:gd name="T16" fmla="*/ 56 w 242"/>
                    <a:gd name="T17" fmla="*/ 202 h 286"/>
                    <a:gd name="T18" fmla="*/ 67 w 242"/>
                    <a:gd name="T19" fmla="*/ 222 h 286"/>
                    <a:gd name="T20" fmla="*/ 81 w 242"/>
                    <a:gd name="T21" fmla="*/ 237 h 286"/>
                    <a:gd name="T22" fmla="*/ 99 w 242"/>
                    <a:gd name="T23" fmla="*/ 245 h 286"/>
                    <a:gd name="T24" fmla="*/ 120 w 242"/>
                    <a:gd name="T25" fmla="*/ 248 h 286"/>
                    <a:gd name="T26" fmla="*/ 142 w 242"/>
                    <a:gd name="T27" fmla="*/ 245 h 286"/>
                    <a:gd name="T28" fmla="*/ 160 w 242"/>
                    <a:gd name="T29" fmla="*/ 237 h 286"/>
                    <a:gd name="T30" fmla="*/ 174 w 242"/>
                    <a:gd name="T31" fmla="*/ 222 h 286"/>
                    <a:gd name="T32" fmla="*/ 185 w 242"/>
                    <a:gd name="T33" fmla="*/ 202 h 286"/>
                    <a:gd name="T34" fmla="*/ 190 w 242"/>
                    <a:gd name="T35" fmla="*/ 176 h 286"/>
                    <a:gd name="T36" fmla="*/ 193 w 242"/>
                    <a:gd name="T37" fmla="*/ 143 h 286"/>
                    <a:gd name="T38" fmla="*/ 190 w 242"/>
                    <a:gd name="T39" fmla="*/ 110 h 286"/>
                    <a:gd name="T40" fmla="*/ 185 w 242"/>
                    <a:gd name="T41" fmla="*/ 83 h 286"/>
                    <a:gd name="T42" fmla="*/ 174 w 242"/>
                    <a:gd name="T43" fmla="*/ 63 h 286"/>
                    <a:gd name="T44" fmla="*/ 160 w 242"/>
                    <a:gd name="T45" fmla="*/ 49 h 286"/>
                    <a:gd name="T46" fmla="*/ 142 w 242"/>
                    <a:gd name="T47" fmla="*/ 41 h 286"/>
                    <a:gd name="T48" fmla="*/ 120 w 242"/>
                    <a:gd name="T49" fmla="*/ 38 h 286"/>
                    <a:gd name="T50" fmla="*/ 120 w 242"/>
                    <a:gd name="T51" fmla="*/ 0 h 286"/>
                    <a:gd name="T52" fmla="*/ 152 w 242"/>
                    <a:gd name="T53" fmla="*/ 3 h 286"/>
                    <a:gd name="T54" fmla="*/ 179 w 242"/>
                    <a:gd name="T55" fmla="*/ 12 h 286"/>
                    <a:gd name="T56" fmla="*/ 201 w 242"/>
                    <a:gd name="T57" fmla="*/ 27 h 286"/>
                    <a:gd name="T58" fmla="*/ 219 w 242"/>
                    <a:gd name="T59" fmla="*/ 48 h 286"/>
                    <a:gd name="T60" fmla="*/ 231 w 242"/>
                    <a:gd name="T61" fmla="*/ 75 h 286"/>
                    <a:gd name="T62" fmla="*/ 239 w 242"/>
                    <a:gd name="T63" fmla="*/ 106 h 286"/>
                    <a:gd name="T64" fmla="*/ 242 w 242"/>
                    <a:gd name="T65" fmla="*/ 143 h 286"/>
                    <a:gd name="T66" fmla="*/ 239 w 242"/>
                    <a:gd name="T67" fmla="*/ 180 h 286"/>
                    <a:gd name="T68" fmla="*/ 231 w 242"/>
                    <a:gd name="T69" fmla="*/ 211 h 286"/>
                    <a:gd name="T70" fmla="*/ 219 w 242"/>
                    <a:gd name="T71" fmla="*/ 239 h 286"/>
                    <a:gd name="T72" fmla="*/ 201 w 242"/>
                    <a:gd name="T73" fmla="*/ 259 h 286"/>
                    <a:gd name="T74" fmla="*/ 179 w 242"/>
                    <a:gd name="T75" fmla="*/ 274 h 286"/>
                    <a:gd name="T76" fmla="*/ 152 w 242"/>
                    <a:gd name="T77" fmla="*/ 284 h 286"/>
                    <a:gd name="T78" fmla="*/ 120 w 242"/>
                    <a:gd name="T79" fmla="*/ 286 h 286"/>
                    <a:gd name="T80" fmla="*/ 89 w 242"/>
                    <a:gd name="T81" fmla="*/ 284 h 286"/>
                    <a:gd name="T82" fmla="*/ 63 w 242"/>
                    <a:gd name="T83" fmla="*/ 274 h 286"/>
                    <a:gd name="T84" fmla="*/ 40 w 242"/>
                    <a:gd name="T85" fmla="*/ 259 h 286"/>
                    <a:gd name="T86" fmla="*/ 22 w 242"/>
                    <a:gd name="T87" fmla="*/ 239 h 286"/>
                    <a:gd name="T88" fmla="*/ 10 w 242"/>
                    <a:gd name="T89" fmla="*/ 211 h 286"/>
                    <a:gd name="T90" fmla="*/ 2 w 242"/>
                    <a:gd name="T91" fmla="*/ 180 h 286"/>
                    <a:gd name="T92" fmla="*/ 0 w 242"/>
                    <a:gd name="T93" fmla="*/ 143 h 286"/>
                    <a:gd name="T94" fmla="*/ 2 w 242"/>
                    <a:gd name="T95" fmla="*/ 106 h 286"/>
                    <a:gd name="T96" fmla="*/ 10 w 242"/>
                    <a:gd name="T97" fmla="*/ 75 h 286"/>
                    <a:gd name="T98" fmla="*/ 22 w 242"/>
                    <a:gd name="T99" fmla="*/ 48 h 286"/>
                    <a:gd name="T100" fmla="*/ 40 w 242"/>
                    <a:gd name="T101" fmla="*/ 27 h 286"/>
                    <a:gd name="T102" fmla="*/ 63 w 242"/>
                    <a:gd name="T103" fmla="*/ 12 h 286"/>
                    <a:gd name="T104" fmla="*/ 89 w 242"/>
                    <a:gd name="T105" fmla="*/ 3 h 286"/>
                    <a:gd name="T106" fmla="*/ 120 w 242"/>
                    <a:gd name="T107" fmla="*/ 0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2" h="286">
                      <a:moveTo>
                        <a:pt x="120" y="38"/>
                      </a:moveTo>
                      <a:lnTo>
                        <a:pt x="99" y="41"/>
                      </a:lnTo>
                      <a:lnTo>
                        <a:pt x="81" y="49"/>
                      </a:lnTo>
                      <a:lnTo>
                        <a:pt x="67" y="63"/>
                      </a:lnTo>
                      <a:lnTo>
                        <a:pt x="56" y="83"/>
                      </a:lnTo>
                      <a:lnTo>
                        <a:pt x="51" y="110"/>
                      </a:lnTo>
                      <a:lnTo>
                        <a:pt x="49" y="143"/>
                      </a:lnTo>
                      <a:lnTo>
                        <a:pt x="51" y="176"/>
                      </a:lnTo>
                      <a:lnTo>
                        <a:pt x="56" y="202"/>
                      </a:lnTo>
                      <a:lnTo>
                        <a:pt x="67" y="222"/>
                      </a:lnTo>
                      <a:lnTo>
                        <a:pt x="81" y="237"/>
                      </a:lnTo>
                      <a:lnTo>
                        <a:pt x="99" y="245"/>
                      </a:lnTo>
                      <a:lnTo>
                        <a:pt x="120" y="248"/>
                      </a:lnTo>
                      <a:lnTo>
                        <a:pt x="142" y="245"/>
                      </a:lnTo>
                      <a:lnTo>
                        <a:pt x="160" y="237"/>
                      </a:lnTo>
                      <a:lnTo>
                        <a:pt x="174" y="222"/>
                      </a:lnTo>
                      <a:lnTo>
                        <a:pt x="185" y="202"/>
                      </a:lnTo>
                      <a:lnTo>
                        <a:pt x="190" y="176"/>
                      </a:lnTo>
                      <a:lnTo>
                        <a:pt x="193" y="143"/>
                      </a:lnTo>
                      <a:lnTo>
                        <a:pt x="190" y="110"/>
                      </a:lnTo>
                      <a:lnTo>
                        <a:pt x="185" y="83"/>
                      </a:lnTo>
                      <a:lnTo>
                        <a:pt x="174" y="63"/>
                      </a:lnTo>
                      <a:lnTo>
                        <a:pt x="160" y="49"/>
                      </a:lnTo>
                      <a:lnTo>
                        <a:pt x="142" y="41"/>
                      </a:lnTo>
                      <a:lnTo>
                        <a:pt x="120" y="38"/>
                      </a:lnTo>
                      <a:close/>
                      <a:moveTo>
                        <a:pt x="120" y="0"/>
                      </a:moveTo>
                      <a:lnTo>
                        <a:pt x="152" y="3"/>
                      </a:lnTo>
                      <a:lnTo>
                        <a:pt x="179" y="12"/>
                      </a:lnTo>
                      <a:lnTo>
                        <a:pt x="201" y="27"/>
                      </a:lnTo>
                      <a:lnTo>
                        <a:pt x="219" y="48"/>
                      </a:lnTo>
                      <a:lnTo>
                        <a:pt x="231" y="75"/>
                      </a:lnTo>
                      <a:lnTo>
                        <a:pt x="239" y="106"/>
                      </a:lnTo>
                      <a:lnTo>
                        <a:pt x="242" y="143"/>
                      </a:lnTo>
                      <a:lnTo>
                        <a:pt x="239" y="180"/>
                      </a:lnTo>
                      <a:lnTo>
                        <a:pt x="231" y="211"/>
                      </a:lnTo>
                      <a:lnTo>
                        <a:pt x="219" y="239"/>
                      </a:lnTo>
                      <a:lnTo>
                        <a:pt x="201" y="259"/>
                      </a:lnTo>
                      <a:lnTo>
                        <a:pt x="179" y="274"/>
                      </a:lnTo>
                      <a:lnTo>
                        <a:pt x="152" y="284"/>
                      </a:lnTo>
                      <a:lnTo>
                        <a:pt x="120" y="286"/>
                      </a:lnTo>
                      <a:lnTo>
                        <a:pt x="89" y="284"/>
                      </a:lnTo>
                      <a:lnTo>
                        <a:pt x="63" y="274"/>
                      </a:lnTo>
                      <a:lnTo>
                        <a:pt x="40" y="259"/>
                      </a:lnTo>
                      <a:lnTo>
                        <a:pt x="22" y="239"/>
                      </a:lnTo>
                      <a:lnTo>
                        <a:pt x="10" y="211"/>
                      </a:lnTo>
                      <a:lnTo>
                        <a:pt x="2" y="180"/>
                      </a:lnTo>
                      <a:lnTo>
                        <a:pt x="0" y="143"/>
                      </a:lnTo>
                      <a:lnTo>
                        <a:pt x="2" y="106"/>
                      </a:lnTo>
                      <a:lnTo>
                        <a:pt x="10" y="75"/>
                      </a:lnTo>
                      <a:lnTo>
                        <a:pt x="22" y="48"/>
                      </a:lnTo>
                      <a:lnTo>
                        <a:pt x="40" y="27"/>
                      </a:lnTo>
                      <a:lnTo>
                        <a:pt x="63" y="12"/>
                      </a:lnTo>
                      <a:lnTo>
                        <a:pt x="89" y="3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" name="Freeform 73"/>
                <p:cNvSpPr>
                  <a:spLocks/>
                </p:cNvSpPr>
                <p:nvPr/>
              </p:nvSpPr>
              <p:spPr bwMode="auto">
                <a:xfrm>
                  <a:off x="-682" y="2708"/>
                  <a:ext cx="52" cy="141"/>
                </a:xfrm>
                <a:custGeom>
                  <a:avLst/>
                  <a:gdLst>
                    <a:gd name="T0" fmla="*/ 0 w 103"/>
                    <a:gd name="T1" fmla="*/ 0 h 284"/>
                    <a:gd name="T2" fmla="*/ 103 w 103"/>
                    <a:gd name="T3" fmla="*/ 0 h 284"/>
                    <a:gd name="T4" fmla="*/ 103 w 103"/>
                    <a:gd name="T5" fmla="*/ 284 h 284"/>
                    <a:gd name="T6" fmla="*/ 56 w 103"/>
                    <a:gd name="T7" fmla="*/ 284 h 284"/>
                    <a:gd name="T8" fmla="*/ 56 w 103"/>
                    <a:gd name="T9" fmla="*/ 43 h 284"/>
                    <a:gd name="T10" fmla="*/ 0 w 103"/>
                    <a:gd name="T11" fmla="*/ 43 h 284"/>
                    <a:gd name="T12" fmla="*/ 0 w 103"/>
                    <a:gd name="T13" fmla="*/ 0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3" h="284">
                      <a:moveTo>
                        <a:pt x="0" y="0"/>
                      </a:moveTo>
                      <a:lnTo>
                        <a:pt x="103" y="0"/>
                      </a:lnTo>
                      <a:lnTo>
                        <a:pt x="103" y="284"/>
                      </a:lnTo>
                      <a:lnTo>
                        <a:pt x="56" y="284"/>
                      </a:lnTo>
                      <a:lnTo>
                        <a:pt x="56" y="43"/>
                      </a:lnTo>
                      <a:lnTo>
                        <a:pt x="0" y="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8" name="Freeform 74"/>
                <p:cNvSpPr>
                  <a:spLocks/>
                </p:cNvSpPr>
                <p:nvPr/>
              </p:nvSpPr>
              <p:spPr bwMode="auto">
                <a:xfrm>
                  <a:off x="-476" y="2708"/>
                  <a:ext cx="52" cy="141"/>
                </a:xfrm>
                <a:custGeom>
                  <a:avLst/>
                  <a:gdLst>
                    <a:gd name="T0" fmla="*/ 0 w 103"/>
                    <a:gd name="T1" fmla="*/ 0 h 284"/>
                    <a:gd name="T2" fmla="*/ 103 w 103"/>
                    <a:gd name="T3" fmla="*/ 0 h 284"/>
                    <a:gd name="T4" fmla="*/ 103 w 103"/>
                    <a:gd name="T5" fmla="*/ 284 h 284"/>
                    <a:gd name="T6" fmla="*/ 56 w 103"/>
                    <a:gd name="T7" fmla="*/ 284 h 284"/>
                    <a:gd name="T8" fmla="*/ 56 w 103"/>
                    <a:gd name="T9" fmla="*/ 43 h 284"/>
                    <a:gd name="T10" fmla="*/ 0 w 103"/>
                    <a:gd name="T11" fmla="*/ 43 h 284"/>
                    <a:gd name="T12" fmla="*/ 0 w 103"/>
                    <a:gd name="T13" fmla="*/ 0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3" h="284">
                      <a:moveTo>
                        <a:pt x="0" y="0"/>
                      </a:moveTo>
                      <a:lnTo>
                        <a:pt x="103" y="0"/>
                      </a:lnTo>
                      <a:lnTo>
                        <a:pt x="103" y="284"/>
                      </a:lnTo>
                      <a:lnTo>
                        <a:pt x="56" y="284"/>
                      </a:lnTo>
                      <a:lnTo>
                        <a:pt x="56" y="43"/>
                      </a:lnTo>
                      <a:lnTo>
                        <a:pt x="0" y="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9" name="Freeform 75"/>
                <p:cNvSpPr>
                  <a:spLocks/>
                </p:cNvSpPr>
                <p:nvPr/>
              </p:nvSpPr>
              <p:spPr bwMode="auto">
                <a:xfrm>
                  <a:off x="-754" y="2490"/>
                  <a:ext cx="52" cy="142"/>
                </a:xfrm>
                <a:custGeom>
                  <a:avLst/>
                  <a:gdLst>
                    <a:gd name="T0" fmla="*/ 0 w 104"/>
                    <a:gd name="T1" fmla="*/ 0 h 284"/>
                    <a:gd name="T2" fmla="*/ 104 w 104"/>
                    <a:gd name="T3" fmla="*/ 0 h 284"/>
                    <a:gd name="T4" fmla="*/ 104 w 104"/>
                    <a:gd name="T5" fmla="*/ 284 h 284"/>
                    <a:gd name="T6" fmla="*/ 55 w 104"/>
                    <a:gd name="T7" fmla="*/ 284 h 284"/>
                    <a:gd name="T8" fmla="*/ 55 w 104"/>
                    <a:gd name="T9" fmla="*/ 43 h 284"/>
                    <a:gd name="T10" fmla="*/ 0 w 104"/>
                    <a:gd name="T11" fmla="*/ 43 h 284"/>
                    <a:gd name="T12" fmla="*/ 0 w 104"/>
                    <a:gd name="T13" fmla="*/ 0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4" h="284">
                      <a:moveTo>
                        <a:pt x="0" y="0"/>
                      </a:moveTo>
                      <a:lnTo>
                        <a:pt x="104" y="0"/>
                      </a:lnTo>
                      <a:lnTo>
                        <a:pt x="104" y="284"/>
                      </a:lnTo>
                      <a:lnTo>
                        <a:pt x="55" y="284"/>
                      </a:lnTo>
                      <a:lnTo>
                        <a:pt x="55" y="43"/>
                      </a:lnTo>
                      <a:lnTo>
                        <a:pt x="0" y="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0" name="Freeform 76"/>
                <p:cNvSpPr>
                  <a:spLocks noEditPoints="1"/>
                </p:cNvSpPr>
                <p:nvPr/>
              </p:nvSpPr>
              <p:spPr bwMode="auto">
                <a:xfrm>
                  <a:off x="-953" y="2489"/>
                  <a:ext cx="121" cy="144"/>
                </a:xfrm>
                <a:custGeom>
                  <a:avLst/>
                  <a:gdLst>
                    <a:gd name="T0" fmla="*/ 122 w 242"/>
                    <a:gd name="T1" fmla="*/ 38 h 286"/>
                    <a:gd name="T2" fmla="*/ 100 w 242"/>
                    <a:gd name="T3" fmla="*/ 41 h 286"/>
                    <a:gd name="T4" fmla="*/ 82 w 242"/>
                    <a:gd name="T5" fmla="*/ 49 h 286"/>
                    <a:gd name="T6" fmla="*/ 67 w 242"/>
                    <a:gd name="T7" fmla="*/ 64 h 286"/>
                    <a:gd name="T8" fmla="*/ 57 w 242"/>
                    <a:gd name="T9" fmla="*/ 84 h 286"/>
                    <a:gd name="T10" fmla="*/ 52 w 242"/>
                    <a:gd name="T11" fmla="*/ 110 h 286"/>
                    <a:gd name="T12" fmla="*/ 49 w 242"/>
                    <a:gd name="T13" fmla="*/ 143 h 286"/>
                    <a:gd name="T14" fmla="*/ 52 w 242"/>
                    <a:gd name="T15" fmla="*/ 176 h 286"/>
                    <a:gd name="T16" fmla="*/ 57 w 242"/>
                    <a:gd name="T17" fmla="*/ 203 h 286"/>
                    <a:gd name="T18" fmla="*/ 67 w 242"/>
                    <a:gd name="T19" fmla="*/ 224 h 286"/>
                    <a:gd name="T20" fmla="*/ 82 w 242"/>
                    <a:gd name="T21" fmla="*/ 237 h 286"/>
                    <a:gd name="T22" fmla="*/ 100 w 242"/>
                    <a:gd name="T23" fmla="*/ 247 h 286"/>
                    <a:gd name="T24" fmla="*/ 122 w 242"/>
                    <a:gd name="T25" fmla="*/ 249 h 286"/>
                    <a:gd name="T26" fmla="*/ 143 w 242"/>
                    <a:gd name="T27" fmla="*/ 247 h 286"/>
                    <a:gd name="T28" fmla="*/ 161 w 242"/>
                    <a:gd name="T29" fmla="*/ 237 h 286"/>
                    <a:gd name="T30" fmla="*/ 175 w 242"/>
                    <a:gd name="T31" fmla="*/ 224 h 286"/>
                    <a:gd name="T32" fmla="*/ 184 w 242"/>
                    <a:gd name="T33" fmla="*/ 203 h 286"/>
                    <a:gd name="T34" fmla="*/ 191 w 242"/>
                    <a:gd name="T35" fmla="*/ 176 h 286"/>
                    <a:gd name="T36" fmla="*/ 193 w 242"/>
                    <a:gd name="T37" fmla="*/ 143 h 286"/>
                    <a:gd name="T38" fmla="*/ 191 w 242"/>
                    <a:gd name="T39" fmla="*/ 110 h 286"/>
                    <a:gd name="T40" fmla="*/ 184 w 242"/>
                    <a:gd name="T41" fmla="*/ 84 h 286"/>
                    <a:gd name="T42" fmla="*/ 175 w 242"/>
                    <a:gd name="T43" fmla="*/ 64 h 286"/>
                    <a:gd name="T44" fmla="*/ 161 w 242"/>
                    <a:gd name="T45" fmla="*/ 49 h 286"/>
                    <a:gd name="T46" fmla="*/ 143 w 242"/>
                    <a:gd name="T47" fmla="*/ 41 h 286"/>
                    <a:gd name="T48" fmla="*/ 122 w 242"/>
                    <a:gd name="T49" fmla="*/ 38 h 286"/>
                    <a:gd name="T50" fmla="*/ 122 w 242"/>
                    <a:gd name="T51" fmla="*/ 0 h 286"/>
                    <a:gd name="T52" fmla="*/ 153 w 242"/>
                    <a:gd name="T53" fmla="*/ 3 h 286"/>
                    <a:gd name="T54" fmla="*/ 179 w 242"/>
                    <a:gd name="T55" fmla="*/ 12 h 286"/>
                    <a:gd name="T56" fmla="*/ 202 w 242"/>
                    <a:gd name="T57" fmla="*/ 27 h 286"/>
                    <a:gd name="T58" fmla="*/ 218 w 242"/>
                    <a:gd name="T59" fmla="*/ 49 h 286"/>
                    <a:gd name="T60" fmla="*/ 232 w 242"/>
                    <a:gd name="T61" fmla="*/ 75 h 286"/>
                    <a:gd name="T62" fmla="*/ 239 w 242"/>
                    <a:gd name="T63" fmla="*/ 106 h 286"/>
                    <a:gd name="T64" fmla="*/ 242 w 242"/>
                    <a:gd name="T65" fmla="*/ 143 h 286"/>
                    <a:gd name="T66" fmla="*/ 239 w 242"/>
                    <a:gd name="T67" fmla="*/ 180 h 286"/>
                    <a:gd name="T68" fmla="*/ 232 w 242"/>
                    <a:gd name="T69" fmla="*/ 213 h 286"/>
                    <a:gd name="T70" fmla="*/ 218 w 242"/>
                    <a:gd name="T71" fmla="*/ 239 h 286"/>
                    <a:gd name="T72" fmla="*/ 202 w 242"/>
                    <a:gd name="T73" fmla="*/ 259 h 286"/>
                    <a:gd name="T74" fmla="*/ 179 w 242"/>
                    <a:gd name="T75" fmla="*/ 274 h 286"/>
                    <a:gd name="T76" fmla="*/ 153 w 242"/>
                    <a:gd name="T77" fmla="*/ 284 h 286"/>
                    <a:gd name="T78" fmla="*/ 122 w 242"/>
                    <a:gd name="T79" fmla="*/ 286 h 286"/>
                    <a:gd name="T80" fmla="*/ 90 w 242"/>
                    <a:gd name="T81" fmla="*/ 284 h 286"/>
                    <a:gd name="T82" fmla="*/ 63 w 242"/>
                    <a:gd name="T83" fmla="*/ 274 h 286"/>
                    <a:gd name="T84" fmla="*/ 41 w 242"/>
                    <a:gd name="T85" fmla="*/ 259 h 286"/>
                    <a:gd name="T86" fmla="*/ 23 w 242"/>
                    <a:gd name="T87" fmla="*/ 239 h 286"/>
                    <a:gd name="T88" fmla="*/ 11 w 242"/>
                    <a:gd name="T89" fmla="*/ 213 h 286"/>
                    <a:gd name="T90" fmla="*/ 3 w 242"/>
                    <a:gd name="T91" fmla="*/ 180 h 286"/>
                    <a:gd name="T92" fmla="*/ 0 w 242"/>
                    <a:gd name="T93" fmla="*/ 143 h 286"/>
                    <a:gd name="T94" fmla="*/ 3 w 242"/>
                    <a:gd name="T95" fmla="*/ 106 h 286"/>
                    <a:gd name="T96" fmla="*/ 11 w 242"/>
                    <a:gd name="T97" fmla="*/ 75 h 286"/>
                    <a:gd name="T98" fmla="*/ 23 w 242"/>
                    <a:gd name="T99" fmla="*/ 49 h 286"/>
                    <a:gd name="T100" fmla="*/ 41 w 242"/>
                    <a:gd name="T101" fmla="*/ 27 h 286"/>
                    <a:gd name="T102" fmla="*/ 63 w 242"/>
                    <a:gd name="T103" fmla="*/ 12 h 286"/>
                    <a:gd name="T104" fmla="*/ 90 w 242"/>
                    <a:gd name="T105" fmla="*/ 3 h 286"/>
                    <a:gd name="T106" fmla="*/ 122 w 242"/>
                    <a:gd name="T107" fmla="*/ 0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2" h="286">
                      <a:moveTo>
                        <a:pt x="122" y="38"/>
                      </a:moveTo>
                      <a:lnTo>
                        <a:pt x="100" y="41"/>
                      </a:lnTo>
                      <a:lnTo>
                        <a:pt x="82" y="49"/>
                      </a:lnTo>
                      <a:lnTo>
                        <a:pt x="67" y="64"/>
                      </a:lnTo>
                      <a:lnTo>
                        <a:pt x="57" y="84"/>
                      </a:lnTo>
                      <a:lnTo>
                        <a:pt x="52" y="110"/>
                      </a:lnTo>
                      <a:lnTo>
                        <a:pt x="49" y="143"/>
                      </a:lnTo>
                      <a:lnTo>
                        <a:pt x="52" y="176"/>
                      </a:lnTo>
                      <a:lnTo>
                        <a:pt x="57" y="203"/>
                      </a:lnTo>
                      <a:lnTo>
                        <a:pt x="67" y="224"/>
                      </a:lnTo>
                      <a:lnTo>
                        <a:pt x="82" y="237"/>
                      </a:lnTo>
                      <a:lnTo>
                        <a:pt x="100" y="247"/>
                      </a:lnTo>
                      <a:lnTo>
                        <a:pt x="122" y="249"/>
                      </a:lnTo>
                      <a:lnTo>
                        <a:pt x="143" y="247"/>
                      </a:lnTo>
                      <a:lnTo>
                        <a:pt x="161" y="237"/>
                      </a:lnTo>
                      <a:lnTo>
                        <a:pt x="175" y="224"/>
                      </a:lnTo>
                      <a:lnTo>
                        <a:pt x="184" y="203"/>
                      </a:lnTo>
                      <a:lnTo>
                        <a:pt x="191" y="176"/>
                      </a:lnTo>
                      <a:lnTo>
                        <a:pt x="193" y="143"/>
                      </a:lnTo>
                      <a:lnTo>
                        <a:pt x="191" y="110"/>
                      </a:lnTo>
                      <a:lnTo>
                        <a:pt x="184" y="84"/>
                      </a:lnTo>
                      <a:lnTo>
                        <a:pt x="175" y="64"/>
                      </a:lnTo>
                      <a:lnTo>
                        <a:pt x="161" y="49"/>
                      </a:lnTo>
                      <a:lnTo>
                        <a:pt x="143" y="41"/>
                      </a:lnTo>
                      <a:lnTo>
                        <a:pt x="122" y="38"/>
                      </a:lnTo>
                      <a:close/>
                      <a:moveTo>
                        <a:pt x="122" y="0"/>
                      </a:moveTo>
                      <a:lnTo>
                        <a:pt x="153" y="3"/>
                      </a:lnTo>
                      <a:lnTo>
                        <a:pt x="179" y="12"/>
                      </a:lnTo>
                      <a:lnTo>
                        <a:pt x="202" y="27"/>
                      </a:lnTo>
                      <a:lnTo>
                        <a:pt x="218" y="49"/>
                      </a:lnTo>
                      <a:lnTo>
                        <a:pt x="232" y="75"/>
                      </a:lnTo>
                      <a:lnTo>
                        <a:pt x="239" y="106"/>
                      </a:lnTo>
                      <a:lnTo>
                        <a:pt x="242" y="143"/>
                      </a:lnTo>
                      <a:lnTo>
                        <a:pt x="239" y="180"/>
                      </a:lnTo>
                      <a:lnTo>
                        <a:pt x="232" y="213"/>
                      </a:lnTo>
                      <a:lnTo>
                        <a:pt x="218" y="239"/>
                      </a:lnTo>
                      <a:lnTo>
                        <a:pt x="202" y="259"/>
                      </a:lnTo>
                      <a:lnTo>
                        <a:pt x="179" y="274"/>
                      </a:lnTo>
                      <a:lnTo>
                        <a:pt x="153" y="284"/>
                      </a:lnTo>
                      <a:lnTo>
                        <a:pt x="122" y="286"/>
                      </a:lnTo>
                      <a:lnTo>
                        <a:pt x="90" y="284"/>
                      </a:lnTo>
                      <a:lnTo>
                        <a:pt x="63" y="274"/>
                      </a:lnTo>
                      <a:lnTo>
                        <a:pt x="41" y="259"/>
                      </a:lnTo>
                      <a:lnTo>
                        <a:pt x="23" y="239"/>
                      </a:lnTo>
                      <a:lnTo>
                        <a:pt x="11" y="213"/>
                      </a:lnTo>
                      <a:lnTo>
                        <a:pt x="3" y="180"/>
                      </a:lnTo>
                      <a:lnTo>
                        <a:pt x="0" y="143"/>
                      </a:lnTo>
                      <a:lnTo>
                        <a:pt x="3" y="106"/>
                      </a:lnTo>
                      <a:lnTo>
                        <a:pt x="11" y="75"/>
                      </a:lnTo>
                      <a:lnTo>
                        <a:pt x="23" y="49"/>
                      </a:lnTo>
                      <a:lnTo>
                        <a:pt x="41" y="27"/>
                      </a:lnTo>
                      <a:lnTo>
                        <a:pt x="63" y="12"/>
                      </a:lnTo>
                      <a:lnTo>
                        <a:pt x="90" y="3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1" name="Freeform 77"/>
                <p:cNvSpPr>
                  <a:spLocks/>
                </p:cNvSpPr>
                <p:nvPr/>
              </p:nvSpPr>
              <p:spPr bwMode="auto">
                <a:xfrm>
                  <a:off x="-826" y="2490"/>
                  <a:ext cx="52" cy="142"/>
                </a:xfrm>
                <a:custGeom>
                  <a:avLst/>
                  <a:gdLst>
                    <a:gd name="T0" fmla="*/ 0 w 104"/>
                    <a:gd name="T1" fmla="*/ 0 h 284"/>
                    <a:gd name="T2" fmla="*/ 104 w 104"/>
                    <a:gd name="T3" fmla="*/ 0 h 284"/>
                    <a:gd name="T4" fmla="*/ 104 w 104"/>
                    <a:gd name="T5" fmla="*/ 284 h 284"/>
                    <a:gd name="T6" fmla="*/ 56 w 104"/>
                    <a:gd name="T7" fmla="*/ 284 h 284"/>
                    <a:gd name="T8" fmla="*/ 56 w 104"/>
                    <a:gd name="T9" fmla="*/ 43 h 284"/>
                    <a:gd name="T10" fmla="*/ 0 w 104"/>
                    <a:gd name="T11" fmla="*/ 43 h 284"/>
                    <a:gd name="T12" fmla="*/ 0 w 104"/>
                    <a:gd name="T13" fmla="*/ 0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4" h="284">
                      <a:moveTo>
                        <a:pt x="0" y="0"/>
                      </a:moveTo>
                      <a:lnTo>
                        <a:pt x="104" y="0"/>
                      </a:lnTo>
                      <a:lnTo>
                        <a:pt x="104" y="284"/>
                      </a:lnTo>
                      <a:lnTo>
                        <a:pt x="56" y="284"/>
                      </a:lnTo>
                      <a:lnTo>
                        <a:pt x="56" y="43"/>
                      </a:lnTo>
                      <a:lnTo>
                        <a:pt x="0" y="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2" name="Freeform 78"/>
                <p:cNvSpPr>
                  <a:spLocks noEditPoints="1"/>
                </p:cNvSpPr>
                <p:nvPr/>
              </p:nvSpPr>
              <p:spPr bwMode="auto">
                <a:xfrm>
                  <a:off x="-1014" y="2272"/>
                  <a:ext cx="120" cy="144"/>
                </a:xfrm>
                <a:custGeom>
                  <a:avLst/>
                  <a:gdLst>
                    <a:gd name="T0" fmla="*/ 120 w 242"/>
                    <a:gd name="T1" fmla="*/ 38 h 288"/>
                    <a:gd name="T2" fmla="*/ 99 w 242"/>
                    <a:gd name="T3" fmla="*/ 41 h 288"/>
                    <a:gd name="T4" fmla="*/ 81 w 242"/>
                    <a:gd name="T5" fmla="*/ 49 h 288"/>
                    <a:gd name="T6" fmla="*/ 67 w 242"/>
                    <a:gd name="T7" fmla="*/ 64 h 288"/>
                    <a:gd name="T8" fmla="*/ 58 w 242"/>
                    <a:gd name="T9" fmla="*/ 84 h 288"/>
                    <a:gd name="T10" fmla="*/ 51 w 242"/>
                    <a:gd name="T11" fmla="*/ 110 h 288"/>
                    <a:gd name="T12" fmla="*/ 50 w 242"/>
                    <a:gd name="T13" fmla="*/ 144 h 288"/>
                    <a:gd name="T14" fmla="*/ 51 w 242"/>
                    <a:gd name="T15" fmla="*/ 177 h 288"/>
                    <a:gd name="T16" fmla="*/ 58 w 242"/>
                    <a:gd name="T17" fmla="*/ 203 h 288"/>
                    <a:gd name="T18" fmla="*/ 67 w 242"/>
                    <a:gd name="T19" fmla="*/ 224 h 288"/>
                    <a:gd name="T20" fmla="*/ 81 w 242"/>
                    <a:gd name="T21" fmla="*/ 239 h 288"/>
                    <a:gd name="T22" fmla="*/ 99 w 242"/>
                    <a:gd name="T23" fmla="*/ 247 h 288"/>
                    <a:gd name="T24" fmla="*/ 120 w 242"/>
                    <a:gd name="T25" fmla="*/ 249 h 288"/>
                    <a:gd name="T26" fmla="*/ 142 w 242"/>
                    <a:gd name="T27" fmla="*/ 247 h 288"/>
                    <a:gd name="T28" fmla="*/ 160 w 242"/>
                    <a:gd name="T29" fmla="*/ 239 h 288"/>
                    <a:gd name="T30" fmla="*/ 175 w 242"/>
                    <a:gd name="T31" fmla="*/ 224 h 288"/>
                    <a:gd name="T32" fmla="*/ 185 w 242"/>
                    <a:gd name="T33" fmla="*/ 203 h 288"/>
                    <a:gd name="T34" fmla="*/ 190 w 242"/>
                    <a:gd name="T35" fmla="*/ 177 h 288"/>
                    <a:gd name="T36" fmla="*/ 193 w 242"/>
                    <a:gd name="T37" fmla="*/ 144 h 288"/>
                    <a:gd name="T38" fmla="*/ 190 w 242"/>
                    <a:gd name="T39" fmla="*/ 110 h 288"/>
                    <a:gd name="T40" fmla="*/ 185 w 242"/>
                    <a:gd name="T41" fmla="*/ 84 h 288"/>
                    <a:gd name="T42" fmla="*/ 175 w 242"/>
                    <a:gd name="T43" fmla="*/ 64 h 288"/>
                    <a:gd name="T44" fmla="*/ 160 w 242"/>
                    <a:gd name="T45" fmla="*/ 49 h 288"/>
                    <a:gd name="T46" fmla="*/ 142 w 242"/>
                    <a:gd name="T47" fmla="*/ 41 h 288"/>
                    <a:gd name="T48" fmla="*/ 120 w 242"/>
                    <a:gd name="T49" fmla="*/ 38 h 288"/>
                    <a:gd name="T50" fmla="*/ 120 w 242"/>
                    <a:gd name="T51" fmla="*/ 0 h 288"/>
                    <a:gd name="T52" fmla="*/ 152 w 242"/>
                    <a:gd name="T53" fmla="*/ 4 h 288"/>
                    <a:gd name="T54" fmla="*/ 179 w 242"/>
                    <a:gd name="T55" fmla="*/ 12 h 288"/>
                    <a:gd name="T56" fmla="*/ 201 w 242"/>
                    <a:gd name="T57" fmla="*/ 29 h 288"/>
                    <a:gd name="T58" fmla="*/ 219 w 242"/>
                    <a:gd name="T59" fmla="*/ 49 h 288"/>
                    <a:gd name="T60" fmla="*/ 231 w 242"/>
                    <a:gd name="T61" fmla="*/ 75 h 288"/>
                    <a:gd name="T62" fmla="*/ 239 w 242"/>
                    <a:gd name="T63" fmla="*/ 106 h 288"/>
                    <a:gd name="T64" fmla="*/ 242 w 242"/>
                    <a:gd name="T65" fmla="*/ 144 h 288"/>
                    <a:gd name="T66" fmla="*/ 239 w 242"/>
                    <a:gd name="T67" fmla="*/ 181 h 288"/>
                    <a:gd name="T68" fmla="*/ 231 w 242"/>
                    <a:gd name="T69" fmla="*/ 213 h 288"/>
                    <a:gd name="T70" fmla="*/ 219 w 242"/>
                    <a:gd name="T71" fmla="*/ 239 h 288"/>
                    <a:gd name="T72" fmla="*/ 201 w 242"/>
                    <a:gd name="T73" fmla="*/ 260 h 288"/>
                    <a:gd name="T74" fmla="*/ 179 w 242"/>
                    <a:gd name="T75" fmla="*/ 275 h 288"/>
                    <a:gd name="T76" fmla="*/ 152 w 242"/>
                    <a:gd name="T77" fmla="*/ 284 h 288"/>
                    <a:gd name="T78" fmla="*/ 120 w 242"/>
                    <a:gd name="T79" fmla="*/ 288 h 288"/>
                    <a:gd name="T80" fmla="*/ 90 w 242"/>
                    <a:gd name="T81" fmla="*/ 284 h 288"/>
                    <a:gd name="T82" fmla="*/ 63 w 242"/>
                    <a:gd name="T83" fmla="*/ 275 h 288"/>
                    <a:gd name="T84" fmla="*/ 41 w 242"/>
                    <a:gd name="T85" fmla="*/ 260 h 288"/>
                    <a:gd name="T86" fmla="*/ 24 w 242"/>
                    <a:gd name="T87" fmla="*/ 239 h 288"/>
                    <a:gd name="T88" fmla="*/ 10 w 242"/>
                    <a:gd name="T89" fmla="*/ 213 h 288"/>
                    <a:gd name="T90" fmla="*/ 3 w 242"/>
                    <a:gd name="T91" fmla="*/ 181 h 288"/>
                    <a:gd name="T92" fmla="*/ 0 w 242"/>
                    <a:gd name="T93" fmla="*/ 144 h 288"/>
                    <a:gd name="T94" fmla="*/ 3 w 242"/>
                    <a:gd name="T95" fmla="*/ 106 h 288"/>
                    <a:gd name="T96" fmla="*/ 10 w 242"/>
                    <a:gd name="T97" fmla="*/ 75 h 288"/>
                    <a:gd name="T98" fmla="*/ 24 w 242"/>
                    <a:gd name="T99" fmla="*/ 49 h 288"/>
                    <a:gd name="T100" fmla="*/ 41 w 242"/>
                    <a:gd name="T101" fmla="*/ 29 h 288"/>
                    <a:gd name="T102" fmla="*/ 63 w 242"/>
                    <a:gd name="T103" fmla="*/ 12 h 288"/>
                    <a:gd name="T104" fmla="*/ 90 w 242"/>
                    <a:gd name="T105" fmla="*/ 4 h 288"/>
                    <a:gd name="T106" fmla="*/ 120 w 242"/>
                    <a:gd name="T107" fmla="*/ 0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2" h="288">
                      <a:moveTo>
                        <a:pt x="120" y="38"/>
                      </a:moveTo>
                      <a:lnTo>
                        <a:pt x="99" y="41"/>
                      </a:lnTo>
                      <a:lnTo>
                        <a:pt x="81" y="49"/>
                      </a:lnTo>
                      <a:lnTo>
                        <a:pt x="67" y="64"/>
                      </a:lnTo>
                      <a:lnTo>
                        <a:pt x="58" y="84"/>
                      </a:lnTo>
                      <a:lnTo>
                        <a:pt x="51" y="110"/>
                      </a:lnTo>
                      <a:lnTo>
                        <a:pt x="50" y="144"/>
                      </a:lnTo>
                      <a:lnTo>
                        <a:pt x="51" y="177"/>
                      </a:lnTo>
                      <a:lnTo>
                        <a:pt x="58" y="203"/>
                      </a:lnTo>
                      <a:lnTo>
                        <a:pt x="67" y="224"/>
                      </a:lnTo>
                      <a:lnTo>
                        <a:pt x="81" y="239"/>
                      </a:lnTo>
                      <a:lnTo>
                        <a:pt x="99" y="247"/>
                      </a:lnTo>
                      <a:lnTo>
                        <a:pt x="120" y="249"/>
                      </a:lnTo>
                      <a:lnTo>
                        <a:pt x="142" y="247"/>
                      </a:lnTo>
                      <a:lnTo>
                        <a:pt x="160" y="239"/>
                      </a:lnTo>
                      <a:lnTo>
                        <a:pt x="175" y="224"/>
                      </a:lnTo>
                      <a:lnTo>
                        <a:pt x="185" y="203"/>
                      </a:lnTo>
                      <a:lnTo>
                        <a:pt x="190" y="177"/>
                      </a:lnTo>
                      <a:lnTo>
                        <a:pt x="193" y="144"/>
                      </a:lnTo>
                      <a:lnTo>
                        <a:pt x="190" y="110"/>
                      </a:lnTo>
                      <a:lnTo>
                        <a:pt x="185" y="84"/>
                      </a:lnTo>
                      <a:lnTo>
                        <a:pt x="175" y="64"/>
                      </a:lnTo>
                      <a:lnTo>
                        <a:pt x="160" y="49"/>
                      </a:lnTo>
                      <a:lnTo>
                        <a:pt x="142" y="41"/>
                      </a:lnTo>
                      <a:lnTo>
                        <a:pt x="120" y="38"/>
                      </a:lnTo>
                      <a:close/>
                      <a:moveTo>
                        <a:pt x="120" y="0"/>
                      </a:moveTo>
                      <a:lnTo>
                        <a:pt x="152" y="4"/>
                      </a:lnTo>
                      <a:lnTo>
                        <a:pt x="179" y="12"/>
                      </a:lnTo>
                      <a:lnTo>
                        <a:pt x="201" y="29"/>
                      </a:lnTo>
                      <a:lnTo>
                        <a:pt x="219" y="49"/>
                      </a:lnTo>
                      <a:lnTo>
                        <a:pt x="231" y="75"/>
                      </a:lnTo>
                      <a:lnTo>
                        <a:pt x="239" y="106"/>
                      </a:lnTo>
                      <a:lnTo>
                        <a:pt x="242" y="144"/>
                      </a:lnTo>
                      <a:lnTo>
                        <a:pt x="239" y="181"/>
                      </a:lnTo>
                      <a:lnTo>
                        <a:pt x="231" y="213"/>
                      </a:lnTo>
                      <a:lnTo>
                        <a:pt x="219" y="239"/>
                      </a:lnTo>
                      <a:lnTo>
                        <a:pt x="201" y="260"/>
                      </a:lnTo>
                      <a:lnTo>
                        <a:pt x="179" y="275"/>
                      </a:lnTo>
                      <a:lnTo>
                        <a:pt x="152" y="284"/>
                      </a:lnTo>
                      <a:lnTo>
                        <a:pt x="120" y="288"/>
                      </a:lnTo>
                      <a:lnTo>
                        <a:pt x="90" y="284"/>
                      </a:lnTo>
                      <a:lnTo>
                        <a:pt x="63" y="275"/>
                      </a:lnTo>
                      <a:lnTo>
                        <a:pt x="41" y="260"/>
                      </a:lnTo>
                      <a:lnTo>
                        <a:pt x="24" y="239"/>
                      </a:lnTo>
                      <a:lnTo>
                        <a:pt x="10" y="213"/>
                      </a:lnTo>
                      <a:lnTo>
                        <a:pt x="3" y="181"/>
                      </a:lnTo>
                      <a:lnTo>
                        <a:pt x="0" y="144"/>
                      </a:lnTo>
                      <a:lnTo>
                        <a:pt x="3" y="106"/>
                      </a:lnTo>
                      <a:lnTo>
                        <a:pt x="10" y="75"/>
                      </a:lnTo>
                      <a:lnTo>
                        <a:pt x="24" y="49"/>
                      </a:lnTo>
                      <a:lnTo>
                        <a:pt x="41" y="29"/>
                      </a:lnTo>
                      <a:lnTo>
                        <a:pt x="63" y="12"/>
                      </a:lnTo>
                      <a:lnTo>
                        <a:pt x="90" y="4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3" name="Freeform 79"/>
                <p:cNvSpPr>
                  <a:spLocks noEditPoints="1"/>
                </p:cNvSpPr>
                <p:nvPr/>
              </p:nvSpPr>
              <p:spPr bwMode="auto">
                <a:xfrm>
                  <a:off x="-675" y="2489"/>
                  <a:ext cx="121" cy="144"/>
                </a:xfrm>
                <a:custGeom>
                  <a:avLst/>
                  <a:gdLst>
                    <a:gd name="T0" fmla="*/ 120 w 241"/>
                    <a:gd name="T1" fmla="*/ 38 h 286"/>
                    <a:gd name="T2" fmla="*/ 98 w 241"/>
                    <a:gd name="T3" fmla="*/ 41 h 286"/>
                    <a:gd name="T4" fmla="*/ 80 w 241"/>
                    <a:gd name="T5" fmla="*/ 49 h 286"/>
                    <a:gd name="T6" fmla="*/ 67 w 241"/>
                    <a:gd name="T7" fmla="*/ 64 h 286"/>
                    <a:gd name="T8" fmla="*/ 57 w 241"/>
                    <a:gd name="T9" fmla="*/ 84 h 286"/>
                    <a:gd name="T10" fmla="*/ 50 w 241"/>
                    <a:gd name="T11" fmla="*/ 110 h 286"/>
                    <a:gd name="T12" fmla="*/ 49 w 241"/>
                    <a:gd name="T13" fmla="*/ 143 h 286"/>
                    <a:gd name="T14" fmla="*/ 50 w 241"/>
                    <a:gd name="T15" fmla="*/ 176 h 286"/>
                    <a:gd name="T16" fmla="*/ 57 w 241"/>
                    <a:gd name="T17" fmla="*/ 203 h 286"/>
                    <a:gd name="T18" fmla="*/ 67 w 241"/>
                    <a:gd name="T19" fmla="*/ 224 h 286"/>
                    <a:gd name="T20" fmla="*/ 80 w 241"/>
                    <a:gd name="T21" fmla="*/ 237 h 286"/>
                    <a:gd name="T22" fmla="*/ 98 w 241"/>
                    <a:gd name="T23" fmla="*/ 247 h 286"/>
                    <a:gd name="T24" fmla="*/ 120 w 241"/>
                    <a:gd name="T25" fmla="*/ 249 h 286"/>
                    <a:gd name="T26" fmla="*/ 142 w 241"/>
                    <a:gd name="T27" fmla="*/ 247 h 286"/>
                    <a:gd name="T28" fmla="*/ 159 w 241"/>
                    <a:gd name="T29" fmla="*/ 237 h 286"/>
                    <a:gd name="T30" fmla="*/ 174 w 241"/>
                    <a:gd name="T31" fmla="*/ 224 h 286"/>
                    <a:gd name="T32" fmla="*/ 184 w 241"/>
                    <a:gd name="T33" fmla="*/ 203 h 286"/>
                    <a:gd name="T34" fmla="*/ 189 w 241"/>
                    <a:gd name="T35" fmla="*/ 176 h 286"/>
                    <a:gd name="T36" fmla="*/ 192 w 241"/>
                    <a:gd name="T37" fmla="*/ 143 h 286"/>
                    <a:gd name="T38" fmla="*/ 189 w 241"/>
                    <a:gd name="T39" fmla="*/ 110 h 286"/>
                    <a:gd name="T40" fmla="*/ 184 w 241"/>
                    <a:gd name="T41" fmla="*/ 84 h 286"/>
                    <a:gd name="T42" fmla="*/ 174 w 241"/>
                    <a:gd name="T43" fmla="*/ 64 h 286"/>
                    <a:gd name="T44" fmla="*/ 159 w 241"/>
                    <a:gd name="T45" fmla="*/ 49 h 286"/>
                    <a:gd name="T46" fmla="*/ 142 w 241"/>
                    <a:gd name="T47" fmla="*/ 41 h 286"/>
                    <a:gd name="T48" fmla="*/ 120 w 241"/>
                    <a:gd name="T49" fmla="*/ 38 h 286"/>
                    <a:gd name="T50" fmla="*/ 120 w 241"/>
                    <a:gd name="T51" fmla="*/ 0 h 286"/>
                    <a:gd name="T52" fmla="*/ 151 w 241"/>
                    <a:gd name="T53" fmla="*/ 3 h 286"/>
                    <a:gd name="T54" fmla="*/ 178 w 241"/>
                    <a:gd name="T55" fmla="*/ 12 h 286"/>
                    <a:gd name="T56" fmla="*/ 200 w 241"/>
                    <a:gd name="T57" fmla="*/ 27 h 286"/>
                    <a:gd name="T58" fmla="*/ 218 w 241"/>
                    <a:gd name="T59" fmla="*/ 49 h 286"/>
                    <a:gd name="T60" fmla="*/ 230 w 241"/>
                    <a:gd name="T61" fmla="*/ 75 h 286"/>
                    <a:gd name="T62" fmla="*/ 238 w 241"/>
                    <a:gd name="T63" fmla="*/ 106 h 286"/>
                    <a:gd name="T64" fmla="*/ 241 w 241"/>
                    <a:gd name="T65" fmla="*/ 143 h 286"/>
                    <a:gd name="T66" fmla="*/ 238 w 241"/>
                    <a:gd name="T67" fmla="*/ 180 h 286"/>
                    <a:gd name="T68" fmla="*/ 230 w 241"/>
                    <a:gd name="T69" fmla="*/ 213 h 286"/>
                    <a:gd name="T70" fmla="*/ 218 w 241"/>
                    <a:gd name="T71" fmla="*/ 239 h 286"/>
                    <a:gd name="T72" fmla="*/ 200 w 241"/>
                    <a:gd name="T73" fmla="*/ 259 h 286"/>
                    <a:gd name="T74" fmla="*/ 178 w 241"/>
                    <a:gd name="T75" fmla="*/ 274 h 286"/>
                    <a:gd name="T76" fmla="*/ 151 w 241"/>
                    <a:gd name="T77" fmla="*/ 284 h 286"/>
                    <a:gd name="T78" fmla="*/ 120 w 241"/>
                    <a:gd name="T79" fmla="*/ 286 h 286"/>
                    <a:gd name="T80" fmla="*/ 88 w 241"/>
                    <a:gd name="T81" fmla="*/ 284 h 286"/>
                    <a:gd name="T82" fmla="*/ 62 w 241"/>
                    <a:gd name="T83" fmla="*/ 274 h 286"/>
                    <a:gd name="T84" fmla="*/ 41 w 241"/>
                    <a:gd name="T85" fmla="*/ 259 h 286"/>
                    <a:gd name="T86" fmla="*/ 23 w 241"/>
                    <a:gd name="T87" fmla="*/ 239 h 286"/>
                    <a:gd name="T88" fmla="*/ 9 w 241"/>
                    <a:gd name="T89" fmla="*/ 213 h 286"/>
                    <a:gd name="T90" fmla="*/ 2 w 241"/>
                    <a:gd name="T91" fmla="*/ 180 h 286"/>
                    <a:gd name="T92" fmla="*/ 0 w 241"/>
                    <a:gd name="T93" fmla="*/ 143 h 286"/>
                    <a:gd name="T94" fmla="*/ 2 w 241"/>
                    <a:gd name="T95" fmla="*/ 106 h 286"/>
                    <a:gd name="T96" fmla="*/ 9 w 241"/>
                    <a:gd name="T97" fmla="*/ 75 h 286"/>
                    <a:gd name="T98" fmla="*/ 23 w 241"/>
                    <a:gd name="T99" fmla="*/ 49 h 286"/>
                    <a:gd name="T100" fmla="*/ 41 w 241"/>
                    <a:gd name="T101" fmla="*/ 27 h 286"/>
                    <a:gd name="T102" fmla="*/ 62 w 241"/>
                    <a:gd name="T103" fmla="*/ 12 h 286"/>
                    <a:gd name="T104" fmla="*/ 88 w 241"/>
                    <a:gd name="T105" fmla="*/ 3 h 286"/>
                    <a:gd name="T106" fmla="*/ 120 w 241"/>
                    <a:gd name="T107" fmla="*/ 0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1" h="286">
                      <a:moveTo>
                        <a:pt x="120" y="38"/>
                      </a:moveTo>
                      <a:lnTo>
                        <a:pt x="98" y="41"/>
                      </a:lnTo>
                      <a:lnTo>
                        <a:pt x="80" y="49"/>
                      </a:lnTo>
                      <a:lnTo>
                        <a:pt x="67" y="64"/>
                      </a:lnTo>
                      <a:lnTo>
                        <a:pt x="57" y="84"/>
                      </a:lnTo>
                      <a:lnTo>
                        <a:pt x="50" y="110"/>
                      </a:lnTo>
                      <a:lnTo>
                        <a:pt x="49" y="143"/>
                      </a:lnTo>
                      <a:lnTo>
                        <a:pt x="50" y="176"/>
                      </a:lnTo>
                      <a:lnTo>
                        <a:pt x="57" y="203"/>
                      </a:lnTo>
                      <a:lnTo>
                        <a:pt x="67" y="224"/>
                      </a:lnTo>
                      <a:lnTo>
                        <a:pt x="80" y="237"/>
                      </a:lnTo>
                      <a:lnTo>
                        <a:pt x="98" y="247"/>
                      </a:lnTo>
                      <a:lnTo>
                        <a:pt x="120" y="249"/>
                      </a:lnTo>
                      <a:lnTo>
                        <a:pt x="142" y="247"/>
                      </a:lnTo>
                      <a:lnTo>
                        <a:pt x="159" y="237"/>
                      </a:lnTo>
                      <a:lnTo>
                        <a:pt x="174" y="224"/>
                      </a:lnTo>
                      <a:lnTo>
                        <a:pt x="184" y="203"/>
                      </a:lnTo>
                      <a:lnTo>
                        <a:pt x="189" y="176"/>
                      </a:lnTo>
                      <a:lnTo>
                        <a:pt x="192" y="143"/>
                      </a:lnTo>
                      <a:lnTo>
                        <a:pt x="189" y="110"/>
                      </a:lnTo>
                      <a:lnTo>
                        <a:pt x="184" y="84"/>
                      </a:lnTo>
                      <a:lnTo>
                        <a:pt x="174" y="64"/>
                      </a:lnTo>
                      <a:lnTo>
                        <a:pt x="159" y="49"/>
                      </a:lnTo>
                      <a:lnTo>
                        <a:pt x="142" y="41"/>
                      </a:lnTo>
                      <a:lnTo>
                        <a:pt x="120" y="38"/>
                      </a:lnTo>
                      <a:close/>
                      <a:moveTo>
                        <a:pt x="120" y="0"/>
                      </a:moveTo>
                      <a:lnTo>
                        <a:pt x="151" y="3"/>
                      </a:lnTo>
                      <a:lnTo>
                        <a:pt x="178" y="12"/>
                      </a:lnTo>
                      <a:lnTo>
                        <a:pt x="200" y="27"/>
                      </a:lnTo>
                      <a:lnTo>
                        <a:pt x="218" y="49"/>
                      </a:lnTo>
                      <a:lnTo>
                        <a:pt x="230" y="75"/>
                      </a:lnTo>
                      <a:lnTo>
                        <a:pt x="238" y="106"/>
                      </a:lnTo>
                      <a:lnTo>
                        <a:pt x="241" y="143"/>
                      </a:lnTo>
                      <a:lnTo>
                        <a:pt x="238" y="180"/>
                      </a:lnTo>
                      <a:lnTo>
                        <a:pt x="230" y="213"/>
                      </a:lnTo>
                      <a:lnTo>
                        <a:pt x="218" y="239"/>
                      </a:lnTo>
                      <a:lnTo>
                        <a:pt x="200" y="259"/>
                      </a:lnTo>
                      <a:lnTo>
                        <a:pt x="178" y="274"/>
                      </a:lnTo>
                      <a:lnTo>
                        <a:pt x="151" y="284"/>
                      </a:lnTo>
                      <a:lnTo>
                        <a:pt x="120" y="286"/>
                      </a:lnTo>
                      <a:lnTo>
                        <a:pt x="88" y="284"/>
                      </a:lnTo>
                      <a:lnTo>
                        <a:pt x="62" y="274"/>
                      </a:lnTo>
                      <a:lnTo>
                        <a:pt x="41" y="259"/>
                      </a:lnTo>
                      <a:lnTo>
                        <a:pt x="23" y="239"/>
                      </a:lnTo>
                      <a:lnTo>
                        <a:pt x="9" y="213"/>
                      </a:lnTo>
                      <a:lnTo>
                        <a:pt x="2" y="180"/>
                      </a:lnTo>
                      <a:lnTo>
                        <a:pt x="0" y="143"/>
                      </a:lnTo>
                      <a:lnTo>
                        <a:pt x="2" y="106"/>
                      </a:lnTo>
                      <a:lnTo>
                        <a:pt x="9" y="75"/>
                      </a:lnTo>
                      <a:lnTo>
                        <a:pt x="23" y="49"/>
                      </a:lnTo>
                      <a:lnTo>
                        <a:pt x="41" y="27"/>
                      </a:lnTo>
                      <a:lnTo>
                        <a:pt x="62" y="12"/>
                      </a:lnTo>
                      <a:lnTo>
                        <a:pt x="88" y="3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4" name="Freeform 80"/>
                <p:cNvSpPr>
                  <a:spLocks noEditPoints="1"/>
                </p:cNvSpPr>
                <p:nvPr/>
              </p:nvSpPr>
              <p:spPr bwMode="auto">
                <a:xfrm>
                  <a:off x="-603" y="2707"/>
                  <a:ext cx="121" cy="143"/>
                </a:xfrm>
                <a:custGeom>
                  <a:avLst/>
                  <a:gdLst>
                    <a:gd name="T0" fmla="*/ 121 w 241"/>
                    <a:gd name="T1" fmla="*/ 38 h 286"/>
                    <a:gd name="T2" fmla="*/ 100 w 241"/>
                    <a:gd name="T3" fmla="*/ 41 h 286"/>
                    <a:gd name="T4" fmla="*/ 82 w 241"/>
                    <a:gd name="T5" fmla="*/ 49 h 286"/>
                    <a:gd name="T6" fmla="*/ 68 w 241"/>
                    <a:gd name="T7" fmla="*/ 63 h 286"/>
                    <a:gd name="T8" fmla="*/ 57 w 241"/>
                    <a:gd name="T9" fmla="*/ 83 h 286"/>
                    <a:gd name="T10" fmla="*/ 52 w 241"/>
                    <a:gd name="T11" fmla="*/ 110 h 286"/>
                    <a:gd name="T12" fmla="*/ 49 w 241"/>
                    <a:gd name="T13" fmla="*/ 143 h 286"/>
                    <a:gd name="T14" fmla="*/ 52 w 241"/>
                    <a:gd name="T15" fmla="*/ 176 h 286"/>
                    <a:gd name="T16" fmla="*/ 57 w 241"/>
                    <a:gd name="T17" fmla="*/ 202 h 286"/>
                    <a:gd name="T18" fmla="*/ 68 w 241"/>
                    <a:gd name="T19" fmla="*/ 222 h 286"/>
                    <a:gd name="T20" fmla="*/ 82 w 241"/>
                    <a:gd name="T21" fmla="*/ 237 h 286"/>
                    <a:gd name="T22" fmla="*/ 100 w 241"/>
                    <a:gd name="T23" fmla="*/ 245 h 286"/>
                    <a:gd name="T24" fmla="*/ 121 w 241"/>
                    <a:gd name="T25" fmla="*/ 248 h 286"/>
                    <a:gd name="T26" fmla="*/ 143 w 241"/>
                    <a:gd name="T27" fmla="*/ 245 h 286"/>
                    <a:gd name="T28" fmla="*/ 161 w 241"/>
                    <a:gd name="T29" fmla="*/ 237 h 286"/>
                    <a:gd name="T30" fmla="*/ 175 w 241"/>
                    <a:gd name="T31" fmla="*/ 222 h 286"/>
                    <a:gd name="T32" fmla="*/ 185 w 241"/>
                    <a:gd name="T33" fmla="*/ 202 h 286"/>
                    <a:gd name="T34" fmla="*/ 191 w 241"/>
                    <a:gd name="T35" fmla="*/ 176 h 286"/>
                    <a:gd name="T36" fmla="*/ 192 w 241"/>
                    <a:gd name="T37" fmla="*/ 143 h 286"/>
                    <a:gd name="T38" fmla="*/ 191 w 241"/>
                    <a:gd name="T39" fmla="*/ 110 h 286"/>
                    <a:gd name="T40" fmla="*/ 185 w 241"/>
                    <a:gd name="T41" fmla="*/ 83 h 286"/>
                    <a:gd name="T42" fmla="*/ 175 w 241"/>
                    <a:gd name="T43" fmla="*/ 63 h 286"/>
                    <a:gd name="T44" fmla="*/ 161 w 241"/>
                    <a:gd name="T45" fmla="*/ 49 h 286"/>
                    <a:gd name="T46" fmla="*/ 143 w 241"/>
                    <a:gd name="T47" fmla="*/ 41 h 286"/>
                    <a:gd name="T48" fmla="*/ 121 w 241"/>
                    <a:gd name="T49" fmla="*/ 38 h 286"/>
                    <a:gd name="T50" fmla="*/ 121 w 241"/>
                    <a:gd name="T51" fmla="*/ 0 h 286"/>
                    <a:gd name="T52" fmla="*/ 153 w 241"/>
                    <a:gd name="T53" fmla="*/ 3 h 286"/>
                    <a:gd name="T54" fmla="*/ 179 w 241"/>
                    <a:gd name="T55" fmla="*/ 12 h 286"/>
                    <a:gd name="T56" fmla="*/ 202 w 241"/>
                    <a:gd name="T57" fmla="*/ 27 h 286"/>
                    <a:gd name="T58" fmla="*/ 220 w 241"/>
                    <a:gd name="T59" fmla="*/ 48 h 286"/>
                    <a:gd name="T60" fmla="*/ 232 w 241"/>
                    <a:gd name="T61" fmla="*/ 75 h 286"/>
                    <a:gd name="T62" fmla="*/ 239 w 241"/>
                    <a:gd name="T63" fmla="*/ 106 h 286"/>
                    <a:gd name="T64" fmla="*/ 241 w 241"/>
                    <a:gd name="T65" fmla="*/ 143 h 286"/>
                    <a:gd name="T66" fmla="*/ 239 w 241"/>
                    <a:gd name="T67" fmla="*/ 180 h 286"/>
                    <a:gd name="T68" fmla="*/ 232 w 241"/>
                    <a:gd name="T69" fmla="*/ 211 h 286"/>
                    <a:gd name="T70" fmla="*/ 220 w 241"/>
                    <a:gd name="T71" fmla="*/ 239 h 286"/>
                    <a:gd name="T72" fmla="*/ 202 w 241"/>
                    <a:gd name="T73" fmla="*/ 259 h 286"/>
                    <a:gd name="T74" fmla="*/ 179 w 241"/>
                    <a:gd name="T75" fmla="*/ 274 h 286"/>
                    <a:gd name="T76" fmla="*/ 153 w 241"/>
                    <a:gd name="T77" fmla="*/ 284 h 286"/>
                    <a:gd name="T78" fmla="*/ 121 w 241"/>
                    <a:gd name="T79" fmla="*/ 286 h 286"/>
                    <a:gd name="T80" fmla="*/ 90 w 241"/>
                    <a:gd name="T81" fmla="*/ 284 h 286"/>
                    <a:gd name="T82" fmla="*/ 63 w 241"/>
                    <a:gd name="T83" fmla="*/ 274 h 286"/>
                    <a:gd name="T84" fmla="*/ 41 w 241"/>
                    <a:gd name="T85" fmla="*/ 259 h 286"/>
                    <a:gd name="T86" fmla="*/ 23 w 241"/>
                    <a:gd name="T87" fmla="*/ 239 h 286"/>
                    <a:gd name="T88" fmla="*/ 11 w 241"/>
                    <a:gd name="T89" fmla="*/ 211 h 286"/>
                    <a:gd name="T90" fmla="*/ 3 w 241"/>
                    <a:gd name="T91" fmla="*/ 180 h 286"/>
                    <a:gd name="T92" fmla="*/ 0 w 241"/>
                    <a:gd name="T93" fmla="*/ 143 h 286"/>
                    <a:gd name="T94" fmla="*/ 3 w 241"/>
                    <a:gd name="T95" fmla="*/ 106 h 286"/>
                    <a:gd name="T96" fmla="*/ 11 w 241"/>
                    <a:gd name="T97" fmla="*/ 75 h 286"/>
                    <a:gd name="T98" fmla="*/ 23 w 241"/>
                    <a:gd name="T99" fmla="*/ 48 h 286"/>
                    <a:gd name="T100" fmla="*/ 41 w 241"/>
                    <a:gd name="T101" fmla="*/ 27 h 286"/>
                    <a:gd name="T102" fmla="*/ 63 w 241"/>
                    <a:gd name="T103" fmla="*/ 12 h 286"/>
                    <a:gd name="T104" fmla="*/ 90 w 241"/>
                    <a:gd name="T105" fmla="*/ 3 h 286"/>
                    <a:gd name="T106" fmla="*/ 121 w 241"/>
                    <a:gd name="T107" fmla="*/ 0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1" h="286">
                      <a:moveTo>
                        <a:pt x="121" y="38"/>
                      </a:moveTo>
                      <a:lnTo>
                        <a:pt x="100" y="41"/>
                      </a:lnTo>
                      <a:lnTo>
                        <a:pt x="82" y="49"/>
                      </a:lnTo>
                      <a:lnTo>
                        <a:pt x="68" y="63"/>
                      </a:lnTo>
                      <a:lnTo>
                        <a:pt x="57" y="83"/>
                      </a:lnTo>
                      <a:lnTo>
                        <a:pt x="52" y="110"/>
                      </a:lnTo>
                      <a:lnTo>
                        <a:pt x="49" y="143"/>
                      </a:lnTo>
                      <a:lnTo>
                        <a:pt x="52" y="176"/>
                      </a:lnTo>
                      <a:lnTo>
                        <a:pt x="57" y="202"/>
                      </a:lnTo>
                      <a:lnTo>
                        <a:pt x="68" y="222"/>
                      </a:lnTo>
                      <a:lnTo>
                        <a:pt x="82" y="237"/>
                      </a:lnTo>
                      <a:lnTo>
                        <a:pt x="100" y="245"/>
                      </a:lnTo>
                      <a:lnTo>
                        <a:pt x="121" y="248"/>
                      </a:lnTo>
                      <a:lnTo>
                        <a:pt x="143" y="245"/>
                      </a:lnTo>
                      <a:lnTo>
                        <a:pt x="161" y="237"/>
                      </a:lnTo>
                      <a:lnTo>
                        <a:pt x="175" y="222"/>
                      </a:lnTo>
                      <a:lnTo>
                        <a:pt x="185" y="202"/>
                      </a:lnTo>
                      <a:lnTo>
                        <a:pt x="191" y="176"/>
                      </a:lnTo>
                      <a:lnTo>
                        <a:pt x="192" y="143"/>
                      </a:lnTo>
                      <a:lnTo>
                        <a:pt x="191" y="110"/>
                      </a:lnTo>
                      <a:lnTo>
                        <a:pt x="185" y="83"/>
                      </a:lnTo>
                      <a:lnTo>
                        <a:pt x="175" y="63"/>
                      </a:lnTo>
                      <a:lnTo>
                        <a:pt x="161" y="49"/>
                      </a:lnTo>
                      <a:lnTo>
                        <a:pt x="143" y="41"/>
                      </a:lnTo>
                      <a:lnTo>
                        <a:pt x="121" y="38"/>
                      </a:lnTo>
                      <a:close/>
                      <a:moveTo>
                        <a:pt x="121" y="0"/>
                      </a:moveTo>
                      <a:lnTo>
                        <a:pt x="153" y="3"/>
                      </a:lnTo>
                      <a:lnTo>
                        <a:pt x="179" y="12"/>
                      </a:lnTo>
                      <a:lnTo>
                        <a:pt x="202" y="27"/>
                      </a:lnTo>
                      <a:lnTo>
                        <a:pt x="220" y="48"/>
                      </a:lnTo>
                      <a:lnTo>
                        <a:pt x="232" y="75"/>
                      </a:lnTo>
                      <a:lnTo>
                        <a:pt x="239" y="106"/>
                      </a:lnTo>
                      <a:lnTo>
                        <a:pt x="241" y="143"/>
                      </a:lnTo>
                      <a:lnTo>
                        <a:pt x="239" y="180"/>
                      </a:lnTo>
                      <a:lnTo>
                        <a:pt x="232" y="211"/>
                      </a:lnTo>
                      <a:lnTo>
                        <a:pt x="220" y="239"/>
                      </a:lnTo>
                      <a:lnTo>
                        <a:pt x="202" y="259"/>
                      </a:lnTo>
                      <a:lnTo>
                        <a:pt x="179" y="274"/>
                      </a:lnTo>
                      <a:lnTo>
                        <a:pt x="153" y="284"/>
                      </a:lnTo>
                      <a:lnTo>
                        <a:pt x="121" y="286"/>
                      </a:lnTo>
                      <a:lnTo>
                        <a:pt x="90" y="284"/>
                      </a:lnTo>
                      <a:lnTo>
                        <a:pt x="63" y="274"/>
                      </a:lnTo>
                      <a:lnTo>
                        <a:pt x="41" y="259"/>
                      </a:lnTo>
                      <a:lnTo>
                        <a:pt x="23" y="239"/>
                      </a:lnTo>
                      <a:lnTo>
                        <a:pt x="11" y="211"/>
                      </a:lnTo>
                      <a:lnTo>
                        <a:pt x="3" y="180"/>
                      </a:lnTo>
                      <a:lnTo>
                        <a:pt x="0" y="143"/>
                      </a:lnTo>
                      <a:lnTo>
                        <a:pt x="3" y="106"/>
                      </a:lnTo>
                      <a:lnTo>
                        <a:pt x="11" y="75"/>
                      </a:lnTo>
                      <a:lnTo>
                        <a:pt x="23" y="48"/>
                      </a:lnTo>
                      <a:lnTo>
                        <a:pt x="41" y="27"/>
                      </a:lnTo>
                      <a:lnTo>
                        <a:pt x="63" y="12"/>
                      </a:lnTo>
                      <a:lnTo>
                        <a:pt x="90" y="3"/>
                      </a:lnTo>
                      <a:lnTo>
                        <a:pt x="12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5" name="Freeform 81"/>
                <p:cNvSpPr>
                  <a:spLocks/>
                </p:cNvSpPr>
                <p:nvPr/>
              </p:nvSpPr>
              <p:spPr bwMode="auto">
                <a:xfrm>
                  <a:off x="-1032" y="2490"/>
                  <a:ext cx="52" cy="142"/>
                </a:xfrm>
                <a:custGeom>
                  <a:avLst/>
                  <a:gdLst>
                    <a:gd name="T0" fmla="*/ 0 w 104"/>
                    <a:gd name="T1" fmla="*/ 0 h 284"/>
                    <a:gd name="T2" fmla="*/ 104 w 104"/>
                    <a:gd name="T3" fmla="*/ 0 h 284"/>
                    <a:gd name="T4" fmla="*/ 104 w 104"/>
                    <a:gd name="T5" fmla="*/ 284 h 284"/>
                    <a:gd name="T6" fmla="*/ 56 w 104"/>
                    <a:gd name="T7" fmla="*/ 284 h 284"/>
                    <a:gd name="T8" fmla="*/ 56 w 104"/>
                    <a:gd name="T9" fmla="*/ 43 h 284"/>
                    <a:gd name="T10" fmla="*/ 0 w 104"/>
                    <a:gd name="T11" fmla="*/ 43 h 284"/>
                    <a:gd name="T12" fmla="*/ 0 w 104"/>
                    <a:gd name="T13" fmla="*/ 0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4" h="284">
                      <a:moveTo>
                        <a:pt x="0" y="0"/>
                      </a:moveTo>
                      <a:lnTo>
                        <a:pt x="104" y="0"/>
                      </a:lnTo>
                      <a:lnTo>
                        <a:pt x="104" y="284"/>
                      </a:lnTo>
                      <a:lnTo>
                        <a:pt x="56" y="284"/>
                      </a:lnTo>
                      <a:lnTo>
                        <a:pt x="56" y="43"/>
                      </a:lnTo>
                      <a:lnTo>
                        <a:pt x="0" y="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6" name="Freeform 82"/>
                <p:cNvSpPr>
                  <a:spLocks noEditPoints="1"/>
                </p:cNvSpPr>
                <p:nvPr/>
              </p:nvSpPr>
              <p:spPr bwMode="auto">
                <a:xfrm>
                  <a:off x="-1014" y="2707"/>
                  <a:ext cx="120" cy="143"/>
                </a:xfrm>
                <a:custGeom>
                  <a:avLst/>
                  <a:gdLst>
                    <a:gd name="T0" fmla="*/ 120 w 242"/>
                    <a:gd name="T1" fmla="*/ 38 h 286"/>
                    <a:gd name="T2" fmla="*/ 99 w 242"/>
                    <a:gd name="T3" fmla="*/ 41 h 286"/>
                    <a:gd name="T4" fmla="*/ 81 w 242"/>
                    <a:gd name="T5" fmla="*/ 49 h 286"/>
                    <a:gd name="T6" fmla="*/ 67 w 242"/>
                    <a:gd name="T7" fmla="*/ 63 h 286"/>
                    <a:gd name="T8" fmla="*/ 58 w 242"/>
                    <a:gd name="T9" fmla="*/ 83 h 286"/>
                    <a:gd name="T10" fmla="*/ 51 w 242"/>
                    <a:gd name="T11" fmla="*/ 110 h 286"/>
                    <a:gd name="T12" fmla="*/ 50 w 242"/>
                    <a:gd name="T13" fmla="*/ 143 h 286"/>
                    <a:gd name="T14" fmla="*/ 51 w 242"/>
                    <a:gd name="T15" fmla="*/ 176 h 286"/>
                    <a:gd name="T16" fmla="*/ 58 w 242"/>
                    <a:gd name="T17" fmla="*/ 202 h 286"/>
                    <a:gd name="T18" fmla="*/ 67 w 242"/>
                    <a:gd name="T19" fmla="*/ 222 h 286"/>
                    <a:gd name="T20" fmla="*/ 81 w 242"/>
                    <a:gd name="T21" fmla="*/ 237 h 286"/>
                    <a:gd name="T22" fmla="*/ 99 w 242"/>
                    <a:gd name="T23" fmla="*/ 245 h 286"/>
                    <a:gd name="T24" fmla="*/ 120 w 242"/>
                    <a:gd name="T25" fmla="*/ 248 h 286"/>
                    <a:gd name="T26" fmla="*/ 142 w 242"/>
                    <a:gd name="T27" fmla="*/ 245 h 286"/>
                    <a:gd name="T28" fmla="*/ 160 w 242"/>
                    <a:gd name="T29" fmla="*/ 237 h 286"/>
                    <a:gd name="T30" fmla="*/ 175 w 242"/>
                    <a:gd name="T31" fmla="*/ 222 h 286"/>
                    <a:gd name="T32" fmla="*/ 185 w 242"/>
                    <a:gd name="T33" fmla="*/ 202 h 286"/>
                    <a:gd name="T34" fmla="*/ 190 w 242"/>
                    <a:gd name="T35" fmla="*/ 176 h 286"/>
                    <a:gd name="T36" fmla="*/ 193 w 242"/>
                    <a:gd name="T37" fmla="*/ 143 h 286"/>
                    <a:gd name="T38" fmla="*/ 190 w 242"/>
                    <a:gd name="T39" fmla="*/ 110 h 286"/>
                    <a:gd name="T40" fmla="*/ 185 w 242"/>
                    <a:gd name="T41" fmla="*/ 83 h 286"/>
                    <a:gd name="T42" fmla="*/ 175 w 242"/>
                    <a:gd name="T43" fmla="*/ 63 h 286"/>
                    <a:gd name="T44" fmla="*/ 160 w 242"/>
                    <a:gd name="T45" fmla="*/ 49 h 286"/>
                    <a:gd name="T46" fmla="*/ 142 w 242"/>
                    <a:gd name="T47" fmla="*/ 41 h 286"/>
                    <a:gd name="T48" fmla="*/ 120 w 242"/>
                    <a:gd name="T49" fmla="*/ 38 h 286"/>
                    <a:gd name="T50" fmla="*/ 120 w 242"/>
                    <a:gd name="T51" fmla="*/ 0 h 286"/>
                    <a:gd name="T52" fmla="*/ 152 w 242"/>
                    <a:gd name="T53" fmla="*/ 3 h 286"/>
                    <a:gd name="T54" fmla="*/ 179 w 242"/>
                    <a:gd name="T55" fmla="*/ 12 h 286"/>
                    <a:gd name="T56" fmla="*/ 201 w 242"/>
                    <a:gd name="T57" fmla="*/ 27 h 286"/>
                    <a:gd name="T58" fmla="*/ 219 w 242"/>
                    <a:gd name="T59" fmla="*/ 48 h 286"/>
                    <a:gd name="T60" fmla="*/ 231 w 242"/>
                    <a:gd name="T61" fmla="*/ 75 h 286"/>
                    <a:gd name="T62" fmla="*/ 239 w 242"/>
                    <a:gd name="T63" fmla="*/ 106 h 286"/>
                    <a:gd name="T64" fmla="*/ 242 w 242"/>
                    <a:gd name="T65" fmla="*/ 143 h 286"/>
                    <a:gd name="T66" fmla="*/ 239 w 242"/>
                    <a:gd name="T67" fmla="*/ 180 h 286"/>
                    <a:gd name="T68" fmla="*/ 231 w 242"/>
                    <a:gd name="T69" fmla="*/ 211 h 286"/>
                    <a:gd name="T70" fmla="*/ 219 w 242"/>
                    <a:gd name="T71" fmla="*/ 239 h 286"/>
                    <a:gd name="T72" fmla="*/ 201 w 242"/>
                    <a:gd name="T73" fmla="*/ 259 h 286"/>
                    <a:gd name="T74" fmla="*/ 179 w 242"/>
                    <a:gd name="T75" fmla="*/ 274 h 286"/>
                    <a:gd name="T76" fmla="*/ 152 w 242"/>
                    <a:gd name="T77" fmla="*/ 284 h 286"/>
                    <a:gd name="T78" fmla="*/ 120 w 242"/>
                    <a:gd name="T79" fmla="*/ 286 h 286"/>
                    <a:gd name="T80" fmla="*/ 90 w 242"/>
                    <a:gd name="T81" fmla="*/ 284 h 286"/>
                    <a:gd name="T82" fmla="*/ 63 w 242"/>
                    <a:gd name="T83" fmla="*/ 274 h 286"/>
                    <a:gd name="T84" fmla="*/ 41 w 242"/>
                    <a:gd name="T85" fmla="*/ 259 h 286"/>
                    <a:gd name="T86" fmla="*/ 24 w 242"/>
                    <a:gd name="T87" fmla="*/ 239 h 286"/>
                    <a:gd name="T88" fmla="*/ 10 w 242"/>
                    <a:gd name="T89" fmla="*/ 211 h 286"/>
                    <a:gd name="T90" fmla="*/ 3 w 242"/>
                    <a:gd name="T91" fmla="*/ 180 h 286"/>
                    <a:gd name="T92" fmla="*/ 0 w 242"/>
                    <a:gd name="T93" fmla="*/ 143 h 286"/>
                    <a:gd name="T94" fmla="*/ 3 w 242"/>
                    <a:gd name="T95" fmla="*/ 106 h 286"/>
                    <a:gd name="T96" fmla="*/ 10 w 242"/>
                    <a:gd name="T97" fmla="*/ 75 h 286"/>
                    <a:gd name="T98" fmla="*/ 24 w 242"/>
                    <a:gd name="T99" fmla="*/ 48 h 286"/>
                    <a:gd name="T100" fmla="*/ 41 w 242"/>
                    <a:gd name="T101" fmla="*/ 27 h 286"/>
                    <a:gd name="T102" fmla="*/ 63 w 242"/>
                    <a:gd name="T103" fmla="*/ 12 h 286"/>
                    <a:gd name="T104" fmla="*/ 90 w 242"/>
                    <a:gd name="T105" fmla="*/ 3 h 286"/>
                    <a:gd name="T106" fmla="*/ 120 w 242"/>
                    <a:gd name="T107" fmla="*/ 0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2" h="286">
                      <a:moveTo>
                        <a:pt x="120" y="38"/>
                      </a:moveTo>
                      <a:lnTo>
                        <a:pt x="99" y="41"/>
                      </a:lnTo>
                      <a:lnTo>
                        <a:pt x="81" y="49"/>
                      </a:lnTo>
                      <a:lnTo>
                        <a:pt x="67" y="63"/>
                      </a:lnTo>
                      <a:lnTo>
                        <a:pt x="58" y="83"/>
                      </a:lnTo>
                      <a:lnTo>
                        <a:pt x="51" y="110"/>
                      </a:lnTo>
                      <a:lnTo>
                        <a:pt x="50" y="143"/>
                      </a:lnTo>
                      <a:lnTo>
                        <a:pt x="51" y="176"/>
                      </a:lnTo>
                      <a:lnTo>
                        <a:pt x="58" y="202"/>
                      </a:lnTo>
                      <a:lnTo>
                        <a:pt x="67" y="222"/>
                      </a:lnTo>
                      <a:lnTo>
                        <a:pt x="81" y="237"/>
                      </a:lnTo>
                      <a:lnTo>
                        <a:pt x="99" y="245"/>
                      </a:lnTo>
                      <a:lnTo>
                        <a:pt x="120" y="248"/>
                      </a:lnTo>
                      <a:lnTo>
                        <a:pt x="142" y="245"/>
                      </a:lnTo>
                      <a:lnTo>
                        <a:pt x="160" y="237"/>
                      </a:lnTo>
                      <a:lnTo>
                        <a:pt x="175" y="222"/>
                      </a:lnTo>
                      <a:lnTo>
                        <a:pt x="185" y="202"/>
                      </a:lnTo>
                      <a:lnTo>
                        <a:pt x="190" y="176"/>
                      </a:lnTo>
                      <a:lnTo>
                        <a:pt x="193" y="143"/>
                      </a:lnTo>
                      <a:lnTo>
                        <a:pt x="190" y="110"/>
                      </a:lnTo>
                      <a:lnTo>
                        <a:pt x="185" y="83"/>
                      </a:lnTo>
                      <a:lnTo>
                        <a:pt x="175" y="63"/>
                      </a:lnTo>
                      <a:lnTo>
                        <a:pt x="160" y="49"/>
                      </a:lnTo>
                      <a:lnTo>
                        <a:pt x="142" y="41"/>
                      </a:lnTo>
                      <a:lnTo>
                        <a:pt x="120" y="38"/>
                      </a:lnTo>
                      <a:close/>
                      <a:moveTo>
                        <a:pt x="120" y="0"/>
                      </a:moveTo>
                      <a:lnTo>
                        <a:pt x="152" y="3"/>
                      </a:lnTo>
                      <a:lnTo>
                        <a:pt x="179" y="12"/>
                      </a:lnTo>
                      <a:lnTo>
                        <a:pt x="201" y="27"/>
                      </a:lnTo>
                      <a:lnTo>
                        <a:pt x="219" y="48"/>
                      </a:lnTo>
                      <a:lnTo>
                        <a:pt x="231" y="75"/>
                      </a:lnTo>
                      <a:lnTo>
                        <a:pt x="239" y="106"/>
                      </a:lnTo>
                      <a:lnTo>
                        <a:pt x="242" y="143"/>
                      </a:lnTo>
                      <a:lnTo>
                        <a:pt x="239" y="180"/>
                      </a:lnTo>
                      <a:lnTo>
                        <a:pt x="231" y="211"/>
                      </a:lnTo>
                      <a:lnTo>
                        <a:pt x="219" y="239"/>
                      </a:lnTo>
                      <a:lnTo>
                        <a:pt x="201" y="259"/>
                      </a:lnTo>
                      <a:lnTo>
                        <a:pt x="179" y="274"/>
                      </a:lnTo>
                      <a:lnTo>
                        <a:pt x="152" y="284"/>
                      </a:lnTo>
                      <a:lnTo>
                        <a:pt x="120" y="286"/>
                      </a:lnTo>
                      <a:lnTo>
                        <a:pt x="90" y="284"/>
                      </a:lnTo>
                      <a:lnTo>
                        <a:pt x="63" y="274"/>
                      </a:lnTo>
                      <a:lnTo>
                        <a:pt x="41" y="259"/>
                      </a:lnTo>
                      <a:lnTo>
                        <a:pt x="24" y="239"/>
                      </a:lnTo>
                      <a:lnTo>
                        <a:pt x="10" y="211"/>
                      </a:lnTo>
                      <a:lnTo>
                        <a:pt x="3" y="180"/>
                      </a:lnTo>
                      <a:lnTo>
                        <a:pt x="0" y="143"/>
                      </a:lnTo>
                      <a:lnTo>
                        <a:pt x="3" y="106"/>
                      </a:lnTo>
                      <a:lnTo>
                        <a:pt x="10" y="75"/>
                      </a:lnTo>
                      <a:lnTo>
                        <a:pt x="24" y="48"/>
                      </a:lnTo>
                      <a:lnTo>
                        <a:pt x="41" y="27"/>
                      </a:lnTo>
                      <a:lnTo>
                        <a:pt x="63" y="12"/>
                      </a:lnTo>
                      <a:lnTo>
                        <a:pt x="90" y="3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7" name="Freeform 83"/>
                <p:cNvSpPr>
                  <a:spLocks/>
                </p:cNvSpPr>
                <p:nvPr/>
              </p:nvSpPr>
              <p:spPr bwMode="auto">
                <a:xfrm>
                  <a:off x="-887" y="2708"/>
                  <a:ext cx="51" cy="141"/>
                </a:xfrm>
                <a:custGeom>
                  <a:avLst/>
                  <a:gdLst>
                    <a:gd name="T0" fmla="*/ 0 w 102"/>
                    <a:gd name="T1" fmla="*/ 0 h 284"/>
                    <a:gd name="T2" fmla="*/ 102 w 102"/>
                    <a:gd name="T3" fmla="*/ 0 h 284"/>
                    <a:gd name="T4" fmla="*/ 102 w 102"/>
                    <a:gd name="T5" fmla="*/ 284 h 284"/>
                    <a:gd name="T6" fmla="*/ 55 w 102"/>
                    <a:gd name="T7" fmla="*/ 284 h 284"/>
                    <a:gd name="T8" fmla="*/ 55 w 102"/>
                    <a:gd name="T9" fmla="*/ 43 h 284"/>
                    <a:gd name="T10" fmla="*/ 0 w 102"/>
                    <a:gd name="T11" fmla="*/ 43 h 284"/>
                    <a:gd name="T12" fmla="*/ 0 w 102"/>
                    <a:gd name="T13" fmla="*/ 0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2" h="284">
                      <a:moveTo>
                        <a:pt x="0" y="0"/>
                      </a:moveTo>
                      <a:lnTo>
                        <a:pt x="102" y="0"/>
                      </a:lnTo>
                      <a:lnTo>
                        <a:pt x="102" y="284"/>
                      </a:lnTo>
                      <a:lnTo>
                        <a:pt x="55" y="284"/>
                      </a:lnTo>
                      <a:lnTo>
                        <a:pt x="55" y="43"/>
                      </a:lnTo>
                      <a:lnTo>
                        <a:pt x="0" y="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67" name="Group 165"/>
              <p:cNvGrpSpPr>
                <a:grpSpLocks noChangeAspect="1"/>
              </p:cNvGrpSpPr>
              <p:nvPr/>
            </p:nvGrpSpPr>
            <p:grpSpPr bwMode="auto">
              <a:xfrm>
                <a:off x="4390976" y="3996297"/>
                <a:ext cx="707442" cy="553242"/>
                <a:chOff x="-1919" y="3510"/>
                <a:chExt cx="679" cy="531"/>
              </a:xfrm>
              <a:solidFill>
                <a:schemeClr val="bg1"/>
              </a:solidFill>
            </p:grpSpPr>
            <p:sp>
              <p:nvSpPr>
                <p:cNvPr id="68" name="Freeform 167"/>
                <p:cNvSpPr>
                  <a:spLocks/>
                </p:cNvSpPr>
                <p:nvPr/>
              </p:nvSpPr>
              <p:spPr bwMode="auto">
                <a:xfrm>
                  <a:off x="-1803" y="3980"/>
                  <a:ext cx="447" cy="61"/>
                </a:xfrm>
                <a:custGeom>
                  <a:avLst/>
                  <a:gdLst>
                    <a:gd name="T0" fmla="*/ 154 w 2237"/>
                    <a:gd name="T1" fmla="*/ 0 h 304"/>
                    <a:gd name="T2" fmla="*/ 2082 w 2237"/>
                    <a:gd name="T3" fmla="*/ 0 h 304"/>
                    <a:gd name="T4" fmla="*/ 2113 w 2237"/>
                    <a:gd name="T5" fmla="*/ 3 h 304"/>
                    <a:gd name="T6" fmla="*/ 2142 w 2237"/>
                    <a:gd name="T7" fmla="*/ 12 h 304"/>
                    <a:gd name="T8" fmla="*/ 2168 w 2237"/>
                    <a:gd name="T9" fmla="*/ 27 h 304"/>
                    <a:gd name="T10" fmla="*/ 2191 w 2237"/>
                    <a:gd name="T11" fmla="*/ 45 h 304"/>
                    <a:gd name="T12" fmla="*/ 2210 w 2237"/>
                    <a:gd name="T13" fmla="*/ 68 h 304"/>
                    <a:gd name="T14" fmla="*/ 2224 w 2237"/>
                    <a:gd name="T15" fmla="*/ 93 h 304"/>
                    <a:gd name="T16" fmla="*/ 2234 w 2237"/>
                    <a:gd name="T17" fmla="*/ 122 h 304"/>
                    <a:gd name="T18" fmla="*/ 2237 w 2237"/>
                    <a:gd name="T19" fmla="*/ 153 h 304"/>
                    <a:gd name="T20" fmla="*/ 2234 w 2237"/>
                    <a:gd name="T21" fmla="*/ 183 h 304"/>
                    <a:gd name="T22" fmla="*/ 2224 w 2237"/>
                    <a:gd name="T23" fmla="*/ 212 h 304"/>
                    <a:gd name="T24" fmla="*/ 2210 w 2237"/>
                    <a:gd name="T25" fmla="*/ 237 h 304"/>
                    <a:gd name="T26" fmla="*/ 2191 w 2237"/>
                    <a:gd name="T27" fmla="*/ 260 h 304"/>
                    <a:gd name="T28" fmla="*/ 2168 w 2237"/>
                    <a:gd name="T29" fmla="*/ 278 h 304"/>
                    <a:gd name="T30" fmla="*/ 2142 w 2237"/>
                    <a:gd name="T31" fmla="*/ 293 h 304"/>
                    <a:gd name="T32" fmla="*/ 2113 w 2237"/>
                    <a:gd name="T33" fmla="*/ 301 h 304"/>
                    <a:gd name="T34" fmla="*/ 2082 w 2237"/>
                    <a:gd name="T35" fmla="*/ 304 h 304"/>
                    <a:gd name="T36" fmla="*/ 154 w 2237"/>
                    <a:gd name="T37" fmla="*/ 304 h 304"/>
                    <a:gd name="T38" fmla="*/ 123 w 2237"/>
                    <a:gd name="T39" fmla="*/ 301 h 304"/>
                    <a:gd name="T40" fmla="*/ 93 w 2237"/>
                    <a:gd name="T41" fmla="*/ 293 h 304"/>
                    <a:gd name="T42" fmla="*/ 68 w 2237"/>
                    <a:gd name="T43" fmla="*/ 278 h 304"/>
                    <a:gd name="T44" fmla="*/ 45 w 2237"/>
                    <a:gd name="T45" fmla="*/ 260 h 304"/>
                    <a:gd name="T46" fmla="*/ 26 w 2237"/>
                    <a:gd name="T47" fmla="*/ 237 h 304"/>
                    <a:gd name="T48" fmla="*/ 11 w 2237"/>
                    <a:gd name="T49" fmla="*/ 212 h 304"/>
                    <a:gd name="T50" fmla="*/ 3 w 2237"/>
                    <a:gd name="T51" fmla="*/ 183 h 304"/>
                    <a:gd name="T52" fmla="*/ 0 w 2237"/>
                    <a:gd name="T53" fmla="*/ 153 h 304"/>
                    <a:gd name="T54" fmla="*/ 3 w 2237"/>
                    <a:gd name="T55" fmla="*/ 122 h 304"/>
                    <a:gd name="T56" fmla="*/ 11 w 2237"/>
                    <a:gd name="T57" fmla="*/ 93 h 304"/>
                    <a:gd name="T58" fmla="*/ 26 w 2237"/>
                    <a:gd name="T59" fmla="*/ 68 h 304"/>
                    <a:gd name="T60" fmla="*/ 45 w 2237"/>
                    <a:gd name="T61" fmla="*/ 45 h 304"/>
                    <a:gd name="T62" fmla="*/ 68 w 2237"/>
                    <a:gd name="T63" fmla="*/ 27 h 304"/>
                    <a:gd name="T64" fmla="*/ 93 w 2237"/>
                    <a:gd name="T65" fmla="*/ 12 h 304"/>
                    <a:gd name="T66" fmla="*/ 123 w 2237"/>
                    <a:gd name="T67" fmla="*/ 3 h 304"/>
                    <a:gd name="T68" fmla="*/ 154 w 2237"/>
                    <a:gd name="T69" fmla="*/ 0 h 3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237" h="304">
                      <a:moveTo>
                        <a:pt x="154" y="0"/>
                      </a:moveTo>
                      <a:lnTo>
                        <a:pt x="2082" y="0"/>
                      </a:lnTo>
                      <a:lnTo>
                        <a:pt x="2113" y="3"/>
                      </a:lnTo>
                      <a:lnTo>
                        <a:pt x="2142" y="12"/>
                      </a:lnTo>
                      <a:lnTo>
                        <a:pt x="2168" y="27"/>
                      </a:lnTo>
                      <a:lnTo>
                        <a:pt x="2191" y="45"/>
                      </a:lnTo>
                      <a:lnTo>
                        <a:pt x="2210" y="68"/>
                      </a:lnTo>
                      <a:lnTo>
                        <a:pt x="2224" y="93"/>
                      </a:lnTo>
                      <a:lnTo>
                        <a:pt x="2234" y="122"/>
                      </a:lnTo>
                      <a:lnTo>
                        <a:pt x="2237" y="153"/>
                      </a:lnTo>
                      <a:lnTo>
                        <a:pt x="2234" y="183"/>
                      </a:lnTo>
                      <a:lnTo>
                        <a:pt x="2224" y="212"/>
                      </a:lnTo>
                      <a:lnTo>
                        <a:pt x="2210" y="237"/>
                      </a:lnTo>
                      <a:lnTo>
                        <a:pt x="2191" y="260"/>
                      </a:lnTo>
                      <a:lnTo>
                        <a:pt x="2168" y="278"/>
                      </a:lnTo>
                      <a:lnTo>
                        <a:pt x="2142" y="293"/>
                      </a:lnTo>
                      <a:lnTo>
                        <a:pt x="2113" y="301"/>
                      </a:lnTo>
                      <a:lnTo>
                        <a:pt x="2082" y="304"/>
                      </a:lnTo>
                      <a:lnTo>
                        <a:pt x="154" y="304"/>
                      </a:lnTo>
                      <a:lnTo>
                        <a:pt x="123" y="301"/>
                      </a:lnTo>
                      <a:lnTo>
                        <a:pt x="93" y="293"/>
                      </a:lnTo>
                      <a:lnTo>
                        <a:pt x="68" y="278"/>
                      </a:lnTo>
                      <a:lnTo>
                        <a:pt x="45" y="260"/>
                      </a:lnTo>
                      <a:lnTo>
                        <a:pt x="26" y="237"/>
                      </a:lnTo>
                      <a:lnTo>
                        <a:pt x="11" y="212"/>
                      </a:lnTo>
                      <a:lnTo>
                        <a:pt x="3" y="183"/>
                      </a:lnTo>
                      <a:lnTo>
                        <a:pt x="0" y="153"/>
                      </a:lnTo>
                      <a:lnTo>
                        <a:pt x="3" y="122"/>
                      </a:lnTo>
                      <a:lnTo>
                        <a:pt x="11" y="93"/>
                      </a:lnTo>
                      <a:lnTo>
                        <a:pt x="26" y="68"/>
                      </a:lnTo>
                      <a:lnTo>
                        <a:pt x="45" y="45"/>
                      </a:lnTo>
                      <a:lnTo>
                        <a:pt x="68" y="27"/>
                      </a:lnTo>
                      <a:lnTo>
                        <a:pt x="93" y="12"/>
                      </a:lnTo>
                      <a:lnTo>
                        <a:pt x="123" y="3"/>
                      </a:lnTo>
                      <a:lnTo>
                        <a:pt x="154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9" name="Freeform 168"/>
                <p:cNvSpPr>
                  <a:spLocks/>
                </p:cNvSpPr>
                <p:nvPr/>
              </p:nvSpPr>
              <p:spPr bwMode="auto">
                <a:xfrm>
                  <a:off x="-1811" y="3730"/>
                  <a:ext cx="46" cy="121"/>
                </a:xfrm>
                <a:custGeom>
                  <a:avLst/>
                  <a:gdLst>
                    <a:gd name="T0" fmla="*/ 117 w 232"/>
                    <a:gd name="T1" fmla="*/ 0 h 607"/>
                    <a:gd name="T2" fmla="*/ 143 w 232"/>
                    <a:gd name="T3" fmla="*/ 3 h 607"/>
                    <a:gd name="T4" fmla="*/ 168 w 232"/>
                    <a:gd name="T5" fmla="*/ 12 h 607"/>
                    <a:gd name="T6" fmla="*/ 190 w 232"/>
                    <a:gd name="T7" fmla="*/ 25 h 607"/>
                    <a:gd name="T8" fmla="*/ 207 w 232"/>
                    <a:gd name="T9" fmla="*/ 43 h 607"/>
                    <a:gd name="T10" fmla="*/ 221 w 232"/>
                    <a:gd name="T11" fmla="*/ 64 h 607"/>
                    <a:gd name="T12" fmla="*/ 229 w 232"/>
                    <a:gd name="T13" fmla="*/ 88 h 607"/>
                    <a:gd name="T14" fmla="*/ 232 w 232"/>
                    <a:gd name="T15" fmla="*/ 114 h 607"/>
                    <a:gd name="T16" fmla="*/ 232 w 232"/>
                    <a:gd name="T17" fmla="*/ 494 h 607"/>
                    <a:gd name="T18" fmla="*/ 229 w 232"/>
                    <a:gd name="T19" fmla="*/ 520 h 607"/>
                    <a:gd name="T20" fmla="*/ 221 w 232"/>
                    <a:gd name="T21" fmla="*/ 544 h 607"/>
                    <a:gd name="T22" fmla="*/ 207 w 232"/>
                    <a:gd name="T23" fmla="*/ 565 h 607"/>
                    <a:gd name="T24" fmla="*/ 190 w 232"/>
                    <a:gd name="T25" fmla="*/ 583 h 607"/>
                    <a:gd name="T26" fmla="*/ 168 w 232"/>
                    <a:gd name="T27" fmla="*/ 596 h 607"/>
                    <a:gd name="T28" fmla="*/ 143 w 232"/>
                    <a:gd name="T29" fmla="*/ 605 h 607"/>
                    <a:gd name="T30" fmla="*/ 117 w 232"/>
                    <a:gd name="T31" fmla="*/ 607 h 607"/>
                    <a:gd name="T32" fmla="*/ 90 w 232"/>
                    <a:gd name="T33" fmla="*/ 605 h 607"/>
                    <a:gd name="T34" fmla="*/ 66 w 232"/>
                    <a:gd name="T35" fmla="*/ 596 h 607"/>
                    <a:gd name="T36" fmla="*/ 44 w 232"/>
                    <a:gd name="T37" fmla="*/ 583 h 607"/>
                    <a:gd name="T38" fmla="*/ 26 w 232"/>
                    <a:gd name="T39" fmla="*/ 565 h 607"/>
                    <a:gd name="T40" fmla="*/ 13 w 232"/>
                    <a:gd name="T41" fmla="*/ 544 h 607"/>
                    <a:gd name="T42" fmla="*/ 4 w 232"/>
                    <a:gd name="T43" fmla="*/ 520 h 607"/>
                    <a:gd name="T44" fmla="*/ 0 w 232"/>
                    <a:gd name="T45" fmla="*/ 494 h 607"/>
                    <a:gd name="T46" fmla="*/ 0 w 232"/>
                    <a:gd name="T47" fmla="*/ 114 h 607"/>
                    <a:gd name="T48" fmla="*/ 4 w 232"/>
                    <a:gd name="T49" fmla="*/ 88 h 607"/>
                    <a:gd name="T50" fmla="*/ 13 w 232"/>
                    <a:gd name="T51" fmla="*/ 64 h 607"/>
                    <a:gd name="T52" fmla="*/ 26 w 232"/>
                    <a:gd name="T53" fmla="*/ 43 h 607"/>
                    <a:gd name="T54" fmla="*/ 44 w 232"/>
                    <a:gd name="T55" fmla="*/ 25 h 607"/>
                    <a:gd name="T56" fmla="*/ 66 w 232"/>
                    <a:gd name="T57" fmla="*/ 12 h 607"/>
                    <a:gd name="T58" fmla="*/ 90 w 232"/>
                    <a:gd name="T59" fmla="*/ 3 h 607"/>
                    <a:gd name="T60" fmla="*/ 117 w 232"/>
                    <a:gd name="T61" fmla="*/ 0 h 6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32" h="607">
                      <a:moveTo>
                        <a:pt x="117" y="0"/>
                      </a:moveTo>
                      <a:lnTo>
                        <a:pt x="143" y="3"/>
                      </a:lnTo>
                      <a:lnTo>
                        <a:pt x="168" y="12"/>
                      </a:lnTo>
                      <a:lnTo>
                        <a:pt x="190" y="25"/>
                      </a:lnTo>
                      <a:lnTo>
                        <a:pt x="207" y="43"/>
                      </a:lnTo>
                      <a:lnTo>
                        <a:pt x="221" y="64"/>
                      </a:lnTo>
                      <a:lnTo>
                        <a:pt x="229" y="88"/>
                      </a:lnTo>
                      <a:lnTo>
                        <a:pt x="232" y="114"/>
                      </a:lnTo>
                      <a:lnTo>
                        <a:pt x="232" y="494"/>
                      </a:lnTo>
                      <a:lnTo>
                        <a:pt x="229" y="520"/>
                      </a:lnTo>
                      <a:lnTo>
                        <a:pt x="221" y="544"/>
                      </a:lnTo>
                      <a:lnTo>
                        <a:pt x="207" y="565"/>
                      </a:lnTo>
                      <a:lnTo>
                        <a:pt x="190" y="583"/>
                      </a:lnTo>
                      <a:lnTo>
                        <a:pt x="168" y="596"/>
                      </a:lnTo>
                      <a:lnTo>
                        <a:pt x="143" y="605"/>
                      </a:lnTo>
                      <a:lnTo>
                        <a:pt x="117" y="607"/>
                      </a:lnTo>
                      <a:lnTo>
                        <a:pt x="90" y="605"/>
                      </a:lnTo>
                      <a:lnTo>
                        <a:pt x="66" y="596"/>
                      </a:lnTo>
                      <a:lnTo>
                        <a:pt x="44" y="583"/>
                      </a:lnTo>
                      <a:lnTo>
                        <a:pt x="26" y="565"/>
                      </a:lnTo>
                      <a:lnTo>
                        <a:pt x="13" y="544"/>
                      </a:lnTo>
                      <a:lnTo>
                        <a:pt x="4" y="520"/>
                      </a:lnTo>
                      <a:lnTo>
                        <a:pt x="0" y="494"/>
                      </a:lnTo>
                      <a:lnTo>
                        <a:pt x="0" y="114"/>
                      </a:lnTo>
                      <a:lnTo>
                        <a:pt x="4" y="88"/>
                      </a:lnTo>
                      <a:lnTo>
                        <a:pt x="13" y="64"/>
                      </a:lnTo>
                      <a:lnTo>
                        <a:pt x="26" y="43"/>
                      </a:lnTo>
                      <a:lnTo>
                        <a:pt x="44" y="25"/>
                      </a:lnTo>
                      <a:lnTo>
                        <a:pt x="66" y="12"/>
                      </a:lnTo>
                      <a:lnTo>
                        <a:pt x="90" y="3"/>
                      </a:lnTo>
                      <a:lnTo>
                        <a:pt x="11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0" name="Freeform 169"/>
                <p:cNvSpPr>
                  <a:spLocks/>
                </p:cNvSpPr>
                <p:nvPr/>
              </p:nvSpPr>
              <p:spPr bwMode="auto">
                <a:xfrm>
                  <a:off x="-1734" y="3699"/>
                  <a:ext cx="46" cy="152"/>
                </a:xfrm>
                <a:custGeom>
                  <a:avLst/>
                  <a:gdLst>
                    <a:gd name="T0" fmla="*/ 116 w 232"/>
                    <a:gd name="T1" fmla="*/ 0 h 759"/>
                    <a:gd name="T2" fmla="*/ 142 w 232"/>
                    <a:gd name="T3" fmla="*/ 3 h 759"/>
                    <a:gd name="T4" fmla="*/ 167 w 232"/>
                    <a:gd name="T5" fmla="*/ 12 h 759"/>
                    <a:gd name="T6" fmla="*/ 188 w 232"/>
                    <a:gd name="T7" fmla="*/ 25 h 759"/>
                    <a:gd name="T8" fmla="*/ 207 w 232"/>
                    <a:gd name="T9" fmla="*/ 43 h 759"/>
                    <a:gd name="T10" fmla="*/ 220 w 232"/>
                    <a:gd name="T11" fmla="*/ 64 h 759"/>
                    <a:gd name="T12" fmla="*/ 229 w 232"/>
                    <a:gd name="T13" fmla="*/ 88 h 759"/>
                    <a:gd name="T14" fmla="*/ 232 w 232"/>
                    <a:gd name="T15" fmla="*/ 115 h 759"/>
                    <a:gd name="T16" fmla="*/ 232 w 232"/>
                    <a:gd name="T17" fmla="*/ 646 h 759"/>
                    <a:gd name="T18" fmla="*/ 229 w 232"/>
                    <a:gd name="T19" fmla="*/ 672 h 759"/>
                    <a:gd name="T20" fmla="*/ 220 w 232"/>
                    <a:gd name="T21" fmla="*/ 696 h 759"/>
                    <a:gd name="T22" fmla="*/ 207 w 232"/>
                    <a:gd name="T23" fmla="*/ 717 h 759"/>
                    <a:gd name="T24" fmla="*/ 188 w 232"/>
                    <a:gd name="T25" fmla="*/ 735 h 759"/>
                    <a:gd name="T26" fmla="*/ 167 w 232"/>
                    <a:gd name="T27" fmla="*/ 748 h 759"/>
                    <a:gd name="T28" fmla="*/ 142 w 232"/>
                    <a:gd name="T29" fmla="*/ 757 h 759"/>
                    <a:gd name="T30" fmla="*/ 116 w 232"/>
                    <a:gd name="T31" fmla="*/ 759 h 759"/>
                    <a:gd name="T32" fmla="*/ 89 w 232"/>
                    <a:gd name="T33" fmla="*/ 757 h 759"/>
                    <a:gd name="T34" fmla="*/ 66 w 232"/>
                    <a:gd name="T35" fmla="*/ 748 h 759"/>
                    <a:gd name="T36" fmla="*/ 44 w 232"/>
                    <a:gd name="T37" fmla="*/ 735 h 759"/>
                    <a:gd name="T38" fmla="*/ 26 w 232"/>
                    <a:gd name="T39" fmla="*/ 717 h 759"/>
                    <a:gd name="T40" fmla="*/ 13 w 232"/>
                    <a:gd name="T41" fmla="*/ 696 h 759"/>
                    <a:gd name="T42" fmla="*/ 3 w 232"/>
                    <a:gd name="T43" fmla="*/ 672 h 759"/>
                    <a:gd name="T44" fmla="*/ 0 w 232"/>
                    <a:gd name="T45" fmla="*/ 646 h 759"/>
                    <a:gd name="T46" fmla="*/ 0 w 232"/>
                    <a:gd name="T47" fmla="*/ 115 h 759"/>
                    <a:gd name="T48" fmla="*/ 3 w 232"/>
                    <a:gd name="T49" fmla="*/ 88 h 759"/>
                    <a:gd name="T50" fmla="*/ 13 w 232"/>
                    <a:gd name="T51" fmla="*/ 64 h 759"/>
                    <a:gd name="T52" fmla="*/ 26 w 232"/>
                    <a:gd name="T53" fmla="*/ 43 h 759"/>
                    <a:gd name="T54" fmla="*/ 44 w 232"/>
                    <a:gd name="T55" fmla="*/ 25 h 759"/>
                    <a:gd name="T56" fmla="*/ 66 w 232"/>
                    <a:gd name="T57" fmla="*/ 12 h 759"/>
                    <a:gd name="T58" fmla="*/ 89 w 232"/>
                    <a:gd name="T59" fmla="*/ 3 h 759"/>
                    <a:gd name="T60" fmla="*/ 116 w 232"/>
                    <a:gd name="T61" fmla="*/ 0 h 7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32" h="759">
                      <a:moveTo>
                        <a:pt x="116" y="0"/>
                      </a:moveTo>
                      <a:lnTo>
                        <a:pt x="142" y="3"/>
                      </a:lnTo>
                      <a:lnTo>
                        <a:pt x="167" y="12"/>
                      </a:lnTo>
                      <a:lnTo>
                        <a:pt x="188" y="25"/>
                      </a:lnTo>
                      <a:lnTo>
                        <a:pt x="207" y="43"/>
                      </a:lnTo>
                      <a:lnTo>
                        <a:pt x="220" y="64"/>
                      </a:lnTo>
                      <a:lnTo>
                        <a:pt x="229" y="88"/>
                      </a:lnTo>
                      <a:lnTo>
                        <a:pt x="232" y="115"/>
                      </a:lnTo>
                      <a:lnTo>
                        <a:pt x="232" y="646"/>
                      </a:lnTo>
                      <a:lnTo>
                        <a:pt x="229" y="672"/>
                      </a:lnTo>
                      <a:lnTo>
                        <a:pt x="220" y="696"/>
                      </a:lnTo>
                      <a:lnTo>
                        <a:pt x="207" y="717"/>
                      </a:lnTo>
                      <a:lnTo>
                        <a:pt x="188" y="735"/>
                      </a:lnTo>
                      <a:lnTo>
                        <a:pt x="167" y="748"/>
                      </a:lnTo>
                      <a:lnTo>
                        <a:pt x="142" y="757"/>
                      </a:lnTo>
                      <a:lnTo>
                        <a:pt x="116" y="759"/>
                      </a:lnTo>
                      <a:lnTo>
                        <a:pt x="89" y="757"/>
                      </a:lnTo>
                      <a:lnTo>
                        <a:pt x="66" y="748"/>
                      </a:lnTo>
                      <a:lnTo>
                        <a:pt x="44" y="735"/>
                      </a:lnTo>
                      <a:lnTo>
                        <a:pt x="26" y="717"/>
                      </a:lnTo>
                      <a:lnTo>
                        <a:pt x="13" y="696"/>
                      </a:lnTo>
                      <a:lnTo>
                        <a:pt x="3" y="672"/>
                      </a:lnTo>
                      <a:lnTo>
                        <a:pt x="0" y="646"/>
                      </a:lnTo>
                      <a:lnTo>
                        <a:pt x="0" y="115"/>
                      </a:lnTo>
                      <a:lnTo>
                        <a:pt x="3" y="88"/>
                      </a:lnTo>
                      <a:lnTo>
                        <a:pt x="13" y="64"/>
                      </a:lnTo>
                      <a:lnTo>
                        <a:pt x="26" y="43"/>
                      </a:lnTo>
                      <a:lnTo>
                        <a:pt x="44" y="25"/>
                      </a:lnTo>
                      <a:lnTo>
                        <a:pt x="66" y="12"/>
                      </a:lnTo>
                      <a:lnTo>
                        <a:pt x="89" y="3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1" name="Freeform 170"/>
                <p:cNvSpPr>
                  <a:spLocks/>
                </p:cNvSpPr>
                <p:nvPr/>
              </p:nvSpPr>
              <p:spPr bwMode="auto">
                <a:xfrm>
                  <a:off x="-1657" y="3669"/>
                  <a:ext cx="46" cy="182"/>
                </a:xfrm>
                <a:custGeom>
                  <a:avLst/>
                  <a:gdLst>
                    <a:gd name="T0" fmla="*/ 115 w 230"/>
                    <a:gd name="T1" fmla="*/ 0 h 911"/>
                    <a:gd name="T2" fmla="*/ 141 w 230"/>
                    <a:gd name="T3" fmla="*/ 3 h 911"/>
                    <a:gd name="T4" fmla="*/ 166 w 230"/>
                    <a:gd name="T5" fmla="*/ 12 h 911"/>
                    <a:gd name="T6" fmla="*/ 187 w 230"/>
                    <a:gd name="T7" fmla="*/ 25 h 911"/>
                    <a:gd name="T8" fmla="*/ 206 w 230"/>
                    <a:gd name="T9" fmla="*/ 43 h 911"/>
                    <a:gd name="T10" fmla="*/ 219 w 230"/>
                    <a:gd name="T11" fmla="*/ 64 h 911"/>
                    <a:gd name="T12" fmla="*/ 227 w 230"/>
                    <a:gd name="T13" fmla="*/ 88 h 911"/>
                    <a:gd name="T14" fmla="*/ 230 w 230"/>
                    <a:gd name="T15" fmla="*/ 114 h 911"/>
                    <a:gd name="T16" fmla="*/ 230 w 230"/>
                    <a:gd name="T17" fmla="*/ 798 h 911"/>
                    <a:gd name="T18" fmla="*/ 227 w 230"/>
                    <a:gd name="T19" fmla="*/ 824 h 911"/>
                    <a:gd name="T20" fmla="*/ 219 w 230"/>
                    <a:gd name="T21" fmla="*/ 848 h 911"/>
                    <a:gd name="T22" fmla="*/ 206 w 230"/>
                    <a:gd name="T23" fmla="*/ 869 h 911"/>
                    <a:gd name="T24" fmla="*/ 187 w 230"/>
                    <a:gd name="T25" fmla="*/ 887 h 911"/>
                    <a:gd name="T26" fmla="*/ 166 w 230"/>
                    <a:gd name="T27" fmla="*/ 900 h 911"/>
                    <a:gd name="T28" fmla="*/ 141 w 230"/>
                    <a:gd name="T29" fmla="*/ 909 h 911"/>
                    <a:gd name="T30" fmla="*/ 115 w 230"/>
                    <a:gd name="T31" fmla="*/ 911 h 911"/>
                    <a:gd name="T32" fmla="*/ 88 w 230"/>
                    <a:gd name="T33" fmla="*/ 909 h 911"/>
                    <a:gd name="T34" fmla="*/ 64 w 230"/>
                    <a:gd name="T35" fmla="*/ 900 h 911"/>
                    <a:gd name="T36" fmla="*/ 42 w 230"/>
                    <a:gd name="T37" fmla="*/ 887 h 911"/>
                    <a:gd name="T38" fmla="*/ 25 w 230"/>
                    <a:gd name="T39" fmla="*/ 869 h 911"/>
                    <a:gd name="T40" fmla="*/ 11 w 230"/>
                    <a:gd name="T41" fmla="*/ 848 h 911"/>
                    <a:gd name="T42" fmla="*/ 3 w 230"/>
                    <a:gd name="T43" fmla="*/ 824 h 911"/>
                    <a:gd name="T44" fmla="*/ 0 w 230"/>
                    <a:gd name="T45" fmla="*/ 798 h 911"/>
                    <a:gd name="T46" fmla="*/ 0 w 230"/>
                    <a:gd name="T47" fmla="*/ 114 h 911"/>
                    <a:gd name="T48" fmla="*/ 3 w 230"/>
                    <a:gd name="T49" fmla="*/ 88 h 911"/>
                    <a:gd name="T50" fmla="*/ 11 w 230"/>
                    <a:gd name="T51" fmla="*/ 64 h 911"/>
                    <a:gd name="T52" fmla="*/ 25 w 230"/>
                    <a:gd name="T53" fmla="*/ 43 h 911"/>
                    <a:gd name="T54" fmla="*/ 42 w 230"/>
                    <a:gd name="T55" fmla="*/ 25 h 911"/>
                    <a:gd name="T56" fmla="*/ 64 w 230"/>
                    <a:gd name="T57" fmla="*/ 12 h 911"/>
                    <a:gd name="T58" fmla="*/ 88 w 230"/>
                    <a:gd name="T59" fmla="*/ 3 h 911"/>
                    <a:gd name="T60" fmla="*/ 115 w 230"/>
                    <a:gd name="T61" fmla="*/ 0 h 9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30" h="911">
                      <a:moveTo>
                        <a:pt x="115" y="0"/>
                      </a:moveTo>
                      <a:lnTo>
                        <a:pt x="141" y="3"/>
                      </a:lnTo>
                      <a:lnTo>
                        <a:pt x="166" y="12"/>
                      </a:lnTo>
                      <a:lnTo>
                        <a:pt x="187" y="25"/>
                      </a:lnTo>
                      <a:lnTo>
                        <a:pt x="206" y="43"/>
                      </a:lnTo>
                      <a:lnTo>
                        <a:pt x="219" y="64"/>
                      </a:lnTo>
                      <a:lnTo>
                        <a:pt x="227" y="88"/>
                      </a:lnTo>
                      <a:lnTo>
                        <a:pt x="230" y="114"/>
                      </a:lnTo>
                      <a:lnTo>
                        <a:pt x="230" y="798"/>
                      </a:lnTo>
                      <a:lnTo>
                        <a:pt x="227" y="824"/>
                      </a:lnTo>
                      <a:lnTo>
                        <a:pt x="219" y="848"/>
                      </a:lnTo>
                      <a:lnTo>
                        <a:pt x="206" y="869"/>
                      </a:lnTo>
                      <a:lnTo>
                        <a:pt x="187" y="887"/>
                      </a:lnTo>
                      <a:lnTo>
                        <a:pt x="166" y="900"/>
                      </a:lnTo>
                      <a:lnTo>
                        <a:pt x="141" y="909"/>
                      </a:lnTo>
                      <a:lnTo>
                        <a:pt x="115" y="911"/>
                      </a:lnTo>
                      <a:lnTo>
                        <a:pt x="88" y="909"/>
                      </a:lnTo>
                      <a:lnTo>
                        <a:pt x="64" y="900"/>
                      </a:lnTo>
                      <a:lnTo>
                        <a:pt x="42" y="887"/>
                      </a:lnTo>
                      <a:lnTo>
                        <a:pt x="25" y="869"/>
                      </a:lnTo>
                      <a:lnTo>
                        <a:pt x="11" y="848"/>
                      </a:lnTo>
                      <a:lnTo>
                        <a:pt x="3" y="824"/>
                      </a:lnTo>
                      <a:lnTo>
                        <a:pt x="0" y="798"/>
                      </a:lnTo>
                      <a:lnTo>
                        <a:pt x="0" y="114"/>
                      </a:lnTo>
                      <a:lnTo>
                        <a:pt x="3" y="88"/>
                      </a:lnTo>
                      <a:lnTo>
                        <a:pt x="11" y="64"/>
                      </a:lnTo>
                      <a:lnTo>
                        <a:pt x="25" y="43"/>
                      </a:lnTo>
                      <a:lnTo>
                        <a:pt x="42" y="25"/>
                      </a:lnTo>
                      <a:lnTo>
                        <a:pt x="64" y="12"/>
                      </a:lnTo>
                      <a:lnTo>
                        <a:pt x="88" y="3"/>
                      </a:lnTo>
                      <a:lnTo>
                        <a:pt x="11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2" name="Freeform 171"/>
                <p:cNvSpPr>
                  <a:spLocks/>
                </p:cNvSpPr>
                <p:nvPr/>
              </p:nvSpPr>
              <p:spPr bwMode="auto">
                <a:xfrm>
                  <a:off x="-1919" y="3510"/>
                  <a:ext cx="679" cy="440"/>
                </a:xfrm>
                <a:custGeom>
                  <a:avLst/>
                  <a:gdLst>
                    <a:gd name="T0" fmla="*/ 3240 w 3394"/>
                    <a:gd name="T1" fmla="*/ 0 h 2203"/>
                    <a:gd name="T2" fmla="*/ 3300 w 3394"/>
                    <a:gd name="T3" fmla="*/ 11 h 2203"/>
                    <a:gd name="T4" fmla="*/ 3349 w 3394"/>
                    <a:gd name="T5" fmla="*/ 44 h 2203"/>
                    <a:gd name="T6" fmla="*/ 3382 w 3394"/>
                    <a:gd name="T7" fmla="*/ 92 h 2203"/>
                    <a:gd name="T8" fmla="*/ 3394 w 3394"/>
                    <a:gd name="T9" fmla="*/ 152 h 2203"/>
                    <a:gd name="T10" fmla="*/ 3187 w 3394"/>
                    <a:gd name="T11" fmla="*/ 1669 h 2203"/>
                    <a:gd name="T12" fmla="*/ 3245 w 3394"/>
                    <a:gd name="T13" fmla="*/ 1543 h 2203"/>
                    <a:gd name="T14" fmla="*/ 3281 w 3394"/>
                    <a:gd name="T15" fmla="*/ 1409 h 2203"/>
                    <a:gd name="T16" fmla="*/ 3294 w 3394"/>
                    <a:gd name="T17" fmla="*/ 1271 h 2203"/>
                    <a:gd name="T18" fmla="*/ 3282 w 3394"/>
                    <a:gd name="T19" fmla="*/ 1139 h 2203"/>
                    <a:gd name="T20" fmla="*/ 3251 w 3394"/>
                    <a:gd name="T21" fmla="*/ 1012 h 2203"/>
                    <a:gd name="T22" fmla="*/ 3199 w 3394"/>
                    <a:gd name="T23" fmla="*/ 894 h 2203"/>
                    <a:gd name="T24" fmla="*/ 3128 w 3394"/>
                    <a:gd name="T25" fmla="*/ 783 h 2203"/>
                    <a:gd name="T26" fmla="*/ 3085 w 3394"/>
                    <a:gd name="T27" fmla="*/ 304 h 2203"/>
                    <a:gd name="T28" fmla="*/ 309 w 3394"/>
                    <a:gd name="T29" fmla="*/ 1899 h 2203"/>
                    <a:gd name="T30" fmla="*/ 1989 w 3394"/>
                    <a:gd name="T31" fmla="*/ 1937 h 2203"/>
                    <a:gd name="T32" fmla="*/ 2097 w 3394"/>
                    <a:gd name="T33" fmla="*/ 2001 h 2203"/>
                    <a:gd name="T34" fmla="*/ 2214 w 3394"/>
                    <a:gd name="T35" fmla="*/ 2048 h 2203"/>
                    <a:gd name="T36" fmla="*/ 2338 w 3394"/>
                    <a:gd name="T37" fmla="*/ 2077 h 2203"/>
                    <a:gd name="T38" fmla="*/ 2465 w 3394"/>
                    <a:gd name="T39" fmla="*/ 2086 h 2203"/>
                    <a:gd name="T40" fmla="*/ 2607 w 3394"/>
                    <a:gd name="T41" fmla="*/ 2074 h 2203"/>
                    <a:gd name="T42" fmla="*/ 2743 w 3394"/>
                    <a:gd name="T43" fmla="*/ 2039 h 2203"/>
                    <a:gd name="T44" fmla="*/ 2871 w 3394"/>
                    <a:gd name="T45" fmla="*/ 1980 h 2203"/>
                    <a:gd name="T46" fmla="*/ 3089 w 3394"/>
                    <a:gd name="T47" fmla="*/ 2195 h 2203"/>
                    <a:gd name="T48" fmla="*/ 3098 w 3394"/>
                    <a:gd name="T49" fmla="*/ 2203 h 2203"/>
                    <a:gd name="T50" fmla="*/ 124 w 3394"/>
                    <a:gd name="T51" fmla="*/ 2199 h 2203"/>
                    <a:gd name="T52" fmla="*/ 69 w 3394"/>
                    <a:gd name="T53" fmla="*/ 2177 h 2203"/>
                    <a:gd name="T54" fmla="*/ 26 w 3394"/>
                    <a:gd name="T55" fmla="*/ 2135 h 2203"/>
                    <a:gd name="T56" fmla="*/ 3 w 3394"/>
                    <a:gd name="T57" fmla="*/ 2081 h 2203"/>
                    <a:gd name="T58" fmla="*/ 0 w 3394"/>
                    <a:gd name="T59" fmla="*/ 152 h 2203"/>
                    <a:gd name="T60" fmla="*/ 12 w 3394"/>
                    <a:gd name="T61" fmla="*/ 93 h 2203"/>
                    <a:gd name="T62" fmla="*/ 46 w 3394"/>
                    <a:gd name="T63" fmla="*/ 44 h 2203"/>
                    <a:gd name="T64" fmla="*/ 95 w 3394"/>
                    <a:gd name="T65" fmla="*/ 11 h 2203"/>
                    <a:gd name="T66" fmla="*/ 155 w 3394"/>
                    <a:gd name="T67" fmla="*/ 0 h 2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3394" h="2203">
                      <a:moveTo>
                        <a:pt x="155" y="0"/>
                      </a:moveTo>
                      <a:lnTo>
                        <a:pt x="3240" y="0"/>
                      </a:lnTo>
                      <a:lnTo>
                        <a:pt x="3271" y="3"/>
                      </a:lnTo>
                      <a:lnTo>
                        <a:pt x="3300" y="11"/>
                      </a:lnTo>
                      <a:lnTo>
                        <a:pt x="3326" y="26"/>
                      </a:lnTo>
                      <a:lnTo>
                        <a:pt x="3349" y="44"/>
                      </a:lnTo>
                      <a:lnTo>
                        <a:pt x="3368" y="67"/>
                      </a:lnTo>
                      <a:lnTo>
                        <a:pt x="3382" y="92"/>
                      </a:lnTo>
                      <a:lnTo>
                        <a:pt x="3391" y="121"/>
                      </a:lnTo>
                      <a:lnTo>
                        <a:pt x="3394" y="152"/>
                      </a:lnTo>
                      <a:lnTo>
                        <a:pt x="3394" y="1874"/>
                      </a:lnTo>
                      <a:lnTo>
                        <a:pt x="3187" y="1669"/>
                      </a:lnTo>
                      <a:lnTo>
                        <a:pt x="3219" y="1608"/>
                      </a:lnTo>
                      <a:lnTo>
                        <a:pt x="3245" y="1543"/>
                      </a:lnTo>
                      <a:lnTo>
                        <a:pt x="3266" y="1478"/>
                      </a:lnTo>
                      <a:lnTo>
                        <a:pt x="3281" y="1409"/>
                      </a:lnTo>
                      <a:lnTo>
                        <a:pt x="3291" y="1341"/>
                      </a:lnTo>
                      <a:lnTo>
                        <a:pt x="3294" y="1271"/>
                      </a:lnTo>
                      <a:lnTo>
                        <a:pt x="3291" y="1205"/>
                      </a:lnTo>
                      <a:lnTo>
                        <a:pt x="3282" y="1139"/>
                      </a:lnTo>
                      <a:lnTo>
                        <a:pt x="3269" y="1075"/>
                      </a:lnTo>
                      <a:lnTo>
                        <a:pt x="3251" y="1012"/>
                      </a:lnTo>
                      <a:lnTo>
                        <a:pt x="3227" y="952"/>
                      </a:lnTo>
                      <a:lnTo>
                        <a:pt x="3199" y="894"/>
                      </a:lnTo>
                      <a:lnTo>
                        <a:pt x="3166" y="836"/>
                      </a:lnTo>
                      <a:lnTo>
                        <a:pt x="3128" y="783"/>
                      </a:lnTo>
                      <a:lnTo>
                        <a:pt x="3085" y="732"/>
                      </a:lnTo>
                      <a:lnTo>
                        <a:pt x="3085" y="304"/>
                      </a:lnTo>
                      <a:lnTo>
                        <a:pt x="309" y="304"/>
                      </a:lnTo>
                      <a:lnTo>
                        <a:pt x="309" y="1899"/>
                      </a:lnTo>
                      <a:lnTo>
                        <a:pt x="1938" y="1899"/>
                      </a:lnTo>
                      <a:lnTo>
                        <a:pt x="1989" y="1937"/>
                      </a:lnTo>
                      <a:lnTo>
                        <a:pt x="2042" y="1971"/>
                      </a:lnTo>
                      <a:lnTo>
                        <a:pt x="2097" y="2001"/>
                      </a:lnTo>
                      <a:lnTo>
                        <a:pt x="2155" y="2027"/>
                      </a:lnTo>
                      <a:lnTo>
                        <a:pt x="2214" y="2048"/>
                      </a:lnTo>
                      <a:lnTo>
                        <a:pt x="2275" y="2064"/>
                      </a:lnTo>
                      <a:lnTo>
                        <a:pt x="2338" y="2077"/>
                      </a:lnTo>
                      <a:lnTo>
                        <a:pt x="2401" y="2084"/>
                      </a:lnTo>
                      <a:lnTo>
                        <a:pt x="2465" y="2086"/>
                      </a:lnTo>
                      <a:lnTo>
                        <a:pt x="2537" y="2083"/>
                      </a:lnTo>
                      <a:lnTo>
                        <a:pt x="2607" y="2074"/>
                      </a:lnTo>
                      <a:lnTo>
                        <a:pt x="2675" y="2059"/>
                      </a:lnTo>
                      <a:lnTo>
                        <a:pt x="2743" y="2039"/>
                      </a:lnTo>
                      <a:lnTo>
                        <a:pt x="2808" y="2012"/>
                      </a:lnTo>
                      <a:lnTo>
                        <a:pt x="2871" y="1980"/>
                      </a:lnTo>
                      <a:lnTo>
                        <a:pt x="3085" y="2191"/>
                      </a:lnTo>
                      <a:lnTo>
                        <a:pt x="3089" y="2195"/>
                      </a:lnTo>
                      <a:lnTo>
                        <a:pt x="3094" y="2198"/>
                      </a:lnTo>
                      <a:lnTo>
                        <a:pt x="3098" y="2203"/>
                      </a:lnTo>
                      <a:lnTo>
                        <a:pt x="155" y="2203"/>
                      </a:lnTo>
                      <a:lnTo>
                        <a:pt x="124" y="2199"/>
                      </a:lnTo>
                      <a:lnTo>
                        <a:pt x="95" y="2190"/>
                      </a:lnTo>
                      <a:lnTo>
                        <a:pt x="69" y="2177"/>
                      </a:lnTo>
                      <a:lnTo>
                        <a:pt x="46" y="2158"/>
                      </a:lnTo>
                      <a:lnTo>
                        <a:pt x="26" y="2135"/>
                      </a:lnTo>
                      <a:lnTo>
                        <a:pt x="12" y="2109"/>
                      </a:lnTo>
                      <a:lnTo>
                        <a:pt x="3" y="2081"/>
                      </a:lnTo>
                      <a:lnTo>
                        <a:pt x="0" y="2051"/>
                      </a:lnTo>
                      <a:lnTo>
                        <a:pt x="0" y="152"/>
                      </a:lnTo>
                      <a:lnTo>
                        <a:pt x="3" y="121"/>
                      </a:lnTo>
                      <a:lnTo>
                        <a:pt x="12" y="93"/>
                      </a:lnTo>
                      <a:lnTo>
                        <a:pt x="26" y="67"/>
                      </a:lnTo>
                      <a:lnTo>
                        <a:pt x="46" y="44"/>
                      </a:lnTo>
                      <a:lnTo>
                        <a:pt x="69" y="26"/>
                      </a:lnTo>
                      <a:lnTo>
                        <a:pt x="95" y="11"/>
                      </a:lnTo>
                      <a:lnTo>
                        <a:pt x="124" y="3"/>
                      </a:lnTo>
                      <a:lnTo>
                        <a:pt x="15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3" name="Freeform 172"/>
                <p:cNvSpPr>
                  <a:spLocks noEditPoints="1"/>
                </p:cNvSpPr>
                <p:nvPr/>
              </p:nvSpPr>
              <p:spPr bwMode="auto">
                <a:xfrm>
                  <a:off x="-1561" y="3631"/>
                  <a:ext cx="304" cy="299"/>
                </a:xfrm>
                <a:custGeom>
                  <a:avLst/>
                  <a:gdLst>
                    <a:gd name="T0" fmla="*/ 568 w 1520"/>
                    <a:gd name="T1" fmla="*/ 146 h 1495"/>
                    <a:gd name="T2" fmla="*/ 422 w 1520"/>
                    <a:gd name="T3" fmla="*/ 198 h 1495"/>
                    <a:gd name="T4" fmla="*/ 295 w 1520"/>
                    <a:gd name="T5" fmla="*/ 291 h 1495"/>
                    <a:gd name="T6" fmla="*/ 202 w 1520"/>
                    <a:gd name="T7" fmla="*/ 415 h 1495"/>
                    <a:gd name="T8" fmla="*/ 149 w 1520"/>
                    <a:gd name="T9" fmla="*/ 560 h 1495"/>
                    <a:gd name="T10" fmla="*/ 141 w 1520"/>
                    <a:gd name="T11" fmla="*/ 715 h 1495"/>
                    <a:gd name="T12" fmla="*/ 179 w 1520"/>
                    <a:gd name="T13" fmla="*/ 865 h 1495"/>
                    <a:gd name="T14" fmla="*/ 260 w 1520"/>
                    <a:gd name="T15" fmla="*/ 997 h 1495"/>
                    <a:gd name="T16" fmla="*/ 377 w 1520"/>
                    <a:gd name="T17" fmla="*/ 1101 h 1495"/>
                    <a:gd name="T18" fmla="*/ 518 w 1520"/>
                    <a:gd name="T19" fmla="*/ 1168 h 1495"/>
                    <a:gd name="T20" fmla="*/ 673 w 1520"/>
                    <a:gd name="T21" fmla="*/ 1190 h 1495"/>
                    <a:gd name="T22" fmla="*/ 829 w 1520"/>
                    <a:gd name="T23" fmla="*/ 1168 h 1495"/>
                    <a:gd name="T24" fmla="*/ 971 w 1520"/>
                    <a:gd name="T25" fmla="*/ 1101 h 1495"/>
                    <a:gd name="T26" fmla="*/ 1088 w 1520"/>
                    <a:gd name="T27" fmla="*/ 997 h 1495"/>
                    <a:gd name="T28" fmla="*/ 1168 w 1520"/>
                    <a:gd name="T29" fmla="*/ 865 h 1495"/>
                    <a:gd name="T30" fmla="*/ 1207 w 1520"/>
                    <a:gd name="T31" fmla="*/ 715 h 1495"/>
                    <a:gd name="T32" fmla="*/ 1198 w 1520"/>
                    <a:gd name="T33" fmla="*/ 560 h 1495"/>
                    <a:gd name="T34" fmla="*/ 1146 w 1520"/>
                    <a:gd name="T35" fmla="*/ 415 h 1495"/>
                    <a:gd name="T36" fmla="*/ 1053 w 1520"/>
                    <a:gd name="T37" fmla="*/ 291 h 1495"/>
                    <a:gd name="T38" fmla="*/ 926 w 1520"/>
                    <a:gd name="T39" fmla="*/ 198 h 1495"/>
                    <a:gd name="T40" fmla="*/ 779 w 1520"/>
                    <a:gd name="T41" fmla="*/ 146 h 1495"/>
                    <a:gd name="T42" fmla="*/ 673 w 1520"/>
                    <a:gd name="T43" fmla="*/ 0 h 1495"/>
                    <a:gd name="T44" fmla="*/ 849 w 1520"/>
                    <a:gd name="T45" fmla="*/ 23 h 1495"/>
                    <a:gd name="T46" fmla="*/ 1010 w 1520"/>
                    <a:gd name="T47" fmla="*/ 88 h 1495"/>
                    <a:gd name="T48" fmla="*/ 1151 w 1520"/>
                    <a:gd name="T49" fmla="*/ 195 h 1495"/>
                    <a:gd name="T50" fmla="*/ 1258 w 1520"/>
                    <a:gd name="T51" fmla="*/ 332 h 1495"/>
                    <a:gd name="T52" fmla="*/ 1324 w 1520"/>
                    <a:gd name="T53" fmla="*/ 490 h 1495"/>
                    <a:gd name="T54" fmla="*/ 1347 w 1520"/>
                    <a:gd name="T55" fmla="*/ 663 h 1495"/>
                    <a:gd name="T56" fmla="*/ 1322 w 1520"/>
                    <a:gd name="T57" fmla="*/ 841 h 1495"/>
                    <a:gd name="T58" fmla="*/ 1251 w 1520"/>
                    <a:gd name="T59" fmla="*/ 1004 h 1495"/>
                    <a:gd name="T60" fmla="*/ 1211 w 1520"/>
                    <a:gd name="T61" fmla="*/ 1132 h 1495"/>
                    <a:gd name="T62" fmla="*/ 1256 w 1520"/>
                    <a:gd name="T63" fmla="*/ 1142 h 1495"/>
                    <a:gd name="T64" fmla="*/ 1511 w 1520"/>
                    <a:gd name="T65" fmla="*/ 1395 h 1495"/>
                    <a:gd name="T66" fmla="*/ 1517 w 1520"/>
                    <a:gd name="T67" fmla="*/ 1445 h 1495"/>
                    <a:gd name="T68" fmla="*/ 1485 w 1520"/>
                    <a:gd name="T69" fmla="*/ 1487 h 1495"/>
                    <a:gd name="T70" fmla="*/ 1433 w 1520"/>
                    <a:gd name="T71" fmla="*/ 1493 h 1495"/>
                    <a:gd name="T72" fmla="*/ 1170 w 1520"/>
                    <a:gd name="T73" fmla="*/ 1248 h 1495"/>
                    <a:gd name="T74" fmla="*/ 1151 w 1520"/>
                    <a:gd name="T75" fmla="*/ 1208 h 1495"/>
                    <a:gd name="T76" fmla="*/ 1070 w 1520"/>
                    <a:gd name="T77" fmla="*/ 1198 h 1495"/>
                    <a:gd name="T78" fmla="*/ 911 w 1520"/>
                    <a:gd name="T79" fmla="*/ 1283 h 1495"/>
                    <a:gd name="T80" fmla="*/ 735 w 1520"/>
                    <a:gd name="T81" fmla="*/ 1323 h 1495"/>
                    <a:gd name="T82" fmla="*/ 556 w 1520"/>
                    <a:gd name="T83" fmla="*/ 1316 h 1495"/>
                    <a:gd name="T84" fmla="*/ 390 w 1520"/>
                    <a:gd name="T85" fmla="*/ 1264 h 1495"/>
                    <a:gd name="T86" fmla="*/ 242 w 1520"/>
                    <a:gd name="T87" fmla="*/ 1172 h 1495"/>
                    <a:gd name="T88" fmla="*/ 122 w 1520"/>
                    <a:gd name="T89" fmla="*/ 1043 h 1495"/>
                    <a:gd name="T90" fmla="*/ 40 w 1520"/>
                    <a:gd name="T91" fmla="*/ 890 h 1495"/>
                    <a:gd name="T92" fmla="*/ 3 w 1520"/>
                    <a:gd name="T93" fmla="*/ 722 h 1495"/>
                    <a:gd name="T94" fmla="*/ 10 w 1520"/>
                    <a:gd name="T95" fmla="*/ 547 h 1495"/>
                    <a:gd name="T96" fmla="*/ 63 w 1520"/>
                    <a:gd name="T97" fmla="*/ 383 h 1495"/>
                    <a:gd name="T98" fmla="*/ 157 w 1520"/>
                    <a:gd name="T99" fmla="*/ 238 h 1495"/>
                    <a:gd name="T100" fmla="*/ 288 w 1520"/>
                    <a:gd name="T101" fmla="*/ 119 h 1495"/>
                    <a:gd name="T102" fmla="*/ 443 w 1520"/>
                    <a:gd name="T103" fmla="*/ 40 h 1495"/>
                    <a:gd name="T104" fmla="*/ 614 w 1520"/>
                    <a:gd name="T105" fmla="*/ 2 h 14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520" h="1495">
                      <a:moveTo>
                        <a:pt x="673" y="136"/>
                      </a:moveTo>
                      <a:lnTo>
                        <a:pt x="620" y="138"/>
                      </a:lnTo>
                      <a:lnTo>
                        <a:pt x="568" y="146"/>
                      </a:lnTo>
                      <a:lnTo>
                        <a:pt x="518" y="159"/>
                      </a:lnTo>
                      <a:lnTo>
                        <a:pt x="469" y="176"/>
                      </a:lnTo>
                      <a:lnTo>
                        <a:pt x="422" y="198"/>
                      </a:lnTo>
                      <a:lnTo>
                        <a:pt x="377" y="224"/>
                      </a:lnTo>
                      <a:lnTo>
                        <a:pt x="335" y="255"/>
                      </a:lnTo>
                      <a:lnTo>
                        <a:pt x="295" y="291"/>
                      </a:lnTo>
                      <a:lnTo>
                        <a:pt x="260" y="330"/>
                      </a:lnTo>
                      <a:lnTo>
                        <a:pt x="229" y="371"/>
                      </a:lnTo>
                      <a:lnTo>
                        <a:pt x="202" y="415"/>
                      </a:lnTo>
                      <a:lnTo>
                        <a:pt x="179" y="462"/>
                      </a:lnTo>
                      <a:lnTo>
                        <a:pt x="161" y="510"/>
                      </a:lnTo>
                      <a:lnTo>
                        <a:pt x="149" y="560"/>
                      </a:lnTo>
                      <a:lnTo>
                        <a:pt x="141" y="611"/>
                      </a:lnTo>
                      <a:lnTo>
                        <a:pt x="138" y="663"/>
                      </a:lnTo>
                      <a:lnTo>
                        <a:pt x="141" y="715"/>
                      </a:lnTo>
                      <a:lnTo>
                        <a:pt x="149" y="767"/>
                      </a:lnTo>
                      <a:lnTo>
                        <a:pt x="161" y="817"/>
                      </a:lnTo>
                      <a:lnTo>
                        <a:pt x="179" y="865"/>
                      </a:lnTo>
                      <a:lnTo>
                        <a:pt x="202" y="911"/>
                      </a:lnTo>
                      <a:lnTo>
                        <a:pt x="229" y="955"/>
                      </a:lnTo>
                      <a:lnTo>
                        <a:pt x="260" y="997"/>
                      </a:lnTo>
                      <a:lnTo>
                        <a:pt x="295" y="1036"/>
                      </a:lnTo>
                      <a:lnTo>
                        <a:pt x="335" y="1071"/>
                      </a:lnTo>
                      <a:lnTo>
                        <a:pt x="377" y="1101"/>
                      </a:lnTo>
                      <a:lnTo>
                        <a:pt x="422" y="1128"/>
                      </a:lnTo>
                      <a:lnTo>
                        <a:pt x="469" y="1150"/>
                      </a:lnTo>
                      <a:lnTo>
                        <a:pt x="518" y="1168"/>
                      </a:lnTo>
                      <a:lnTo>
                        <a:pt x="568" y="1180"/>
                      </a:lnTo>
                      <a:lnTo>
                        <a:pt x="620" y="1187"/>
                      </a:lnTo>
                      <a:lnTo>
                        <a:pt x="673" y="1190"/>
                      </a:lnTo>
                      <a:lnTo>
                        <a:pt x="726" y="1187"/>
                      </a:lnTo>
                      <a:lnTo>
                        <a:pt x="779" y="1180"/>
                      </a:lnTo>
                      <a:lnTo>
                        <a:pt x="829" y="1168"/>
                      </a:lnTo>
                      <a:lnTo>
                        <a:pt x="879" y="1150"/>
                      </a:lnTo>
                      <a:lnTo>
                        <a:pt x="926" y="1128"/>
                      </a:lnTo>
                      <a:lnTo>
                        <a:pt x="971" y="1101"/>
                      </a:lnTo>
                      <a:lnTo>
                        <a:pt x="1013" y="1071"/>
                      </a:lnTo>
                      <a:lnTo>
                        <a:pt x="1053" y="1036"/>
                      </a:lnTo>
                      <a:lnTo>
                        <a:pt x="1088" y="997"/>
                      </a:lnTo>
                      <a:lnTo>
                        <a:pt x="1119" y="955"/>
                      </a:lnTo>
                      <a:lnTo>
                        <a:pt x="1146" y="911"/>
                      </a:lnTo>
                      <a:lnTo>
                        <a:pt x="1168" y="865"/>
                      </a:lnTo>
                      <a:lnTo>
                        <a:pt x="1186" y="817"/>
                      </a:lnTo>
                      <a:lnTo>
                        <a:pt x="1198" y="767"/>
                      </a:lnTo>
                      <a:lnTo>
                        <a:pt x="1207" y="715"/>
                      </a:lnTo>
                      <a:lnTo>
                        <a:pt x="1209" y="663"/>
                      </a:lnTo>
                      <a:lnTo>
                        <a:pt x="1207" y="611"/>
                      </a:lnTo>
                      <a:lnTo>
                        <a:pt x="1198" y="560"/>
                      </a:lnTo>
                      <a:lnTo>
                        <a:pt x="1186" y="510"/>
                      </a:lnTo>
                      <a:lnTo>
                        <a:pt x="1168" y="462"/>
                      </a:lnTo>
                      <a:lnTo>
                        <a:pt x="1146" y="415"/>
                      </a:lnTo>
                      <a:lnTo>
                        <a:pt x="1119" y="371"/>
                      </a:lnTo>
                      <a:lnTo>
                        <a:pt x="1088" y="330"/>
                      </a:lnTo>
                      <a:lnTo>
                        <a:pt x="1053" y="291"/>
                      </a:lnTo>
                      <a:lnTo>
                        <a:pt x="1013" y="255"/>
                      </a:lnTo>
                      <a:lnTo>
                        <a:pt x="971" y="224"/>
                      </a:lnTo>
                      <a:lnTo>
                        <a:pt x="926" y="198"/>
                      </a:lnTo>
                      <a:lnTo>
                        <a:pt x="879" y="176"/>
                      </a:lnTo>
                      <a:lnTo>
                        <a:pt x="829" y="159"/>
                      </a:lnTo>
                      <a:lnTo>
                        <a:pt x="779" y="146"/>
                      </a:lnTo>
                      <a:lnTo>
                        <a:pt x="726" y="138"/>
                      </a:lnTo>
                      <a:lnTo>
                        <a:pt x="673" y="136"/>
                      </a:lnTo>
                      <a:close/>
                      <a:moveTo>
                        <a:pt x="673" y="0"/>
                      </a:moveTo>
                      <a:lnTo>
                        <a:pt x="734" y="2"/>
                      </a:lnTo>
                      <a:lnTo>
                        <a:pt x="792" y="10"/>
                      </a:lnTo>
                      <a:lnTo>
                        <a:pt x="849" y="23"/>
                      </a:lnTo>
                      <a:lnTo>
                        <a:pt x="904" y="40"/>
                      </a:lnTo>
                      <a:lnTo>
                        <a:pt x="958" y="61"/>
                      </a:lnTo>
                      <a:lnTo>
                        <a:pt x="1010" y="88"/>
                      </a:lnTo>
                      <a:lnTo>
                        <a:pt x="1059" y="119"/>
                      </a:lnTo>
                      <a:lnTo>
                        <a:pt x="1106" y="155"/>
                      </a:lnTo>
                      <a:lnTo>
                        <a:pt x="1151" y="195"/>
                      </a:lnTo>
                      <a:lnTo>
                        <a:pt x="1190" y="238"/>
                      </a:lnTo>
                      <a:lnTo>
                        <a:pt x="1226" y="284"/>
                      </a:lnTo>
                      <a:lnTo>
                        <a:pt x="1258" y="332"/>
                      </a:lnTo>
                      <a:lnTo>
                        <a:pt x="1285" y="383"/>
                      </a:lnTo>
                      <a:lnTo>
                        <a:pt x="1306" y="436"/>
                      </a:lnTo>
                      <a:lnTo>
                        <a:pt x="1324" y="490"/>
                      </a:lnTo>
                      <a:lnTo>
                        <a:pt x="1337" y="547"/>
                      </a:lnTo>
                      <a:lnTo>
                        <a:pt x="1345" y="604"/>
                      </a:lnTo>
                      <a:lnTo>
                        <a:pt x="1347" y="663"/>
                      </a:lnTo>
                      <a:lnTo>
                        <a:pt x="1344" y="724"/>
                      </a:lnTo>
                      <a:lnTo>
                        <a:pt x="1337" y="783"/>
                      </a:lnTo>
                      <a:lnTo>
                        <a:pt x="1322" y="841"/>
                      </a:lnTo>
                      <a:lnTo>
                        <a:pt x="1303" y="898"/>
                      </a:lnTo>
                      <a:lnTo>
                        <a:pt x="1279" y="952"/>
                      </a:lnTo>
                      <a:lnTo>
                        <a:pt x="1251" y="1004"/>
                      </a:lnTo>
                      <a:lnTo>
                        <a:pt x="1217" y="1053"/>
                      </a:lnTo>
                      <a:lnTo>
                        <a:pt x="1179" y="1100"/>
                      </a:lnTo>
                      <a:lnTo>
                        <a:pt x="1211" y="1132"/>
                      </a:lnTo>
                      <a:lnTo>
                        <a:pt x="1226" y="1132"/>
                      </a:lnTo>
                      <a:lnTo>
                        <a:pt x="1241" y="1135"/>
                      </a:lnTo>
                      <a:lnTo>
                        <a:pt x="1256" y="1142"/>
                      </a:lnTo>
                      <a:lnTo>
                        <a:pt x="1268" y="1151"/>
                      </a:lnTo>
                      <a:lnTo>
                        <a:pt x="1500" y="1381"/>
                      </a:lnTo>
                      <a:lnTo>
                        <a:pt x="1511" y="1395"/>
                      </a:lnTo>
                      <a:lnTo>
                        <a:pt x="1517" y="1411"/>
                      </a:lnTo>
                      <a:lnTo>
                        <a:pt x="1520" y="1428"/>
                      </a:lnTo>
                      <a:lnTo>
                        <a:pt x="1517" y="1445"/>
                      </a:lnTo>
                      <a:lnTo>
                        <a:pt x="1511" y="1462"/>
                      </a:lnTo>
                      <a:lnTo>
                        <a:pt x="1500" y="1476"/>
                      </a:lnTo>
                      <a:lnTo>
                        <a:pt x="1485" y="1487"/>
                      </a:lnTo>
                      <a:lnTo>
                        <a:pt x="1469" y="1493"/>
                      </a:lnTo>
                      <a:lnTo>
                        <a:pt x="1451" y="1495"/>
                      </a:lnTo>
                      <a:lnTo>
                        <a:pt x="1433" y="1493"/>
                      </a:lnTo>
                      <a:lnTo>
                        <a:pt x="1417" y="1487"/>
                      </a:lnTo>
                      <a:lnTo>
                        <a:pt x="1402" y="1476"/>
                      </a:lnTo>
                      <a:lnTo>
                        <a:pt x="1170" y="1248"/>
                      </a:lnTo>
                      <a:lnTo>
                        <a:pt x="1160" y="1235"/>
                      </a:lnTo>
                      <a:lnTo>
                        <a:pt x="1154" y="1222"/>
                      </a:lnTo>
                      <a:lnTo>
                        <a:pt x="1151" y="1208"/>
                      </a:lnTo>
                      <a:lnTo>
                        <a:pt x="1151" y="1192"/>
                      </a:lnTo>
                      <a:lnTo>
                        <a:pt x="1118" y="1161"/>
                      </a:lnTo>
                      <a:lnTo>
                        <a:pt x="1070" y="1198"/>
                      </a:lnTo>
                      <a:lnTo>
                        <a:pt x="1020" y="1231"/>
                      </a:lnTo>
                      <a:lnTo>
                        <a:pt x="967" y="1260"/>
                      </a:lnTo>
                      <a:lnTo>
                        <a:pt x="911" y="1283"/>
                      </a:lnTo>
                      <a:lnTo>
                        <a:pt x="854" y="1302"/>
                      </a:lnTo>
                      <a:lnTo>
                        <a:pt x="796" y="1315"/>
                      </a:lnTo>
                      <a:lnTo>
                        <a:pt x="735" y="1323"/>
                      </a:lnTo>
                      <a:lnTo>
                        <a:pt x="673" y="1326"/>
                      </a:lnTo>
                      <a:lnTo>
                        <a:pt x="614" y="1323"/>
                      </a:lnTo>
                      <a:lnTo>
                        <a:pt x="556" y="1316"/>
                      </a:lnTo>
                      <a:lnTo>
                        <a:pt x="499" y="1304"/>
                      </a:lnTo>
                      <a:lnTo>
                        <a:pt x="443" y="1287"/>
                      </a:lnTo>
                      <a:lnTo>
                        <a:pt x="390" y="1264"/>
                      </a:lnTo>
                      <a:lnTo>
                        <a:pt x="338" y="1238"/>
                      </a:lnTo>
                      <a:lnTo>
                        <a:pt x="288" y="1207"/>
                      </a:lnTo>
                      <a:lnTo>
                        <a:pt x="242" y="1172"/>
                      </a:lnTo>
                      <a:lnTo>
                        <a:pt x="197" y="1132"/>
                      </a:lnTo>
                      <a:lnTo>
                        <a:pt x="157" y="1089"/>
                      </a:lnTo>
                      <a:lnTo>
                        <a:pt x="122" y="1043"/>
                      </a:lnTo>
                      <a:lnTo>
                        <a:pt x="90" y="994"/>
                      </a:lnTo>
                      <a:lnTo>
                        <a:pt x="63" y="943"/>
                      </a:lnTo>
                      <a:lnTo>
                        <a:pt x="40" y="890"/>
                      </a:lnTo>
                      <a:lnTo>
                        <a:pt x="23" y="835"/>
                      </a:lnTo>
                      <a:lnTo>
                        <a:pt x="10" y="779"/>
                      </a:lnTo>
                      <a:lnTo>
                        <a:pt x="3" y="722"/>
                      </a:lnTo>
                      <a:lnTo>
                        <a:pt x="0" y="663"/>
                      </a:lnTo>
                      <a:lnTo>
                        <a:pt x="3" y="604"/>
                      </a:lnTo>
                      <a:lnTo>
                        <a:pt x="10" y="547"/>
                      </a:lnTo>
                      <a:lnTo>
                        <a:pt x="23" y="490"/>
                      </a:lnTo>
                      <a:lnTo>
                        <a:pt x="40" y="436"/>
                      </a:lnTo>
                      <a:lnTo>
                        <a:pt x="63" y="383"/>
                      </a:lnTo>
                      <a:lnTo>
                        <a:pt x="90" y="332"/>
                      </a:lnTo>
                      <a:lnTo>
                        <a:pt x="122" y="284"/>
                      </a:lnTo>
                      <a:lnTo>
                        <a:pt x="157" y="238"/>
                      </a:lnTo>
                      <a:lnTo>
                        <a:pt x="197" y="195"/>
                      </a:lnTo>
                      <a:lnTo>
                        <a:pt x="242" y="155"/>
                      </a:lnTo>
                      <a:lnTo>
                        <a:pt x="288" y="119"/>
                      </a:lnTo>
                      <a:lnTo>
                        <a:pt x="338" y="88"/>
                      </a:lnTo>
                      <a:lnTo>
                        <a:pt x="390" y="61"/>
                      </a:lnTo>
                      <a:lnTo>
                        <a:pt x="443" y="40"/>
                      </a:lnTo>
                      <a:lnTo>
                        <a:pt x="499" y="23"/>
                      </a:lnTo>
                      <a:lnTo>
                        <a:pt x="556" y="10"/>
                      </a:lnTo>
                      <a:lnTo>
                        <a:pt x="614" y="2"/>
                      </a:lnTo>
                      <a:lnTo>
                        <a:pt x="67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74" name="Group 175"/>
              <p:cNvGrpSpPr>
                <a:grpSpLocks noChangeAspect="1"/>
              </p:cNvGrpSpPr>
              <p:nvPr/>
            </p:nvGrpSpPr>
            <p:grpSpPr bwMode="auto">
              <a:xfrm>
                <a:off x="6158832" y="4947303"/>
                <a:ext cx="482650" cy="589905"/>
                <a:chOff x="-825" y="3791"/>
                <a:chExt cx="477" cy="583"/>
              </a:xfrm>
              <a:solidFill>
                <a:schemeClr val="bg1"/>
              </a:solidFill>
            </p:grpSpPr>
            <p:sp>
              <p:nvSpPr>
                <p:cNvPr id="75" name="Freeform 177"/>
                <p:cNvSpPr>
                  <a:spLocks noEditPoints="1"/>
                </p:cNvSpPr>
                <p:nvPr/>
              </p:nvSpPr>
              <p:spPr bwMode="auto">
                <a:xfrm>
                  <a:off x="-806" y="3914"/>
                  <a:ext cx="139" cy="131"/>
                </a:xfrm>
                <a:custGeom>
                  <a:avLst/>
                  <a:gdLst>
                    <a:gd name="T0" fmla="*/ 346 w 834"/>
                    <a:gd name="T1" fmla="*/ 246 h 783"/>
                    <a:gd name="T2" fmla="*/ 276 w 834"/>
                    <a:gd name="T3" fmla="*/ 304 h 783"/>
                    <a:gd name="T4" fmla="*/ 249 w 834"/>
                    <a:gd name="T5" fmla="*/ 391 h 783"/>
                    <a:gd name="T6" fmla="*/ 276 w 834"/>
                    <a:gd name="T7" fmla="*/ 480 h 783"/>
                    <a:gd name="T8" fmla="*/ 346 w 834"/>
                    <a:gd name="T9" fmla="*/ 537 h 783"/>
                    <a:gd name="T10" fmla="*/ 440 w 834"/>
                    <a:gd name="T11" fmla="*/ 547 h 783"/>
                    <a:gd name="T12" fmla="*/ 521 w 834"/>
                    <a:gd name="T13" fmla="*/ 503 h 783"/>
                    <a:gd name="T14" fmla="*/ 565 w 834"/>
                    <a:gd name="T15" fmla="*/ 423 h 783"/>
                    <a:gd name="T16" fmla="*/ 555 w 834"/>
                    <a:gd name="T17" fmla="*/ 330 h 783"/>
                    <a:gd name="T18" fmla="*/ 497 w 834"/>
                    <a:gd name="T19" fmla="*/ 261 h 783"/>
                    <a:gd name="T20" fmla="*/ 408 w 834"/>
                    <a:gd name="T21" fmla="*/ 234 h 783"/>
                    <a:gd name="T22" fmla="*/ 503 w 834"/>
                    <a:gd name="T23" fmla="*/ 54 h 783"/>
                    <a:gd name="T24" fmla="*/ 505 w 834"/>
                    <a:gd name="T25" fmla="*/ 87 h 783"/>
                    <a:gd name="T26" fmla="*/ 537 w 834"/>
                    <a:gd name="T27" fmla="*/ 122 h 783"/>
                    <a:gd name="T28" fmla="*/ 584 w 834"/>
                    <a:gd name="T29" fmla="*/ 118 h 783"/>
                    <a:gd name="T30" fmla="*/ 610 w 834"/>
                    <a:gd name="T31" fmla="*/ 95 h 783"/>
                    <a:gd name="T32" fmla="*/ 690 w 834"/>
                    <a:gd name="T33" fmla="*/ 90 h 783"/>
                    <a:gd name="T34" fmla="*/ 792 w 834"/>
                    <a:gd name="T35" fmla="*/ 283 h 783"/>
                    <a:gd name="T36" fmla="*/ 769 w 834"/>
                    <a:gd name="T37" fmla="*/ 300 h 783"/>
                    <a:gd name="T38" fmla="*/ 740 w 834"/>
                    <a:gd name="T39" fmla="*/ 327 h 783"/>
                    <a:gd name="T40" fmla="*/ 736 w 834"/>
                    <a:gd name="T41" fmla="*/ 378 h 783"/>
                    <a:gd name="T42" fmla="*/ 773 w 834"/>
                    <a:gd name="T43" fmla="*/ 399 h 783"/>
                    <a:gd name="T44" fmla="*/ 807 w 834"/>
                    <a:gd name="T45" fmla="*/ 419 h 783"/>
                    <a:gd name="T46" fmla="*/ 834 w 834"/>
                    <a:gd name="T47" fmla="*/ 493 h 783"/>
                    <a:gd name="T48" fmla="*/ 682 w 834"/>
                    <a:gd name="T49" fmla="*/ 646 h 783"/>
                    <a:gd name="T50" fmla="*/ 656 w 834"/>
                    <a:gd name="T51" fmla="*/ 632 h 783"/>
                    <a:gd name="T52" fmla="*/ 622 w 834"/>
                    <a:gd name="T53" fmla="*/ 613 h 783"/>
                    <a:gd name="T54" fmla="*/ 587 w 834"/>
                    <a:gd name="T55" fmla="*/ 650 h 783"/>
                    <a:gd name="T56" fmla="*/ 591 w 834"/>
                    <a:gd name="T57" fmla="*/ 695 h 783"/>
                    <a:gd name="T58" fmla="*/ 592 w 834"/>
                    <a:gd name="T59" fmla="*/ 718 h 783"/>
                    <a:gd name="T60" fmla="*/ 334 w 834"/>
                    <a:gd name="T61" fmla="*/ 732 h 783"/>
                    <a:gd name="T62" fmla="*/ 332 w 834"/>
                    <a:gd name="T63" fmla="*/ 709 h 783"/>
                    <a:gd name="T64" fmla="*/ 327 w 834"/>
                    <a:gd name="T65" fmla="*/ 669 h 783"/>
                    <a:gd name="T66" fmla="*/ 268 w 834"/>
                    <a:gd name="T67" fmla="*/ 659 h 783"/>
                    <a:gd name="T68" fmla="*/ 238 w 834"/>
                    <a:gd name="T69" fmla="*/ 685 h 783"/>
                    <a:gd name="T70" fmla="*/ 222 w 834"/>
                    <a:gd name="T71" fmla="*/ 700 h 783"/>
                    <a:gd name="T72" fmla="*/ 218 w 834"/>
                    <a:gd name="T73" fmla="*/ 701 h 783"/>
                    <a:gd name="T74" fmla="*/ 212 w 834"/>
                    <a:gd name="T75" fmla="*/ 704 h 783"/>
                    <a:gd name="T76" fmla="*/ 186 w 834"/>
                    <a:gd name="T77" fmla="*/ 703 h 783"/>
                    <a:gd name="T78" fmla="*/ 152 w 834"/>
                    <a:gd name="T79" fmla="*/ 700 h 783"/>
                    <a:gd name="T80" fmla="*/ 46 w 834"/>
                    <a:gd name="T81" fmla="*/ 508 h 783"/>
                    <a:gd name="T82" fmla="*/ 61 w 834"/>
                    <a:gd name="T83" fmla="*/ 496 h 783"/>
                    <a:gd name="T84" fmla="*/ 88 w 834"/>
                    <a:gd name="T85" fmla="*/ 473 h 783"/>
                    <a:gd name="T86" fmla="*/ 100 w 834"/>
                    <a:gd name="T87" fmla="*/ 433 h 783"/>
                    <a:gd name="T88" fmla="*/ 75 w 834"/>
                    <a:gd name="T89" fmla="*/ 398 h 783"/>
                    <a:gd name="T90" fmla="*/ 38 w 834"/>
                    <a:gd name="T91" fmla="*/ 382 h 783"/>
                    <a:gd name="T92" fmla="*/ 21 w 834"/>
                    <a:gd name="T93" fmla="*/ 373 h 783"/>
                    <a:gd name="T94" fmla="*/ 68 w 834"/>
                    <a:gd name="T95" fmla="*/ 161 h 783"/>
                    <a:gd name="T96" fmla="*/ 148 w 834"/>
                    <a:gd name="T97" fmla="*/ 147 h 783"/>
                    <a:gd name="T98" fmla="*/ 182 w 834"/>
                    <a:gd name="T99" fmla="*/ 162 h 783"/>
                    <a:gd name="T100" fmla="*/ 226 w 834"/>
                    <a:gd name="T101" fmla="*/ 158 h 783"/>
                    <a:gd name="T102" fmla="*/ 246 w 834"/>
                    <a:gd name="T103" fmla="*/ 116 h 783"/>
                    <a:gd name="T104" fmla="*/ 243 w 834"/>
                    <a:gd name="T105" fmla="*/ 75 h 783"/>
                    <a:gd name="T106" fmla="*/ 293 w 834"/>
                    <a:gd name="T107" fmla="*/ 13 h 7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834" h="783">
                      <a:moveTo>
                        <a:pt x="408" y="234"/>
                      </a:moveTo>
                      <a:lnTo>
                        <a:pt x="376" y="237"/>
                      </a:lnTo>
                      <a:lnTo>
                        <a:pt x="346" y="246"/>
                      </a:lnTo>
                      <a:lnTo>
                        <a:pt x="319" y="261"/>
                      </a:lnTo>
                      <a:lnTo>
                        <a:pt x="295" y="280"/>
                      </a:lnTo>
                      <a:lnTo>
                        <a:pt x="276" y="304"/>
                      </a:lnTo>
                      <a:lnTo>
                        <a:pt x="261" y="330"/>
                      </a:lnTo>
                      <a:lnTo>
                        <a:pt x="252" y="360"/>
                      </a:lnTo>
                      <a:lnTo>
                        <a:pt x="249" y="391"/>
                      </a:lnTo>
                      <a:lnTo>
                        <a:pt x="252" y="423"/>
                      </a:lnTo>
                      <a:lnTo>
                        <a:pt x="261" y="453"/>
                      </a:lnTo>
                      <a:lnTo>
                        <a:pt x="276" y="480"/>
                      </a:lnTo>
                      <a:lnTo>
                        <a:pt x="295" y="503"/>
                      </a:lnTo>
                      <a:lnTo>
                        <a:pt x="319" y="523"/>
                      </a:lnTo>
                      <a:lnTo>
                        <a:pt x="346" y="537"/>
                      </a:lnTo>
                      <a:lnTo>
                        <a:pt x="376" y="547"/>
                      </a:lnTo>
                      <a:lnTo>
                        <a:pt x="408" y="549"/>
                      </a:lnTo>
                      <a:lnTo>
                        <a:pt x="440" y="547"/>
                      </a:lnTo>
                      <a:lnTo>
                        <a:pt x="470" y="537"/>
                      </a:lnTo>
                      <a:lnTo>
                        <a:pt x="497" y="523"/>
                      </a:lnTo>
                      <a:lnTo>
                        <a:pt x="521" y="503"/>
                      </a:lnTo>
                      <a:lnTo>
                        <a:pt x="541" y="480"/>
                      </a:lnTo>
                      <a:lnTo>
                        <a:pt x="555" y="453"/>
                      </a:lnTo>
                      <a:lnTo>
                        <a:pt x="565" y="423"/>
                      </a:lnTo>
                      <a:lnTo>
                        <a:pt x="567" y="391"/>
                      </a:lnTo>
                      <a:lnTo>
                        <a:pt x="565" y="360"/>
                      </a:lnTo>
                      <a:lnTo>
                        <a:pt x="555" y="330"/>
                      </a:lnTo>
                      <a:lnTo>
                        <a:pt x="541" y="304"/>
                      </a:lnTo>
                      <a:lnTo>
                        <a:pt x="521" y="280"/>
                      </a:lnTo>
                      <a:lnTo>
                        <a:pt x="497" y="261"/>
                      </a:lnTo>
                      <a:lnTo>
                        <a:pt x="470" y="246"/>
                      </a:lnTo>
                      <a:lnTo>
                        <a:pt x="440" y="237"/>
                      </a:lnTo>
                      <a:lnTo>
                        <a:pt x="408" y="234"/>
                      </a:lnTo>
                      <a:close/>
                      <a:moveTo>
                        <a:pt x="451" y="0"/>
                      </a:moveTo>
                      <a:lnTo>
                        <a:pt x="503" y="51"/>
                      </a:lnTo>
                      <a:lnTo>
                        <a:pt x="503" y="54"/>
                      </a:lnTo>
                      <a:lnTo>
                        <a:pt x="503" y="63"/>
                      </a:lnTo>
                      <a:lnTo>
                        <a:pt x="504" y="74"/>
                      </a:lnTo>
                      <a:lnTo>
                        <a:pt x="505" y="87"/>
                      </a:lnTo>
                      <a:lnTo>
                        <a:pt x="506" y="100"/>
                      </a:lnTo>
                      <a:lnTo>
                        <a:pt x="507" y="112"/>
                      </a:lnTo>
                      <a:lnTo>
                        <a:pt x="537" y="122"/>
                      </a:lnTo>
                      <a:lnTo>
                        <a:pt x="566" y="134"/>
                      </a:lnTo>
                      <a:lnTo>
                        <a:pt x="575" y="126"/>
                      </a:lnTo>
                      <a:lnTo>
                        <a:pt x="584" y="118"/>
                      </a:lnTo>
                      <a:lnTo>
                        <a:pt x="594" y="110"/>
                      </a:lnTo>
                      <a:lnTo>
                        <a:pt x="602" y="102"/>
                      </a:lnTo>
                      <a:lnTo>
                        <a:pt x="610" y="95"/>
                      </a:lnTo>
                      <a:lnTo>
                        <a:pt x="616" y="91"/>
                      </a:lnTo>
                      <a:lnTo>
                        <a:pt x="618" y="90"/>
                      </a:lnTo>
                      <a:lnTo>
                        <a:pt x="690" y="90"/>
                      </a:lnTo>
                      <a:lnTo>
                        <a:pt x="794" y="209"/>
                      </a:lnTo>
                      <a:lnTo>
                        <a:pt x="794" y="281"/>
                      </a:lnTo>
                      <a:lnTo>
                        <a:pt x="792" y="283"/>
                      </a:lnTo>
                      <a:lnTo>
                        <a:pt x="786" y="286"/>
                      </a:lnTo>
                      <a:lnTo>
                        <a:pt x="779" y="293"/>
                      </a:lnTo>
                      <a:lnTo>
                        <a:pt x="769" y="300"/>
                      </a:lnTo>
                      <a:lnTo>
                        <a:pt x="759" y="309"/>
                      </a:lnTo>
                      <a:lnTo>
                        <a:pt x="750" y="318"/>
                      </a:lnTo>
                      <a:lnTo>
                        <a:pt x="740" y="327"/>
                      </a:lnTo>
                      <a:lnTo>
                        <a:pt x="731" y="334"/>
                      </a:lnTo>
                      <a:lnTo>
                        <a:pt x="734" y="356"/>
                      </a:lnTo>
                      <a:lnTo>
                        <a:pt x="736" y="378"/>
                      </a:lnTo>
                      <a:lnTo>
                        <a:pt x="747" y="385"/>
                      </a:lnTo>
                      <a:lnTo>
                        <a:pt x="759" y="393"/>
                      </a:lnTo>
                      <a:lnTo>
                        <a:pt x="773" y="399"/>
                      </a:lnTo>
                      <a:lnTo>
                        <a:pt x="786" y="407"/>
                      </a:lnTo>
                      <a:lnTo>
                        <a:pt x="797" y="413"/>
                      </a:lnTo>
                      <a:lnTo>
                        <a:pt x="807" y="419"/>
                      </a:lnTo>
                      <a:lnTo>
                        <a:pt x="813" y="423"/>
                      </a:lnTo>
                      <a:lnTo>
                        <a:pt x="816" y="424"/>
                      </a:lnTo>
                      <a:lnTo>
                        <a:pt x="834" y="493"/>
                      </a:lnTo>
                      <a:lnTo>
                        <a:pt x="754" y="629"/>
                      </a:lnTo>
                      <a:lnTo>
                        <a:pt x="684" y="648"/>
                      </a:lnTo>
                      <a:lnTo>
                        <a:pt x="682" y="646"/>
                      </a:lnTo>
                      <a:lnTo>
                        <a:pt x="675" y="643"/>
                      </a:lnTo>
                      <a:lnTo>
                        <a:pt x="667" y="637"/>
                      </a:lnTo>
                      <a:lnTo>
                        <a:pt x="656" y="632"/>
                      </a:lnTo>
                      <a:lnTo>
                        <a:pt x="643" y="625"/>
                      </a:lnTo>
                      <a:lnTo>
                        <a:pt x="632" y="618"/>
                      </a:lnTo>
                      <a:lnTo>
                        <a:pt x="622" y="613"/>
                      </a:lnTo>
                      <a:lnTo>
                        <a:pt x="605" y="625"/>
                      </a:lnTo>
                      <a:lnTo>
                        <a:pt x="586" y="637"/>
                      </a:lnTo>
                      <a:lnTo>
                        <a:pt x="587" y="650"/>
                      </a:lnTo>
                      <a:lnTo>
                        <a:pt x="588" y="664"/>
                      </a:lnTo>
                      <a:lnTo>
                        <a:pt x="589" y="680"/>
                      </a:lnTo>
                      <a:lnTo>
                        <a:pt x="591" y="695"/>
                      </a:lnTo>
                      <a:lnTo>
                        <a:pt x="592" y="707"/>
                      </a:lnTo>
                      <a:lnTo>
                        <a:pt x="592" y="715"/>
                      </a:lnTo>
                      <a:lnTo>
                        <a:pt x="592" y="718"/>
                      </a:lnTo>
                      <a:lnTo>
                        <a:pt x="542" y="769"/>
                      </a:lnTo>
                      <a:lnTo>
                        <a:pt x="385" y="783"/>
                      </a:lnTo>
                      <a:lnTo>
                        <a:pt x="334" y="732"/>
                      </a:lnTo>
                      <a:lnTo>
                        <a:pt x="333" y="729"/>
                      </a:lnTo>
                      <a:lnTo>
                        <a:pt x="333" y="721"/>
                      </a:lnTo>
                      <a:lnTo>
                        <a:pt x="332" y="709"/>
                      </a:lnTo>
                      <a:lnTo>
                        <a:pt x="329" y="695"/>
                      </a:lnTo>
                      <a:lnTo>
                        <a:pt x="328" y="681"/>
                      </a:lnTo>
                      <a:lnTo>
                        <a:pt x="327" y="669"/>
                      </a:lnTo>
                      <a:lnTo>
                        <a:pt x="302" y="661"/>
                      </a:lnTo>
                      <a:lnTo>
                        <a:pt x="278" y="651"/>
                      </a:lnTo>
                      <a:lnTo>
                        <a:pt x="268" y="659"/>
                      </a:lnTo>
                      <a:lnTo>
                        <a:pt x="259" y="668"/>
                      </a:lnTo>
                      <a:lnTo>
                        <a:pt x="247" y="677"/>
                      </a:lnTo>
                      <a:lnTo>
                        <a:pt x="238" y="685"/>
                      </a:lnTo>
                      <a:lnTo>
                        <a:pt x="230" y="693"/>
                      </a:lnTo>
                      <a:lnTo>
                        <a:pt x="224" y="697"/>
                      </a:lnTo>
                      <a:lnTo>
                        <a:pt x="222" y="700"/>
                      </a:lnTo>
                      <a:lnTo>
                        <a:pt x="221" y="700"/>
                      </a:lnTo>
                      <a:lnTo>
                        <a:pt x="220" y="701"/>
                      </a:lnTo>
                      <a:lnTo>
                        <a:pt x="218" y="701"/>
                      </a:lnTo>
                      <a:lnTo>
                        <a:pt x="217" y="702"/>
                      </a:lnTo>
                      <a:lnTo>
                        <a:pt x="214" y="703"/>
                      </a:lnTo>
                      <a:lnTo>
                        <a:pt x="212" y="704"/>
                      </a:lnTo>
                      <a:lnTo>
                        <a:pt x="208" y="704"/>
                      </a:lnTo>
                      <a:lnTo>
                        <a:pt x="198" y="704"/>
                      </a:lnTo>
                      <a:lnTo>
                        <a:pt x="186" y="703"/>
                      </a:lnTo>
                      <a:lnTo>
                        <a:pt x="173" y="702"/>
                      </a:lnTo>
                      <a:lnTo>
                        <a:pt x="161" y="701"/>
                      </a:lnTo>
                      <a:lnTo>
                        <a:pt x="152" y="700"/>
                      </a:lnTo>
                      <a:lnTo>
                        <a:pt x="149" y="700"/>
                      </a:lnTo>
                      <a:lnTo>
                        <a:pt x="46" y="579"/>
                      </a:lnTo>
                      <a:lnTo>
                        <a:pt x="46" y="508"/>
                      </a:lnTo>
                      <a:lnTo>
                        <a:pt x="48" y="505"/>
                      </a:lnTo>
                      <a:lnTo>
                        <a:pt x="53" y="502"/>
                      </a:lnTo>
                      <a:lnTo>
                        <a:pt x="61" y="496"/>
                      </a:lnTo>
                      <a:lnTo>
                        <a:pt x="69" y="489"/>
                      </a:lnTo>
                      <a:lnTo>
                        <a:pt x="78" y="480"/>
                      </a:lnTo>
                      <a:lnTo>
                        <a:pt x="88" y="473"/>
                      </a:lnTo>
                      <a:lnTo>
                        <a:pt x="98" y="465"/>
                      </a:lnTo>
                      <a:lnTo>
                        <a:pt x="106" y="457"/>
                      </a:lnTo>
                      <a:lnTo>
                        <a:pt x="100" y="433"/>
                      </a:lnTo>
                      <a:lnTo>
                        <a:pt x="98" y="408"/>
                      </a:lnTo>
                      <a:lnTo>
                        <a:pt x="87" y="404"/>
                      </a:lnTo>
                      <a:lnTo>
                        <a:pt x="75" y="398"/>
                      </a:lnTo>
                      <a:lnTo>
                        <a:pt x="62" y="393"/>
                      </a:lnTo>
                      <a:lnTo>
                        <a:pt x="50" y="386"/>
                      </a:lnTo>
                      <a:lnTo>
                        <a:pt x="38" y="382"/>
                      </a:lnTo>
                      <a:lnTo>
                        <a:pt x="29" y="377"/>
                      </a:lnTo>
                      <a:lnTo>
                        <a:pt x="23" y="374"/>
                      </a:lnTo>
                      <a:lnTo>
                        <a:pt x="21" y="373"/>
                      </a:lnTo>
                      <a:lnTo>
                        <a:pt x="0" y="314"/>
                      </a:lnTo>
                      <a:lnTo>
                        <a:pt x="2" y="304"/>
                      </a:lnTo>
                      <a:lnTo>
                        <a:pt x="68" y="161"/>
                      </a:lnTo>
                      <a:lnTo>
                        <a:pt x="138" y="143"/>
                      </a:lnTo>
                      <a:lnTo>
                        <a:pt x="141" y="144"/>
                      </a:lnTo>
                      <a:lnTo>
                        <a:pt x="148" y="147"/>
                      </a:lnTo>
                      <a:lnTo>
                        <a:pt x="158" y="151"/>
                      </a:lnTo>
                      <a:lnTo>
                        <a:pt x="169" y="157"/>
                      </a:lnTo>
                      <a:lnTo>
                        <a:pt x="182" y="162"/>
                      </a:lnTo>
                      <a:lnTo>
                        <a:pt x="194" y="168"/>
                      </a:lnTo>
                      <a:lnTo>
                        <a:pt x="205" y="173"/>
                      </a:lnTo>
                      <a:lnTo>
                        <a:pt x="226" y="158"/>
                      </a:lnTo>
                      <a:lnTo>
                        <a:pt x="249" y="144"/>
                      </a:lnTo>
                      <a:lnTo>
                        <a:pt x="247" y="131"/>
                      </a:lnTo>
                      <a:lnTo>
                        <a:pt x="246" y="116"/>
                      </a:lnTo>
                      <a:lnTo>
                        <a:pt x="245" y="101"/>
                      </a:lnTo>
                      <a:lnTo>
                        <a:pt x="244" y="87"/>
                      </a:lnTo>
                      <a:lnTo>
                        <a:pt x="243" y="75"/>
                      </a:lnTo>
                      <a:lnTo>
                        <a:pt x="242" y="67"/>
                      </a:lnTo>
                      <a:lnTo>
                        <a:pt x="242" y="64"/>
                      </a:lnTo>
                      <a:lnTo>
                        <a:pt x="293" y="13"/>
                      </a:lnTo>
                      <a:lnTo>
                        <a:pt x="45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6" name="Freeform 178"/>
                <p:cNvSpPr>
                  <a:spLocks noEditPoints="1"/>
                </p:cNvSpPr>
                <p:nvPr/>
              </p:nvSpPr>
              <p:spPr bwMode="auto">
                <a:xfrm>
                  <a:off x="-709" y="4029"/>
                  <a:ext cx="105" cy="99"/>
                </a:xfrm>
                <a:custGeom>
                  <a:avLst/>
                  <a:gdLst>
                    <a:gd name="T0" fmla="*/ 256 w 631"/>
                    <a:gd name="T1" fmla="*/ 188 h 592"/>
                    <a:gd name="T2" fmla="*/ 201 w 631"/>
                    <a:gd name="T3" fmla="*/ 243 h 592"/>
                    <a:gd name="T4" fmla="*/ 192 w 631"/>
                    <a:gd name="T5" fmla="*/ 323 h 592"/>
                    <a:gd name="T6" fmla="*/ 234 w 631"/>
                    <a:gd name="T7" fmla="*/ 389 h 592"/>
                    <a:gd name="T8" fmla="*/ 309 w 631"/>
                    <a:gd name="T9" fmla="*/ 415 h 592"/>
                    <a:gd name="T10" fmla="*/ 384 w 631"/>
                    <a:gd name="T11" fmla="*/ 389 h 592"/>
                    <a:gd name="T12" fmla="*/ 426 w 631"/>
                    <a:gd name="T13" fmla="*/ 323 h 592"/>
                    <a:gd name="T14" fmla="*/ 418 w 631"/>
                    <a:gd name="T15" fmla="*/ 243 h 592"/>
                    <a:gd name="T16" fmla="*/ 362 w 631"/>
                    <a:gd name="T17" fmla="*/ 188 h 592"/>
                    <a:gd name="T18" fmla="*/ 341 w 631"/>
                    <a:gd name="T19" fmla="*/ 0 h 592"/>
                    <a:gd name="T20" fmla="*/ 381 w 631"/>
                    <a:gd name="T21" fmla="*/ 50 h 592"/>
                    <a:gd name="T22" fmla="*/ 384 w 631"/>
                    <a:gd name="T23" fmla="*/ 84 h 592"/>
                    <a:gd name="T24" fmla="*/ 435 w 631"/>
                    <a:gd name="T25" fmla="*/ 94 h 592"/>
                    <a:gd name="T26" fmla="*/ 460 w 631"/>
                    <a:gd name="T27" fmla="*/ 73 h 592"/>
                    <a:gd name="T28" fmla="*/ 521 w 631"/>
                    <a:gd name="T29" fmla="*/ 68 h 592"/>
                    <a:gd name="T30" fmla="*/ 599 w 631"/>
                    <a:gd name="T31" fmla="*/ 213 h 592"/>
                    <a:gd name="T32" fmla="*/ 578 w 631"/>
                    <a:gd name="T33" fmla="*/ 231 h 592"/>
                    <a:gd name="T34" fmla="*/ 552 w 631"/>
                    <a:gd name="T35" fmla="*/ 252 h 592"/>
                    <a:gd name="T36" fmla="*/ 567 w 631"/>
                    <a:gd name="T37" fmla="*/ 291 h 592"/>
                    <a:gd name="T38" fmla="*/ 599 w 631"/>
                    <a:gd name="T39" fmla="*/ 310 h 592"/>
                    <a:gd name="T40" fmla="*/ 617 w 631"/>
                    <a:gd name="T41" fmla="*/ 320 h 592"/>
                    <a:gd name="T42" fmla="*/ 517 w 631"/>
                    <a:gd name="T43" fmla="*/ 490 h 592"/>
                    <a:gd name="T44" fmla="*/ 500 w 631"/>
                    <a:gd name="T45" fmla="*/ 479 h 592"/>
                    <a:gd name="T46" fmla="*/ 472 w 631"/>
                    <a:gd name="T47" fmla="*/ 462 h 592"/>
                    <a:gd name="T48" fmla="*/ 444 w 631"/>
                    <a:gd name="T49" fmla="*/ 493 h 592"/>
                    <a:gd name="T50" fmla="*/ 447 w 631"/>
                    <a:gd name="T51" fmla="*/ 531 h 592"/>
                    <a:gd name="T52" fmla="*/ 410 w 631"/>
                    <a:gd name="T53" fmla="*/ 581 h 592"/>
                    <a:gd name="T54" fmla="*/ 252 w 631"/>
                    <a:gd name="T55" fmla="*/ 550 h 592"/>
                    <a:gd name="T56" fmla="*/ 248 w 631"/>
                    <a:gd name="T57" fmla="*/ 517 h 592"/>
                    <a:gd name="T58" fmla="*/ 211 w 631"/>
                    <a:gd name="T59" fmla="*/ 492 h 592"/>
                    <a:gd name="T60" fmla="*/ 184 w 631"/>
                    <a:gd name="T61" fmla="*/ 515 h 592"/>
                    <a:gd name="T62" fmla="*/ 168 w 631"/>
                    <a:gd name="T63" fmla="*/ 528 h 592"/>
                    <a:gd name="T64" fmla="*/ 164 w 631"/>
                    <a:gd name="T65" fmla="*/ 530 h 592"/>
                    <a:gd name="T66" fmla="*/ 157 w 631"/>
                    <a:gd name="T67" fmla="*/ 533 h 592"/>
                    <a:gd name="T68" fmla="*/ 124 w 631"/>
                    <a:gd name="T69" fmla="*/ 529 h 592"/>
                    <a:gd name="T70" fmla="*/ 36 w 631"/>
                    <a:gd name="T71" fmla="*/ 437 h 592"/>
                    <a:gd name="T72" fmla="*/ 42 w 631"/>
                    <a:gd name="T73" fmla="*/ 378 h 592"/>
                    <a:gd name="T74" fmla="*/ 65 w 631"/>
                    <a:gd name="T75" fmla="*/ 358 h 592"/>
                    <a:gd name="T76" fmla="*/ 77 w 631"/>
                    <a:gd name="T77" fmla="*/ 327 h 592"/>
                    <a:gd name="T78" fmla="*/ 55 w 631"/>
                    <a:gd name="T79" fmla="*/ 299 h 592"/>
                    <a:gd name="T80" fmla="*/ 24 w 631"/>
                    <a:gd name="T81" fmla="*/ 286 h 592"/>
                    <a:gd name="T82" fmla="*/ 0 w 631"/>
                    <a:gd name="T83" fmla="*/ 236 h 592"/>
                    <a:gd name="T84" fmla="*/ 105 w 631"/>
                    <a:gd name="T85" fmla="*/ 107 h 592"/>
                    <a:gd name="T86" fmla="*/ 123 w 631"/>
                    <a:gd name="T87" fmla="*/ 116 h 592"/>
                    <a:gd name="T88" fmla="*/ 155 w 631"/>
                    <a:gd name="T89" fmla="*/ 130 h 592"/>
                    <a:gd name="T90" fmla="*/ 188 w 631"/>
                    <a:gd name="T91" fmla="*/ 96 h 592"/>
                    <a:gd name="T92" fmla="*/ 184 w 631"/>
                    <a:gd name="T93" fmla="*/ 59 h 592"/>
                    <a:gd name="T94" fmla="*/ 222 w 631"/>
                    <a:gd name="T95" fmla="*/ 10 h 5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631" h="592">
                      <a:moveTo>
                        <a:pt x="309" y="176"/>
                      </a:moveTo>
                      <a:lnTo>
                        <a:pt x="282" y="179"/>
                      </a:lnTo>
                      <a:lnTo>
                        <a:pt x="256" y="188"/>
                      </a:lnTo>
                      <a:lnTo>
                        <a:pt x="234" y="203"/>
                      </a:lnTo>
                      <a:lnTo>
                        <a:pt x="215" y="221"/>
                      </a:lnTo>
                      <a:lnTo>
                        <a:pt x="201" y="243"/>
                      </a:lnTo>
                      <a:lnTo>
                        <a:pt x="192" y="268"/>
                      </a:lnTo>
                      <a:lnTo>
                        <a:pt x="189" y="296"/>
                      </a:lnTo>
                      <a:lnTo>
                        <a:pt x="192" y="323"/>
                      </a:lnTo>
                      <a:lnTo>
                        <a:pt x="201" y="348"/>
                      </a:lnTo>
                      <a:lnTo>
                        <a:pt x="215" y="370"/>
                      </a:lnTo>
                      <a:lnTo>
                        <a:pt x="234" y="389"/>
                      </a:lnTo>
                      <a:lnTo>
                        <a:pt x="256" y="403"/>
                      </a:lnTo>
                      <a:lnTo>
                        <a:pt x="282" y="412"/>
                      </a:lnTo>
                      <a:lnTo>
                        <a:pt x="309" y="415"/>
                      </a:lnTo>
                      <a:lnTo>
                        <a:pt x="337" y="412"/>
                      </a:lnTo>
                      <a:lnTo>
                        <a:pt x="362" y="403"/>
                      </a:lnTo>
                      <a:lnTo>
                        <a:pt x="384" y="389"/>
                      </a:lnTo>
                      <a:lnTo>
                        <a:pt x="403" y="370"/>
                      </a:lnTo>
                      <a:lnTo>
                        <a:pt x="418" y="348"/>
                      </a:lnTo>
                      <a:lnTo>
                        <a:pt x="426" y="323"/>
                      </a:lnTo>
                      <a:lnTo>
                        <a:pt x="430" y="296"/>
                      </a:lnTo>
                      <a:lnTo>
                        <a:pt x="426" y="268"/>
                      </a:lnTo>
                      <a:lnTo>
                        <a:pt x="418" y="243"/>
                      </a:lnTo>
                      <a:lnTo>
                        <a:pt x="403" y="221"/>
                      </a:lnTo>
                      <a:lnTo>
                        <a:pt x="384" y="203"/>
                      </a:lnTo>
                      <a:lnTo>
                        <a:pt x="362" y="188"/>
                      </a:lnTo>
                      <a:lnTo>
                        <a:pt x="337" y="179"/>
                      </a:lnTo>
                      <a:lnTo>
                        <a:pt x="309" y="176"/>
                      </a:lnTo>
                      <a:close/>
                      <a:moveTo>
                        <a:pt x="341" y="0"/>
                      </a:moveTo>
                      <a:lnTo>
                        <a:pt x="380" y="38"/>
                      </a:lnTo>
                      <a:lnTo>
                        <a:pt x="381" y="41"/>
                      </a:lnTo>
                      <a:lnTo>
                        <a:pt x="381" y="50"/>
                      </a:lnTo>
                      <a:lnTo>
                        <a:pt x="382" y="61"/>
                      </a:lnTo>
                      <a:lnTo>
                        <a:pt x="383" y="73"/>
                      </a:lnTo>
                      <a:lnTo>
                        <a:pt x="384" y="84"/>
                      </a:lnTo>
                      <a:lnTo>
                        <a:pt x="406" y="92"/>
                      </a:lnTo>
                      <a:lnTo>
                        <a:pt x="429" y="101"/>
                      </a:lnTo>
                      <a:lnTo>
                        <a:pt x="435" y="94"/>
                      </a:lnTo>
                      <a:lnTo>
                        <a:pt x="444" y="87"/>
                      </a:lnTo>
                      <a:lnTo>
                        <a:pt x="453" y="80"/>
                      </a:lnTo>
                      <a:lnTo>
                        <a:pt x="460" y="73"/>
                      </a:lnTo>
                      <a:lnTo>
                        <a:pt x="465" y="69"/>
                      </a:lnTo>
                      <a:lnTo>
                        <a:pt x="467" y="68"/>
                      </a:lnTo>
                      <a:lnTo>
                        <a:pt x="521" y="68"/>
                      </a:lnTo>
                      <a:lnTo>
                        <a:pt x="600" y="158"/>
                      </a:lnTo>
                      <a:lnTo>
                        <a:pt x="600" y="212"/>
                      </a:lnTo>
                      <a:lnTo>
                        <a:pt x="599" y="213"/>
                      </a:lnTo>
                      <a:lnTo>
                        <a:pt x="593" y="218"/>
                      </a:lnTo>
                      <a:lnTo>
                        <a:pt x="587" y="223"/>
                      </a:lnTo>
                      <a:lnTo>
                        <a:pt x="578" y="231"/>
                      </a:lnTo>
                      <a:lnTo>
                        <a:pt x="569" y="239"/>
                      </a:lnTo>
                      <a:lnTo>
                        <a:pt x="560" y="245"/>
                      </a:lnTo>
                      <a:lnTo>
                        <a:pt x="552" y="252"/>
                      </a:lnTo>
                      <a:lnTo>
                        <a:pt x="556" y="268"/>
                      </a:lnTo>
                      <a:lnTo>
                        <a:pt x="557" y="286"/>
                      </a:lnTo>
                      <a:lnTo>
                        <a:pt x="567" y="291"/>
                      </a:lnTo>
                      <a:lnTo>
                        <a:pt x="578" y="298"/>
                      </a:lnTo>
                      <a:lnTo>
                        <a:pt x="589" y="304"/>
                      </a:lnTo>
                      <a:lnTo>
                        <a:pt x="599" y="310"/>
                      </a:lnTo>
                      <a:lnTo>
                        <a:pt x="609" y="315"/>
                      </a:lnTo>
                      <a:lnTo>
                        <a:pt x="614" y="319"/>
                      </a:lnTo>
                      <a:lnTo>
                        <a:pt x="617" y="320"/>
                      </a:lnTo>
                      <a:lnTo>
                        <a:pt x="631" y="372"/>
                      </a:lnTo>
                      <a:lnTo>
                        <a:pt x="570" y="476"/>
                      </a:lnTo>
                      <a:lnTo>
                        <a:pt x="517" y="490"/>
                      </a:lnTo>
                      <a:lnTo>
                        <a:pt x="515" y="488"/>
                      </a:lnTo>
                      <a:lnTo>
                        <a:pt x="509" y="484"/>
                      </a:lnTo>
                      <a:lnTo>
                        <a:pt x="500" y="479"/>
                      </a:lnTo>
                      <a:lnTo>
                        <a:pt x="491" y="473"/>
                      </a:lnTo>
                      <a:lnTo>
                        <a:pt x="479" y="468"/>
                      </a:lnTo>
                      <a:lnTo>
                        <a:pt x="472" y="462"/>
                      </a:lnTo>
                      <a:lnTo>
                        <a:pt x="457" y="472"/>
                      </a:lnTo>
                      <a:lnTo>
                        <a:pt x="443" y="481"/>
                      </a:lnTo>
                      <a:lnTo>
                        <a:pt x="444" y="493"/>
                      </a:lnTo>
                      <a:lnTo>
                        <a:pt x="445" y="506"/>
                      </a:lnTo>
                      <a:lnTo>
                        <a:pt x="446" y="519"/>
                      </a:lnTo>
                      <a:lnTo>
                        <a:pt x="447" y="531"/>
                      </a:lnTo>
                      <a:lnTo>
                        <a:pt x="448" y="539"/>
                      </a:lnTo>
                      <a:lnTo>
                        <a:pt x="448" y="542"/>
                      </a:lnTo>
                      <a:lnTo>
                        <a:pt x="410" y="581"/>
                      </a:lnTo>
                      <a:lnTo>
                        <a:pt x="290" y="592"/>
                      </a:lnTo>
                      <a:lnTo>
                        <a:pt x="253" y="553"/>
                      </a:lnTo>
                      <a:lnTo>
                        <a:pt x="252" y="550"/>
                      </a:lnTo>
                      <a:lnTo>
                        <a:pt x="252" y="541"/>
                      </a:lnTo>
                      <a:lnTo>
                        <a:pt x="251" y="529"/>
                      </a:lnTo>
                      <a:lnTo>
                        <a:pt x="248" y="517"/>
                      </a:lnTo>
                      <a:lnTo>
                        <a:pt x="247" y="506"/>
                      </a:lnTo>
                      <a:lnTo>
                        <a:pt x="228" y="500"/>
                      </a:lnTo>
                      <a:lnTo>
                        <a:pt x="211" y="492"/>
                      </a:lnTo>
                      <a:lnTo>
                        <a:pt x="202" y="499"/>
                      </a:lnTo>
                      <a:lnTo>
                        <a:pt x="193" y="507"/>
                      </a:lnTo>
                      <a:lnTo>
                        <a:pt x="184" y="515"/>
                      </a:lnTo>
                      <a:lnTo>
                        <a:pt x="175" y="522"/>
                      </a:lnTo>
                      <a:lnTo>
                        <a:pt x="170" y="526"/>
                      </a:lnTo>
                      <a:lnTo>
                        <a:pt x="168" y="528"/>
                      </a:lnTo>
                      <a:lnTo>
                        <a:pt x="168" y="528"/>
                      </a:lnTo>
                      <a:lnTo>
                        <a:pt x="167" y="529"/>
                      </a:lnTo>
                      <a:lnTo>
                        <a:pt x="164" y="530"/>
                      </a:lnTo>
                      <a:lnTo>
                        <a:pt x="162" y="531"/>
                      </a:lnTo>
                      <a:lnTo>
                        <a:pt x="161" y="533"/>
                      </a:lnTo>
                      <a:lnTo>
                        <a:pt x="157" y="533"/>
                      </a:lnTo>
                      <a:lnTo>
                        <a:pt x="148" y="531"/>
                      </a:lnTo>
                      <a:lnTo>
                        <a:pt x="136" y="530"/>
                      </a:lnTo>
                      <a:lnTo>
                        <a:pt x="124" y="529"/>
                      </a:lnTo>
                      <a:lnTo>
                        <a:pt x="117" y="528"/>
                      </a:lnTo>
                      <a:lnTo>
                        <a:pt x="113" y="528"/>
                      </a:lnTo>
                      <a:lnTo>
                        <a:pt x="36" y="437"/>
                      </a:lnTo>
                      <a:lnTo>
                        <a:pt x="36" y="383"/>
                      </a:lnTo>
                      <a:lnTo>
                        <a:pt x="37" y="381"/>
                      </a:lnTo>
                      <a:lnTo>
                        <a:pt x="42" y="378"/>
                      </a:lnTo>
                      <a:lnTo>
                        <a:pt x="48" y="372"/>
                      </a:lnTo>
                      <a:lnTo>
                        <a:pt x="57" y="366"/>
                      </a:lnTo>
                      <a:lnTo>
                        <a:pt x="65" y="358"/>
                      </a:lnTo>
                      <a:lnTo>
                        <a:pt x="74" y="352"/>
                      </a:lnTo>
                      <a:lnTo>
                        <a:pt x="80" y="346"/>
                      </a:lnTo>
                      <a:lnTo>
                        <a:pt x="77" y="327"/>
                      </a:lnTo>
                      <a:lnTo>
                        <a:pt x="75" y="308"/>
                      </a:lnTo>
                      <a:lnTo>
                        <a:pt x="65" y="304"/>
                      </a:lnTo>
                      <a:lnTo>
                        <a:pt x="55" y="299"/>
                      </a:lnTo>
                      <a:lnTo>
                        <a:pt x="44" y="295"/>
                      </a:lnTo>
                      <a:lnTo>
                        <a:pt x="33" y="289"/>
                      </a:lnTo>
                      <a:lnTo>
                        <a:pt x="24" y="286"/>
                      </a:lnTo>
                      <a:lnTo>
                        <a:pt x="18" y="283"/>
                      </a:lnTo>
                      <a:lnTo>
                        <a:pt x="16" y="281"/>
                      </a:lnTo>
                      <a:lnTo>
                        <a:pt x="0" y="236"/>
                      </a:lnTo>
                      <a:lnTo>
                        <a:pt x="2" y="229"/>
                      </a:lnTo>
                      <a:lnTo>
                        <a:pt x="52" y="121"/>
                      </a:lnTo>
                      <a:lnTo>
                        <a:pt x="105" y="107"/>
                      </a:lnTo>
                      <a:lnTo>
                        <a:pt x="108" y="108"/>
                      </a:lnTo>
                      <a:lnTo>
                        <a:pt x="115" y="112"/>
                      </a:lnTo>
                      <a:lnTo>
                        <a:pt x="123" y="116"/>
                      </a:lnTo>
                      <a:lnTo>
                        <a:pt x="134" y="121"/>
                      </a:lnTo>
                      <a:lnTo>
                        <a:pt x="146" y="126"/>
                      </a:lnTo>
                      <a:lnTo>
                        <a:pt x="155" y="130"/>
                      </a:lnTo>
                      <a:lnTo>
                        <a:pt x="171" y="118"/>
                      </a:lnTo>
                      <a:lnTo>
                        <a:pt x="189" y="108"/>
                      </a:lnTo>
                      <a:lnTo>
                        <a:pt x="188" y="96"/>
                      </a:lnTo>
                      <a:lnTo>
                        <a:pt x="186" y="83"/>
                      </a:lnTo>
                      <a:lnTo>
                        <a:pt x="185" y="70"/>
                      </a:lnTo>
                      <a:lnTo>
                        <a:pt x="184" y="59"/>
                      </a:lnTo>
                      <a:lnTo>
                        <a:pt x="184" y="51"/>
                      </a:lnTo>
                      <a:lnTo>
                        <a:pt x="183" y="48"/>
                      </a:lnTo>
                      <a:lnTo>
                        <a:pt x="222" y="10"/>
                      </a:lnTo>
                      <a:lnTo>
                        <a:pt x="34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7" name="Freeform 179"/>
                <p:cNvSpPr>
                  <a:spLocks/>
                </p:cNvSpPr>
                <p:nvPr/>
              </p:nvSpPr>
              <p:spPr bwMode="auto">
                <a:xfrm>
                  <a:off x="-720" y="3871"/>
                  <a:ext cx="285" cy="33"/>
                </a:xfrm>
                <a:custGeom>
                  <a:avLst/>
                  <a:gdLst>
                    <a:gd name="T0" fmla="*/ 95 w 1709"/>
                    <a:gd name="T1" fmla="*/ 0 h 195"/>
                    <a:gd name="T2" fmla="*/ 1615 w 1709"/>
                    <a:gd name="T3" fmla="*/ 0 h 195"/>
                    <a:gd name="T4" fmla="*/ 1638 w 1709"/>
                    <a:gd name="T5" fmla="*/ 3 h 195"/>
                    <a:gd name="T6" fmla="*/ 1658 w 1709"/>
                    <a:gd name="T7" fmla="*/ 10 h 195"/>
                    <a:gd name="T8" fmla="*/ 1676 w 1709"/>
                    <a:gd name="T9" fmla="*/ 20 h 195"/>
                    <a:gd name="T10" fmla="*/ 1689 w 1709"/>
                    <a:gd name="T11" fmla="*/ 34 h 195"/>
                    <a:gd name="T12" fmla="*/ 1699 w 1709"/>
                    <a:gd name="T13" fmla="*/ 51 h 195"/>
                    <a:gd name="T14" fmla="*/ 1705 w 1709"/>
                    <a:gd name="T15" fmla="*/ 69 h 195"/>
                    <a:gd name="T16" fmla="*/ 1709 w 1709"/>
                    <a:gd name="T17" fmla="*/ 88 h 195"/>
                    <a:gd name="T18" fmla="*/ 1709 w 1709"/>
                    <a:gd name="T19" fmla="*/ 108 h 195"/>
                    <a:gd name="T20" fmla="*/ 1705 w 1709"/>
                    <a:gd name="T21" fmla="*/ 126 h 195"/>
                    <a:gd name="T22" fmla="*/ 1699 w 1709"/>
                    <a:gd name="T23" fmla="*/ 145 h 195"/>
                    <a:gd name="T24" fmla="*/ 1689 w 1709"/>
                    <a:gd name="T25" fmla="*/ 161 h 195"/>
                    <a:gd name="T26" fmla="*/ 1676 w 1709"/>
                    <a:gd name="T27" fmla="*/ 176 h 195"/>
                    <a:gd name="T28" fmla="*/ 1658 w 1709"/>
                    <a:gd name="T29" fmla="*/ 187 h 195"/>
                    <a:gd name="T30" fmla="*/ 1638 w 1709"/>
                    <a:gd name="T31" fmla="*/ 193 h 195"/>
                    <a:gd name="T32" fmla="*/ 1615 w 1709"/>
                    <a:gd name="T33" fmla="*/ 195 h 195"/>
                    <a:gd name="T34" fmla="*/ 95 w 1709"/>
                    <a:gd name="T35" fmla="*/ 195 h 195"/>
                    <a:gd name="T36" fmla="*/ 71 w 1709"/>
                    <a:gd name="T37" fmla="*/ 193 h 195"/>
                    <a:gd name="T38" fmla="*/ 51 w 1709"/>
                    <a:gd name="T39" fmla="*/ 187 h 195"/>
                    <a:gd name="T40" fmla="*/ 35 w 1709"/>
                    <a:gd name="T41" fmla="*/ 176 h 195"/>
                    <a:gd name="T42" fmla="*/ 20 w 1709"/>
                    <a:gd name="T43" fmla="*/ 161 h 195"/>
                    <a:gd name="T44" fmla="*/ 10 w 1709"/>
                    <a:gd name="T45" fmla="*/ 145 h 195"/>
                    <a:gd name="T46" fmla="*/ 4 w 1709"/>
                    <a:gd name="T47" fmla="*/ 126 h 195"/>
                    <a:gd name="T48" fmla="*/ 0 w 1709"/>
                    <a:gd name="T49" fmla="*/ 108 h 195"/>
                    <a:gd name="T50" fmla="*/ 0 w 1709"/>
                    <a:gd name="T51" fmla="*/ 88 h 195"/>
                    <a:gd name="T52" fmla="*/ 4 w 1709"/>
                    <a:gd name="T53" fmla="*/ 69 h 195"/>
                    <a:gd name="T54" fmla="*/ 10 w 1709"/>
                    <a:gd name="T55" fmla="*/ 51 h 195"/>
                    <a:gd name="T56" fmla="*/ 20 w 1709"/>
                    <a:gd name="T57" fmla="*/ 34 h 195"/>
                    <a:gd name="T58" fmla="*/ 35 w 1709"/>
                    <a:gd name="T59" fmla="*/ 20 h 195"/>
                    <a:gd name="T60" fmla="*/ 51 w 1709"/>
                    <a:gd name="T61" fmla="*/ 10 h 195"/>
                    <a:gd name="T62" fmla="*/ 71 w 1709"/>
                    <a:gd name="T63" fmla="*/ 3 h 195"/>
                    <a:gd name="T64" fmla="*/ 95 w 1709"/>
                    <a:gd name="T65" fmla="*/ 0 h 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9" h="195">
                      <a:moveTo>
                        <a:pt x="95" y="0"/>
                      </a:moveTo>
                      <a:lnTo>
                        <a:pt x="1615" y="0"/>
                      </a:lnTo>
                      <a:lnTo>
                        <a:pt x="1638" y="3"/>
                      </a:lnTo>
                      <a:lnTo>
                        <a:pt x="1658" y="10"/>
                      </a:lnTo>
                      <a:lnTo>
                        <a:pt x="1676" y="20"/>
                      </a:lnTo>
                      <a:lnTo>
                        <a:pt x="1689" y="34"/>
                      </a:lnTo>
                      <a:lnTo>
                        <a:pt x="1699" y="51"/>
                      </a:lnTo>
                      <a:lnTo>
                        <a:pt x="1705" y="69"/>
                      </a:lnTo>
                      <a:lnTo>
                        <a:pt x="1709" y="88"/>
                      </a:lnTo>
                      <a:lnTo>
                        <a:pt x="1709" y="108"/>
                      </a:lnTo>
                      <a:lnTo>
                        <a:pt x="1705" y="126"/>
                      </a:lnTo>
                      <a:lnTo>
                        <a:pt x="1699" y="145"/>
                      </a:lnTo>
                      <a:lnTo>
                        <a:pt x="1689" y="161"/>
                      </a:lnTo>
                      <a:lnTo>
                        <a:pt x="1676" y="176"/>
                      </a:lnTo>
                      <a:lnTo>
                        <a:pt x="1658" y="187"/>
                      </a:lnTo>
                      <a:lnTo>
                        <a:pt x="1638" y="193"/>
                      </a:lnTo>
                      <a:lnTo>
                        <a:pt x="1615" y="195"/>
                      </a:lnTo>
                      <a:lnTo>
                        <a:pt x="95" y="195"/>
                      </a:lnTo>
                      <a:lnTo>
                        <a:pt x="71" y="193"/>
                      </a:lnTo>
                      <a:lnTo>
                        <a:pt x="51" y="187"/>
                      </a:lnTo>
                      <a:lnTo>
                        <a:pt x="35" y="176"/>
                      </a:lnTo>
                      <a:lnTo>
                        <a:pt x="20" y="161"/>
                      </a:lnTo>
                      <a:lnTo>
                        <a:pt x="10" y="145"/>
                      </a:lnTo>
                      <a:lnTo>
                        <a:pt x="4" y="126"/>
                      </a:lnTo>
                      <a:lnTo>
                        <a:pt x="0" y="108"/>
                      </a:lnTo>
                      <a:lnTo>
                        <a:pt x="0" y="88"/>
                      </a:lnTo>
                      <a:lnTo>
                        <a:pt x="4" y="69"/>
                      </a:lnTo>
                      <a:lnTo>
                        <a:pt x="10" y="51"/>
                      </a:lnTo>
                      <a:lnTo>
                        <a:pt x="20" y="34"/>
                      </a:lnTo>
                      <a:lnTo>
                        <a:pt x="35" y="20"/>
                      </a:lnTo>
                      <a:lnTo>
                        <a:pt x="51" y="10"/>
                      </a:lnTo>
                      <a:lnTo>
                        <a:pt x="71" y="3"/>
                      </a:lnTo>
                      <a:lnTo>
                        <a:pt x="9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8" name="Freeform 180"/>
                <p:cNvSpPr>
                  <a:spLocks/>
                </p:cNvSpPr>
                <p:nvPr/>
              </p:nvSpPr>
              <p:spPr bwMode="auto">
                <a:xfrm>
                  <a:off x="-589" y="3948"/>
                  <a:ext cx="154" cy="33"/>
                </a:xfrm>
                <a:custGeom>
                  <a:avLst/>
                  <a:gdLst>
                    <a:gd name="T0" fmla="*/ 95 w 920"/>
                    <a:gd name="T1" fmla="*/ 0 h 195"/>
                    <a:gd name="T2" fmla="*/ 826 w 920"/>
                    <a:gd name="T3" fmla="*/ 0 h 195"/>
                    <a:gd name="T4" fmla="*/ 849 w 920"/>
                    <a:gd name="T5" fmla="*/ 2 h 195"/>
                    <a:gd name="T6" fmla="*/ 869 w 920"/>
                    <a:gd name="T7" fmla="*/ 10 h 195"/>
                    <a:gd name="T8" fmla="*/ 887 w 920"/>
                    <a:gd name="T9" fmla="*/ 21 h 195"/>
                    <a:gd name="T10" fmla="*/ 900 w 920"/>
                    <a:gd name="T11" fmla="*/ 34 h 195"/>
                    <a:gd name="T12" fmla="*/ 910 w 920"/>
                    <a:gd name="T13" fmla="*/ 50 h 195"/>
                    <a:gd name="T14" fmla="*/ 916 w 920"/>
                    <a:gd name="T15" fmla="*/ 69 h 195"/>
                    <a:gd name="T16" fmla="*/ 920 w 920"/>
                    <a:gd name="T17" fmla="*/ 88 h 195"/>
                    <a:gd name="T18" fmla="*/ 920 w 920"/>
                    <a:gd name="T19" fmla="*/ 107 h 195"/>
                    <a:gd name="T20" fmla="*/ 916 w 920"/>
                    <a:gd name="T21" fmla="*/ 127 h 195"/>
                    <a:gd name="T22" fmla="*/ 910 w 920"/>
                    <a:gd name="T23" fmla="*/ 145 h 195"/>
                    <a:gd name="T24" fmla="*/ 900 w 920"/>
                    <a:gd name="T25" fmla="*/ 161 h 195"/>
                    <a:gd name="T26" fmla="*/ 887 w 920"/>
                    <a:gd name="T27" fmla="*/ 175 h 195"/>
                    <a:gd name="T28" fmla="*/ 869 w 920"/>
                    <a:gd name="T29" fmla="*/ 186 h 195"/>
                    <a:gd name="T30" fmla="*/ 849 w 920"/>
                    <a:gd name="T31" fmla="*/ 193 h 195"/>
                    <a:gd name="T32" fmla="*/ 826 w 920"/>
                    <a:gd name="T33" fmla="*/ 195 h 195"/>
                    <a:gd name="T34" fmla="*/ 95 w 920"/>
                    <a:gd name="T35" fmla="*/ 195 h 195"/>
                    <a:gd name="T36" fmla="*/ 72 w 920"/>
                    <a:gd name="T37" fmla="*/ 193 h 195"/>
                    <a:gd name="T38" fmla="*/ 51 w 920"/>
                    <a:gd name="T39" fmla="*/ 186 h 195"/>
                    <a:gd name="T40" fmla="*/ 34 w 920"/>
                    <a:gd name="T41" fmla="*/ 175 h 195"/>
                    <a:gd name="T42" fmla="*/ 21 w 920"/>
                    <a:gd name="T43" fmla="*/ 161 h 195"/>
                    <a:gd name="T44" fmla="*/ 10 w 920"/>
                    <a:gd name="T45" fmla="*/ 145 h 195"/>
                    <a:gd name="T46" fmla="*/ 3 w 920"/>
                    <a:gd name="T47" fmla="*/ 127 h 195"/>
                    <a:gd name="T48" fmla="*/ 0 w 920"/>
                    <a:gd name="T49" fmla="*/ 107 h 195"/>
                    <a:gd name="T50" fmla="*/ 0 w 920"/>
                    <a:gd name="T51" fmla="*/ 88 h 195"/>
                    <a:gd name="T52" fmla="*/ 3 w 920"/>
                    <a:gd name="T53" fmla="*/ 69 h 195"/>
                    <a:gd name="T54" fmla="*/ 10 w 920"/>
                    <a:gd name="T55" fmla="*/ 50 h 195"/>
                    <a:gd name="T56" fmla="*/ 21 w 920"/>
                    <a:gd name="T57" fmla="*/ 34 h 195"/>
                    <a:gd name="T58" fmla="*/ 34 w 920"/>
                    <a:gd name="T59" fmla="*/ 21 h 195"/>
                    <a:gd name="T60" fmla="*/ 51 w 920"/>
                    <a:gd name="T61" fmla="*/ 10 h 195"/>
                    <a:gd name="T62" fmla="*/ 72 w 920"/>
                    <a:gd name="T63" fmla="*/ 2 h 195"/>
                    <a:gd name="T64" fmla="*/ 95 w 920"/>
                    <a:gd name="T65" fmla="*/ 0 h 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20" h="195">
                      <a:moveTo>
                        <a:pt x="95" y="0"/>
                      </a:moveTo>
                      <a:lnTo>
                        <a:pt x="826" y="0"/>
                      </a:lnTo>
                      <a:lnTo>
                        <a:pt x="849" y="2"/>
                      </a:lnTo>
                      <a:lnTo>
                        <a:pt x="869" y="10"/>
                      </a:lnTo>
                      <a:lnTo>
                        <a:pt x="887" y="21"/>
                      </a:lnTo>
                      <a:lnTo>
                        <a:pt x="900" y="34"/>
                      </a:lnTo>
                      <a:lnTo>
                        <a:pt x="910" y="50"/>
                      </a:lnTo>
                      <a:lnTo>
                        <a:pt x="916" y="69"/>
                      </a:lnTo>
                      <a:lnTo>
                        <a:pt x="920" y="88"/>
                      </a:lnTo>
                      <a:lnTo>
                        <a:pt x="920" y="107"/>
                      </a:lnTo>
                      <a:lnTo>
                        <a:pt x="916" y="127"/>
                      </a:lnTo>
                      <a:lnTo>
                        <a:pt x="910" y="145"/>
                      </a:lnTo>
                      <a:lnTo>
                        <a:pt x="900" y="161"/>
                      </a:lnTo>
                      <a:lnTo>
                        <a:pt x="887" y="175"/>
                      </a:lnTo>
                      <a:lnTo>
                        <a:pt x="869" y="186"/>
                      </a:lnTo>
                      <a:lnTo>
                        <a:pt x="849" y="193"/>
                      </a:lnTo>
                      <a:lnTo>
                        <a:pt x="826" y="195"/>
                      </a:lnTo>
                      <a:lnTo>
                        <a:pt x="95" y="195"/>
                      </a:lnTo>
                      <a:lnTo>
                        <a:pt x="72" y="193"/>
                      </a:lnTo>
                      <a:lnTo>
                        <a:pt x="51" y="186"/>
                      </a:lnTo>
                      <a:lnTo>
                        <a:pt x="34" y="175"/>
                      </a:lnTo>
                      <a:lnTo>
                        <a:pt x="21" y="161"/>
                      </a:lnTo>
                      <a:lnTo>
                        <a:pt x="10" y="145"/>
                      </a:lnTo>
                      <a:lnTo>
                        <a:pt x="3" y="127"/>
                      </a:lnTo>
                      <a:lnTo>
                        <a:pt x="0" y="107"/>
                      </a:lnTo>
                      <a:lnTo>
                        <a:pt x="0" y="88"/>
                      </a:lnTo>
                      <a:lnTo>
                        <a:pt x="3" y="69"/>
                      </a:lnTo>
                      <a:lnTo>
                        <a:pt x="10" y="50"/>
                      </a:lnTo>
                      <a:lnTo>
                        <a:pt x="21" y="34"/>
                      </a:lnTo>
                      <a:lnTo>
                        <a:pt x="34" y="21"/>
                      </a:lnTo>
                      <a:lnTo>
                        <a:pt x="51" y="10"/>
                      </a:lnTo>
                      <a:lnTo>
                        <a:pt x="72" y="2"/>
                      </a:lnTo>
                      <a:lnTo>
                        <a:pt x="9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9" name="Freeform 181"/>
                <p:cNvSpPr>
                  <a:spLocks/>
                </p:cNvSpPr>
                <p:nvPr/>
              </p:nvSpPr>
              <p:spPr bwMode="auto">
                <a:xfrm>
                  <a:off x="-825" y="3791"/>
                  <a:ext cx="461" cy="246"/>
                </a:xfrm>
                <a:custGeom>
                  <a:avLst/>
                  <a:gdLst>
                    <a:gd name="T0" fmla="*/ 0 w 2765"/>
                    <a:gd name="T1" fmla="*/ 0 h 1476"/>
                    <a:gd name="T2" fmla="*/ 2765 w 2765"/>
                    <a:gd name="T3" fmla="*/ 0 h 1476"/>
                    <a:gd name="T4" fmla="*/ 2765 w 2765"/>
                    <a:gd name="T5" fmla="*/ 1476 h 1476"/>
                    <a:gd name="T6" fmla="*/ 2529 w 2765"/>
                    <a:gd name="T7" fmla="*/ 1476 h 1476"/>
                    <a:gd name="T8" fmla="*/ 2529 w 2765"/>
                    <a:gd name="T9" fmla="*/ 235 h 1476"/>
                    <a:gd name="T10" fmla="*/ 237 w 2765"/>
                    <a:gd name="T11" fmla="*/ 235 h 1476"/>
                    <a:gd name="T12" fmla="*/ 237 w 2765"/>
                    <a:gd name="T13" fmla="*/ 765 h 1476"/>
                    <a:gd name="T14" fmla="*/ 0 w 2765"/>
                    <a:gd name="T15" fmla="*/ 765 h 1476"/>
                    <a:gd name="T16" fmla="*/ 0 w 2765"/>
                    <a:gd name="T17" fmla="*/ 0 h 14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65" h="1476">
                      <a:moveTo>
                        <a:pt x="0" y="0"/>
                      </a:moveTo>
                      <a:lnTo>
                        <a:pt x="2765" y="0"/>
                      </a:lnTo>
                      <a:lnTo>
                        <a:pt x="2765" y="1476"/>
                      </a:lnTo>
                      <a:lnTo>
                        <a:pt x="2529" y="1476"/>
                      </a:lnTo>
                      <a:lnTo>
                        <a:pt x="2529" y="235"/>
                      </a:lnTo>
                      <a:lnTo>
                        <a:pt x="237" y="235"/>
                      </a:lnTo>
                      <a:lnTo>
                        <a:pt x="237" y="765"/>
                      </a:lnTo>
                      <a:lnTo>
                        <a:pt x="0" y="76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0" name="Freeform 182"/>
                <p:cNvSpPr>
                  <a:spLocks noEditPoints="1"/>
                </p:cNvSpPr>
                <p:nvPr/>
              </p:nvSpPr>
              <p:spPr bwMode="auto">
                <a:xfrm>
                  <a:off x="-635" y="4151"/>
                  <a:ext cx="227" cy="215"/>
                </a:xfrm>
                <a:custGeom>
                  <a:avLst/>
                  <a:gdLst>
                    <a:gd name="T0" fmla="*/ 601 w 1364"/>
                    <a:gd name="T1" fmla="*/ 392 h 1287"/>
                    <a:gd name="T2" fmla="*/ 503 w 1364"/>
                    <a:gd name="T3" fmla="*/ 441 h 1287"/>
                    <a:gd name="T4" fmla="*/ 434 w 1364"/>
                    <a:gd name="T5" fmla="*/ 526 h 1287"/>
                    <a:gd name="T6" fmla="*/ 406 w 1364"/>
                    <a:gd name="T7" fmla="*/ 635 h 1287"/>
                    <a:gd name="T8" fmla="*/ 427 w 1364"/>
                    <a:gd name="T9" fmla="*/ 746 h 1287"/>
                    <a:gd name="T10" fmla="*/ 490 w 1364"/>
                    <a:gd name="T11" fmla="*/ 834 h 1287"/>
                    <a:gd name="T12" fmla="*/ 585 w 1364"/>
                    <a:gd name="T13" fmla="*/ 890 h 1287"/>
                    <a:gd name="T14" fmla="*/ 700 w 1364"/>
                    <a:gd name="T15" fmla="*/ 902 h 1287"/>
                    <a:gd name="T16" fmla="*/ 805 w 1364"/>
                    <a:gd name="T17" fmla="*/ 866 h 1287"/>
                    <a:gd name="T18" fmla="*/ 884 w 1364"/>
                    <a:gd name="T19" fmla="*/ 793 h 1287"/>
                    <a:gd name="T20" fmla="*/ 928 w 1364"/>
                    <a:gd name="T21" fmla="*/ 691 h 1287"/>
                    <a:gd name="T22" fmla="*/ 923 w 1364"/>
                    <a:gd name="T23" fmla="*/ 576 h 1287"/>
                    <a:gd name="T24" fmla="*/ 873 w 1364"/>
                    <a:gd name="T25" fmla="*/ 478 h 1287"/>
                    <a:gd name="T26" fmla="*/ 787 w 1364"/>
                    <a:gd name="T27" fmla="*/ 410 h 1287"/>
                    <a:gd name="T28" fmla="*/ 678 w 1364"/>
                    <a:gd name="T29" fmla="*/ 383 h 1287"/>
                    <a:gd name="T30" fmla="*/ 842 w 1364"/>
                    <a:gd name="T31" fmla="*/ 90 h 1287"/>
                    <a:gd name="T32" fmla="*/ 845 w 1364"/>
                    <a:gd name="T33" fmla="*/ 133 h 1287"/>
                    <a:gd name="T34" fmla="*/ 848 w 1364"/>
                    <a:gd name="T35" fmla="*/ 187 h 1287"/>
                    <a:gd name="T36" fmla="*/ 954 w 1364"/>
                    <a:gd name="T37" fmla="*/ 217 h 1287"/>
                    <a:gd name="T38" fmla="*/ 992 w 1364"/>
                    <a:gd name="T39" fmla="*/ 188 h 1287"/>
                    <a:gd name="T40" fmla="*/ 1023 w 1364"/>
                    <a:gd name="T41" fmla="*/ 162 h 1287"/>
                    <a:gd name="T42" fmla="*/ 1150 w 1364"/>
                    <a:gd name="T43" fmla="*/ 160 h 1287"/>
                    <a:gd name="T44" fmla="*/ 1308 w 1364"/>
                    <a:gd name="T45" fmla="*/ 483 h 1287"/>
                    <a:gd name="T46" fmla="*/ 1283 w 1364"/>
                    <a:gd name="T47" fmla="*/ 502 h 1287"/>
                    <a:gd name="T48" fmla="*/ 1242 w 1364"/>
                    <a:gd name="T49" fmla="*/ 534 h 1287"/>
                    <a:gd name="T50" fmla="*/ 1203 w 1364"/>
                    <a:gd name="T51" fmla="*/ 566 h 1287"/>
                    <a:gd name="T52" fmla="*/ 1224 w 1364"/>
                    <a:gd name="T53" fmla="*/ 648 h 1287"/>
                    <a:gd name="T54" fmla="*/ 1274 w 1364"/>
                    <a:gd name="T55" fmla="*/ 678 h 1287"/>
                    <a:gd name="T56" fmla="*/ 1319 w 1364"/>
                    <a:gd name="T57" fmla="*/ 706 h 1287"/>
                    <a:gd name="T58" fmla="*/ 1338 w 1364"/>
                    <a:gd name="T59" fmla="*/ 718 h 1287"/>
                    <a:gd name="T60" fmla="*/ 1110 w 1364"/>
                    <a:gd name="T61" fmla="*/ 1080 h 1287"/>
                    <a:gd name="T62" fmla="*/ 949 w 1364"/>
                    <a:gd name="T63" fmla="*/ 1057 h 1287"/>
                    <a:gd name="T64" fmla="*/ 952 w 1364"/>
                    <a:gd name="T65" fmla="*/ 1112 h 1287"/>
                    <a:gd name="T66" fmla="*/ 954 w 1364"/>
                    <a:gd name="T67" fmla="*/ 1167 h 1287"/>
                    <a:gd name="T68" fmla="*/ 956 w 1364"/>
                    <a:gd name="T69" fmla="*/ 1192 h 1287"/>
                    <a:gd name="T70" fmla="*/ 527 w 1364"/>
                    <a:gd name="T71" fmla="*/ 1202 h 1287"/>
                    <a:gd name="T72" fmla="*/ 525 w 1364"/>
                    <a:gd name="T73" fmla="*/ 1178 h 1287"/>
                    <a:gd name="T74" fmla="*/ 523 w 1364"/>
                    <a:gd name="T75" fmla="*/ 1127 h 1287"/>
                    <a:gd name="T76" fmla="*/ 480 w 1364"/>
                    <a:gd name="T77" fmla="*/ 1082 h 1287"/>
                    <a:gd name="T78" fmla="*/ 416 w 1364"/>
                    <a:gd name="T79" fmla="*/ 1084 h 1287"/>
                    <a:gd name="T80" fmla="*/ 375 w 1364"/>
                    <a:gd name="T81" fmla="*/ 1117 h 1287"/>
                    <a:gd name="T82" fmla="*/ 347 w 1364"/>
                    <a:gd name="T83" fmla="*/ 1138 h 1287"/>
                    <a:gd name="T84" fmla="*/ 324 w 1364"/>
                    <a:gd name="T85" fmla="*/ 1148 h 1287"/>
                    <a:gd name="T86" fmla="*/ 284 w 1364"/>
                    <a:gd name="T87" fmla="*/ 1145 h 1287"/>
                    <a:gd name="T88" fmla="*/ 238 w 1364"/>
                    <a:gd name="T89" fmla="*/ 1138 h 1287"/>
                    <a:gd name="T90" fmla="*/ 63 w 1364"/>
                    <a:gd name="T91" fmla="*/ 933 h 1287"/>
                    <a:gd name="T92" fmla="*/ 74 w 1364"/>
                    <a:gd name="T93" fmla="*/ 809 h 1287"/>
                    <a:gd name="T94" fmla="*/ 105 w 1364"/>
                    <a:gd name="T95" fmla="*/ 785 h 1287"/>
                    <a:gd name="T96" fmla="*/ 144 w 1364"/>
                    <a:gd name="T97" fmla="*/ 754 h 1287"/>
                    <a:gd name="T98" fmla="*/ 160 w 1364"/>
                    <a:gd name="T99" fmla="*/ 696 h 1287"/>
                    <a:gd name="T100" fmla="*/ 127 w 1364"/>
                    <a:gd name="T101" fmla="*/ 640 h 1287"/>
                    <a:gd name="T102" fmla="*/ 78 w 1364"/>
                    <a:gd name="T103" fmla="*/ 616 h 1287"/>
                    <a:gd name="T104" fmla="*/ 40 w 1364"/>
                    <a:gd name="T105" fmla="*/ 598 h 1287"/>
                    <a:gd name="T106" fmla="*/ 0 w 1364"/>
                    <a:gd name="T107" fmla="*/ 494 h 1287"/>
                    <a:gd name="T108" fmla="*/ 238 w 1364"/>
                    <a:gd name="T109" fmla="*/ 218 h 1287"/>
                    <a:gd name="T110" fmla="*/ 258 w 1364"/>
                    <a:gd name="T111" fmla="*/ 228 h 1287"/>
                    <a:gd name="T112" fmla="*/ 302 w 1364"/>
                    <a:gd name="T113" fmla="*/ 250 h 1287"/>
                    <a:gd name="T114" fmla="*/ 346 w 1364"/>
                    <a:gd name="T115" fmla="*/ 272 h 1287"/>
                    <a:gd name="T116" fmla="*/ 419 w 1364"/>
                    <a:gd name="T117" fmla="*/ 207 h 1287"/>
                    <a:gd name="T118" fmla="*/ 416 w 1364"/>
                    <a:gd name="T119" fmla="*/ 143 h 1287"/>
                    <a:gd name="T120" fmla="*/ 413 w 1364"/>
                    <a:gd name="T121" fmla="*/ 98 h 1287"/>
                    <a:gd name="T122" fmla="*/ 761 w 1364"/>
                    <a:gd name="T123" fmla="*/ 0 h 1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364" h="1287">
                      <a:moveTo>
                        <a:pt x="678" y="383"/>
                      </a:moveTo>
                      <a:lnTo>
                        <a:pt x="639" y="384"/>
                      </a:lnTo>
                      <a:lnTo>
                        <a:pt x="601" y="392"/>
                      </a:lnTo>
                      <a:lnTo>
                        <a:pt x="566" y="404"/>
                      </a:lnTo>
                      <a:lnTo>
                        <a:pt x="533" y="420"/>
                      </a:lnTo>
                      <a:lnTo>
                        <a:pt x="503" y="441"/>
                      </a:lnTo>
                      <a:lnTo>
                        <a:pt x="476" y="466"/>
                      </a:lnTo>
                      <a:lnTo>
                        <a:pt x="453" y="495"/>
                      </a:lnTo>
                      <a:lnTo>
                        <a:pt x="434" y="526"/>
                      </a:lnTo>
                      <a:lnTo>
                        <a:pt x="419" y="560"/>
                      </a:lnTo>
                      <a:lnTo>
                        <a:pt x="410" y="597"/>
                      </a:lnTo>
                      <a:lnTo>
                        <a:pt x="406" y="635"/>
                      </a:lnTo>
                      <a:lnTo>
                        <a:pt x="408" y="673"/>
                      </a:lnTo>
                      <a:lnTo>
                        <a:pt x="415" y="711"/>
                      </a:lnTo>
                      <a:lnTo>
                        <a:pt x="427" y="746"/>
                      </a:lnTo>
                      <a:lnTo>
                        <a:pt x="443" y="779"/>
                      </a:lnTo>
                      <a:lnTo>
                        <a:pt x="465" y="808"/>
                      </a:lnTo>
                      <a:lnTo>
                        <a:pt x="490" y="834"/>
                      </a:lnTo>
                      <a:lnTo>
                        <a:pt x="518" y="858"/>
                      </a:lnTo>
                      <a:lnTo>
                        <a:pt x="551" y="876"/>
                      </a:lnTo>
                      <a:lnTo>
                        <a:pt x="585" y="890"/>
                      </a:lnTo>
                      <a:lnTo>
                        <a:pt x="621" y="900"/>
                      </a:lnTo>
                      <a:lnTo>
                        <a:pt x="661" y="904"/>
                      </a:lnTo>
                      <a:lnTo>
                        <a:pt x="700" y="902"/>
                      </a:lnTo>
                      <a:lnTo>
                        <a:pt x="737" y="896"/>
                      </a:lnTo>
                      <a:lnTo>
                        <a:pt x="772" y="884"/>
                      </a:lnTo>
                      <a:lnTo>
                        <a:pt x="805" y="866"/>
                      </a:lnTo>
                      <a:lnTo>
                        <a:pt x="835" y="845"/>
                      </a:lnTo>
                      <a:lnTo>
                        <a:pt x="862" y="821"/>
                      </a:lnTo>
                      <a:lnTo>
                        <a:pt x="884" y="793"/>
                      </a:lnTo>
                      <a:lnTo>
                        <a:pt x="904" y="761"/>
                      </a:lnTo>
                      <a:lnTo>
                        <a:pt x="919" y="727"/>
                      </a:lnTo>
                      <a:lnTo>
                        <a:pt x="928" y="691"/>
                      </a:lnTo>
                      <a:lnTo>
                        <a:pt x="932" y="652"/>
                      </a:lnTo>
                      <a:lnTo>
                        <a:pt x="931" y="613"/>
                      </a:lnTo>
                      <a:lnTo>
                        <a:pt x="923" y="576"/>
                      </a:lnTo>
                      <a:lnTo>
                        <a:pt x="911" y="541"/>
                      </a:lnTo>
                      <a:lnTo>
                        <a:pt x="894" y="509"/>
                      </a:lnTo>
                      <a:lnTo>
                        <a:pt x="873" y="478"/>
                      </a:lnTo>
                      <a:lnTo>
                        <a:pt x="848" y="452"/>
                      </a:lnTo>
                      <a:lnTo>
                        <a:pt x="819" y="429"/>
                      </a:lnTo>
                      <a:lnTo>
                        <a:pt x="787" y="410"/>
                      </a:lnTo>
                      <a:lnTo>
                        <a:pt x="753" y="396"/>
                      </a:lnTo>
                      <a:lnTo>
                        <a:pt x="716" y="387"/>
                      </a:lnTo>
                      <a:lnTo>
                        <a:pt x="678" y="383"/>
                      </a:lnTo>
                      <a:close/>
                      <a:moveTo>
                        <a:pt x="761" y="0"/>
                      </a:moveTo>
                      <a:lnTo>
                        <a:pt x="842" y="87"/>
                      </a:lnTo>
                      <a:lnTo>
                        <a:pt x="842" y="90"/>
                      </a:lnTo>
                      <a:lnTo>
                        <a:pt x="844" y="100"/>
                      </a:lnTo>
                      <a:lnTo>
                        <a:pt x="845" y="115"/>
                      </a:lnTo>
                      <a:lnTo>
                        <a:pt x="845" y="133"/>
                      </a:lnTo>
                      <a:lnTo>
                        <a:pt x="846" y="153"/>
                      </a:lnTo>
                      <a:lnTo>
                        <a:pt x="847" y="170"/>
                      </a:lnTo>
                      <a:lnTo>
                        <a:pt x="848" y="187"/>
                      </a:lnTo>
                      <a:lnTo>
                        <a:pt x="897" y="204"/>
                      </a:lnTo>
                      <a:lnTo>
                        <a:pt x="943" y="226"/>
                      </a:lnTo>
                      <a:lnTo>
                        <a:pt x="954" y="217"/>
                      </a:lnTo>
                      <a:lnTo>
                        <a:pt x="966" y="207"/>
                      </a:lnTo>
                      <a:lnTo>
                        <a:pt x="978" y="197"/>
                      </a:lnTo>
                      <a:lnTo>
                        <a:pt x="992" y="188"/>
                      </a:lnTo>
                      <a:lnTo>
                        <a:pt x="1004" y="178"/>
                      </a:lnTo>
                      <a:lnTo>
                        <a:pt x="1014" y="169"/>
                      </a:lnTo>
                      <a:lnTo>
                        <a:pt x="1023" y="162"/>
                      </a:lnTo>
                      <a:lnTo>
                        <a:pt x="1028" y="158"/>
                      </a:lnTo>
                      <a:lnTo>
                        <a:pt x="1030" y="157"/>
                      </a:lnTo>
                      <a:lnTo>
                        <a:pt x="1150" y="160"/>
                      </a:lnTo>
                      <a:lnTo>
                        <a:pt x="1314" y="362"/>
                      </a:lnTo>
                      <a:lnTo>
                        <a:pt x="1310" y="480"/>
                      </a:lnTo>
                      <a:lnTo>
                        <a:pt x="1308" y="483"/>
                      </a:lnTo>
                      <a:lnTo>
                        <a:pt x="1302" y="487"/>
                      </a:lnTo>
                      <a:lnTo>
                        <a:pt x="1294" y="494"/>
                      </a:lnTo>
                      <a:lnTo>
                        <a:pt x="1283" y="502"/>
                      </a:lnTo>
                      <a:lnTo>
                        <a:pt x="1269" y="512"/>
                      </a:lnTo>
                      <a:lnTo>
                        <a:pt x="1256" y="523"/>
                      </a:lnTo>
                      <a:lnTo>
                        <a:pt x="1242" y="534"/>
                      </a:lnTo>
                      <a:lnTo>
                        <a:pt x="1228" y="546"/>
                      </a:lnTo>
                      <a:lnTo>
                        <a:pt x="1215" y="556"/>
                      </a:lnTo>
                      <a:lnTo>
                        <a:pt x="1203" y="566"/>
                      </a:lnTo>
                      <a:lnTo>
                        <a:pt x="1208" y="602"/>
                      </a:lnTo>
                      <a:lnTo>
                        <a:pt x="1210" y="639"/>
                      </a:lnTo>
                      <a:lnTo>
                        <a:pt x="1224" y="648"/>
                      </a:lnTo>
                      <a:lnTo>
                        <a:pt x="1239" y="657"/>
                      </a:lnTo>
                      <a:lnTo>
                        <a:pt x="1256" y="668"/>
                      </a:lnTo>
                      <a:lnTo>
                        <a:pt x="1274" y="678"/>
                      </a:lnTo>
                      <a:lnTo>
                        <a:pt x="1290" y="689"/>
                      </a:lnTo>
                      <a:lnTo>
                        <a:pt x="1306" y="697"/>
                      </a:lnTo>
                      <a:lnTo>
                        <a:pt x="1319" y="706"/>
                      </a:lnTo>
                      <a:lnTo>
                        <a:pt x="1329" y="713"/>
                      </a:lnTo>
                      <a:lnTo>
                        <a:pt x="1336" y="716"/>
                      </a:lnTo>
                      <a:lnTo>
                        <a:pt x="1338" y="718"/>
                      </a:lnTo>
                      <a:lnTo>
                        <a:pt x="1364" y="833"/>
                      </a:lnTo>
                      <a:lnTo>
                        <a:pt x="1226" y="1054"/>
                      </a:lnTo>
                      <a:lnTo>
                        <a:pt x="1110" y="1080"/>
                      </a:lnTo>
                      <a:lnTo>
                        <a:pt x="1011" y="1019"/>
                      </a:lnTo>
                      <a:lnTo>
                        <a:pt x="981" y="1038"/>
                      </a:lnTo>
                      <a:lnTo>
                        <a:pt x="949" y="1057"/>
                      </a:lnTo>
                      <a:lnTo>
                        <a:pt x="950" y="1073"/>
                      </a:lnTo>
                      <a:lnTo>
                        <a:pt x="951" y="1092"/>
                      </a:lnTo>
                      <a:lnTo>
                        <a:pt x="952" y="1112"/>
                      </a:lnTo>
                      <a:lnTo>
                        <a:pt x="953" y="1132"/>
                      </a:lnTo>
                      <a:lnTo>
                        <a:pt x="954" y="1150"/>
                      </a:lnTo>
                      <a:lnTo>
                        <a:pt x="954" y="1167"/>
                      </a:lnTo>
                      <a:lnTo>
                        <a:pt x="955" y="1180"/>
                      </a:lnTo>
                      <a:lnTo>
                        <a:pt x="956" y="1189"/>
                      </a:lnTo>
                      <a:lnTo>
                        <a:pt x="956" y="1192"/>
                      </a:lnTo>
                      <a:lnTo>
                        <a:pt x="869" y="1272"/>
                      </a:lnTo>
                      <a:lnTo>
                        <a:pt x="609" y="1287"/>
                      </a:lnTo>
                      <a:lnTo>
                        <a:pt x="527" y="1202"/>
                      </a:lnTo>
                      <a:lnTo>
                        <a:pt x="526" y="1198"/>
                      </a:lnTo>
                      <a:lnTo>
                        <a:pt x="526" y="1190"/>
                      </a:lnTo>
                      <a:lnTo>
                        <a:pt x="525" y="1178"/>
                      </a:lnTo>
                      <a:lnTo>
                        <a:pt x="525" y="1162"/>
                      </a:lnTo>
                      <a:lnTo>
                        <a:pt x="524" y="1145"/>
                      </a:lnTo>
                      <a:lnTo>
                        <a:pt x="523" y="1127"/>
                      </a:lnTo>
                      <a:lnTo>
                        <a:pt x="522" y="1111"/>
                      </a:lnTo>
                      <a:lnTo>
                        <a:pt x="521" y="1097"/>
                      </a:lnTo>
                      <a:lnTo>
                        <a:pt x="480" y="1082"/>
                      </a:lnTo>
                      <a:lnTo>
                        <a:pt x="440" y="1066"/>
                      </a:lnTo>
                      <a:lnTo>
                        <a:pt x="429" y="1075"/>
                      </a:lnTo>
                      <a:lnTo>
                        <a:pt x="416" y="1084"/>
                      </a:lnTo>
                      <a:lnTo>
                        <a:pt x="401" y="1095"/>
                      </a:lnTo>
                      <a:lnTo>
                        <a:pt x="387" y="1106"/>
                      </a:lnTo>
                      <a:lnTo>
                        <a:pt x="375" y="1117"/>
                      </a:lnTo>
                      <a:lnTo>
                        <a:pt x="363" y="1126"/>
                      </a:lnTo>
                      <a:lnTo>
                        <a:pt x="354" y="1134"/>
                      </a:lnTo>
                      <a:lnTo>
                        <a:pt x="347" y="1138"/>
                      </a:lnTo>
                      <a:lnTo>
                        <a:pt x="345" y="1140"/>
                      </a:lnTo>
                      <a:lnTo>
                        <a:pt x="329" y="1148"/>
                      </a:lnTo>
                      <a:lnTo>
                        <a:pt x="324" y="1148"/>
                      </a:lnTo>
                      <a:lnTo>
                        <a:pt x="314" y="1148"/>
                      </a:lnTo>
                      <a:lnTo>
                        <a:pt x="300" y="1146"/>
                      </a:lnTo>
                      <a:lnTo>
                        <a:pt x="284" y="1145"/>
                      </a:lnTo>
                      <a:lnTo>
                        <a:pt x="267" y="1143"/>
                      </a:lnTo>
                      <a:lnTo>
                        <a:pt x="251" y="1140"/>
                      </a:lnTo>
                      <a:lnTo>
                        <a:pt x="238" y="1138"/>
                      </a:lnTo>
                      <a:lnTo>
                        <a:pt x="229" y="1137"/>
                      </a:lnTo>
                      <a:lnTo>
                        <a:pt x="225" y="1136"/>
                      </a:lnTo>
                      <a:lnTo>
                        <a:pt x="63" y="933"/>
                      </a:lnTo>
                      <a:lnTo>
                        <a:pt x="67" y="815"/>
                      </a:lnTo>
                      <a:lnTo>
                        <a:pt x="68" y="814"/>
                      </a:lnTo>
                      <a:lnTo>
                        <a:pt x="74" y="809"/>
                      </a:lnTo>
                      <a:lnTo>
                        <a:pt x="83" y="803"/>
                      </a:lnTo>
                      <a:lnTo>
                        <a:pt x="93" y="795"/>
                      </a:lnTo>
                      <a:lnTo>
                        <a:pt x="105" y="785"/>
                      </a:lnTo>
                      <a:lnTo>
                        <a:pt x="117" y="775"/>
                      </a:lnTo>
                      <a:lnTo>
                        <a:pt x="130" y="764"/>
                      </a:lnTo>
                      <a:lnTo>
                        <a:pt x="144" y="754"/>
                      </a:lnTo>
                      <a:lnTo>
                        <a:pt x="156" y="745"/>
                      </a:lnTo>
                      <a:lnTo>
                        <a:pt x="167" y="736"/>
                      </a:lnTo>
                      <a:lnTo>
                        <a:pt x="160" y="696"/>
                      </a:lnTo>
                      <a:lnTo>
                        <a:pt x="157" y="655"/>
                      </a:lnTo>
                      <a:lnTo>
                        <a:pt x="143" y="648"/>
                      </a:lnTo>
                      <a:lnTo>
                        <a:pt x="127" y="640"/>
                      </a:lnTo>
                      <a:lnTo>
                        <a:pt x="110" y="632"/>
                      </a:lnTo>
                      <a:lnTo>
                        <a:pt x="94" y="624"/>
                      </a:lnTo>
                      <a:lnTo>
                        <a:pt x="78" y="616"/>
                      </a:lnTo>
                      <a:lnTo>
                        <a:pt x="63" y="609"/>
                      </a:lnTo>
                      <a:lnTo>
                        <a:pt x="50" y="602"/>
                      </a:lnTo>
                      <a:lnTo>
                        <a:pt x="40" y="598"/>
                      </a:lnTo>
                      <a:lnTo>
                        <a:pt x="33" y="594"/>
                      </a:lnTo>
                      <a:lnTo>
                        <a:pt x="31" y="593"/>
                      </a:lnTo>
                      <a:lnTo>
                        <a:pt x="0" y="494"/>
                      </a:lnTo>
                      <a:lnTo>
                        <a:pt x="4" y="477"/>
                      </a:lnTo>
                      <a:lnTo>
                        <a:pt x="120" y="245"/>
                      </a:lnTo>
                      <a:lnTo>
                        <a:pt x="238" y="218"/>
                      </a:lnTo>
                      <a:lnTo>
                        <a:pt x="240" y="219"/>
                      </a:lnTo>
                      <a:lnTo>
                        <a:pt x="246" y="223"/>
                      </a:lnTo>
                      <a:lnTo>
                        <a:pt x="258" y="228"/>
                      </a:lnTo>
                      <a:lnTo>
                        <a:pt x="271" y="235"/>
                      </a:lnTo>
                      <a:lnTo>
                        <a:pt x="285" y="242"/>
                      </a:lnTo>
                      <a:lnTo>
                        <a:pt x="302" y="250"/>
                      </a:lnTo>
                      <a:lnTo>
                        <a:pt x="317" y="258"/>
                      </a:lnTo>
                      <a:lnTo>
                        <a:pt x="333" y="265"/>
                      </a:lnTo>
                      <a:lnTo>
                        <a:pt x="346" y="272"/>
                      </a:lnTo>
                      <a:lnTo>
                        <a:pt x="381" y="248"/>
                      </a:lnTo>
                      <a:lnTo>
                        <a:pt x="419" y="226"/>
                      </a:lnTo>
                      <a:lnTo>
                        <a:pt x="419" y="207"/>
                      </a:lnTo>
                      <a:lnTo>
                        <a:pt x="418" y="187"/>
                      </a:lnTo>
                      <a:lnTo>
                        <a:pt x="417" y="165"/>
                      </a:lnTo>
                      <a:lnTo>
                        <a:pt x="416" y="143"/>
                      </a:lnTo>
                      <a:lnTo>
                        <a:pt x="415" y="124"/>
                      </a:lnTo>
                      <a:lnTo>
                        <a:pt x="413" y="108"/>
                      </a:lnTo>
                      <a:lnTo>
                        <a:pt x="413" y="98"/>
                      </a:lnTo>
                      <a:lnTo>
                        <a:pt x="412" y="93"/>
                      </a:lnTo>
                      <a:lnTo>
                        <a:pt x="500" y="13"/>
                      </a:lnTo>
                      <a:lnTo>
                        <a:pt x="76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1" name="Freeform 183"/>
                <p:cNvSpPr>
                  <a:spLocks/>
                </p:cNvSpPr>
                <p:nvPr/>
              </p:nvSpPr>
              <p:spPr bwMode="auto">
                <a:xfrm>
                  <a:off x="-593" y="4037"/>
                  <a:ext cx="245" cy="194"/>
                </a:xfrm>
                <a:custGeom>
                  <a:avLst/>
                  <a:gdLst>
                    <a:gd name="T0" fmla="*/ 907 w 1469"/>
                    <a:gd name="T1" fmla="*/ 93 h 1162"/>
                    <a:gd name="T2" fmla="*/ 907 w 1469"/>
                    <a:gd name="T3" fmla="*/ 105 h 1162"/>
                    <a:gd name="T4" fmla="*/ 909 w 1469"/>
                    <a:gd name="T5" fmla="*/ 134 h 1162"/>
                    <a:gd name="T6" fmla="*/ 910 w 1469"/>
                    <a:gd name="T7" fmla="*/ 169 h 1162"/>
                    <a:gd name="T8" fmla="*/ 913 w 1469"/>
                    <a:gd name="T9" fmla="*/ 201 h 1162"/>
                    <a:gd name="T10" fmla="*/ 1015 w 1469"/>
                    <a:gd name="T11" fmla="*/ 243 h 1162"/>
                    <a:gd name="T12" fmla="*/ 1040 w 1469"/>
                    <a:gd name="T13" fmla="*/ 224 h 1162"/>
                    <a:gd name="T14" fmla="*/ 1067 w 1469"/>
                    <a:gd name="T15" fmla="*/ 202 h 1162"/>
                    <a:gd name="T16" fmla="*/ 1092 w 1469"/>
                    <a:gd name="T17" fmla="*/ 182 h 1162"/>
                    <a:gd name="T18" fmla="*/ 1107 w 1469"/>
                    <a:gd name="T19" fmla="*/ 170 h 1162"/>
                    <a:gd name="T20" fmla="*/ 1238 w 1469"/>
                    <a:gd name="T21" fmla="*/ 172 h 1162"/>
                    <a:gd name="T22" fmla="*/ 1409 w 1469"/>
                    <a:gd name="T23" fmla="*/ 517 h 1162"/>
                    <a:gd name="T24" fmla="*/ 1401 w 1469"/>
                    <a:gd name="T25" fmla="*/ 524 h 1162"/>
                    <a:gd name="T26" fmla="*/ 1380 w 1469"/>
                    <a:gd name="T27" fmla="*/ 540 h 1162"/>
                    <a:gd name="T28" fmla="*/ 1352 w 1469"/>
                    <a:gd name="T29" fmla="*/ 563 h 1162"/>
                    <a:gd name="T30" fmla="*/ 1322 w 1469"/>
                    <a:gd name="T31" fmla="*/ 588 h 1162"/>
                    <a:gd name="T32" fmla="*/ 1295 w 1469"/>
                    <a:gd name="T33" fmla="*/ 608 h 1162"/>
                    <a:gd name="T34" fmla="*/ 1302 w 1469"/>
                    <a:gd name="T35" fmla="*/ 687 h 1162"/>
                    <a:gd name="T36" fmla="*/ 1331 w 1469"/>
                    <a:gd name="T37" fmla="*/ 705 h 1162"/>
                    <a:gd name="T38" fmla="*/ 1364 w 1469"/>
                    <a:gd name="T39" fmla="*/ 726 h 1162"/>
                    <a:gd name="T40" fmla="*/ 1396 w 1469"/>
                    <a:gd name="T41" fmla="*/ 745 h 1162"/>
                    <a:gd name="T42" fmla="*/ 1422 w 1469"/>
                    <a:gd name="T43" fmla="*/ 762 h 1162"/>
                    <a:gd name="T44" fmla="*/ 1438 w 1469"/>
                    <a:gd name="T45" fmla="*/ 771 h 1162"/>
                    <a:gd name="T46" fmla="*/ 1469 w 1469"/>
                    <a:gd name="T47" fmla="*/ 897 h 1162"/>
                    <a:gd name="T48" fmla="*/ 1195 w 1469"/>
                    <a:gd name="T49" fmla="*/ 1162 h 1162"/>
                    <a:gd name="T50" fmla="*/ 1186 w 1469"/>
                    <a:gd name="T51" fmla="*/ 1157 h 1162"/>
                    <a:gd name="T52" fmla="*/ 1165 w 1469"/>
                    <a:gd name="T53" fmla="*/ 1143 h 1162"/>
                    <a:gd name="T54" fmla="*/ 1135 w 1469"/>
                    <a:gd name="T55" fmla="*/ 1125 h 1162"/>
                    <a:gd name="T56" fmla="*/ 1139 w 1469"/>
                    <a:gd name="T57" fmla="*/ 1021 h 1162"/>
                    <a:gd name="T58" fmla="*/ 973 w 1469"/>
                    <a:gd name="T59" fmla="*/ 817 h 1162"/>
                    <a:gd name="T60" fmla="*/ 999 w 1469"/>
                    <a:gd name="T61" fmla="*/ 742 h 1162"/>
                    <a:gd name="T62" fmla="*/ 1001 w 1469"/>
                    <a:gd name="T63" fmla="*/ 660 h 1162"/>
                    <a:gd name="T64" fmla="*/ 981 w 1469"/>
                    <a:gd name="T65" fmla="*/ 582 h 1162"/>
                    <a:gd name="T66" fmla="*/ 940 w 1469"/>
                    <a:gd name="T67" fmla="*/ 515 h 1162"/>
                    <a:gd name="T68" fmla="*/ 882 w 1469"/>
                    <a:gd name="T69" fmla="*/ 461 h 1162"/>
                    <a:gd name="T70" fmla="*/ 811 w 1469"/>
                    <a:gd name="T71" fmla="*/ 426 h 1162"/>
                    <a:gd name="T72" fmla="*/ 729 w 1469"/>
                    <a:gd name="T73" fmla="*/ 411 h 1162"/>
                    <a:gd name="T74" fmla="*/ 646 w 1469"/>
                    <a:gd name="T75" fmla="*/ 421 h 1162"/>
                    <a:gd name="T76" fmla="*/ 572 w 1469"/>
                    <a:gd name="T77" fmla="*/ 454 h 1162"/>
                    <a:gd name="T78" fmla="*/ 510 w 1469"/>
                    <a:gd name="T79" fmla="*/ 505 h 1162"/>
                    <a:gd name="T80" fmla="*/ 466 w 1469"/>
                    <a:gd name="T81" fmla="*/ 572 h 1162"/>
                    <a:gd name="T82" fmla="*/ 241 w 1469"/>
                    <a:gd name="T83" fmla="*/ 619 h 1162"/>
                    <a:gd name="T84" fmla="*/ 190 w 1469"/>
                    <a:gd name="T85" fmla="*/ 640 h 1162"/>
                    <a:gd name="T86" fmla="*/ 121 w 1469"/>
                    <a:gd name="T87" fmla="*/ 681 h 1162"/>
                    <a:gd name="T88" fmla="*/ 84 w 1469"/>
                    <a:gd name="T89" fmla="*/ 663 h 1162"/>
                    <a:gd name="T90" fmla="*/ 54 w 1469"/>
                    <a:gd name="T91" fmla="*/ 648 h 1162"/>
                    <a:gd name="T92" fmla="*/ 36 w 1469"/>
                    <a:gd name="T93" fmla="*/ 638 h 1162"/>
                    <a:gd name="T94" fmla="*/ 0 w 1469"/>
                    <a:gd name="T95" fmla="*/ 531 h 1162"/>
                    <a:gd name="T96" fmla="*/ 131 w 1469"/>
                    <a:gd name="T97" fmla="*/ 264 h 1162"/>
                    <a:gd name="T98" fmla="*/ 258 w 1469"/>
                    <a:gd name="T99" fmla="*/ 237 h 1162"/>
                    <a:gd name="T100" fmla="*/ 278 w 1469"/>
                    <a:gd name="T101" fmla="*/ 246 h 1162"/>
                    <a:gd name="T102" fmla="*/ 308 w 1469"/>
                    <a:gd name="T103" fmla="*/ 261 h 1162"/>
                    <a:gd name="T104" fmla="*/ 342 w 1469"/>
                    <a:gd name="T105" fmla="*/ 277 h 1162"/>
                    <a:gd name="T106" fmla="*/ 373 w 1469"/>
                    <a:gd name="T107" fmla="*/ 293 h 1162"/>
                    <a:gd name="T108" fmla="*/ 451 w 1469"/>
                    <a:gd name="T109" fmla="*/ 242 h 1162"/>
                    <a:gd name="T110" fmla="*/ 449 w 1469"/>
                    <a:gd name="T111" fmla="*/ 206 h 1162"/>
                    <a:gd name="T112" fmla="*/ 448 w 1469"/>
                    <a:gd name="T113" fmla="*/ 164 h 1162"/>
                    <a:gd name="T114" fmla="*/ 446 w 1469"/>
                    <a:gd name="T115" fmla="*/ 127 h 1162"/>
                    <a:gd name="T116" fmla="*/ 445 w 1469"/>
                    <a:gd name="T117" fmla="*/ 104 h 1162"/>
                    <a:gd name="T118" fmla="*/ 538 w 1469"/>
                    <a:gd name="T119" fmla="*/ 14 h 1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469" h="1162">
                      <a:moveTo>
                        <a:pt x="820" y="0"/>
                      </a:moveTo>
                      <a:lnTo>
                        <a:pt x="907" y="93"/>
                      </a:lnTo>
                      <a:lnTo>
                        <a:pt x="907" y="96"/>
                      </a:lnTo>
                      <a:lnTo>
                        <a:pt x="907" y="105"/>
                      </a:lnTo>
                      <a:lnTo>
                        <a:pt x="908" y="117"/>
                      </a:lnTo>
                      <a:lnTo>
                        <a:pt x="909" y="134"/>
                      </a:lnTo>
                      <a:lnTo>
                        <a:pt x="909" y="151"/>
                      </a:lnTo>
                      <a:lnTo>
                        <a:pt x="910" y="169"/>
                      </a:lnTo>
                      <a:lnTo>
                        <a:pt x="911" y="185"/>
                      </a:lnTo>
                      <a:lnTo>
                        <a:pt x="913" y="201"/>
                      </a:lnTo>
                      <a:lnTo>
                        <a:pt x="966" y="219"/>
                      </a:lnTo>
                      <a:lnTo>
                        <a:pt x="1015" y="243"/>
                      </a:lnTo>
                      <a:lnTo>
                        <a:pt x="1026" y="233"/>
                      </a:lnTo>
                      <a:lnTo>
                        <a:pt x="1040" y="224"/>
                      </a:lnTo>
                      <a:lnTo>
                        <a:pt x="1053" y="213"/>
                      </a:lnTo>
                      <a:lnTo>
                        <a:pt x="1067" y="202"/>
                      </a:lnTo>
                      <a:lnTo>
                        <a:pt x="1081" y="191"/>
                      </a:lnTo>
                      <a:lnTo>
                        <a:pt x="1092" y="182"/>
                      </a:lnTo>
                      <a:lnTo>
                        <a:pt x="1101" y="174"/>
                      </a:lnTo>
                      <a:lnTo>
                        <a:pt x="1107" y="170"/>
                      </a:lnTo>
                      <a:lnTo>
                        <a:pt x="1109" y="168"/>
                      </a:lnTo>
                      <a:lnTo>
                        <a:pt x="1238" y="172"/>
                      </a:lnTo>
                      <a:lnTo>
                        <a:pt x="1414" y="390"/>
                      </a:lnTo>
                      <a:lnTo>
                        <a:pt x="1409" y="517"/>
                      </a:lnTo>
                      <a:lnTo>
                        <a:pt x="1407" y="519"/>
                      </a:lnTo>
                      <a:lnTo>
                        <a:pt x="1401" y="524"/>
                      </a:lnTo>
                      <a:lnTo>
                        <a:pt x="1392" y="532"/>
                      </a:lnTo>
                      <a:lnTo>
                        <a:pt x="1380" y="540"/>
                      </a:lnTo>
                      <a:lnTo>
                        <a:pt x="1367" y="551"/>
                      </a:lnTo>
                      <a:lnTo>
                        <a:pt x="1352" y="563"/>
                      </a:lnTo>
                      <a:lnTo>
                        <a:pt x="1336" y="576"/>
                      </a:lnTo>
                      <a:lnTo>
                        <a:pt x="1322" y="588"/>
                      </a:lnTo>
                      <a:lnTo>
                        <a:pt x="1307" y="599"/>
                      </a:lnTo>
                      <a:lnTo>
                        <a:pt x="1295" y="608"/>
                      </a:lnTo>
                      <a:lnTo>
                        <a:pt x="1300" y="648"/>
                      </a:lnTo>
                      <a:lnTo>
                        <a:pt x="1302" y="687"/>
                      </a:lnTo>
                      <a:lnTo>
                        <a:pt x="1315" y="696"/>
                      </a:lnTo>
                      <a:lnTo>
                        <a:pt x="1331" y="705"/>
                      </a:lnTo>
                      <a:lnTo>
                        <a:pt x="1347" y="716"/>
                      </a:lnTo>
                      <a:lnTo>
                        <a:pt x="1364" y="726"/>
                      </a:lnTo>
                      <a:lnTo>
                        <a:pt x="1380" y="736"/>
                      </a:lnTo>
                      <a:lnTo>
                        <a:pt x="1396" y="745"/>
                      </a:lnTo>
                      <a:lnTo>
                        <a:pt x="1410" y="754"/>
                      </a:lnTo>
                      <a:lnTo>
                        <a:pt x="1422" y="762"/>
                      </a:lnTo>
                      <a:lnTo>
                        <a:pt x="1431" y="767"/>
                      </a:lnTo>
                      <a:lnTo>
                        <a:pt x="1438" y="771"/>
                      </a:lnTo>
                      <a:lnTo>
                        <a:pt x="1440" y="773"/>
                      </a:lnTo>
                      <a:lnTo>
                        <a:pt x="1469" y="897"/>
                      </a:lnTo>
                      <a:lnTo>
                        <a:pt x="1321" y="1134"/>
                      </a:lnTo>
                      <a:lnTo>
                        <a:pt x="1195" y="1162"/>
                      </a:lnTo>
                      <a:lnTo>
                        <a:pt x="1192" y="1161"/>
                      </a:lnTo>
                      <a:lnTo>
                        <a:pt x="1186" y="1157"/>
                      </a:lnTo>
                      <a:lnTo>
                        <a:pt x="1177" y="1150"/>
                      </a:lnTo>
                      <a:lnTo>
                        <a:pt x="1165" y="1143"/>
                      </a:lnTo>
                      <a:lnTo>
                        <a:pt x="1150" y="1135"/>
                      </a:lnTo>
                      <a:lnTo>
                        <a:pt x="1135" y="1125"/>
                      </a:lnTo>
                      <a:lnTo>
                        <a:pt x="1137" y="1050"/>
                      </a:lnTo>
                      <a:lnTo>
                        <a:pt x="1139" y="1021"/>
                      </a:lnTo>
                      <a:lnTo>
                        <a:pt x="1120" y="999"/>
                      </a:lnTo>
                      <a:lnTo>
                        <a:pt x="973" y="817"/>
                      </a:lnTo>
                      <a:lnTo>
                        <a:pt x="989" y="781"/>
                      </a:lnTo>
                      <a:lnTo>
                        <a:pt x="999" y="742"/>
                      </a:lnTo>
                      <a:lnTo>
                        <a:pt x="1003" y="700"/>
                      </a:lnTo>
                      <a:lnTo>
                        <a:pt x="1001" y="660"/>
                      </a:lnTo>
                      <a:lnTo>
                        <a:pt x="993" y="619"/>
                      </a:lnTo>
                      <a:lnTo>
                        <a:pt x="981" y="582"/>
                      </a:lnTo>
                      <a:lnTo>
                        <a:pt x="962" y="547"/>
                      </a:lnTo>
                      <a:lnTo>
                        <a:pt x="940" y="515"/>
                      </a:lnTo>
                      <a:lnTo>
                        <a:pt x="913" y="486"/>
                      </a:lnTo>
                      <a:lnTo>
                        <a:pt x="882" y="461"/>
                      </a:lnTo>
                      <a:lnTo>
                        <a:pt x="847" y="442"/>
                      </a:lnTo>
                      <a:lnTo>
                        <a:pt x="811" y="426"/>
                      </a:lnTo>
                      <a:lnTo>
                        <a:pt x="771" y="415"/>
                      </a:lnTo>
                      <a:lnTo>
                        <a:pt x="729" y="411"/>
                      </a:lnTo>
                      <a:lnTo>
                        <a:pt x="687" y="413"/>
                      </a:lnTo>
                      <a:lnTo>
                        <a:pt x="646" y="421"/>
                      </a:lnTo>
                      <a:lnTo>
                        <a:pt x="607" y="435"/>
                      </a:lnTo>
                      <a:lnTo>
                        <a:pt x="572" y="454"/>
                      </a:lnTo>
                      <a:lnTo>
                        <a:pt x="539" y="477"/>
                      </a:lnTo>
                      <a:lnTo>
                        <a:pt x="510" y="505"/>
                      </a:lnTo>
                      <a:lnTo>
                        <a:pt x="486" y="537"/>
                      </a:lnTo>
                      <a:lnTo>
                        <a:pt x="466" y="572"/>
                      </a:lnTo>
                      <a:lnTo>
                        <a:pt x="450" y="610"/>
                      </a:lnTo>
                      <a:lnTo>
                        <a:pt x="241" y="619"/>
                      </a:lnTo>
                      <a:lnTo>
                        <a:pt x="213" y="622"/>
                      </a:lnTo>
                      <a:lnTo>
                        <a:pt x="190" y="640"/>
                      </a:lnTo>
                      <a:lnTo>
                        <a:pt x="139" y="690"/>
                      </a:lnTo>
                      <a:lnTo>
                        <a:pt x="121" y="681"/>
                      </a:lnTo>
                      <a:lnTo>
                        <a:pt x="103" y="671"/>
                      </a:lnTo>
                      <a:lnTo>
                        <a:pt x="84" y="663"/>
                      </a:lnTo>
                      <a:lnTo>
                        <a:pt x="69" y="654"/>
                      </a:lnTo>
                      <a:lnTo>
                        <a:pt x="54" y="648"/>
                      </a:lnTo>
                      <a:lnTo>
                        <a:pt x="43" y="642"/>
                      </a:lnTo>
                      <a:lnTo>
                        <a:pt x="36" y="638"/>
                      </a:lnTo>
                      <a:lnTo>
                        <a:pt x="33" y="637"/>
                      </a:lnTo>
                      <a:lnTo>
                        <a:pt x="0" y="531"/>
                      </a:lnTo>
                      <a:lnTo>
                        <a:pt x="5" y="513"/>
                      </a:lnTo>
                      <a:lnTo>
                        <a:pt x="131" y="264"/>
                      </a:lnTo>
                      <a:lnTo>
                        <a:pt x="256" y="235"/>
                      </a:lnTo>
                      <a:lnTo>
                        <a:pt x="258" y="237"/>
                      </a:lnTo>
                      <a:lnTo>
                        <a:pt x="266" y="240"/>
                      </a:lnTo>
                      <a:lnTo>
                        <a:pt x="278" y="246"/>
                      </a:lnTo>
                      <a:lnTo>
                        <a:pt x="291" y="253"/>
                      </a:lnTo>
                      <a:lnTo>
                        <a:pt x="308" y="261"/>
                      </a:lnTo>
                      <a:lnTo>
                        <a:pt x="325" y="270"/>
                      </a:lnTo>
                      <a:lnTo>
                        <a:pt x="342" y="277"/>
                      </a:lnTo>
                      <a:lnTo>
                        <a:pt x="359" y="286"/>
                      </a:lnTo>
                      <a:lnTo>
                        <a:pt x="373" y="293"/>
                      </a:lnTo>
                      <a:lnTo>
                        <a:pt x="411" y="266"/>
                      </a:lnTo>
                      <a:lnTo>
                        <a:pt x="451" y="242"/>
                      </a:lnTo>
                      <a:lnTo>
                        <a:pt x="450" y="226"/>
                      </a:lnTo>
                      <a:lnTo>
                        <a:pt x="449" y="206"/>
                      </a:lnTo>
                      <a:lnTo>
                        <a:pt x="448" y="185"/>
                      </a:lnTo>
                      <a:lnTo>
                        <a:pt x="448" y="164"/>
                      </a:lnTo>
                      <a:lnTo>
                        <a:pt x="447" y="145"/>
                      </a:lnTo>
                      <a:lnTo>
                        <a:pt x="446" y="127"/>
                      </a:lnTo>
                      <a:lnTo>
                        <a:pt x="445" y="113"/>
                      </a:lnTo>
                      <a:lnTo>
                        <a:pt x="445" y="104"/>
                      </a:lnTo>
                      <a:lnTo>
                        <a:pt x="445" y="101"/>
                      </a:lnTo>
                      <a:lnTo>
                        <a:pt x="538" y="14"/>
                      </a:lnTo>
                      <a:lnTo>
                        <a:pt x="82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2" name="Freeform 184"/>
                <p:cNvSpPr>
                  <a:spLocks noEditPoints="1"/>
                </p:cNvSpPr>
                <p:nvPr/>
              </p:nvSpPr>
              <p:spPr bwMode="auto">
                <a:xfrm>
                  <a:off x="-820" y="4066"/>
                  <a:ext cx="35" cy="54"/>
                </a:xfrm>
                <a:custGeom>
                  <a:avLst/>
                  <a:gdLst>
                    <a:gd name="T0" fmla="*/ 86 w 207"/>
                    <a:gd name="T1" fmla="*/ 35 h 321"/>
                    <a:gd name="T2" fmla="*/ 60 w 207"/>
                    <a:gd name="T3" fmla="*/ 55 h 321"/>
                    <a:gd name="T4" fmla="*/ 45 w 207"/>
                    <a:gd name="T5" fmla="*/ 96 h 321"/>
                    <a:gd name="T6" fmla="*/ 40 w 207"/>
                    <a:gd name="T7" fmla="*/ 161 h 321"/>
                    <a:gd name="T8" fmla="*/ 43 w 207"/>
                    <a:gd name="T9" fmla="*/ 215 h 321"/>
                    <a:gd name="T10" fmla="*/ 52 w 207"/>
                    <a:gd name="T11" fmla="*/ 251 h 321"/>
                    <a:gd name="T12" fmla="*/ 72 w 207"/>
                    <a:gd name="T13" fmla="*/ 279 h 321"/>
                    <a:gd name="T14" fmla="*/ 104 w 207"/>
                    <a:gd name="T15" fmla="*/ 290 h 321"/>
                    <a:gd name="T16" fmla="*/ 136 w 207"/>
                    <a:gd name="T17" fmla="*/ 279 h 321"/>
                    <a:gd name="T18" fmla="*/ 157 w 207"/>
                    <a:gd name="T19" fmla="*/ 248 h 321"/>
                    <a:gd name="T20" fmla="*/ 166 w 207"/>
                    <a:gd name="T21" fmla="*/ 196 h 321"/>
                    <a:gd name="T22" fmla="*/ 166 w 207"/>
                    <a:gd name="T23" fmla="*/ 132 h 321"/>
                    <a:gd name="T24" fmla="*/ 160 w 207"/>
                    <a:gd name="T25" fmla="*/ 87 h 321"/>
                    <a:gd name="T26" fmla="*/ 148 w 207"/>
                    <a:gd name="T27" fmla="*/ 58 h 321"/>
                    <a:gd name="T28" fmla="*/ 121 w 207"/>
                    <a:gd name="T29" fmla="*/ 35 h 321"/>
                    <a:gd name="T30" fmla="*/ 104 w 207"/>
                    <a:gd name="T31" fmla="*/ 0 h 321"/>
                    <a:gd name="T32" fmla="*/ 148 w 207"/>
                    <a:gd name="T33" fmla="*/ 10 h 321"/>
                    <a:gd name="T34" fmla="*/ 180 w 207"/>
                    <a:gd name="T35" fmla="*/ 40 h 321"/>
                    <a:gd name="T36" fmla="*/ 200 w 207"/>
                    <a:gd name="T37" fmla="*/ 87 h 321"/>
                    <a:gd name="T38" fmla="*/ 206 w 207"/>
                    <a:gd name="T39" fmla="*/ 132 h 321"/>
                    <a:gd name="T40" fmla="*/ 206 w 207"/>
                    <a:gd name="T41" fmla="*/ 195 h 321"/>
                    <a:gd name="T42" fmla="*/ 196 w 207"/>
                    <a:gd name="T43" fmla="*/ 251 h 321"/>
                    <a:gd name="T44" fmla="*/ 175 w 207"/>
                    <a:gd name="T45" fmla="*/ 290 h 321"/>
                    <a:gd name="T46" fmla="*/ 145 w 207"/>
                    <a:gd name="T47" fmla="*/ 314 h 321"/>
                    <a:gd name="T48" fmla="*/ 104 w 207"/>
                    <a:gd name="T49" fmla="*/ 321 h 321"/>
                    <a:gd name="T50" fmla="*/ 62 w 207"/>
                    <a:gd name="T51" fmla="*/ 314 h 321"/>
                    <a:gd name="T52" fmla="*/ 31 w 207"/>
                    <a:gd name="T53" fmla="*/ 290 h 321"/>
                    <a:gd name="T54" fmla="*/ 11 w 207"/>
                    <a:gd name="T55" fmla="*/ 250 h 321"/>
                    <a:gd name="T56" fmla="*/ 1 w 207"/>
                    <a:gd name="T57" fmla="*/ 194 h 321"/>
                    <a:gd name="T58" fmla="*/ 1 w 207"/>
                    <a:gd name="T59" fmla="*/ 126 h 321"/>
                    <a:gd name="T60" fmla="*/ 11 w 207"/>
                    <a:gd name="T61" fmla="*/ 71 h 321"/>
                    <a:gd name="T62" fmla="*/ 32 w 207"/>
                    <a:gd name="T63" fmla="*/ 33 h 321"/>
                    <a:gd name="T64" fmla="*/ 62 w 207"/>
                    <a:gd name="T65" fmla="*/ 9 h 321"/>
                    <a:gd name="T66" fmla="*/ 104 w 207"/>
                    <a:gd name="T67" fmla="*/ 0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07" h="321">
                      <a:moveTo>
                        <a:pt x="103" y="32"/>
                      </a:moveTo>
                      <a:lnTo>
                        <a:pt x="86" y="35"/>
                      </a:lnTo>
                      <a:lnTo>
                        <a:pt x="72" y="42"/>
                      </a:lnTo>
                      <a:lnTo>
                        <a:pt x="60" y="55"/>
                      </a:lnTo>
                      <a:lnTo>
                        <a:pt x="51" y="73"/>
                      </a:lnTo>
                      <a:lnTo>
                        <a:pt x="45" y="96"/>
                      </a:lnTo>
                      <a:lnTo>
                        <a:pt x="41" y="125"/>
                      </a:lnTo>
                      <a:lnTo>
                        <a:pt x="40" y="161"/>
                      </a:lnTo>
                      <a:lnTo>
                        <a:pt x="41" y="190"/>
                      </a:lnTo>
                      <a:lnTo>
                        <a:pt x="43" y="215"/>
                      </a:lnTo>
                      <a:lnTo>
                        <a:pt x="47" y="235"/>
                      </a:lnTo>
                      <a:lnTo>
                        <a:pt x="52" y="251"/>
                      </a:lnTo>
                      <a:lnTo>
                        <a:pt x="59" y="264"/>
                      </a:lnTo>
                      <a:lnTo>
                        <a:pt x="72" y="279"/>
                      </a:lnTo>
                      <a:lnTo>
                        <a:pt x="86" y="287"/>
                      </a:lnTo>
                      <a:lnTo>
                        <a:pt x="104" y="290"/>
                      </a:lnTo>
                      <a:lnTo>
                        <a:pt x="121" y="287"/>
                      </a:lnTo>
                      <a:lnTo>
                        <a:pt x="136" y="279"/>
                      </a:lnTo>
                      <a:lnTo>
                        <a:pt x="148" y="264"/>
                      </a:lnTo>
                      <a:lnTo>
                        <a:pt x="157" y="248"/>
                      </a:lnTo>
                      <a:lnTo>
                        <a:pt x="163" y="225"/>
                      </a:lnTo>
                      <a:lnTo>
                        <a:pt x="166" y="196"/>
                      </a:lnTo>
                      <a:lnTo>
                        <a:pt x="167" y="161"/>
                      </a:lnTo>
                      <a:lnTo>
                        <a:pt x="166" y="132"/>
                      </a:lnTo>
                      <a:lnTo>
                        <a:pt x="164" y="108"/>
                      </a:lnTo>
                      <a:lnTo>
                        <a:pt x="160" y="87"/>
                      </a:lnTo>
                      <a:lnTo>
                        <a:pt x="155" y="70"/>
                      </a:lnTo>
                      <a:lnTo>
                        <a:pt x="148" y="58"/>
                      </a:lnTo>
                      <a:lnTo>
                        <a:pt x="135" y="44"/>
                      </a:lnTo>
                      <a:lnTo>
                        <a:pt x="121" y="35"/>
                      </a:lnTo>
                      <a:lnTo>
                        <a:pt x="103" y="32"/>
                      </a:lnTo>
                      <a:close/>
                      <a:moveTo>
                        <a:pt x="104" y="0"/>
                      </a:moveTo>
                      <a:lnTo>
                        <a:pt x="127" y="3"/>
                      </a:lnTo>
                      <a:lnTo>
                        <a:pt x="148" y="10"/>
                      </a:lnTo>
                      <a:lnTo>
                        <a:pt x="166" y="23"/>
                      </a:lnTo>
                      <a:lnTo>
                        <a:pt x="180" y="40"/>
                      </a:lnTo>
                      <a:lnTo>
                        <a:pt x="191" y="62"/>
                      </a:lnTo>
                      <a:lnTo>
                        <a:pt x="200" y="87"/>
                      </a:lnTo>
                      <a:lnTo>
                        <a:pt x="204" y="108"/>
                      </a:lnTo>
                      <a:lnTo>
                        <a:pt x="206" y="132"/>
                      </a:lnTo>
                      <a:lnTo>
                        <a:pt x="207" y="161"/>
                      </a:lnTo>
                      <a:lnTo>
                        <a:pt x="206" y="195"/>
                      </a:lnTo>
                      <a:lnTo>
                        <a:pt x="202" y="226"/>
                      </a:lnTo>
                      <a:lnTo>
                        <a:pt x="196" y="251"/>
                      </a:lnTo>
                      <a:lnTo>
                        <a:pt x="187" y="272"/>
                      </a:lnTo>
                      <a:lnTo>
                        <a:pt x="175" y="290"/>
                      </a:lnTo>
                      <a:lnTo>
                        <a:pt x="162" y="303"/>
                      </a:lnTo>
                      <a:lnTo>
                        <a:pt x="145" y="314"/>
                      </a:lnTo>
                      <a:lnTo>
                        <a:pt x="125" y="319"/>
                      </a:lnTo>
                      <a:lnTo>
                        <a:pt x="104" y="321"/>
                      </a:lnTo>
                      <a:lnTo>
                        <a:pt x="82" y="319"/>
                      </a:lnTo>
                      <a:lnTo>
                        <a:pt x="62" y="314"/>
                      </a:lnTo>
                      <a:lnTo>
                        <a:pt x="45" y="304"/>
                      </a:lnTo>
                      <a:lnTo>
                        <a:pt x="31" y="290"/>
                      </a:lnTo>
                      <a:lnTo>
                        <a:pt x="20" y="272"/>
                      </a:lnTo>
                      <a:lnTo>
                        <a:pt x="11" y="250"/>
                      </a:lnTo>
                      <a:lnTo>
                        <a:pt x="4" y="224"/>
                      </a:lnTo>
                      <a:lnTo>
                        <a:pt x="1" y="194"/>
                      </a:lnTo>
                      <a:lnTo>
                        <a:pt x="0" y="161"/>
                      </a:lnTo>
                      <a:lnTo>
                        <a:pt x="1" y="126"/>
                      </a:lnTo>
                      <a:lnTo>
                        <a:pt x="4" y="97"/>
                      </a:lnTo>
                      <a:lnTo>
                        <a:pt x="11" y="71"/>
                      </a:lnTo>
                      <a:lnTo>
                        <a:pt x="20" y="51"/>
                      </a:lnTo>
                      <a:lnTo>
                        <a:pt x="32" y="33"/>
                      </a:lnTo>
                      <a:lnTo>
                        <a:pt x="47" y="19"/>
                      </a:lnTo>
                      <a:lnTo>
                        <a:pt x="62" y="9"/>
                      </a:lnTo>
                      <a:lnTo>
                        <a:pt x="82" y="2"/>
                      </a:lnTo>
                      <a:lnTo>
                        <a:pt x="104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3" name="Freeform 185"/>
                <p:cNvSpPr>
                  <a:spLocks/>
                </p:cNvSpPr>
                <p:nvPr/>
              </p:nvSpPr>
              <p:spPr bwMode="auto">
                <a:xfrm>
                  <a:off x="-774" y="4066"/>
                  <a:ext cx="20" cy="53"/>
                </a:xfrm>
                <a:custGeom>
                  <a:avLst/>
                  <a:gdLst>
                    <a:gd name="T0" fmla="*/ 91 w 116"/>
                    <a:gd name="T1" fmla="*/ 0 h 316"/>
                    <a:gd name="T2" fmla="*/ 116 w 116"/>
                    <a:gd name="T3" fmla="*/ 0 h 316"/>
                    <a:gd name="T4" fmla="*/ 116 w 116"/>
                    <a:gd name="T5" fmla="*/ 316 h 316"/>
                    <a:gd name="T6" fmla="*/ 77 w 116"/>
                    <a:gd name="T7" fmla="*/ 316 h 316"/>
                    <a:gd name="T8" fmla="*/ 77 w 116"/>
                    <a:gd name="T9" fmla="*/ 70 h 316"/>
                    <a:gd name="T10" fmla="*/ 61 w 116"/>
                    <a:gd name="T11" fmla="*/ 83 h 316"/>
                    <a:gd name="T12" fmla="*/ 40 w 116"/>
                    <a:gd name="T13" fmla="*/ 97 h 316"/>
                    <a:gd name="T14" fmla="*/ 18 w 116"/>
                    <a:gd name="T15" fmla="*/ 109 h 316"/>
                    <a:gd name="T16" fmla="*/ 0 w 116"/>
                    <a:gd name="T17" fmla="*/ 116 h 316"/>
                    <a:gd name="T18" fmla="*/ 0 w 116"/>
                    <a:gd name="T19" fmla="*/ 79 h 316"/>
                    <a:gd name="T20" fmla="*/ 30 w 116"/>
                    <a:gd name="T21" fmla="*/ 63 h 316"/>
                    <a:gd name="T22" fmla="*/ 57 w 116"/>
                    <a:gd name="T23" fmla="*/ 43 h 316"/>
                    <a:gd name="T24" fmla="*/ 78 w 116"/>
                    <a:gd name="T25" fmla="*/ 21 h 316"/>
                    <a:gd name="T26" fmla="*/ 91 w 116"/>
                    <a:gd name="T27" fmla="*/ 0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6" h="316">
                      <a:moveTo>
                        <a:pt x="91" y="0"/>
                      </a:moveTo>
                      <a:lnTo>
                        <a:pt x="116" y="0"/>
                      </a:lnTo>
                      <a:lnTo>
                        <a:pt x="116" y="316"/>
                      </a:lnTo>
                      <a:lnTo>
                        <a:pt x="77" y="316"/>
                      </a:lnTo>
                      <a:lnTo>
                        <a:pt x="77" y="70"/>
                      </a:lnTo>
                      <a:lnTo>
                        <a:pt x="61" y="83"/>
                      </a:lnTo>
                      <a:lnTo>
                        <a:pt x="40" y="97"/>
                      </a:lnTo>
                      <a:lnTo>
                        <a:pt x="18" y="109"/>
                      </a:lnTo>
                      <a:lnTo>
                        <a:pt x="0" y="116"/>
                      </a:lnTo>
                      <a:lnTo>
                        <a:pt x="0" y="79"/>
                      </a:lnTo>
                      <a:lnTo>
                        <a:pt x="30" y="63"/>
                      </a:lnTo>
                      <a:lnTo>
                        <a:pt x="57" y="43"/>
                      </a:lnTo>
                      <a:lnTo>
                        <a:pt x="78" y="21"/>
                      </a:lnTo>
                      <a:lnTo>
                        <a:pt x="9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4" name="Freeform 186"/>
                <p:cNvSpPr>
                  <a:spLocks noEditPoints="1"/>
                </p:cNvSpPr>
                <p:nvPr/>
              </p:nvSpPr>
              <p:spPr bwMode="auto">
                <a:xfrm>
                  <a:off x="-818" y="4144"/>
                  <a:ext cx="34" cy="54"/>
                </a:xfrm>
                <a:custGeom>
                  <a:avLst/>
                  <a:gdLst>
                    <a:gd name="T0" fmla="*/ 86 w 207"/>
                    <a:gd name="T1" fmla="*/ 35 h 323"/>
                    <a:gd name="T2" fmla="*/ 60 w 207"/>
                    <a:gd name="T3" fmla="*/ 55 h 323"/>
                    <a:gd name="T4" fmla="*/ 44 w 207"/>
                    <a:gd name="T5" fmla="*/ 96 h 323"/>
                    <a:gd name="T6" fmla="*/ 40 w 207"/>
                    <a:gd name="T7" fmla="*/ 162 h 323"/>
                    <a:gd name="T8" fmla="*/ 43 w 207"/>
                    <a:gd name="T9" fmla="*/ 215 h 323"/>
                    <a:gd name="T10" fmla="*/ 51 w 207"/>
                    <a:gd name="T11" fmla="*/ 253 h 323"/>
                    <a:gd name="T12" fmla="*/ 71 w 207"/>
                    <a:gd name="T13" fmla="*/ 279 h 323"/>
                    <a:gd name="T14" fmla="*/ 103 w 207"/>
                    <a:gd name="T15" fmla="*/ 290 h 323"/>
                    <a:gd name="T16" fmla="*/ 135 w 207"/>
                    <a:gd name="T17" fmla="*/ 279 h 323"/>
                    <a:gd name="T18" fmla="*/ 155 w 207"/>
                    <a:gd name="T19" fmla="*/ 253 h 323"/>
                    <a:gd name="T20" fmla="*/ 163 w 207"/>
                    <a:gd name="T21" fmla="*/ 215 h 323"/>
                    <a:gd name="T22" fmla="*/ 167 w 207"/>
                    <a:gd name="T23" fmla="*/ 162 h 323"/>
                    <a:gd name="T24" fmla="*/ 163 w 207"/>
                    <a:gd name="T25" fmla="*/ 108 h 323"/>
                    <a:gd name="T26" fmla="*/ 155 w 207"/>
                    <a:gd name="T27" fmla="*/ 71 h 323"/>
                    <a:gd name="T28" fmla="*/ 135 w 207"/>
                    <a:gd name="T29" fmla="*/ 44 h 323"/>
                    <a:gd name="T30" fmla="*/ 103 w 207"/>
                    <a:gd name="T31" fmla="*/ 32 h 323"/>
                    <a:gd name="T32" fmla="*/ 119 w 207"/>
                    <a:gd name="T33" fmla="*/ 1 h 323"/>
                    <a:gd name="T34" fmla="*/ 148 w 207"/>
                    <a:gd name="T35" fmla="*/ 11 h 323"/>
                    <a:gd name="T36" fmla="*/ 170 w 207"/>
                    <a:gd name="T37" fmla="*/ 29 h 323"/>
                    <a:gd name="T38" fmla="*/ 191 w 207"/>
                    <a:gd name="T39" fmla="*/ 62 h 323"/>
                    <a:gd name="T40" fmla="*/ 203 w 207"/>
                    <a:gd name="T41" fmla="*/ 108 h 323"/>
                    <a:gd name="T42" fmla="*/ 207 w 207"/>
                    <a:gd name="T43" fmla="*/ 162 h 323"/>
                    <a:gd name="T44" fmla="*/ 201 w 207"/>
                    <a:gd name="T45" fmla="*/ 226 h 323"/>
                    <a:gd name="T46" fmla="*/ 186 w 207"/>
                    <a:gd name="T47" fmla="*/ 272 h 323"/>
                    <a:gd name="T48" fmla="*/ 160 w 207"/>
                    <a:gd name="T49" fmla="*/ 303 h 323"/>
                    <a:gd name="T50" fmla="*/ 125 w 207"/>
                    <a:gd name="T51" fmla="*/ 321 h 323"/>
                    <a:gd name="T52" fmla="*/ 82 w 207"/>
                    <a:gd name="T53" fmla="*/ 321 h 323"/>
                    <a:gd name="T54" fmla="*/ 45 w 207"/>
                    <a:gd name="T55" fmla="*/ 304 h 323"/>
                    <a:gd name="T56" fmla="*/ 20 w 207"/>
                    <a:gd name="T57" fmla="*/ 271 h 323"/>
                    <a:gd name="T58" fmla="*/ 4 w 207"/>
                    <a:gd name="T59" fmla="*/ 224 h 323"/>
                    <a:gd name="T60" fmla="*/ 0 w 207"/>
                    <a:gd name="T61" fmla="*/ 162 h 323"/>
                    <a:gd name="T62" fmla="*/ 4 w 207"/>
                    <a:gd name="T63" fmla="*/ 97 h 323"/>
                    <a:gd name="T64" fmla="*/ 20 w 207"/>
                    <a:gd name="T65" fmla="*/ 51 h 323"/>
                    <a:gd name="T66" fmla="*/ 45 w 207"/>
                    <a:gd name="T67" fmla="*/ 19 h 323"/>
                    <a:gd name="T68" fmla="*/ 82 w 207"/>
                    <a:gd name="T69" fmla="*/ 3 h 3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07" h="323">
                      <a:moveTo>
                        <a:pt x="103" y="32"/>
                      </a:moveTo>
                      <a:lnTo>
                        <a:pt x="86" y="35"/>
                      </a:lnTo>
                      <a:lnTo>
                        <a:pt x="72" y="43"/>
                      </a:lnTo>
                      <a:lnTo>
                        <a:pt x="60" y="55"/>
                      </a:lnTo>
                      <a:lnTo>
                        <a:pt x="51" y="73"/>
                      </a:lnTo>
                      <a:lnTo>
                        <a:pt x="44" y="96"/>
                      </a:lnTo>
                      <a:lnTo>
                        <a:pt x="41" y="125"/>
                      </a:lnTo>
                      <a:lnTo>
                        <a:pt x="40" y="162"/>
                      </a:lnTo>
                      <a:lnTo>
                        <a:pt x="41" y="190"/>
                      </a:lnTo>
                      <a:lnTo>
                        <a:pt x="43" y="215"/>
                      </a:lnTo>
                      <a:lnTo>
                        <a:pt x="46" y="236"/>
                      </a:lnTo>
                      <a:lnTo>
                        <a:pt x="51" y="253"/>
                      </a:lnTo>
                      <a:lnTo>
                        <a:pt x="57" y="265"/>
                      </a:lnTo>
                      <a:lnTo>
                        <a:pt x="71" y="279"/>
                      </a:lnTo>
                      <a:lnTo>
                        <a:pt x="86" y="288"/>
                      </a:lnTo>
                      <a:lnTo>
                        <a:pt x="103" y="290"/>
                      </a:lnTo>
                      <a:lnTo>
                        <a:pt x="120" y="288"/>
                      </a:lnTo>
                      <a:lnTo>
                        <a:pt x="135" y="279"/>
                      </a:lnTo>
                      <a:lnTo>
                        <a:pt x="148" y="265"/>
                      </a:lnTo>
                      <a:lnTo>
                        <a:pt x="155" y="253"/>
                      </a:lnTo>
                      <a:lnTo>
                        <a:pt x="160" y="236"/>
                      </a:lnTo>
                      <a:lnTo>
                        <a:pt x="163" y="215"/>
                      </a:lnTo>
                      <a:lnTo>
                        <a:pt x="166" y="190"/>
                      </a:lnTo>
                      <a:lnTo>
                        <a:pt x="167" y="162"/>
                      </a:lnTo>
                      <a:lnTo>
                        <a:pt x="166" y="132"/>
                      </a:lnTo>
                      <a:lnTo>
                        <a:pt x="163" y="108"/>
                      </a:lnTo>
                      <a:lnTo>
                        <a:pt x="160" y="87"/>
                      </a:lnTo>
                      <a:lnTo>
                        <a:pt x="155" y="71"/>
                      </a:lnTo>
                      <a:lnTo>
                        <a:pt x="148" y="58"/>
                      </a:lnTo>
                      <a:lnTo>
                        <a:pt x="135" y="44"/>
                      </a:lnTo>
                      <a:lnTo>
                        <a:pt x="119" y="35"/>
                      </a:lnTo>
                      <a:lnTo>
                        <a:pt x="103" y="32"/>
                      </a:lnTo>
                      <a:close/>
                      <a:moveTo>
                        <a:pt x="103" y="0"/>
                      </a:moveTo>
                      <a:lnTo>
                        <a:pt x="119" y="1"/>
                      </a:lnTo>
                      <a:lnTo>
                        <a:pt x="135" y="5"/>
                      </a:lnTo>
                      <a:lnTo>
                        <a:pt x="148" y="11"/>
                      </a:lnTo>
                      <a:lnTo>
                        <a:pt x="160" y="19"/>
                      </a:lnTo>
                      <a:lnTo>
                        <a:pt x="170" y="29"/>
                      </a:lnTo>
                      <a:lnTo>
                        <a:pt x="179" y="40"/>
                      </a:lnTo>
                      <a:lnTo>
                        <a:pt x="191" y="62"/>
                      </a:lnTo>
                      <a:lnTo>
                        <a:pt x="200" y="87"/>
                      </a:lnTo>
                      <a:lnTo>
                        <a:pt x="203" y="108"/>
                      </a:lnTo>
                      <a:lnTo>
                        <a:pt x="205" y="132"/>
                      </a:lnTo>
                      <a:lnTo>
                        <a:pt x="207" y="162"/>
                      </a:lnTo>
                      <a:lnTo>
                        <a:pt x="205" y="196"/>
                      </a:lnTo>
                      <a:lnTo>
                        <a:pt x="201" y="226"/>
                      </a:lnTo>
                      <a:lnTo>
                        <a:pt x="194" y="250"/>
                      </a:lnTo>
                      <a:lnTo>
                        <a:pt x="186" y="272"/>
                      </a:lnTo>
                      <a:lnTo>
                        <a:pt x="175" y="290"/>
                      </a:lnTo>
                      <a:lnTo>
                        <a:pt x="160" y="303"/>
                      </a:lnTo>
                      <a:lnTo>
                        <a:pt x="145" y="314"/>
                      </a:lnTo>
                      <a:lnTo>
                        <a:pt x="125" y="321"/>
                      </a:lnTo>
                      <a:lnTo>
                        <a:pt x="103" y="323"/>
                      </a:lnTo>
                      <a:lnTo>
                        <a:pt x="82" y="321"/>
                      </a:lnTo>
                      <a:lnTo>
                        <a:pt x="62" y="314"/>
                      </a:lnTo>
                      <a:lnTo>
                        <a:pt x="45" y="304"/>
                      </a:lnTo>
                      <a:lnTo>
                        <a:pt x="31" y="290"/>
                      </a:lnTo>
                      <a:lnTo>
                        <a:pt x="20" y="271"/>
                      </a:lnTo>
                      <a:lnTo>
                        <a:pt x="11" y="250"/>
                      </a:lnTo>
                      <a:lnTo>
                        <a:pt x="4" y="224"/>
                      </a:lnTo>
                      <a:lnTo>
                        <a:pt x="1" y="194"/>
                      </a:lnTo>
                      <a:lnTo>
                        <a:pt x="0" y="162"/>
                      </a:lnTo>
                      <a:lnTo>
                        <a:pt x="1" y="126"/>
                      </a:lnTo>
                      <a:lnTo>
                        <a:pt x="4" y="97"/>
                      </a:lnTo>
                      <a:lnTo>
                        <a:pt x="11" y="72"/>
                      </a:lnTo>
                      <a:lnTo>
                        <a:pt x="20" y="51"/>
                      </a:lnTo>
                      <a:lnTo>
                        <a:pt x="32" y="33"/>
                      </a:lnTo>
                      <a:lnTo>
                        <a:pt x="45" y="19"/>
                      </a:lnTo>
                      <a:lnTo>
                        <a:pt x="62" y="9"/>
                      </a:lnTo>
                      <a:lnTo>
                        <a:pt x="82" y="3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5" name="Freeform 187"/>
                <p:cNvSpPr>
                  <a:spLocks/>
                </p:cNvSpPr>
                <p:nvPr/>
              </p:nvSpPr>
              <p:spPr bwMode="auto">
                <a:xfrm>
                  <a:off x="-772" y="4144"/>
                  <a:ext cx="19" cy="53"/>
                </a:xfrm>
                <a:custGeom>
                  <a:avLst/>
                  <a:gdLst>
                    <a:gd name="T0" fmla="*/ 91 w 116"/>
                    <a:gd name="T1" fmla="*/ 0 h 317"/>
                    <a:gd name="T2" fmla="*/ 116 w 116"/>
                    <a:gd name="T3" fmla="*/ 0 h 317"/>
                    <a:gd name="T4" fmla="*/ 116 w 116"/>
                    <a:gd name="T5" fmla="*/ 317 h 317"/>
                    <a:gd name="T6" fmla="*/ 78 w 116"/>
                    <a:gd name="T7" fmla="*/ 317 h 317"/>
                    <a:gd name="T8" fmla="*/ 78 w 116"/>
                    <a:gd name="T9" fmla="*/ 71 h 317"/>
                    <a:gd name="T10" fmla="*/ 61 w 116"/>
                    <a:gd name="T11" fmla="*/ 84 h 317"/>
                    <a:gd name="T12" fmla="*/ 41 w 116"/>
                    <a:gd name="T13" fmla="*/ 97 h 317"/>
                    <a:gd name="T14" fmla="*/ 19 w 116"/>
                    <a:gd name="T15" fmla="*/ 109 h 317"/>
                    <a:gd name="T16" fmla="*/ 0 w 116"/>
                    <a:gd name="T17" fmla="*/ 117 h 317"/>
                    <a:gd name="T18" fmla="*/ 0 w 116"/>
                    <a:gd name="T19" fmla="*/ 79 h 317"/>
                    <a:gd name="T20" fmla="*/ 30 w 116"/>
                    <a:gd name="T21" fmla="*/ 63 h 317"/>
                    <a:gd name="T22" fmla="*/ 57 w 116"/>
                    <a:gd name="T23" fmla="*/ 42 h 317"/>
                    <a:gd name="T24" fmla="*/ 78 w 116"/>
                    <a:gd name="T25" fmla="*/ 21 h 317"/>
                    <a:gd name="T26" fmla="*/ 91 w 116"/>
                    <a:gd name="T27" fmla="*/ 0 h 3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6" h="317">
                      <a:moveTo>
                        <a:pt x="91" y="0"/>
                      </a:moveTo>
                      <a:lnTo>
                        <a:pt x="116" y="0"/>
                      </a:lnTo>
                      <a:lnTo>
                        <a:pt x="116" y="317"/>
                      </a:lnTo>
                      <a:lnTo>
                        <a:pt x="78" y="317"/>
                      </a:lnTo>
                      <a:lnTo>
                        <a:pt x="78" y="71"/>
                      </a:lnTo>
                      <a:lnTo>
                        <a:pt x="61" y="84"/>
                      </a:lnTo>
                      <a:lnTo>
                        <a:pt x="41" y="97"/>
                      </a:lnTo>
                      <a:lnTo>
                        <a:pt x="19" y="109"/>
                      </a:lnTo>
                      <a:lnTo>
                        <a:pt x="0" y="117"/>
                      </a:lnTo>
                      <a:lnTo>
                        <a:pt x="0" y="79"/>
                      </a:lnTo>
                      <a:lnTo>
                        <a:pt x="30" y="63"/>
                      </a:lnTo>
                      <a:lnTo>
                        <a:pt x="57" y="42"/>
                      </a:lnTo>
                      <a:lnTo>
                        <a:pt x="78" y="21"/>
                      </a:lnTo>
                      <a:lnTo>
                        <a:pt x="9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6" name="Freeform 188"/>
                <p:cNvSpPr>
                  <a:spLocks/>
                </p:cNvSpPr>
                <p:nvPr/>
              </p:nvSpPr>
              <p:spPr bwMode="auto">
                <a:xfrm>
                  <a:off x="-737" y="4144"/>
                  <a:ext cx="20" cy="53"/>
                </a:xfrm>
                <a:custGeom>
                  <a:avLst/>
                  <a:gdLst>
                    <a:gd name="T0" fmla="*/ 91 w 116"/>
                    <a:gd name="T1" fmla="*/ 0 h 317"/>
                    <a:gd name="T2" fmla="*/ 116 w 116"/>
                    <a:gd name="T3" fmla="*/ 0 h 317"/>
                    <a:gd name="T4" fmla="*/ 116 w 116"/>
                    <a:gd name="T5" fmla="*/ 317 h 317"/>
                    <a:gd name="T6" fmla="*/ 77 w 116"/>
                    <a:gd name="T7" fmla="*/ 317 h 317"/>
                    <a:gd name="T8" fmla="*/ 77 w 116"/>
                    <a:gd name="T9" fmla="*/ 71 h 317"/>
                    <a:gd name="T10" fmla="*/ 62 w 116"/>
                    <a:gd name="T11" fmla="*/ 84 h 317"/>
                    <a:gd name="T12" fmla="*/ 41 w 116"/>
                    <a:gd name="T13" fmla="*/ 97 h 317"/>
                    <a:gd name="T14" fmla="*/ 18 w 116"/>
                    <a:gd name="T15" fmla="*/ 109 h 317"/>
                    <a:gd name="T16" fmla="*/ 0 w 116"/>
                    <a:gd name="T17" fmla="*/ 117 h 317"/>
                    <a:gd name="T18" fmla="*/ 0 w 116"/>
                    <a:gd name="T19" fmla="*/ 79 h 317"/>
                    <a:gd name="T20" fmla="*/ 31 w 116"/>
                    <a:gd name="T21" fmla="*/ 63 h 317"/>
                    <a:gd name="T22" fmla="*/ 57 w 116"/>
                    <a:gd name="T23" fmla="*/ 42 h 317"/>
                    <a:gd name="T24" fmla="*/ 78 w 116"/>
                    <a:gd name="T25" fmla="*/ 21 h 317"/>
                    <a:gd name="T26" fmla="*/ 91 w 116"/>
                    <a:gd name="T27" fmla="*/ 0 h 3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6" h="317">
                      <a:moveTo>
                        <a:pt x="91" y="0"/>
                      </a:moveTo>
                      <a:lnTo>
                        <a:pt x="116" y="0"/>
                      </a:lnTo>
                      <a:lnTo>
                        <a:pt x="116" y="317"/>
                      </a:lnTo>
                      <a:lnTo>
                        <a:pt x="77" y="317"/>
                      </a:lnTo>
                      <a:lnTo>
                        <a:pt x="77" y="71"/>
                      </a:lnTo>
                      <a:lnTo>
                        <a:pt x="62" y="84"/>
                      </a:lnTo>
                      <a:lnTo>
                        <a:pt x="41" y="97"/>
                      </a:lnTo>
                      <a:lnTo>
                        <a:pt x="18" y="109"/>
                      </a:lnTo>
                      <a:lnTo>
                        <a:pt x="0" y="117"/>
                      </a:lnTo>
                      <a:lnTo>
                        <a:pt x="0" y="79"/>
                      </a:lnTo>
                      <a:lnTo>
                        <a:pt x="31" y="63"/>
                      </a:lnTo>
                      <a:lnTo>
                        <a:pt x="57" y="42"/>
                      </a:lnTo>
                      <a:lnTo>
                        <a:pt x="78" y="21"/>
                      </a:lnTo>
                      <a:lnTo>
                        <a:pt x="9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7" name="Freeform 189"/>
                <p:cNvSpPr>
                  <a:spLocks noEditPoints="1"/>
                </p:cNvSpPr>
                <p:nvPr/>
              </p:nvSpPr>
              <p:spPr bwMode="auto">
                <a:xfrm>
                  <a:off x="-701" y="4144"/>
                  <a:ext cx="35" cy="54"/>
                </a:xfrm>
                <a:custGeom>
                  <a:avLst/>
                  <a:gdLst>
                    <a:gd name="T0" fmla="*/ 87 w 207"/>
                    <a:gd name="T1" fmla="*/ 35 h 323"/>
                    <a:gd name="T2" fmla="*/ 60 w 207"/>
                    <a:gd name="T3" fmla="*/ 55 h 323"/>
                    <a:gd name="T4" fmla="*/ 46 w 207"/>
                    <a:gd name="T5" fmla="*/ 96 h 323"/>
                    <a:gd name="T6" fmla="*/ 40 w 207"/>
                    <a:gd name="T7" fmla="*/ 162 h 323"/>
                    <a:gd name="T8" fmla="*/ 44 w 207"/>
                    <a:gd name="T9" fmla="*/ 215 h 323"/>
                    <a:gd name="T10" fmla="*/ 52 w 207"/>
                    <a:gd name="T11" fmla="*/ 253 h 323"/>
                    <a:gd name="T12" fmla="*/ 72 w 207"/>
                    <a:gd name="T13" fmla="*/ 279 h 323"/>
                    <a:gd name="T14" fmla="*/ 103 w 207"/>
                    <a:gd name="T15" fmla="*/ 290 h 323"/>
                    <a:gd name="T16" fmla="*/ 135 w 207"/>
                    <a:gd name="T17" fmla="*/ 279 h 323"/>
                    <a:gd name="T18" fmla="*/ 155 w 207"/>
                    <a:gd name="T19" fmla="*/ 253 h 323"/>
                    <a:gd name="T20" fmla="*/ 164 w 207"/>
                    <a:gd name="T21" fmla="*/ 215 h 323"/>
                    <a:gd name="T22" fmla="*/ 167 w 207"/>
                    <a:gd name="T23" fmla="*/ 162 h 323"/>
                    <a:gd name="T24" fmla="*/ 164 w 207"/>
                    <a:gd name="T25" fmla="*/ 108 h 323"/>
                    <a:gd name="T26" fmla="*/ 155 w 207"/>
                    <a:gd name="T27" fmla="*/ 71 h 323"/>
                    <a:gd name="T28" fmla="*/ 135 w 207"/>
                    <a:gd name="T29" fmla="*/ 44 h 323"/>
                    <a:gd name="T30" fmla="*/ 103 w 207"/>
                    <a:gd name="T31" fmla="*/ 32 h 323"/>
                    <a:gd name="T32" fmla="*/ 128 w 207"/>
                    <a:gd name="T33" fmla="*/ 4 h 323"/>
                    <a:gd name="T34" fmla="*/ 166 w 207"/>
                    <a:gd name="T35" fmla="*/ 23 h 323"/>
                    <a:gd name="T36" fmla="*/ 192 w 207"/>
                    <a:gd name="T37" fmla="*/ 62 h 323"/>
                    <a:gd name="T38" fmla="*/ 204 w 207"/>
                    <a:gd name="T39" fmla="*/ 108 h 323"/>
                    <a:gd name="T40" fmla="*/ 207 w 207"/>
                    <a:gd name="T41" fmla="*/ 162 h 323"/>
                    <a:gd name="T42" fmla="*/ 203 w 207"/>
                    <a:gd name="T43" fmla="*/ 226 h 323"/>
                    <a:gd name="T44" fmla="*/ 187 w 207"/>
                    <a:gd name="T45" fmla="*/ 272 h 323"/>
                    <a:gd name="T46" fmla="*/ 162 w 207"/>
                    <a:gd name="T47" fmla="*/ 303 h 323"/>
                    <a:gd name="T48" fmla="*/ 125 w 207"/>
                    <a:gd name="T49" fmla="*/ 321 h 323"/>
                    <a:gd name="T50" fmla="*/ 82 w 207"/>
                    <a:gd name="T51" fmla="*/ 321 h 323"/>
                    <a:gd name="T52" fmla="*/ 46 w 207"/>
                    <a:gd name="T53" fmla="*/ 304 h 323"/>
                    <a:gd name="T54" fmla="*/ 20 w 207"/>
                    <a:gd name="T55" fmla="*/ 272 h 323"/>
                    <a:gd name="T56" fmla="*/ 6 w 207"/>
                    <a:gd name="T57" fmla="*/ 224 h 323"/>
                    <a:gd name="T58" fmla="*/ 0 w 207"/>
                    <a:gd name="T59" fmla="*/ 162 h 323"/>
                    <a:gd name="T60" fmla="*/ 6 w 207"/>
                    <a:gd name="T61" fmla="*/ 97 h 323"/>
                    <a:gd name="T62" fmla="*/ 21 w 207"/>
                    <a:gd name="T63" fmla="*/ 51 h 323"/>
                    <a:gd name="T64" fmla="*/ 47 w 207"/>
                    <a:gd name="T65" fmla="*/ 19 h 323"/>
                    <a:gd name="T66" fmla="*/ 82 w 207"/>
                    <a:gd name="T67" fmla="*/ 3 h 3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07" h="323">
                      <a:moveTo>
                        <a:pt x="103" y="32"/>
                      </a:moveTo>
                      <a:lnTo>
                        <a:pt x="87" y="35"/>
                      </a:lnTo>
                      <a:lnTo>
                        <a:pt x="72" y="43"/>
                      </a:lnTo>
                      <a:lnTo>
                        <a:pt x="60" y="55"/>
                      </a:lnTo>
                      <a:lnTo>
                        <a:pt x="51" y="73"/>
                      </a:lnTo>
                      <a:lnTo>
                        <a:pt x="46" y="96"/>
                      </a:lnTo>
                      <a:lnTo>
                        <a:pt x="41" y="125"/>
                      </a:lnTo>
                      <a:lnTo>
                        <a:pt x="40" y="162"/>
                      </a:lnTo>
                      <a:lnTo>
                        <a:pt x="41" y="190"/>
                      </a:lnTo>
                      <a:lnTo>
                        <a:pt x="44" y="215"/>
                      </a:lnTo>
                      <a:lnTo>
                        <a:pt x="47" y="236"/>
                      </a:lnTo>
                      <a:lnTo>
                        <a:pt x="52" y="253"/>
                      </a:lnTo>
                      <a:lnTo>
                        <a:pt x="59" y="265"/>
                      </a:lnTo>
                      <a:lnTo>
                        <a:pt x="72" y="279"/>
                      </a:lnTo>
                      <a:lnTo>
                        <a:pt x="87" y="288"/>
                      </a:lnTo>
                      <a:lnTo>
                        <a:pt x="103" y="290"/>
                      </a:lnTo>
                      <a:lnTo>
                        <a:pt x="121" y="288"/>
                      </a:lnTo>
                      <a:lnTo>
                        <a:pt x="135" y="279"/>
                      </a:lnTo>
                      <a:lnTo>
                        <a:pt x="149" y="265"/>
                      </a:lnTo>
                      <a:lnTo>
                        <a:pt x="155" y="253"/>
                      </a:lnTo>
                      <a:lnTo>
                        <a:pt x="161" y="236"/>
                      </a:lnTo>
                      <a:lnTo>
                        <a:pt x="164" y="215"/>
                      </a:lnTo>
                      <a:lnTo>
                        <a:pt x="166" y="190"/>
                      </a:lnTo>
                      <a:lnTo>
                        <a:pt x="167" y="162"/>
                      </a:lnTo>
                      <a:lnTo>
                        <a:pt x="166" y="132"/>
                      </a:lnTo>
                      <a:lnTo>
                        <a:pt x="164" y="108"/>
                      </a:lnTo>
                      <a:lnTo>
                        <a:pt x="161" y="87"/>
                      </a:lnTo>
                      <a:lnTo>
                        <a:pt x="155" y="71"/>
                      </a:lnTo>
                      <a:lnTo>
                        <a:pt x="149" y="58"/>
                      </a:lnTo>
                      <a:lnTo>
                        <a:pt x="135" y="44"/>
                      </a:lnTo>
                      <a:lnTo>
                        <a:pt x="121" y="35"/>
                      </a:lnTo>
                      <a:lnTo>
                        <a:pt x="103" y="32"/>
                      </a:lnTo>
                      <a:close/>
                      <a:moveTo>
                        <a:pt x="103" y="0"/>
                      </a:moveTo>
                      <a:lnTo>
                        <a:pt x="128" y="4"/>
                      </a:lnTo>
                      <a:lnTo>
                        <a:pt x="149" y="11"/>
                      </a:lnTo>
                      <a:lnTo>
                        <a:pt x="166" y="23"/>
                      </a:lnTo>
                      <a:lnTo>
                        <a:pt x="181" y="40"/>
                      </a:lnTo>
                      <a:lnTo>
                        <a:pt x="192" y="62"/>
                      </a:lnTo>
                      <a:lnTo>
                        <a:pt x="201" y="87"/>
                      </a:lnTo>
                      <a:lnTo>
                        <a:pt x="204" y="108"/>
                      </a:lnTo>
                      <a:lnTo>
                        <a:pt x="206" y="133"/>
                      </a:lnTo>
                      <a:lnTo>
                        <a:pt x="207" y="162"/>
                      </a:lnTo>
                      <a:lnTo>
                        <a:pt x="206" y="196"/>
                      </a:lnTo>
                      <a:lnTo>
                        <a:pt x="203" y="226"/>
                      </a:lnTo>
                      <a:lnTo>
                        <a:pt x="196" y="251"/>
                      </a:lnTo>
                      <a:lnTo>
                        <a:pt x="187" y="272"/>
                      </a:lnTo>
                      <a:lnTo>
                        <a:pt x="175" y="290"/>
                      </a:lnTo>
                      <a:lnTo>
                        <a:pt x="162" y="303"/>
                      </a:lnTo>
                      <a:lnTo>
                        <a:pt x="145" y="314"/>
                      </a:lnTo>
                      <a:lnTo>
                        <a:pt x="125" y="321"/>
                      </a:lnTo>
                      <a:lnTo>
                        <a:pt x="103" y="323"/>
                      </a:lnTo>
                      <a:lnTo>
                        <a:pt x="82" y="321"/>
                      </a:lnTo>
                      <a:lnTo>
                        <a:pt x="62" y="314"/>
                      </a:lnTo>
                      <a:lnTo>
                        <a:pt x="46" y="304"/>
                      </a:lnTo>
                      <a:lnTo>
                        <a:pt x="31" y="290"/>
                      </a:lnTo>
                      <a:lnTo>
                        <a:pt x="20" y="272"/>
                      </a:lnTo>
                      <a:lnTo>
                        <a:pt x="11" y="250"/>
                      </a:lnTo>
                      <a:lnTo>
                        <a:pt x="6" y="224"/>
                      </a:lnTo>
                      <a:lnTo>
                        <a:pt x="2" y="194"/>
                      </a:lnTo>
                      <a:lnTo>
                        <a:pt x="0" y="162"/>
                      </a:lnTo>
                      <a:lnTo>
                        <a:pt x="2" y="126"/>
                      </a:lnTo>
                      <a:lnTo>
                        <a:pt x="6" y="97"/>
                      </a:lnTo>
                      <a:lnTo>
                        <a:pt x="11" y="72"/>
                      </a:lnTo>
                      <a:lnTo>
                        <a:pt x="21" y="51"/>
                      </a:lnTo>
                      <a:lnTo>
                        <a:pt x="32" y="33"/>
                      </a:lnTo>
                      <a:lnTo>
                        <a:pt x="47" y="19"/>
                      </a:lnTo>
                      <a:lnTo>
                        <a:pt x="62" y="9"/>
                      </a:lnTo>
                      <a:lnTo>
                        <a:pt x="82" y="3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8" name="Freeform 190"/>
                <p:cNvSpPr>
                  <a:spLocks noEditPoints="1"/>
                </p:cNvSpPr>
                <p:nvPr/>
              </p:nvSpPr>
              <p:spPr bwMode="auto">
                <a:xfrm>
                  <a:off x="-818" y="4232"/>
                  <a:ext cx="34" cy="54"/>
                </a:xfrm>
                <a:custGeom>
                  <a:avLst/>
                  <a:gdLst>
                    <a:gd name="T0" fmla="*/ 86 w 207"/>
                    <a:gd name="T1" fmla="*/ 34 h 321"/>
                    <a:gd name="T2" fmla="*/ 60 w 207"/>
                    <a:gd name="T3" fmla="*/ 55 h 321"/>
                    <a:gd name="T4" fmla="*/ 44 w 207"/>
                    <a:gd name="T5" fmla="*/ 95 h 321"/>
                    <a:gd name="T6" fmla="*/ 40 w 207"/>
                    <a:gd name="T7" fmla="*/ 160 h 321"/>
                    <a:gd name="T8" fmla="*/ 43 w 207"/>
                    <a:gd name="T9" fmla="*/ 214 h 321"/>
                    <a:gd name="T10" fmla="*/ 51 w 207"/>
                    <a:gd name="T11" fmla="*/ 251 h 321"/>
                    <a:gd name="T12" fmla="*/ 71 w 207"/>
                    <a:gd name="T13" fmla="*/ 277 h 321"/>
                    <a:gd name="T14" fmla="*/ 103 w 207"/>
                    <a:gd name="T15" fmla="*/ 289 h 321"/>
                    <a:gd name="T16" fmla="*/ 135 w 207"/>
                    <a:gd name="T17" fmla="*/ 277 h 321"/>
                    <a:gd name="T18" fmla="*/ 156 w 207"/>
                    <a:gd name="T19" fmla="*/ 247 h 321"/>
                    <a:gd name="T20" fmla="*/ 166 w 207"/>
                    <a:gd name="T21" fmla="*/ 195 h 321"/>
                    <a:gd name="T22" fmla="*/ 166 w 207"/>
                    <a:gd name="T23" fmla="*/ 131 h 321"/>
                    <a:gd name="T24" fmla="*/ 160 w 207"/>
                    <a:gd name="T25" fmla="*/ 85 h 321"/>
                    <a:gd name="T26" fmla="*/ 148 w 207"/>
                    <a:gd name="T27" fmla="*/ 57 h 321"/>
                    <a:gd name="T28" fmla="*/ 119 w 207"/>
                    <a:gd name="T29" fmla="*/ 34 h 321"/>
                    <a:gd name="T30" fmla="*/ 103 w 207"/>
                    <a:gd name="T31" fmla="*/ 0 h 321"/>
                    <a:gd name="T32" fmla="*/ 135 w 207"/>
                    <a:gd name="T33" fmla="*/ 4 h 321"/>
                    <a:gd name="T34" fmla="*/ 166 w 207"/>
                    <a:gd name="T35" fmla="*/ 22 h 321"/>
                    <a:gd name="T36" fmla="*/ 191 w 207"/>
                    <a:gd name="T37" fmla="*/ 60 h 321"/>
                    <a:gd name="T38" fmla="*/ 203 w 207"/>
                    <a:gd name="T39" fmla="*/ 106 h 321"/>
                    <a:gd name="T40" fmla="*/ 207 w 207"/>
                    <a:gd name="T41" fmla="*/ 160 h 321"/>
                    <a:gd name="T42" fmla="*/ 201 w 207"/>
                    <a:gd name="T43" fmla="*/ 225 h 321"/>
                    <a:gd name="T44" fmla="*/ 186 w 207"/>
                    <a:gd name="T45" fmla="*/ 271 h 321"/>
                    <a:gd name="T46" fmla="*/ 160 w 207"/>
                    <a:gd name="T47" fmla="*/ 302 h 321"/>
                    <a:gd name="T48" fmla="*/ 125 w 207"/>
                    <a:gd name="T49" fmla="*/ 319 h 321"/>
                    <a:gd name="T50" fmla="*/ 82 w 207"/>
                    <a:gd name="T51" fmla="*/ 319 h 321"/>
                    <a:gd name="T52" fmla="*/ 45 w 207"/>
                    <a:gd name="T53" fmla="*/ 302 h 321"/>
                    <a:gd name="T54" fmla="*/ 20 w 207"/>
                    <a:gd name="T55" fmla="*/ 271 h 321"/>
                    <a:gd name="T56" fmla="*/ 4 w 207"/>
                    <a:gd name="T57" fmla="*/ 223 h 321"/>
                    <a:gd name="T58" fmla="*/ 0 w 207"/>
                    <a:gd name="T59" fmla="*/ 160 h 321"/>
                    <a:gd name="T60" fmla="*/ 4 w 207"/>
                    <a:gd name="T61" fmla="*/ 95 h 321"/>
                    <a:gd name="T62" fmla="*/ 20 w 207"/>
                    <a:gd name="T63" fmla="*/ 49 h 321"/>
                    <a:gd name="T64" fmla="*/ 45 w 207"/>
                    <a:gd name="T65" fmla="*/ 17 h 321"/>
                    <a:gd name="T66" fmla="*/ 82 w 207"/>
                    <a:gd name="T67" fmla="*/ 2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07" h="321">
                      <a:moveTo>
                        <a:pt x="103" y="32"/>
                      </a:moveTo>
                      <a:lnTo>
                        <a:pt x="86" y="34"/>
                      </a:lnTo>
                      <a:lnTo>
                        <a:pt x="72" y="42"/>
                      </a:lnTo>
                      <a:lnTo>
                        <a:pt x="60" y="55"/>
                      </a:lnTo>
                      <a:lnTo>
                        <a:pt x="51" y="71"/>
                      </a:lnTo>
                      <a:lnTo>
                        <a:pt x="44" y="95"/>
                      </a:lnTo>
                      <a:lnTo>
                        <a:pt x="41" y="125"/>
                      </a:lnTo>
                      <a:lnTo>
                        <a:pt x="40" y="160"/>
                      </a:lnTo>
                      <a:lnTo>
                        <a:pt x="41" y="190"/>
                      </a:lnTo>
                      <a:lnTo>
                        <a:pt x="43" y="214"/>
                      </a:lnTo>
                      <a:lnTo>
                        <a:pt x="46" y="234"/>
                      </a:lnTo>
                      <a:lnTo>
                        <a:pt x="51" y="251"/>
                      </a:lnTo>
                      <a:lnTo>
                        <a:pt x="57" y="263"/>
                      </a:lnTo>
                      <a:lnTo>
                        <a:pt x="71" y="277"/>
                      </a:lnTo>
                      <a:lnTo>
                        <a:pt x="86" y="286"/>
                      </a:lnTo>
                      <a:lnTo>
                        <a:pt x="103" y="289"/>
                      </a:lnTo>
                      <a:lnTo>
                        <a:pt x="120" y="286"/>
                      </a:lnTo>
                      <a:lnTo>
                        <a:pt x="135" y="277"/>
                      </a:lnTo>
                      <a:lnTo>
                        <a:pt x="148" y="263"/>
                      </a:lnTo>
                      <a:lnTo>
                        <a:pt x="156" y="247"/>
                      </a:lnTo>
                      <a:lnTo>
                        <a:pt x="161" y="225"/>
                      </a:lnTo>
                      <a:lnTo>
                        <a:pt x="166" y="195"/>
                      </a:lnTo>
                      <a:lnTo>
                        <a:pt x="167" y="160"/>
                      </a:lnTo>
                      <a:lnTo>
                        <a:pt x="166" y="131"/>
                      </a:lnTo>
                      <a:lnTo>
                        <a:pt x="163" y="106"/>
                      </a:lnTo>
                      <a:lnTo>
                        <a:pt x="160" y="85"/>
                      </a:lnTo>
                      <a:lnTo>
                        <a:pt x="155" y="69"/>
                      </a:lnTo>
                      <a:lnTo>
                        <a:pt x="148" y="57"/>
                      </a:lnTo>
                      <a:lnTo>
                        <a:pt x="135" y="43"/>
                      </a:lnTo>
                      <a:lnTo>
                        <a:pt x="119" y="34"/>
                      </a:lnTo>
                      <a:lnTo>
                        <a:pt x="103" y="32"/>
                      </a:lnTo>
                      <a:close/>
                      <a:moveTo>
                        <a:pt x="103" y="0"/>
                      </a:moveTo>
                      <a:lnTo>
                        <a:pt x="119" y="1"/>
                      </a:lnTo>
                      <a:lnTo>
                        <a:pt x="135" y="4"/>
                      </a:lnTo>
                      <a:lnTo>
                        <a:pt x="148" y="10"/>
                      </a:lnTo>
                      <a:lnTo>
                        <a:pt x="166" y="22"/>
                      </a:lnTo>
                      <a:lnTo>
                        <a:pt x="179" y="39"/>
                      </a:lnTo>
                      <a:lnTo>
                        <a:pt x="191" y="60"/>
                      </a:lnTo>
                      <a:lnTo>
                        <a:pt x="200" y="85"/>
                      </a:lnTo>
                      <a:lnTo>
                        <a:pt x="203" y="106"/>
                      </a:lnTo>
                      <a:lnTo>
                        <a:pt x="205" y="131"/>
                      </a:lnTo>
                      <a:lnTo>
                        <a:pt x="207" y="160"/>
                      </a:lnTo>
                      <a:lnTo>
                        <a:pt x="205" y="195"/>
                      </a:lnTo>
                      <a:lnTo>
                        <a:pt x="201" y="225"/>
                      </a:lnTo>
                      <a:lnTo>
                        <a:pt x="194" y="250"/>
                      </a:lnTo>
                      <a:lnTo>
                        <a:pt x="186" y="271"/>
                      </a:lnTo>
                      <a:lnTo>
                        <a:pt x="175" y="288"/>
                      </a:lnTo>
                      <a:lnTo>
                        <a:pt x="160" y="302"/>
                      </a:lnTo>
                      <a:lnTo>
                        <a:pt x="145" y="312"/>
                      </a:lnTo>
                      <a:lnTo>
                        <a:pt x="125" y="319"/>
                      </a:lnTo>
                      <a:lnTo>
                        <a:pt x="103" y="321"/>
                      </a:lnTo>
                      <a:lnTo>
                        <a:pt x="82" y="319"/>
                      </a:lnTo>
                      <a:lnTo>
                        <a:pt x="62" y="312"/>
                      </a:lnTo>
                      <a:lnTo>
                        <a:pt x="45" y="302"/>
                      </a:lnTo>
                      <a:lnTo>
                        <a:pt x="31" y="288"/>
                      </a:lnTo>
                      <a:lnTo>
                        <a:pt x="20" y="271"/>
                      </a:lnTo>
                      <a:lnTo>
                        <a:pt x="11" y="249"/>
                      </a:lnTo>
                      <a:lnTo>
                        <a:pt x="4" y="223"/>
                      </a:lnTo>
                      <a:lnTo>
                        <a:pt x="1" y="194"/>
                      </a:lnTo>
                      <a:lnTo>
                        <a:pt x="0" y="160"/>
                      </a:lnTo>
                      <a:lnTo>
                        <a:pt x="1" y="125"/>
                      </a:lnTo>
                      <a:lnTo>
                        <a:pt x="4" y="95"/>
                      </a:lnTo>
                      <a:lnTo>
                        <a:pt x="11" y="70"/>
                      </a:lnTo>
                      <a:lnTo>
                        <a:pt x="20" y="49"/>
                      </a:lnTo>
                      <a:lnTo>
                        <a:pt x="32" y="32"/>
                      </a:lnTo>
                      <a:lnTo>
                        <a:pt x="45" y="17"/>
                      </a:lnTo>
                      <a:lnTo>
                        <a:pt x="62" y="8"/>
                      </a:lnTo>
                      <a:lnTo>
                        <a:pt x="82" y="2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9" name="Freeform 191"/>
                <p:cNvSpPr>
                  <a:spLocks noEditPoints="1"/>
                </p:cNvSpPr>
                <p:nvPr/>
              </p:nvSpPr>
              <p:spPr bwMode="auto">
                <a:xfrm>
                  <a:off x="-777" y="4232"/>
                  <a:ext cx="34" cy="54"/>
                </a:xfrm>
                <a:custGeom>
                  <a:avLst/>
                  <a:gdLst>
                    <a:gd name="T0" fmla="*/ 87 w 207"/>
                    <a:gd name="T1" fmla="*/ 34 h 321"/>
                    <a:gd name="T2" fmla="*/ 60 w 207"/>
                    <a:gd name="T3" fmla="*/ 55 h 321"/>
                    <a:gd name="T4" fmla="*/ 45 w 207"/>
                    <a:gd name="T5" fmla="*/ 95 h 321"/>
                    <a:gd name="T6" fmla="*/ 40 w 207"/>
                    <a:gd name="T7" fmla="*/ 160 h 321"/>
                    <a:gd name="T8" fmla="*/ 44 w 207"/>
                    <a:gd name="T9" fmla="*/ 214 h 321"/>
                    <a:gd name="T10" fmla="*/ 51 w 207"/>
                    <a:gd name="T11" fmla="*/ 251 h 321"/>
                    <a:gd name="T12" fmla="*/ 71 w 207"/>
                    <a:gd name="T13" fmla="*/ 277 h 321"/>
                    <a:gd name="T14" fmla="*/ 103 w 207"/>
                    <a:gd name="T15" fmla="*/ 289 h 321"/>
                    <a:gd name="T16" fmla="*/ 135 w 207"/>
                    <a:gd name="T17" fmla="*/ 277 h 321"/>
                    <a:gd name="T18" fmla="*/ 156 w 207"/>
                    <a:gd name="T19" fmla="*/ 247 h 321"/>
                    <a:gd name="T20" fmla="*/ 166 w 207"/>
                    <a:gd name="T21" fmla="*/ 195 h 321"/>
                    <a:gd name="T22" fmla="*/ 166 w 207"/>
                    <a:gd name="T23" fmla="*/ 131 h 321"/>
                    <a:gd name="T24" fmla="*/ 161 w 207"/>
                    <a:gd name="T25" fmla="*/ 85 h 321"/>
                    <a:gd name="T26" fmla="*/ 149 w 207"/>
                    <a:gd name="T27" fmla="*/ 57 h 321"/>
                    <a:gd name="T28" fmla="*/ 121 w 207"/>
                    <a:gd name="T29" fmla="*/ 34 h 321"/>
                    <a:gd name="T30" fmla="*/ 103 w 207"/>
                    <a:gd name="T31" fmla="*/ 0 h 321"/>
                    <a:gd name="T32" fmla="*/ 149 w 207"/>
                    <a:gd name="T33" fmla="*/ 10 h 321"/>
                    <a:gd name="T34" fmla="*/ 181 w 207"/>
                    <a:gd name="T35" fmla="*/ 39 h 321"/>
                    <a:gd name="T36" fmla="*/ 199 w 207"/>
                    <a:gd name="T37" fmla="*/ 85 h 321"/>
                    <a:gd name="T38" fmla="*/ 206 w 207"/>
                    <a:gd name="T39" fmla="*/ 131 h 321"/>
                    <a:gd name="T40" fmla="*/ 206 w 207"/>
                    <a:gd name="T41" fmla="*/ 195 h 321"/>
                    <a:gd name="T42" fmla="*/ 195 w 207"/>
                    <a:gd name="T43" fmla="*/ 250 h 321"/>
                    <a:gd name="T44" fmla="*/ 175 w 207"/>
                    <a:gd name="T45" fmla="*/ 288 h 321"/>
                    <a:gd name="T46" fmla="*/ 144 w 207"/>
                    <a:gd name="T47" fmla="*/ 312 h 321"/>
                    <a:gd name="T48" fmla="*/ 103 w 207"/>
                    <a:gd name="T49" fmla="*/ 321 h 321"/>
                    <a:gd name="T50" fmla="*/ 62 w 207"/>
                    <a:gd name="T51" fmla="*/ 312 h 321"/>
                    <a:gd name="T52" fmla="*/ 31 w 207"/>
                    <a:gd name="T53" fmla="*/ 288 h 321"/>
                    <a:gd name="T54" fmla="*/ 11 w 207"/>
                    <a:gd name="T55" fmla="*/ 249 h 321"/>
                    <a:gd name="T56" fmla="*/ 2 w 207"/>
                    <a:gd name="T57" fmla="*/ 194 h 321"/>
                    <a:gd name="T58" fmla="*/ 2 w 207"/>
                    <a:gd name="T59" fmla="*/ 125 h 321"/>
                    <a:gd name="T60" fmla="*/ 11 w 207"/>
                    <a:gd name="T61" fmla="*/ 70 h 321"/>
                    <a:gd name="T62" fmla="*/ 32 w 207"/>
                    <a:gd name="T63" fmla="*/ 32 h 321"/>
                    <a:gd name="T64" fmla="*/ 62 w 207"/>
                    <a:gd name="T65" fmla="*/ 8 h 321"/>
                    <a:gd name="T66" fmla="*/ 103 w 207"/>
                    <a:gd name="T67" fmla="*/ 0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07" h="321">
                      <a:moveTo>
                        <a:pt x="103" y="32"/>
                      </a:moveTo>
                      <a:lnTo>
                        <a:pt x="87" y="34"/>
                      </a:lnTo>
                      <a:lnTo>
                        <a:pt x="72" y="42"/>
                      </a:lnTo>
                      <a:lnTo>
                        <a:pt x="60" y="55"/>
                      </a:lnTo>
                      <a:lnTo>
                        <a:pt x="51" y="71"/>
                      </a:lnTo>
                      <a:lnTo>
                        <a:pt x="45" y="95"/>
                      </a:lnTo>
                      <a:lnTo>
                        <a:pt x="41" y="125"/>
                      </a:lnTo>
                      <a:lnTo>
                        <a:pt x="40" y="160"/>
                      </a:lnTo>
                      <a:lnTo>
                        <a:pt x="41" y="190"/>
                      </a:lnTo>
                      <a:lnTo>
                        <a:pt x="44" y="214"/>
                      </a:lnTo>
                      <a:lnTo>
                        <a:pt x="47" y="234"/>
                      </a:lnTo>
                      <a:lnTo>
                        <a:pt x="51" y="251"/>
                      </a:lnTo>
                      <a:lnTo>
                        <a:pt x="58" y="263"/>
                      </a:lnTo>
                      <a:lnTo>
                        <a:pt x="71" y="277"/>
                      </a:lnTo>
                      <a:lnTo>
                        <a:pt x="87" y="286"/>
                      </a:lnTo>
                      <a:lnTo>
                        <a:pt x="103" y="289"/>
                      </a:lnTo>
                      <a:lnTo>
                        <a:pt x="121" y="286"/>
                      </a:lnTo>
                      <a:lnTo>
                        <a:pt x="135" y="277"/>
                      </a:lnTo>
                      <a:lnTo>
                        <a:pt x="149" y="263"/>
                      </a:lnTo>
                      <a:lnTo>
                        <a:pt x="156" y="247"/>
                      </a:lnTo>
                      <a:lnTo>
                        <a:pt x="162" y="225"/>
                      </a:lnTo>
                      <a:lnTo>
                        <a:pt x="166" y="195"/>
                      </a:lnTo>
                      <a:lnTo>
                        <a:pt x="167" y="160"/>
                      </a:lnTo>
                      <a:lnTo>
                        <a:pt x="166" y="131"/>
                      </a:lnTo>
                      <a:lnTo>
                        <a:pt x="164" y="106"/>
                      </a:lnTo>
                      <a:lnTo>
                        <a:pt x="161" y="85"/>
                      </a:lnTo>
                      <a:lnTo>
                        <a:pt x="155" y="69"/>
                      </a:lnTo>
                      <a:lnTo>
                        <a:pt x="149" y="57"/>
                      </a:lnTo>
                      <a:lnTo>
                        <a:pt x="135" y="43"/>
                      </a:lnTo>
                      <a:lnTo>
                        <a:pt x="121" y="34"/>
                      </a:lnTo>
                      <a:lnTo>
                        <a:pt x="103" y="32"/>
                      </a:lnTo>
                      <a:close/>
                      <a:moveTo>
                        <a:pt x="103" y="0"/>
                      </a:moveTo>
                      <a:lnTo>
                        <a:pt x="128" y="2"/>
                      </a:lnTo>
                      <a:lnTo>
                        <a:pt x="149" y="10"/>
                      </a:lnTo>
                      <a:lnTo>
                        <a:pt x="166" y="22"/>
                      </a:lnTo>
                      <a:lnTo>
                        <a:pt x="181" y="39"/>
                      </a:lnTo>
                      <a:lnTo>
                        <a:pt x="192" y="60"/>
                      </a:lnTo>
                      <a:lnTo>
                        <a:pt x="199" y="85"/>
                      </a:lnTo>
                      <a:lnTo>
                        <a:pt x="204" y="106"/>
                      </a:lnTo>
                      <a:lnTo>
                        <a:pt x="206" y="131"/>
                      </a:lnTo>
                      <a:lnTo>
                        <a:pt x="207" y="160"/>
                      </a:lnTo>
                      <a:lnTo>
                        <a:pt x="206" y="195"/>
                      </a:lnTo>
                      <a:lnTo>
                        <a:pt x="202" y="225"/>
                      </a:lnTo>
                      <a:lnTo>
                        <a:pt x="195" y="250"/>
                      </a:lnTo>
                      <a:lnTo>
                        <a:pt x="186" y="271"/>
                      </a:lnTo>
                      <a:lnTo>
                        <a:pt x="175" y="288"/>
                      </a:lnTo>
                      <a:lnTo>
                        <a:pt x="161" y="302"/>
                      </a:lnTo>
                      <a:lnTo>
                        <a:pt x="144" y="312"/>
                      </a:lnTo>
                      <a:lnTo>
                        <a:pt x="125" y="319"/>
                      </a:lnTo>
                      <a:lnTo>
                        <a:pt x="103" y="321"/>
                      </a:lnTo>
                      <a:lnTo>
                        <a:pt x="81" y="319"/>
                      </a:lnTo>
                      <a:lnTo>
                        <a:pt x="62" y="312"/>
                      </a:lnTo>
                      <a:lnTo>
                        <a:pt x="46" y="302"/>
                      </a:lnTo>
                      <a:lnTo>
                        <a:pt x="31" y="288"/>
                      </a:lnTo>
                      <a:lnTo>
                        <a:pt x="20" y="271"/>
                      </a:lnTo>
                      <a:lnTo>
                        <a:pt x="11" y="249"/>
                      </a:lnTo>
                      <a:lnTo>
                        <a:pt x="5" y="223"/>
                      </a:lnTo>
                      <a:lnTo>
                        <a:pt x="2" y="194"/>
                      </a:lnTo>
                      <a:lnTo>
                        <a:pt x="0" y="160"/>
                      </a:lnTo>
                      <a:lnTo>
                        <a:pt x="2" y="125"/>
                      </a:lnTo>
                      <a:lnTo>
                        <a:pt x="5" y="95"/>
                      </a:lnTo>
                      <a:lnTo>
                        <a:pt x="11" y="70"/>
                      </a:lnTo>
                      <a:lnTo>
                        <a:pt x="20" y="49"/>
                      </a:lnTo>
                      <a:lnTo>
                        <a:pt x="32" y="32"/>
                      </a:lnTo>
                      <a:lnTo>
                        <a:pt x="46" y="17"/>
                      </a:lnTo>
                      <a:lnTo>
                        <a:pt x="62" y="8"/>
                      </a:lnTo>
                      <a:lnTo>
                        <a:pt x="82" y="2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0" name="Freeform 192"/>
                <p:cNvSpPr>
                  <a:spLocks noEditPoints="1"/>
                </p:cNvSpPr>
                <p:nvPr/>
              </p:nvSpPr>
              <p:spPr bwMode="auto">
                <a:xfrm>
                  <a:off x="-736" y="4232"/>
                  <a:ext cx="34" cy="54"/>
                </a:xfrm>
                <a:custGeom>
                  <a:avLst/>
                  <a:gdLst>
                    <a:gd name="T0" fmla="*/ 86 w 207"/>
                    <a:gd name="T1" fmla="*/ 34 h 321"/>
                    <a:gd name="T2" fmla="*/ 60 w 207"/>
                    <a:gd name="T3" fmla="*/ 55 h 321"/>
                    <a:gd name="T4" fmla="*/ 48 w 207"/>
                    <a:gd name="T5" fmla="*/ 84 h 321"/>
                    <a:gd name="T6" fmla="*/ 41 w 207"/>
                    <a:gd name="T7" fmla="*/ 131 h 321"/>
                    <a:gd name="T8" fmla="*/ 41 w 207"/>
                    <a:gd name="T9" fmla="*/ 190 h 321"/>
                    <a:gd name="T10" fmla="*/ 46 w 207"/>
                    <a:gd name="T11" fmla="*/ 234 h 321"/>
                    <a:gd name="T12" fmla="*/ 57 w 207"/>
                    <a:gd name="T13" fmla="*/ 263 h 321"/>
                    <a:gd name="T14" fmla="*/ 86 w 207"/>
                    <a:gd name="T15" fmla="*/ 286 h 321"/>
                    <a:gd name="T16" fmla="*/ 121 w 207"/>
                    <a:gd name="T17" fmla="*/ 286 h 321"/>
                    <a:gd name="T18" fmla="*/ 148 w 207"/>
                    <a:gd name="T19" fmla="*/ 263 h 321"/>
                    <a:gd name="T20" fmla="*/ 161 w 207"/>
                    <a:gd name="T21" fmla="*/ 225 h 321"/>
                    <a:gd name="T22" fmla="*/ 167 w 207"/>
                    <a:gd name="T23" fmla="*/ 160 h 321"/>
                    <a:gd name="T24" fmla="*/ 163 w 207"/>
                    <a:gd name="T25" fmla="*/ 95 h 321"/>
                    <a:gd name="T26" fmla="*/ 148 w 207"/>
                    <a:gd name="T27" fmla="*/ 57 h 321"/>
                    <a:gd name="T28" fmla="*/ 121 w 207"/>
                    <a:gd name="T29" fmla="*/ 34 h 321"/>
                    <a:gd name="T30" fmla="*/ 103 w 207"/>
                    <a:gd name="T31" fmla="*/ 0 h 321"/>
                    <a:gd name="T32" fmla="*/ 148 w 207"/>
                    <a:gd name="T33" fmla="*/ 10 h 321"/>
                    <a:gd name="T34" fmla="*/ 179 w 207"/>
                    <a:gd name="T35" fmla="*/ 39 h 321"/>
                    <a:gd name="T36" fmla="*/ 199 w 207"/>
                    <a:gd name="T37" fmla="*/ 85 h 321"/>
                    <a:gd name="T38" fmla="*/ 206 w 207"/>
                    <a:gd name="T39" fmla="*/ 131 h 321"/>
                    <a:gd name="T40" fmla="*/ 206 w 207"/>
                    <a:gd name="T41" fmla="*/ 195 h 321"/>
                    <a:gd name="T42" fmla="*/ 195 w 207"/>
                    <a:gd name="T43" fmla="*/ 250 h 321"/>
                    <a:gd name="T44" fmla="*/ 175 w 207"/>
                    <a:gd name="T45" fmla="*/ 288 h 321"/>
                    <a:gd name="T46" fmla="*/ 144 w 207"/>
                    <a:gd name="T47" fmla="*/ 312 h 321"/>
                    <a:gd name="T48" fmla="*/ 103 w 207"/>
                    <a:gd name="T49" fmla="*/ 321 h 321"/>
                    <a:gd name="T50" fmla="*/ 62 w 207"/>
                    <a:gd name="T51" fmla="*/ 312 h 321"/>
                    <a:gd name="T52" fmla="*/ 31 w 207"/>
                    <a:gd name="T53" fmla="*/ 288 h 321"/>
                    <a:gd name="T54" fmla="*/ 11 w 207"/>
                    <a:gd name="T55" fmla="*/ 249 h 321"/>
                    <a:gd name="T56" fmla="*/ 1 w 207"/>
                    <a:gd name="T57" fmla="*/ 194 h 321"/>
                    <a:gd name="T58" fmla="*/ 1 w 207"/>
                    <a:gd name="T59" fmla="*/ 125 h 321"/>
                    <a:gd name="T60" fmla="*/ 11 w 207"/>
                    <a:gd name="T61" fmla="*/ 70 h 321"/>
                    <a:gd name="T62" fmla="*/ 32 w 207"/>
                    <a:gd name="T63" fmla="*/ 32 h 321"/>
                    <a:gd name="T64" fmla="*/ 62 w 207"/>
                    <a:gd name="T65" fmla="*/ 8 h 321"/>
                    <a:gd name="T66" fmla="*/ 103 w 207"/>
                    <a:gd name="T67" fmla="*/ 0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07" h="321">
                      <a:moveTo>
                        <a:pt x="103" y="32"/>
                      </a:moveTo>
                      <a:lnTo>
                        <a:pt x="86" y="34"/>
                      </a:lnTo>
                      <a:lnTo>
                        <a:pt x="72" y="42"/>
                      </a:lnTo>
                      <a:lnTo>
                        <a:pt x="60" y="55"/>
                      </a:lnTo>
                      <a:lnTo>
                        <a:pt x="53" y="68"/>
                      </a:lnTo>
                      <a:lnTo>
                        <a:pt x="48" y="84"/>
                      </a:lnTo>
                      <a:lnTo>
                        <a:pt x="43" y="106"/>
                      </a:lnTo>
                      <a:lnTo>
                        <a:pt x="41" y="131"/>
                      </a:lnTo>
                      <a:lnTo>
                        <a:pt x="40" y="160"/>
                      </a:lnTo>
                      <a:lnTo>
                        <a:pt x="41" y="190"/>
                      </a:lnTo>
                      <a:lnTo>
                        <a:pt x="43" y="214"/>
                      </a:lnTo>
                      <a:lnTo>
                        <a:pt x="46" y="234"/>
                      </a:lnTo>
                      <a:lnTo>
                        <a:pt x="51" y="251"/>
                      </a:lnTo>
                      <a:lnTo>
                        <a:pt x="57" y="263"/>
                      </a:lnTo>
                      <a:lnTo>
                        <a:pt x="71" y="277"/>
                      </a:lnTo>
                      <a:lnTo>
                        <a:pt x="86" y="286"/>
                      </a:lnTo>
                      <a:lnTo>
                        <a:pt x="103" y="289"/>
                      </a:lnTo>
                      <a:lnTo>
                        <a:pt x="121" y="286"/>
                      </a:lnTo>
                      <a:lnTo>
                        <a:pt x="135" y="277"/>
                      </a:lnTo>
                      <a:lnTo>
                        <a:pt x="148" y="263"/>
                      </a:lnTo>
                      <a:lnTo>
                        <a:pt x="156" y="247"/>
                      </a:lnTo>
                      <a:lnTo>
                        <a:pt x="161" y="225"/>
                      </a:lnTo>
                      <a:lnTo>
                        <a:pt x="166" y="195"/>
                      </a:lnTo>
                      <a:lnTo>
                        <a:pt x="167" y="160"/>
                      </a:lnTo>
                      <a:lnTo>
                        <a:pt x="166" y="125"/>
                      </a:lnTo>
                      <a:lnTo>
                        <a:pt x="163" y="95"/>
                      </a:lnTo>
                      <a:lnTo>
                        <a:pt x="156" y="73"/>
                      </a:lnTo>
                      <a:lnTo>
                        <a:pt x="148" y="57"/>
                      </a:lnTo>
                      <a:lnTo>
                        <a:pt x="135" y="43"/>
                      </a:lnTo>
                      <a:lnTo>
                        <a:pt x="121" y="34"/>
                      </a:lnTo>
                      <a:lnTo>
                        <a:pt x="103" y="32"/>
                      </a:lnTo>
                      <a:close/>
                      <a:moveTo>
                        <a:pt x="103" y="0"/>
                      </a:moveTo>
                      <a:lnTo>
                        <a:pt x="127" y="2"/>
                      </a:lnTo>
                      <a:lnTo>
                        <a:pt x="148" y="10"/>
                      </a:lnTo>
                      <a:lnTo>
                        <a:pt x="166" y="22"/>
                      </a:lnTo>
                      <a:lnTo>
                        <a:pt x="179" y="39"/>
                      </a:lnTo>
                      <a:lnTo>
                        <a:pt x="191" y="60"/>
                      </a:lnTo>
                      <a:lnTo>
                        <a:pt x="199" y="85"/>
                      </a:lnTo>
                      <a:lnTo>
                        <a:pt x="203" y="106"/>
                      </a:lnTo>
                      <a:lnTo>
                        <a:pt x="206" y="131"/>
                      </a:lnTo>
                      <a:lnTo>
                        <a:pt x="207" y="160"/>
                      </a:lnTo>
                      <a:lnTo>
                        <a:pt x="206" y="195"/>
                      </a:lnTo>
                      <a:lnTo>
                        <a:pt x="201" y="225"/>
                      </a:lnTo>
                      <a:lnTo>
                        <a:pt x="195" y="250"/>
                      </a:lnTo>
                      <a:lnTo>
                        <a:pt x="186" y="271"/>
                      </a:lnTo>
                      <a:lnTo>
                        <a:pt x="175" y="288"/>
                      </a:lnTo>
                      <a:lnTo>
                        <a:pt x="160" y="302"/>
                      </a:lnTo>
                      <a:lnTo>
                        <a:pt x="144" y="312"/>
                      </a:lnTo>
                      <a:lnTo>
                        <a:pt x="125" y="319"/>
                      </a:lnTo>
                      <a:lnTo>
                        <a:pt x="103" y="321"/>
                      </a:lnTo>
                      <a:lnTo>
                        <a:pt x="81" y="319"/>
                      </a:lnTo>
                      <a:lnTo>
                        <a:pt x="62" y="312"/>
                      </a:lnTo>
                      <a:lnTo>
                        <a:pt x="45" y="302"/>
                      </a:lnTo>
                      <a:lnTo>
                        <a:pt x="31" y="288"/>
                      </a:lnTo>
                      <a:lnTo>
                        <a:pt x="20" y="271"/>
                      </a:lnTo>
                      <a:lnTo>
                        <a:pt x="11" y="249"/>
                      </a:lnTo>
                      <a:lnTo>
                        <a:pt x="4" y="223"/>
                      </a:lnTo>
                      <a:lnTo>
                        <a:pt x="1" y="194"/>
                      </a:lnTo>
                      <a:lnTo>
                        <a:pt x="0" y="160"/>
                      </a:lnTo>
                      <a:lnTo>
                        <a:pt x="1" y="125"/>
                      </a:lnTo>
                      <a:lnTo>
                        <a:pt x="4" y="95"/>
                      </a:lnTo>
                      <a:lnTo>
                        <a:pt x="11" y="70"/>
                      </a:lnTo>
                      <a:lnTo>
                        <a:pt x="20" y="49"/>
                      </a:lnTo>
                      <a:lnTo>
                        <a:pt x="32" y="32"/>
                      </a:lnTo>
                      <a:lnTo>
                        <a:pt x="45" y="17"/>
                      </a:lnTo>
                      <a:lnTo>
                        <a:pt x="62" y="8"/>
                      </a:lnTo>
                      <a:lnTo>
                        <a:pt x="82" y="2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1" name="Freeform 193"/>
                <p:cNvSpPr>
                  <a:spLocks/>
                </p:cNvSpPr>
                <p:nvPr/>
              </p:nvSpPr>
              <p:spPr bwMode="auto">
                <a:xfrm>
                  <a:off x="-690" y="4232"/>
                  <a:ext cx="19" cy="53"/>
                </a:xfrm>
                <a:custGeom>
                  <a:avLst/>
                  <a:gdLst>
                    <a:gd name="T0" fmla="*/ 92 w 117"/>
                    <a:gd name="T1" fmla="*/ 0 h 316"/>
                    <a:gd name="T2" fmla="*/ 117 w 117"/>
                    <a:gd name="T3" fmla="*/ 0 h 316"/>
                    <a:gd name="T4" fmla="*/ 117 w 117"/>
                    <a:gd name="T5" fmla="*/ 316 h 316"/>
                    <a:gd name="T6" fmla="*/ 78 w 117"/>
                    <a:gd name="T7" fmla="*/ 316 h 316"/>
                    <a:gd name="T8" fmla="*/ 78 w 117"/>
                    <a:gd name="T9" fmla="*/ 69 h 316"/>
                    <a:gd name="T10" fmla="*/ 62 w 117"/>
                    <a:gd name="T11" fmla="*/ 82 h 316"/>
                    <a:gd name="T12" fmla="*/ 41 w 117"/>
                    <a:gd name="T13" fmla="*/ 95 h 316"/>
                    <a:gd name="T14" fmla="*/ 19 w 117"/>
                    <a:gd name="T15" fmla="*/ 107 h 316"/>
                    <a:gd name="T16" fmla="*/ 0 w 117"/>
                    <a:gd name="T17" fmla="*/ 116 h 316"/>
                    <a:gd name="T18" fmla="*/ 0 w 117"/>
                    <a:gd name="T19" fmla="*/ 79 h 316"/>
                    <a:gd name="T20" fmla="*/ 30 w 117"/>
                    <a:gd name="T21" fmla="*/ 61 h 316"/>
                    <a:gd name="T22" fmla="*/ 57 w 117"/>
                    <a:gd name="T23" fmla="*/ 42 h 316"/>
                    <a:gd name="T24" fmla="*/ 78 w 117"/>
                    <a:gd name="T25" fmla="*/ 20 h 316"/>
                    <a:gd name="T26" fmla="*/ 92 w 117"/>
                    <a:gd name="T27" fmla="*/ 0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7" h="316">
                      <a:moveTo>
                        <a:pt x="92" y="0"/>
                      </a:moveTo>
                      <a:lnTo>
                        <a:pt x="117" y="0"/>
                      </a:lnTo>
                      <a:lnTo>
                        <a:pt x="117" y="316"/>
                      </a:lnTo>
                      <a:lnTo>
                        <a:pt x="78" y="316"/>
                      </a:lnTo>
                      <a:lnTo>
                        <a:pt x="78" y="69"/>
                      </a:lnTo>
                      <a:lnTo>
                        <a:pt x="62" y="82"/>
                      </a:lnTo>
                      <a:lnTo>
                        <a:pt x="41" y="95"/>
                      </a:lnTo>
                      <a:lnTo>
                        <a:pt x="19" y="107"/>
                      </a:lnTo>
                      <a:lnTo>
                        <a:pt x="0" y="116"/>
                      </a:lnTo>
                      <a:lnTo>
                        <a:pt x="0" y="79"/>
                      </a:lnTo>
                      <a:lnTo>
                        <a:pt x="30" y="61"/>
                      </a:lnTo>
                      <a:lnTo>
                        <a:pt x="57" y="42"/>
                      </a:lnTo>
                      <a:lnTo>
                        <a:pt x="78" y="20"/>
                      </a:lnTo>
                      <a:lnTo>
                        <a:pt x="9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2" name="Freeform 194"/>
                <p:cNvSpPr>
                  <a:spLocks/>
                </p:cNvSpPr>
                <p:nvPr/>
              </p:nvSpPr>
              <p:spPr bwMode="auto">
                <a:xfrm>
                  <a:off x="-645" y="4318"/>
                  <a:ext cx="19" cy="52"/>
                </a:xfrm>
                <a:custGeom>
                  <a:avLst/>
                  <a:gdLst>
                    <a:gd name="T0" fmla="*/ 92 w 117"/>
                    <a:gd name="T1" fmla="*/ 0 h 316"/>
                    <a:gd name="T2" fmla="*/ 117 w 117"/>
                    <a:gd name="T3" fmla="*/ 0 h 316"/>
                    <a:gd name="T4" fmla="*/ 117 w 117"/>
                    <a:gd name="T5" fmla="*/ 316 h 316"/>
                    <a:gd name="T6" fmla="*/ 78 w 117"/>
                    <a:gd name="T7" fmla="*/ 316 h 316"/>
                    <a:gd name="T8" fmla="*/ 78 w 117"/>
                    <a:gd name="T9" fmla="*/ 70 h 316"/>
                    <a:gd name="T10" fmla="*/ 62 w 117"/>
                    <a:gd name="T11" fmla="*/ 83 h 316"/>
                    <a:gd name="T12" fmla="*/ 41 w 117"/>
                    <a:gd name="T13" fmla="*/ 96 h 316"/>
                    <a:gd name="T14" fmla="*/ 20 w 117"/>
                    <a:gd name="T15" fmla="*/ 107 h 316"/>
                    <a:gd name="T16" fmla="*/ 0 w 117"/>
                    <a:gd name="T17" fmla="*/ 116 h 316"/>
                    <a:gd name="T18" fmla="*/ 0 w 117"/>
                    <a:gd name="T19" fmla="*/ 79 h 316"/>
                    <a:gd name="T20" fmla="*/ 31 w 117"/>
                    <a:gd name="T21" fmla="*/ 62 h 316"/>
                    <a:gd name="T22" fmla="*/ 58 w 117"/>
                    <a:gd name="T23" fmla="*/ 42 h 316"/>
                    <a:gd name="T24" fmla="*/ 79 w 117"/>
                    <a:gd name="T25" fmla="*/ 21 h 316"/>
                    <a:gd name="T26" fmla="*/ 92 w 117"/>
                    <a:gd name="T27" fmla="*/ 0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7" h="316">
                      <a:moveTo>
                        <a:pt x="92" y="0"/>
                      </a:moveTo>
                      <a:lnTo>
                        <a:pt x="117" y="0"/>
                      </a:lnTo>
                      <a:lnTo>
                        <a:pt x="117" y="316"/>
                      </a:lnTo>
                      <a:lnTo>
                        <a:pt x="78" y="316"/>
                      </a:lnTo>
                      <a:lnTo>
                        <a:pt x="78" y="70"/>
                      </a:lnTo>
                      <a:lnTo>
                        <a:pt x="62" y="83"/>
                      </a:lnTo>
                      <a:lnTo>
                        <a:pt x="41" y="96"/>
                      </a:lnTo>
                      <a:lnTo>
                        <a:pt x="20" y="107"/>
                      </a:lnTo>
                      <a:lnTo>
                        <a:pt x="0" y="116"/>
                      </a:lnTo>
                      <a:lnTo>
                        <a:pt x="0" y="79"/>
                      </a:lnTo>
                      <a:lnTo>
                        <a:pt x="31" y="62"/>
                      </a:lnTo>
                      <a:lnTo>
                        <a:pt x="58" y="42"/>
                      </a:lnTo>
                      <a:lnTo>
                        <a:pt x="79" y="21"/>
                      </a:lnTo>
                      <a:lnTo>
                        <a:pt x="9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3" name="Freeform 195"/>
                <p:cNvSpPr>
                  <a:spLocks noEditPoints="1"/>
                </p:cNvSpPr>
                <p:nvPr/>
              </p:nvSpPr>
              <p:spPr bwMode="auto">
                <a:xfrm>
                  <a:off x="-818" y="4320"/>
                  <a:ext cx="34" cy="54"/>
                </a:xfrm>
                <a:custGeom>
                  <a:avLst/>
                  <a:gdLst>
                    <a:gd name="T0" fmla="*/ 86 w 207"/>
                    <a:gd name="T1" fmla="*/ 34 h 321"/>
                    <a:gd name="T2" fmla="*/ 60 w 207"/>
                    <a:gd name="T3" fmla="*/ 55 h 321"/>
                    <a:gd name="T4" fmla="*/ 44 w 207"/>
                    <a:gd name="T5" fmla="*/ 96 h 321"/>
                    <a:gd name="T6" fmla="*/ 40 w 207"/>
                    <a:gd name="T7" fmla="*/ 160 h 321"/>
                    <a:gd name="T8" fmla="*/ 43 w 207"/>
                    <a:gd name="T9" fmla="*/ 214 h 321"/>
                    <a:gd name="T10" fmla="*/ 51 w 207"/>
                    <a:gd name="T11" fmla="*/ 251 h 321"/>
                    <a:gd name="T12" fmla="*/ 71 w 207"/>
                    <a:gd name="T13" fmla="*/ 279 h 321"/>
                    <a:gd name="T14" fmla="*/ 103 w 207"/>
                    <a:gd name="T15" fmla="*/ 290 h 321"/>
                    <a:gd name="T16" fmla="*/ 135 w 207"/>
                    <a:gd name="T17" fmla="*/ 279 h 321"/>
                    <a:gd name="T18" fmla="*/ 155 w 207"/>
                    <a:gd name="T19" fmla="*/ 251 h 321"/>
                    <a:gd name="T20" fmla="*/ 163 w 207"/>
                    <a:gd name="T21" fmla="*/ 214 h 321"/>
                    <a:gd name="T22" fmla="*/ 167 w 207"/>
                    <a:gd name="T23" fmla="*/ 160 h 321"/>
                    <a:gd name="T24" fmla="*/ 163 w 207"/>
                    <a:gd name="T25" fmla="*/ 107 h 321"/>
                    <a:gd name="T26" fmla="*/ 155 w 207"/>
                    <a:gd name="T27" fmla="*/ 69 h 321"/>
                    <a:gd name="T28" fmla="*/ 135 w 207"/>
                    <a:gd name="T29" fmla="*/ 43 h 321"/>
                    <a:gd name="T30" fmla="*/ 103 w 207"/>
                    <a:gd name="T31" fmla="*/ 32 h 321"/>
                    <a:gd name="T32" fmla="*/ 119 w 207"/>
                    <a:gd name="T33" fmla="*/ 1 h 321"/>
                    <a:gd name="T34" fmla="*/ 148 w 207"/>
                    <a:gd name="T35" fmla="*/ 10 h 321"/>
                    <a:gd name="T36" fmla="*/ 179 w 207"/>
                    <a:gd name="T37" fmla="*/ 40 h 321"/>
                    <a:gd name="T38" fmla="*/ 200 w 207"/>
                    <a:gd name="T39" fmla="*/ 86 h 321"/>
                    <a:gd name="T40" fmla="*/ 205 w 207"/>
                    <a:gd name="T41" fmla="*/ 132 h 321"/>
                    <a:gd name="T42" fmla="*/ 205 w 207"/>
                    <a:gd name="T43" fmla="*/ 195 h 321"/>
                    <a:gd name="T44" fmla="*/ 194 w 207"/>
                    <a:gd name="T45" fmla="*/ 250 h 321"/>
                    <a:gd name="T46" fmla="*/ 175 w 207"/>
                    <a:gd name="T47" fmla="*/ 289 h 321"/>
                    <a:gd name="T48" fmla="*/ 145 w 207"/>
                    <a:gd name="T49" fmla="*/ 313 h 321"/>
                    <a:gd name="T50" fmla="*/ 103 w 207"/>
                    <a:gd name="T51" fmla="*/ 321 h 321"/>
                    <a:gd name="T52" fmla="*/ 62 w 207"/>
                    <a:gd name="T53" fmla="*/ 313 h 321"/>
                    <a:gd name="T54" fmla="*/ 31 w 207"/>
                    <a:gd name="T55" fmla="*/ 289 h 321"/>
                    <a:gd name="T56" fmla="*/ 11 w 207"/>
                    <a:gd name="T57" fmla="*/ 249 h 321"/>
                    <a:gd name="T58" fmla="*/ 1 w 207"/>
                    <a:gd name="T59" fmla="*/ 194 h 321"/>
                    <a:gd name="T60" fmla="*/ 1 w 207"/>
                    <a:gd name="T61" fmla="*/ 126 h 321"/>
                    <a:gd name="T62" fmla="*/ 11 w 207"/>
                    <a:gd name="T63" fmla="*/ 70 h 321"/>
                    <a:gd name="T64" fmla="*/ 32 w 207"/>
                    <a:gd name="T65" fmla="*/ 32 h 321"/>
                    <a:gd name="T66" fmla="*/ 62 w 207"/>
                    <a:gd name="T67" fmla="*/ 8 h 321"/>
                    <a:gd name="T68" fmla="*/ 103 w 207"/>
                    <a:gd name="T69" fmla="*/ 0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07" h="321">
                      <a:moveTo>
                        <a:pt x="103" y="32"/>
                      </a:moveTo>
                      <a:lnTo>
                        <a:pt x="86" y="34"/>
                      </a:lnTo>
                      <a:lnTo>
                        <a:pt x="72" y="42"/>
                      </a:lnTo>
                      <a:lnTo>
                        <a:pt x="60" y="55"/>
                      </a:lnTo>
                      <a:lnTo>
                        <a:pt x="51" y="71"/>
                      </a:lnTo>
                      <a:lnTo>
                        <a:pt x="44" y="96"/>
                      </a:lnTo>
                      <a:lnTo>
                        <a:pt x="41" y="125"/>
                      </a:lnTo>
                      <a:lnTo>
                        <a:pt x="40" y="160"/>
                      </a:lnTo>
                      <a:lnTo>
                        <a:pt x="41" y="190"/>
                      </a:lnTo>
                      <a:lnTo>
                        <a:pt x="43" y="214"/>
                      </a:lnTo>
                      <a:lnTo>
                        <a:pt x="46" y="235"/>
                      </a:lnTo>
                      <a:lnTo>
                        <a:pt x="51" y="251"/>
                      </a:lnTo>
                      <a:lnTo>
                        <a:pt x="57" y="264"/>
                      </a:lnTo>
                      <a:lnTo>
                        <a:pt x="71" y="279"/>
                      </a:lnTo>
                      <a:lnTo>
                        <a:pt x="86" y="286"/>
                      </a:lnTo>
                      <a:lnTo>
                        <a:pt x="103" y="290"/>
                      </a:lnTo>
                      <a:lnTo>
                        <a:pt x="120" y="286"/>
                      </a:lnTo>
                      <a:lnTo>
                        <a:pt x="135" y="279"/>
                      </a:lnTo>
                      <a:lnTo>
                        <a:pt x="148" y="264"/>
                      </a:lnTo>
                      <a:lnTo>
                        <a:pt x="155" y="251"/>
                      </a:lnTo>
                      <a:lnTo>
                        <a:pt x="160" y="235"/>
                      </a:lnTo>
                      <a:lnTo>
                        <a:pt x="163" y="214"/>
                      </a:lnTo>
                      <a:lnTo>
                        <a:pt x="166" y="190"/>
                      </a:lnTo>
                      <a:lnTo>
                        <a:pt x="167" y="160"/>
                      </a:lnTo>
                      <a:lnTo>
                        <a:pt x="166" y="132"/>
                      </a:lnTo>
                      <a:lnTo>
                        <a:pt x="163" y="107"/>
                      </a:lnTo>
                      <a:lnTo>
                        <a:pt x="160" y="86"/>
                      </a:lnTo>
                      <a:lnTo>
                        <a:pt x="155" y="69"/>
                      </a:lnTo>
                      <a:lnTo>
                        <a:pt x="148" y="57"/>
                      </a:lnTo>
                      <a:lnTo>
                        <a:pt x="135" y="43"/>
                      </a:lnTo>
                      <a:lnTo>
                        <a:pt x="119" y="35"/>
                      </a:lnTo>
                      <a:lnTo>
                        <a:pt x="103" y="32"/>
                      </a:lnTo>
                      <a:close/>
                      <a:moveTo>
                        <a:pt x="103" y="0"/>
                      </a:moveTo>
                      <a:lnTo>
                        <a:pt x="119" y="1"/>
                      </a:lnTo>
                      <a:lnTo>
                        <a:pt x="135" y="5"/>
                      </a:lnTo>
                      <a:lnTo>
                        <a:pt x="148" y="10"/>
                      </a:lnTo>
                      <a:lnTo>
                        <a:pt x="166" y="22"/>
                      </a:lnTo>
                      <a:lnTo>
                        <a:pt x="179" y="40"/>
                      </a:lnTo>
                      <a:lnTo>
                        <a:pt x="191" y="60"/>
                      </a:lnTo>
                      <a:lnTo>
                        <a:pt x="200" y="86"/>
                      </a:lnTo>
                      <a:lnTo>
                        <a:pt x="203" y="107"/>
                      </a:lnTo>
                      <a:lnTo>
                        <a:pt x="205" y="132"/>
                      </a:lnTo>
                      <a:lnTo>
                        <a:pt x="207" y="160"/>
                      </a:lnTo>
                      <a:lnTo>
                        <a:pt x="205" y="195"/>
                      </a:lnTo>
                      <a:lnTo>
                        <a:pt x="201" y="225"/>
                      </a:lnTo>
                      <a:lnTo>
                        <a:pt x="194" y="250"/>
                      </a:lnTo>
                      <a:lnTo>
                        <a:pt x="186" y="271"/>
                      </a:lnTo>
                      <a:lnTo>
                        <a:pt x="175" y="289"/>
                      </a:lnTo>
                      <a:lnTo>
                        <a:pt x="160" y="303"/>
                      </a:lnTo>
                      <a:lnTo>
                        <a:pt x="145" y="313"/>
                      </a:lnTo>
                      <a:lnTo>
                        <a:pt x="125" y="319"/>
                      </a:lnTo>
                      <a:lnTo>
                        <a:pt x="103" y="321"/>
                      </a:lnTo>
                      <a:lnTo>
                        <a:pt x="82" y="319"/>
                      </a:lnTo>
                      <a:lnTo>
                        <a:pt x="62" y="313"/>
                      </a:lnTo>
                      <a:lnTo>
                        <a:pt x="45" y="303"/>
                      </a:lnTo>
                      <a:lnTo>
                        <a:pt x="31" y="289"/>
                      </a:lnTo>
                      <a:lnTo>
                        <a:pt x="20" y="271"/>
                      </a:lnTo>
                      <a:lnTo>
                        <a:pt x="11" y="249"/>
                      </a:lnTo>
                      <a:lnTo>
                        <a:pt x="4" y="224"/>
                      </a:lnTo>
                      <a:lnTo>
                        <a:pt x="1" y="194"/>
                      </a:lnTo>
                      <a:lnTo>
                        <a:pt x="0" y="160"/>
                      </a:lnTo>
                      <a:lnTo>
                        <a:pt x="1" y="126"/>
                      </a:lnTo>
                      <a:lnTo>
                        <a:pt x="4" y="96"/>
                      </a:lnTo>
                      <a:lnTo>
                        <a:pt x="11" y="70"/>
                      </a:lnTo>
                      <a:lnTo>
                        <a:pt x="20" y="50"/>
                      </a:lnTo>
                      <a:lnTo>
                        <a:pt x="32" y="32"/>
                      </a:lnTo>
                      <a:lnTo>
                        <a:pt x="45" y="19"/>
                      </a:lnTo>
                      <a:lnTo>
                        <a:pt x="62" y="8"/>
                      </a:lnTo>
                      <a:lnTo>
                        <a:pt x="82" y="2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4" name="Freeform 196"/>
                <p:cNvSpPr>
                  <a:spLocks/>
                </p:cNvSpPr>
                <p:nvPr/>
              </p:nvSpPr>
              <p:spPr bwMode="auto">
                <a:xfrm>
                  <a:off x="-772" y="4320"/>
                  <a:ext cx="19" cy="53"/>
                </a:xfrm>
                <a:custGeom>
                  <a:avLst/>
                  <a:gdLst>
                    <a:gd name="T0" fmla="*/ 91 w 116"/>
                    <a:gd name="T1" fmla="*/ 0 h 316"/>
                    <a:gd name="T2" fmla="*/ 116 w 116"/>
                    <a:gd name="T3" fmla="*/ 0 h 316"/>
                    <a:gd name="T4" fmla="*/ 116 w 116"/>
                    <a:gd name="T5" fmla="*/ 316 h 316"/>
                    <a:gd name="T6" fmla="*/ 78 w 116"/>
                    <a:gd name="T7" fmla="*/ 316 h 316"/>
                    <a:gd name="T8" fmla="*/ 78 w 116"/>
                    <a:gd name="T9" fmla="*/ 70 h 316"/>
                    <a:gd name="T10" fmla="*/ 61 w 116"/>
                    <a:gd name="T11" fmla="*/ 84 h 316"/>
                    <a:gd name="T12" fmla="*/ 41 w 116"/>
                    <a:gd name="T13" fmla="*/ 97 h 316"/>
                    <a:gd name="T14" fmla="*/ 19 w 116"/>
                    <a:gd name="T15" fmla="*/ 108 h 316"/>
                    <a:gd name="T16" fmla="*/ 0 w 116"/>
                    <a:gd name="T17" fmla="*/ 116 h 316"/>
                    <a:gd name="T18" fmla="*/ 0 w 116"/>
                    <a:gd name="T19" fmla="*/ 79 h 316"/>
                    <a:gd name="T20" fmla="*/ 30 w 116"/>
                    <a:gd name="T21" fmla="*/ 62 h 316"/>
                    <a:gd name="T22" fmla="*/ 57 w 116"/>
                    <a:gd name="T23" fmla="*/ 42 h 316"/>
                    <a:gd name="T24" fmla="*/ 78 w 116"/>
                    <a:gd name="T25" fmla="*/ 21 h 316"/>
                    <a:gd name="T26" fmla="*/ 91 w 116"/>
                    <a:gd name="T27" fmla="*/ 0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6" h="316">
                      <a:moveTo>
                        <a:pt x="91" y="0"/>
                      </a:moveTo>
                      <a:lnTo>
                        <a:pt x="116" y="0"/>
                      </a:lnTo>
                      <a:lnTo>
                        <a:pt x="116" y="316"/>
                      </a:lnTo>
                      <a:lnTo>
                        <a:pt x="78" y="316"/>
                      </a:lnTo>
                      <a:lnTo>
                        <a:pt x="78" y="70"/>
                      </a:lnTo>
                      <a:lnTo>
                        <a:pt x="61" y="84"/>
                      </a:lnTo>
                      <a:lnTo>
                        <a:pt x="41" y="97"/>
                      </a:lnTo>
                      <a:lnTo>
                        <a:pt x="19" y="108"/>
                      </a:lnTo>
                      <a:lnTo>
                        <a:pt x="0" y="116"/>
                      </a:lnTo>
                      <a:lnTo>
                        <a:pt x="0" y="79"/>
                      </a:lnTo>
                      <a:lnTo>
                        <a:pt x="30" y="62"/>
                      </a:lnTo>
                      <a:lnTo>
                        <a:pt x="57" y="42"/>
                      </a:lnTo>
                      <a:lnTo>
                        <a:pt x="78" y="21"/>
                      </a:lnTo>
                      <a:lnTo>
                        <a:pt x="9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5" name="Freeform 197"/>
                <p:cNvSpPr>
                  <a:spLocks/>
                </p:cNvSpPr>
                <p:nvPr/>
              </p:nvSpPr>
              <p:spPr bwMode="auto">
                <a:xfrm>
                  <a:off x="-737" y="4320"/>
                  <a:ext cx="20" cy="53"/>
                </a:xfrm>
                <a:custGeom>
                  <a:avLst/>
                  <a:gdLst>
                    <a:gd name="T0" fmla="*/ 91 w 117"/>
                    <a:gd name="T1" fmla="*/ 0 h 316"/>
                    <a:gd name="T2" fmla="*/ 117 w 117"/>
                    <a:gd name="T3" fmla="*/ 0 h 316"/>
                    <a:gd name="T4" fmla="*/ 117 w 117"/>
                    <a:gd name="T5" fmla="*/ 316 h 316"/>
                    <a:gd name="T6" fmla="*/ 77 w 117"/>
                    <a:gd name="T7" fmla="*/ 316 h 316"/>
                    <a:gd name="T8" fmla="*/ 77 w 117"/>
                    <a:gd name="T9" fmla="*/ 70 h 316"/>
                    <a:gd name="T10" fmla="*/ 62 w 117"/>
                    <a:gd name="T11" fmla="*/ 84 h 316"/>
                    <a:gd name="T12" fmla="*/ 41 w 117"/>
                    <a:gd name="T13" fmla="*/ 97 h 316"/>
                    <a:gd name="T14" fmla="*/ 18 w 117"/>
                    <a:gd name="T15" fmla="*/ 108 h 316"/>
                    <a:gd name="T16" fmla="*/ 0 w 117"/>
                    <a:gd name="T17" fmla="*/ 116 h 316"/>
                    <a:gd name="T18" fmla="*/ 0 w 117"/>
                    <a:gd name="T19" fmla="*/ 79 h 316"/>
                    <a:gd name="T20" fmla="*/ 31 w 117"/>
                    <a:gd name="T21" fmla="*/ 62 h 316"/>
                    <a:gd name="T22" fmla="*/ 57 w 117"/>
                    <a:gd name="T23" fmla="*/ 42 h 316"/>
                    <a:gd name="T24" fmla="*/ 78 w 117"/>
                    <a:gd name="T25" fmla="*/ 21 h 316"/>
                    <a:gd name="T26" fmla="*/ 91 w 117"/>
                    <a:gd name="T27" fmla="*/ 0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7" h="316">
                      <a:moveTo>
                        <a:pt x="91" y="0"/>
                      </a:moveTo>
                      <a:lnTo>
                        <a:pt x="117" y="0"/>
                      </a:lnTo>
                      <a:lnTo>
                        <a:pt x="117" y="316"/>
                      </a:lnTo>
                      <a:lnTo>
                        <a:pt x="77" y="316"/>
                      </a:lnTo>
                      <a:lnTo>
                        <a:pt x="77" y="70"/>
                      </a:lnTo>
                      <a:lnTo>
                        <a:pt x="62" y="84"/>
                      </a:lnTo>
                      <a:lnTo>
                        <a:pt x="41" y="97"/>
                      </a:lnTo>
                      <a:lnTo>
                        <a:pt x="18" y="108"/>
                      </a:lnTo>
                      <a:lnTo>
                        <a:pt x="0" y="116"/>
                      </a:lnTo>
                      <a:lnTo>
                        <a:pt x="0" y="79"/>
                      </a:lnTo>
                      <a:lnTo>
                        <a:pt x="31" y="62"/>
                      </a:lnTo>
                      <a:lnTo>
                        <a:pt x="57" y="42"/>
                      </a:lnTo>
                      <a:lnTo>
                        <a:pt x="78" y="21"/>
                      </a:lnTo>
                      <a:lnTo>
                        <a:pt x="9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6" name="Freeform 198"/>
                <p:cNvSpPr>
                  <a:spLocks noEditPoints="1"/>
                </p:cNvSpPr>
                <p:nvPr/>
              </p:nvSpPr>
              <p:spPr bwMode="auto">
                <a:xfrm>
                  <a:off x="-701" y="4320"/>
                  <a:ext cx="35" cy="54"/>
                </a:xfrm>
                <a:custGeom>
                  <a:avLst/>
                  <a:gdLst>
                    <a:gd name="T0" fmla="*/ 87 w 207"/>
                    <a:gd name="T1" fmla="*/ 34 h 321"/>
                    <a:gd name="T2" fmla="*/ 60 w 207"/>
                    <a:gd name="T3" fmla="*/ 55 h 321"/>
                    <a:gd name="T4" fmla="*/ 46 w 207"/>
                    <a:gd name="T5" fmla="*/ 96 h 321"/>
                    <a:gd name="T6" fmla="*/ 40 w 207"/>
                    <a:gd name="T7" fmla="*/ 160 h 321"/>
                    <a:gd name="T8" fmla="*/ 44 w 207"/>
                    <a:gd name="T9" fmla="*/ 214 h 321"/>
                    <a:gd name="T10" fmla="*/ 52 w 207"/>
                    <a:gd name="T11" fmla="*/ 251 h 321"/>
                    <a:gd name="T12" fmla="*/ 72 w 207"/>
                    <a:gd name="T13" fmla="*/ 279 h 321"/>
                    <a:gd name="T14" fmla="*/ 103 w 207"/>
                    <a:gd name="T15" fmla="*/ 290 h 321"/>
                    <a:gd name="T16" fmla="*/ 135 w 207"/>
                    <a:gd name="T17" fmla="*/ 279 h 321"/>
                    <a:gd name="T18" fmla="*/ 155 w 207"/>
                    <a:gd name="T19" fmla="*/ 251 h 321"/>
                    <a:gd name="T20" fmla="*/ 164 w 207"/>
                    <a:gd name="T21" fmla="*/ 214 h 321"/>
                    <a:gd name="T22" fmla="*/ 167 w 207"/>
                    <a:gd name="T23" fmla="*/ 160 h 321"/>
                    <a:gd name="T24" fmla="*/ 164 w 207"/>
                    <a:gd name="T25" fmla="*/ 107 h 321"/>
                    <a:gd name="T26" fmla="*/ 155 w 207"/>
                    <a:gd name="T27" fmla="*/ 69 h 321"/>
                    <a:gd name="T28" fmla="*/ 135 w 207"/>
                    <a:gd name="T29" fmla="*/ 43 h 321"/>
                    <a:gd name="T30" fmla="*/ 103 w 207"/>
                    <a:gd name="T31" fmla="*/ 32 h 321"/>
                    <a:gd name="T32" fmla="*/ 128 w 207"/>
                    <a:gd name="T33" fmla="*/ 2 h 321"/>
                    <a:gd name="T34" fmla="*/ 161 w 207"/>
                    <a:gd name="T35" fmla="*/ 18 h 321"/>
                    <a:gd name="T36" fmla="*/ 181 w 207"/>
                    <a:gd name="T37" fmla="*/ 40 h 321"/>
                    <a:gd name="T38" fmla="*/ 201 w 207"/>
                    <a:gd name="T39" fmla="*/ 86 h 321"/>
                    <a:gd name="T40" fmla="*/ 206 w 207"/>
                    <a:gd name="T41" fmla="*/ 132 h 321"/>
                    <a:gd name="T42" fmla="*/ 206 w 207"/>
                    <a:gd name="T43" fmla="*/ 195 h 321"/>
                    <a:gd name="T44" fmla="*/ 196 w 207"/>
                    <a:gd name="T45" fmla="*/ 250 h 321"/>
                    <a:gd name="T46" fmla="*/ 175 w 207"/>
                    <a:gd name="T47" fmla="*/ 289 h 321"/>
                    <a:gd name="T48" fmla="*/ 145 w 207"/>
                    <a:gd name="T49" fmla="*/ 313 h 321"/>
                    <a:gd name="T50" fmla="*/ 103 w 207"/>
                    <a:gd name="T51" fmla="*/ 321 h 321"/>
                    <a:gd name="T52" fmla="*/ 62 w 207"/>
                    <a:gd name="T53" fmla="*/ 313 h 321"/>
                    <a:gd name="T54" fmla="*/ 31 w 207"/>
                    <a:gd name="T55" fmla="*/ 289 h 321"/>
                    <a:gd name="T56" fmla="*/ 11 w 207"/>
                    <a:gd name="T57" fmla="*/ 249 h 321"/>
                    <a:gd name="T58" fmla="*/ 2 w 207"/>
                    <a:gd name="T59" fmla="*/ 194 h 321"/>
                    <a:gd name="T60" fmla="*/ 2 w 207"/>
                    <a:gd name="T61" fmla="*/ 126 h 321"/>
                    <a:gd name="T62" fmla="*/ 11 w 207"/>
                    <a:gd name="T63" fmla="*/ 70 h 321"/>
                    <a:gd name="T64" fmla="*/ 32 w 207"/>
                    <a:gd name="T65" fmla="*/ 32 h 321"/>
                    <a:gd name="T66" fmla="*/ 62 w 207"/>
                    <a:gd name="T67" fmla="*/ 8 h 321"/>
                    <a:gd name="T68" fmla="*/ 103 w 207"/>
                    <a:gd name="T69" fmla="*/ 0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07" h="321">
                      <a:moveTo>
                        <a:pt x="103" y="32"/>
                      </a:moveTo>
                      <a:lnTo>
                        <a:pt x="87" y="34"/>
                      </a:lnTo>
                      <a:lnTo>
                        <a:pt x="72" y="42"/>
                      </a:lnTo>
                      <a:lnTo>
                        <a:pt x="60" y="55"/>
                      </a:lnTo>
                      <a:lnTo>
                        <a:pt x="51" y="71"/>
                      </a:lnTo>
                      <a:lnTo>
                        <a:pt x="46" y="96"/>
                      </a:lnTo>
                      <a:lnTo>
                        <a:pt x="41" y="125"/>
                      </a:lnTo>
                      <a:lnTo>
                        <a:pt x="40" y="160"/>
                      </a:lnTo>
                      <a:lnTo>
                        <a:pt x="41" y="190"/>
                      </a:lnTo>
                      <a:lnTo>
                        <a:pt x="44" y="214"/>
                      </a:lnTo>
                      <a:lnTo>
                        <a:pt x="47" y="235"/>
                      </a:lnTo>
                      <a:lnTo>
                        <a:pt x="52" y="251"/>
                      </a:lnTo>
                      <a:lnTo>
                        <a:pt x="59" y="264"/>
                      </a:lnTo>
                      <a:lnTo>
                        <a:pt x="72" y="279"/>
                      </a:lnTo>
                      <a:lnTo>
                        <a:pt x="87" y="286"/>
                      </a:lnTo>
                      <a:lnTo>
                        <a:pt x="103" y="290"/>
                      </a:lnTo>
                      <a:lnTo>
                        <a:pt x="121" y="286"/>
                      </a:lnTo>
                      <a:lnTo>
                        <a:pt x="135" y="279"/>
                      </a:lnTo>
                      <a:lnTo>
                        <a:pt x="149" y="264"/>
                      </a:lnTo>
                      <a:lnTo>
                        <a:pt x="155" y="251"/>
                      </a:lnTo>
                      <a:lnTo>
                        <a:pt x="161" y="235"/>
                      </a:lnTo>
                      <a:lnTo>
                        <a:pt x="164" y="214"/>
                      </a:lnTo>
                      <a:lnTo>
                        <a:pt x="166" y="190"/>
                      </a:lnTo>
                      <a:lnTo>
                        <a:pt x="167" y="160"/>
                      </a:lnTo>
                      <a:lnTo>
                        <a:pt x="166" y="132"/>
                      </a:lnTo>
                      <a:lnTo>
                        <a:pt x="164" y="107"/>
                      </a:lnTo>
                      <a:lnTo>
                        <a:pt x="161" y="86"/>
                      </a:lnTo>
                      <a:lnTo>
                        <a:pt x="155" y="69"/>
                      </a:lnTo>
                      <a:lnTo>
                        <a:pt x="149" y="57"/>
                      </a:lnTo>
                      <a:lnTo>
                        <a:pt x="135" y="43"/>
                      </a:lnTo>
                      <a:lnTo>
                        <a:pt x="121" y="35"/>
                      </a:lnTo>
                      <a:lnTo>
                        <a:pt x="103" y="32"/>
                      </a:lnTo>
                      <a:close/>
                      <a:moveTo>
                        <a:pt x="103" y="0"/>
                      </a:moveTo>
                      <a:lnTo>
                        <a:pt x="128" y="2"/>
                      </a:lnTo>
                      <a:lnTo>
                        <a:pt x="149" y="10"/>
                      </a:lnTo>
                      <a:lnTo>
                        <a:pt x="161" y="18"/>
                      </a:lnTo>
                      <a:lnTo>
                        <a:pt x="171" y="28"/>
                      </a:lnTo>
                      <a:lnTo>
                        <a:pt x="181" y="40"/>
                      </a:lnTo>
                      <a:lnTo>
                        <a:pt x="192" y="60"/>
                      </a:lnTo>
                      <a:lnTo>
                        <a:pt x="201" y="86"/>
                      </a:lnTo>
                      <a:lnTo>
                        <a:pt x="204" y="107"/>
                      </a:lnTo>
                      <a:lnTo>
                        <a:pt x="206" y="132"/>
                      </a:lnTo>
                      <a:lnTo>
                        <a:pt x="207" y="160"/>
                      </a:lnTo>
                      <a:lnTo>
                        <a:pt x="206" y="195"/>
                      </a:lnTo>
                      <a:lnTo>
                        <a:pt x="203" y="225"/>
                      </a:lnTo>
                      <a:lnTo>
                        <a:pt x="196" y="250"/>
                      </a:lnTo>
                      <a:lnTo>
                        <a:pt x="187" y="271"/>
                      </a:lnTo>
                      <a:lnTo>
                        <a:pt x="175" y="289"/>
                      </a:lnTo>
                      <a:lnTo>
                        <a:pt x="162" y="303"/>
                      </a:lnTo>
                      <a:lnTo>
                        <a:pt x="145" y="313"/>
                      </a:lnTo>
                      <a:lnTo>
                        <a:pt x="125" y="319"/>
                      </a:lnTo>
                      <a:lnTo>
                        <a:pt x="103" y="321"/>
                      </a:lnTo>
                      <a:lnTo>
                        <a:pt x="82" y="319"/>
                      </a:lnTo>
                      <a:lnTo>
                        <a:pt x="62" y="313"/>
                      </a:lnTo>
                      <a:lnTo>
                        <a:pt x="46" y="303"/>
                      </a:lnTo>
                      <a:lnTo>
                        <a:pt x="31" y="289"/>
                      </a:lnTo>
                      <a:lnTo>
                        <a:pt x="20" y="271"/>
                      </a:lnTo>
                      <a:lnTo>
                        <a:pt x="11" y="249"/>
                      </a:lnTo>
                      <a:lnTo>
                        <a:pt x="6" y="224"/>
                      </a:lnTo>
                      <a:lnTo>
                        <a:pt x="2" y="194"/>
                      </a:lnTo>
                      <a:lnTo>
                        <a:pt x="0" y="160"/>
                      </a:lnTo>
                      <a:lnTo>
                        <a:pt x="2" y="126"/>
                      </a:lnTo>
                      <a:lnTo>
                        <a:pt x="6" y="96"/>
                      </a:lnTo>
                      <a:lnTo>
                        <a:pt x="11" y="70"/>
                      </a:lnTo>
                      <a:lnTo>
                        <a:pt x="21" y="50"/>
                      </a:lnTo>
                      <a:lnTo>
                        <a:pt x="32" y="32"/>
                      </a:lnTo>
                      <a:lnTo>
                        <a:pt x="47" y="19"/>
                      </a:lnTo>
                      <a:lnTo>
                        <a:pt x="62" y="8"/>
                      </a:lnTo>
                      <a:lnTo>
                        <a:pt x="82" y="2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104" name="Group 157"/>
              <p:cNvGrpSpPr>
                <a:grpSpLocks noChangeAspect="1"/>
              </p:cNvGrpSpPr>
              <p:nvPr/>
            </p:nvGrpSpPr>
            <p:grpSpPr bwMode="auto">
              <a:xfrm>
                <a:off x="3539496" y="4250217"/>
                <a:ext cx="899853" cy="850158"/>
                <a:chOff x="3815" y="1810"/>
                <a:chExt cx="2354" cy="2224"/>
              </a:xfrm>
              <a:solidFill>
                <a:schemeClr val="bg1"/>
              </a:solidFill>
            </p:grpSpPr>
            <p:sp>
              <p:nvSpPr>
                <p:cNvPr id="105" name="Freeform 159"/>
                <p:cNvSpPr>
                  <a:spLocks noEditPoints="1"/>
                </p:cNvSpPr>
                <p:nvPr/>
              </p:nvSpPr>
              <p:spPr bwMode="auto">
                <a:xfrm>
                  <a:off x="3815" y="1810"/>
                  <a:ext cx="2021" cy="1982"/>
                </a:xfrm>
                <a:custGeom>
                  <a:avLst/>
                  <a:gdLst>
                    <a:gd name="T0" fmla="*/ 3423 w 4043"/>
                    <a:gd name="T1" fmla="*/ 409 h 3965"/>
                    <a:gd name="T2" fmla="*/ 3363 w 4043"/>
                    <a:gd name="T3" fmla="*/ 435 h 3965"/>
                    <a:gd name="T4" fmla="*/ 3317 w 4043"/>
                    <a:gd name="T5" fmla="*/ 481 h 3965"/>
                    <a:gd name="T6" fmla="*/ 3291 w 4043"/>
                    <a:gd name="T7" fmla="*/ 542 h 3965"/>
                    <a:gd name="T8" fmla="*/ 3291 w 4043"/>
                    <a:gd name="T9" fmla="*/ 611 h 3965"/>
                    <a:gd name="T10" fmla="*/ 3317 w 4043"/>
                    <a:gd name="T11" fmla="*/ 671 h 3965"/>
                    <a:gd name="T12" fmla="*/ 3363 w 4043"/>
                    <a:gd name="T13" fmla="*/ 716 h 3965"/>
                    <a:gd name="T14" fmla="*/ 3423 w 4043"/>
                    <a:gd name="T15" fmla="*/ 742 h 3965"/>
                    <a:gd name="T16" fmla="*/ 3491 w 4043"/>
                    <a:gd name="T17" fmla="*/ 742 h 3965"/>
                    <a:gd name="T18" fmla="*/ 3553 w 4043"/>
                    <a:gd name="T19" fmla="*/ 716 h 3965"/>
                    <a:gd name="T20" fmla="*/ 3598 w 4043"/>
                    <a:gd name="T21" fmla="*/ 671 h 3965"/>
                    <a:gd name="T22" fmla="*/ 3624 w 4043"/>
                    <a:gd name="T23" fmla="*/ 611 h 3965"/>
                    <a:gd name="T24" fmla="*/ 3624 w 4043"/>
                    <a:gd name="T25" fmla="*/ 542 h 3965"/>
                    <a:gd name="T26" fmla="*/ 3598 w 4043"/>
                    <a:gd name="T27" fmla="*/ 481 h 3965"/>
                    <a:gd name="T28" fmla="*/ 3553 w 4043"/>
                    <a:gd name="T29" fmla="*/ 435 h 3965"/>
                    <a:gd name="T30" fmla="*/ 3491 w 4043"/>
                    <a:gd name="T31" fmla="*/ 409 h 3965"/>
                    <a:gd name="T32" fmla="*/ 2924 w 4043"/>
                    <a:gd name="T33" fmla="*/ 406 h 3965"/>
                    <a:gd name="T34" fmla="*/ 2858 w 4043"/>
                    <a:gd name="T35" fmla="*/ 419 h 3965"/>
                    <a:gd name="T36" fmla="*/ 2804 w 4043"/>
                    <a:gd name="T37" fmla="*/ 456 h 3965"/>
                    <a:gd name="T38" fmla="*/ 2768 w 4043"/>
                    <a:gd name="T39" fmla="*/ 511 h 3965"/>
                    <a:gd name="T40" fmla="*/ 2755 w 4043"/>
                    <a:gd name="T41" fmla="*/ 576 h 3965"/>
                    <a:gd name="T42" fmla="*/ 2768 w 4043"/>
                    <a:gd name="T43" fmla="*/ 642 h 3965"/>
                    <a:gd name="T44" fmla="*/ 2804 w 4043"/>
                    <a:gd name="T45" fmla="*/ 696 h 3965"/>
                    <a:gd name="T46" fmla="*/ 2858 w 4043"/>
                    <a:gd name="T47" fmla="*/ 732 h 3965"/>
                    <a:gd name="T48" fmla="*/ 2924 w 4043"/>
                    <a:gd name="T49" fmla="*/ 746 h 3965"/>
                    <a:gd name="T50" fmla="*/ 2991 w 4043"/>
                    <a:gd name="T51" fmla="*/ 732 h 3965"/>
                    <a:gd name="T52" fmla="*/ 3045 w 4043"/>
                    <a:gd name="T53" fmla="*/ 696 h 3965"/>
                    <a:gd name="T54" fmla="*/ 3081 w 4043"/>
                    <a:gd name="T55" fmla="*/ 642 h 3965"/>
                    <a:gd name="T56" fmla="*/ 3094 w 4043"/>
                    <a:gd name="T57" fmla="*/ 576 h 3965"/>
                    <a:gd name="T58" fmla="*/ 3081 w 4043"/>
                    <a:gd name="T59" fmla="*/ 511 h 3965"/>
                    <a:gd name="T60" fmla="*/ 3045 w 4043"/>
                    <a:gd name="T61" fmla="*/ 456 h 3965"/>
                    <a:gd name="T62" fmla="*/ 2991 w 4043"/>
                    <a:gd name="T63" fmla="*/ 419 h 3965"/>
                    <a:gd name="T64" fmla="*/ 2924 w 4043"/>
                    <a:gd name="T65" fmla="*/ 406 h 3965"/>
                    <a:gd name="T66" fmla="*/ 3924 w 4043"/>
                    <a:gd name="T67" fmla="*/ 0 h 3965"/>
                    <a:gd name="T68" fmla="*/ 3984 w 4043"/>
                    <a:gd name="T69" fmla="*/ 18 h 3965"/>
                    <a:gd name="T70" fmla="*/ 4027 w 4043"/>
                    <a:gd name="T71" fmla="*/ 60 h 3965"/>
                    <a:gd name="T72" fmla="*/ 4043 w 4043"/>
                    <a:gd name="T73" fmla="*/ 120 h 3965"/>
                    <a:gd name="T74" fmla="*/ 4026 w 4043"/>
                    <a:gd name="T75" fmla="*/ 1778 h 3965"/>
                    <a:gd name="T76" fmla="*/ 3943 w 4043"/>
                    <a:gd name="T77" fmla="*/ 1795 h 3965"/>
                    <a:gd name="T78" fmla="*/ 3874 w 4043"/>
                    <a:gd name="T79" fmla="*/ 1841 h 3965"/>
                    <a:gd name="T80" fmla="*/ 3809 w 4043"/>
                    <a:gd name="T81" fmla="*/ 1868 h 3965"/>
                    <a:gd name="T82" fmla="*/ 3744 w 4043"/>
                    <a:gd name="T83" fmla="*/ 1878 h 3965"/>
                    <a:gd name="T84" fmla="*/ 3686 w 4043"/>
                    <a:gd name="T85" fmla="*/ 1908 h 3965"/>
                    <a:gd name="T86" fmla="*/ 357 w 4043"/>
                    <a:gd name="T87" fmla="*/ 1095 h 3965"/>
                    <a:gd name="T88" fmla="*/ 2587 w 4043"/>
                    <a:gd name="T89" fmla="*/ 3608 h 3965"/>
                    <a:gd name="T90" fmla="*/ 2585 w 4043"/>
                    <a:gd name="T91" fmla="*/ 3839 h 3965"/>
                    <a:gd name="T92" fmla="*/ 2602 w 4043"/>
                    <a:gd name="T93" fmla="*/ 3926 h 3965"/>
                    <a:gd name="T94" fmla="*/ 119 w 4043"/>
                    <a:gd name="T95" fmla="*/ 3965 h 3965"/>
                    <a:gd name="T96" fmla="*/ 59 w 4043"/>
                    <a:gd name="T97" fmla="*/ 3949 h 3965"/>
                    <a:gd name="T98" fmla="*/ 16 w 4043"/>
                    <a:gd name="T99" fmla="*/ 3906 h 3965"/>
                    <a:gd name="T100" fmla="*/ 0 w 4043"/>
                    <a:gd name="T101" fmla="*/ 3846 h 3965"/>
                    <a:gd name="T102" fmla="*/ 4 w 4043"/>
                    <a:gd name="T103" fmla="*/ 88 h 3965"/>
                    <a:gd name="T104" fmla="*/ 34 w 4043"/>
                    <a:gd name="T105" fmla="*/ 36 h 3965"/>
                    <a:gd name="T106" fmla="*/ 87 w 4043"/>
                    <a:gd name="T107" fmla="*/ 5 h 39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043" h="3965">
                      <a:moveTo>
                        <a:pt x="3457" y="406"/>
                      </a:moveTo>
                      <a:lnTo>
                        <a:pt x="3423" y="409"/>
                      </a:lnTo>
                      <a:lnTo>
                        <a:pt x="3391" y="419"/>
                      </a:lnTo>
                      <a:lnTo>
                        <a:pt x="3363" y="435"/>
                      </a:lnTo>
                      <a:lnTo>
                        <a:pt x="3337" y="456"/>
                      </a:lnTo>
                      <a:lnTo>
                        <a:pt x="3317" y="481"/>
                      </a:lnTo>
                      <a:lnTo>
                        <a:pt x="3301" y="511"/>
                      </a:lnTo>
                      <a:lnTo>
                        <a:pt x="3291" y="542"/>
                      </a:lnTo>
                      <a:lnTo>
                        <a:pt x="3287" y="576"/>
                      </a:lnTo>
                      <a:lnTo>
                        <a:pt x="3291" y="611"/>
                      </a:lnTo>
                      <a:lnTo>
                        <a:pt x="3301" y="642"/>
                      </a:lnTo>
                      <a:lnTo>
                        <a:pt x="3317" y="671"/>
                      </a:lnTo>
                      <a:lnTo>
                        <a:pt x="3337" y="696"/>
                      </a:lnTo>
                      <a:lnTo>
                        <a:pt x="3363" y="716"/>
                      </a:lnTo>
                      <a:lnTo>
                        <a:pt x="3391" y="732"/>
                      </a:lnTo>
                      <a:lnTo>
                        <a:pt x="3423" y="742"/>
                      </a:lnTo>
                      <a:lnTo>
                        <a:pt x="3457" y="746"/>
                      </a:lnTo>
                      <a:lnTo>
                        <a:pt x="3491" y="742"/>
                      </a:lnTo>
                      <a:lnTo>
                        <a:pt x="3524" y="732"/>
                      </a:lnTo>
                      <a:lnTo>
                        <a:pt x="3553" y="716"/>
                      </a:lnTo>
                      <a:lnTo>
                        <a:pt x="3577" y="696"/>
                      </a:lnTo>
                      <a:lnTo>
                        <a:pt x="3598" y="671"/>
                      </a:lnTo>
                      <a:lnTo>
                        <a:pt x="3614" y="642"/>
                      </a:lnTo>
                      <a:lnTo>
                        <a:pt x="3624" y="611"/>
                      </a:lnTo>
                      <a:lnTo>
                        <a:pt x="3627" y="576"/>
                      </a:lnTo>
                      <a:lnTo>
                        <a:pt x="3624" y="542"/>
                      </a:lnTo>
                      <a:lnTo>
                        <a:pt x="3614" y="511"/>
                      </a:lnTo>
                      <a:lnTo>
                        <a:pt x="3598" y="481"/>
                      </a:lnTo>
                      <a:lnTo>
                        <a:pt x="3577" y="456"/>
                      </a:lnTo>
                      <a:lnTo>
                        <a:pt x="3553" y="435"/>
                      </a:lnTo>
                      <a:lnTo>
                        <a:pt x="3524" y="419"/>
                      </a:lnTo>
                      <a:lnTo>
                        <a:pt x="3491" y="409"/>
                      </a:lnTo>
                      <a:lnTo>
                        <a:pt x="3457" y="406"/>
                      </a:lnTo>
                      <a:close/>
                      <a:moveTo>
                        <a:pt x="2924" y="406"/>
                      </a:moveTo>
                      <a:lnTo>
                        <a:pt x="2890" y="409"/>
                      </a:lnTo>
                      <a:lnTo>
                        <a:pt x="2858" y="419"/>
                      </a:lnTo>
                      <a:lnTo>
                        <a:pt x="2830" y="435"/>
                      </a:lnTo>
                      <a:lnTo>
                        <a:pt x="2804" y="456"/>
                      </a:lnTo>
                      <a:lnTo>
                        <a:pt x="2784" y="481"/>
                      </a:lnTo>
                      <a:lnTo>
                        <a:pt x="2768" y="511"/>
                      </a:lnTo>
                      <a:lnTo>
                        <a:pt x="2758" y="542"/>
                      </a:lnTo>
                      <a:lnTo>
                        <a:pt x="2755" y="576"/>
                      </a:lnTo>
                      <a:lnTo>
                        <a:pt x="2758" y="611"/>
                      </a:lnTo>
                      <a:lnTo>
                        <a:pt x="2768" y="642"/>
                      </a:lnTo>
                      <a:lnTo>
                        <a:pt x="2784" y="671"/>
                      </a:lnTo>
                      <a:lnTo>
                        <a:pt x="2804" y="696"/>
                      </a:lnTo>
                      <a:lnTo>
                        <a:pt x="2830" y="716"/>
                      </a:lnTo>
                      <a:lnTo>
                        <a:pt x="2858" y="732"/>
                      </a:lnTo>
                      <a:lnTo>
                        <a:pt x="2890" y="742"/>
                      </a:lnTo>
                      <a:lnTo>
                        <a:pt x="2924" y="746"/>
                      </a:lnTo>
                      <a:lnTo>
                        <a:pt x="2958" y="742"/>
                      </a:lnTo>
                      <a:lnTo>
                        <a:pt x="2991" y="732"/>
                      </a:lnTo>
                      <a:lnTo>
                        <a:pt x="3020" y="716"/>
                      </a:lnTo>
                      <a:lnTo>
                        <a:pt x="3045" y="696"/>
                      </a:lnTo>
                      <a:lnTo>
                        <a:pt x="3065" y="671"/>
                      </a:lnTo>
                      <a:lnTo>
                        <a:pt x="3081" y="642"/>
                      </a:lnTo>
                      <a:lnTo>
                        <a:pt x="3091" y="611"/>
                      </a:lnTo>
                      <a:lnTo>
                        <a:pt x="3094" y="576"/>
                      </a:lnTo>
                      <a:lnTo>
                        <a:pt x="3091" y="542"/>
                      </a:lnTo>
                      <a:lnTo>
                        <a:pt x="3081" y="511"/>
                      </a:lnTo>
                      <a:lnTo>
                        <a:pt x="3065" y="481"/>
                      </a:lnTo>
                      <a:lnTo>
                        <a:pt x="3045" y="456"/>
                      </a:lnTo>
                      <a:lnTo>
                        <a:pt x="3020" y="435"/>
                      </a:lnTo>
                      <a:lnTo>
                        <a:pt x="2991" y="419"/>
                      </a:lnTo>
                      <a:lnTo>
                        <a:pt x="2958" y="409"/>
                      </a:lnTo>
                      <a:lnTo>
                        <a:pt x="2924" y="406"/>
                      </a:lnTo>
                      <a:close/>
                      <a:moveTo>
                        <a:pt x="119" y="0"/>
                      </a:moveTo>
                      <a:lnTo>
                        <a:pt x="3924" y="0"/>
                      </a:lnTo>
                      <a:lnTo>
                        <a:pt x="3956" y="5"/>
                      </a:lnTo>
                      <a:lnTo>
                        <a:pt x="3984" y="18"/>
                      </a:lnTo>
                      <a:lnTo>
                        <a:pt x="4009" y="36"/>
                      </a:lnTo>
                      <a:lnTo>
                        <a:pt x="4027" y="60"/>
                      </a:lnTo>
                      <a:lnTo>
                        <a:pt x="4039" y="88"/>
                      </a:lnTo>
                      <a:lnTo>
                        <a:pt x="4043" y="120"/>
                      </a:lnTo>
                      <a:lnTo>
                        <a:pt x="4043" y="1778"/>
                      </a:lnTo>
                      <a:lnTo>
                        <a:pt x="4026" y="1778"/>
                      </a:lnTo>
                      <a:lnTo>
                        <a:pt x="3983" y="1783"/>
                      </a:lnTo>
                      <a:lnTo>
                        <a:pt x="3943" y="1795"/>
                      </a:lnTo>
                      <a:lnTo>
                        <a:pt x="3907" y="1815"/>
                      </a:lnTo>
                      <a:lnTo>
                        <a:pt x="3874" y="1841"/>
                      </a:lnTo>
                      <a:lnTo>
                        <a:pt x="3849" y="1873"/>
                      </a:lnTo>
                      <a:lnTo>
                        <a:pt x="3809" y="1868"/>
                      </a:lnTo>
                      <a:lnTo>
                        <a:pt x="3776" y="1871"/>
                      </a:lnTo>
                      <a:lnTo>
                        <a:pt x="3744" y="1878"/>
                      </a:lnTo>
                      <a:lnTo>
                        <a:pt x="3713" y="1891"/>
                      </a:lnTo>
                      <a:lnTo>
                        <a:pt x="3686" y="1908"/>
                      </a:lnTo>
                      <a:lnTo>
                        <a:pt x="3686" y="1095"/>
                      </a:lnTo>
                      <a:lnTo>
                        <a:pt x="357" y="1095"/>
                      </a:lnTo>
                      <a:lnTo>
                        <a:pt x="357" y="3608"/>
                      </a:lnTo>
                      <a:lnTo>
                        <a:pt x="2587" y="3608"/>
                      </a:lnTo>
                      <a:lnTo>
                        <a:pt x="2585" y="3640"/>
                      </a:lnTo>
                      <a:lnTo>
                        <a:pt x="2585" y="3839"/>
                      </a:lnTo>
                      <a:lnTo>
                        <a:pt x="2590" y="3885"/>
                      </a:lnTo>
                      <a:lnTo>
                        <a:pt x="2602" y="3926"/>
                      </a:lnTo>
                      <a:lnTo>
                        <a:pt x="2622" y="3965"/>
                      </a:lnTo>
                      <a:lnTo>
                        <a:pt x="119" y="3965"/>
                      </a:lnTo>
                      <a:lnTo>
                        <a:pt x="87" y="3961"/>
                      </a:lnTo>
                      <a:lnTo>
                        <a:pt x="59" y="3949"/>
                      </a:lnTo>
                      <a:lnTo>
                        <a:pt x="34" y="3931"/>
                      </a:lnTo>
                      <a:lnTo>
                        <a:pt x="16" y="3906"/>
                      </a:lnTo>
                      <a:lnTo>
                        <a:pt x="4" y="3878"/>
                      </a:lnTo>
                      <a:lnTo>
                        <a:pt x="0" y="3846"/>
                      </a:lnTo>
                      <a:lnTo>
                        <a:pt x="0" y="120"/>
                      </a:lnTo>
                      <a:lnTo>
                        <a:pt x="4" y="88"/>
                      </a:lnTo>
                      <a:lnTo>
                        <a:pt x="16" y="60"/>
                      </a:lnTo>
                      <a:lnTo>
                        <a:pt x="34" y="36"/>
                      </a:lnTo>
                      <a:lnTo>
                        <a:pt x="59" y="18"/>
                      </a:lnTo>
                      <a:lnTo>
                        <a:pt x="87" y="5"/>
                      </a:lnTo>
                      <a:lnTo>
                        <a:pt x="119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6" name="Freeform 160"/>
                <p:cNvSpPr>
                  <a:spLocks noEditPoints="1"/>
                </p:cNvSpPr>
                <p:nvPr/>
              </p:nvSpPr>
              <p:spPr bwMode="auto">
                <a:xfrm>
                  <a:off x="4491" y="2507"/>
                  <a:ext cx="895" cy="895"/>
                </a:xfrm>
                <a:custGeom>
                  <a:avLst/>
                  <a:gdLst>
                    <a:gd name="T0" fmla="*/ 727 w 1791"/>
                    <a:gd name="T1" fmla="*/ 498 h 1790"/>
                    <a:gd name="T2" fmla="*/ 554 w 1791"/>
                    <a:gd name="T3" fmla="*/ 632 h 1790"/>
                    <a:gd name="T4" fmla="*/ 469 w 1791"/>
                    <a:gd name="T5" fmla="*/ 836 h 1790"/>
                    <a:gd name="T6" fmla="*/ 499 w 1791"/>
                    <a:gd name="T7" fmla="*/ 1062 h 1790"/>
                    <a:gd name="T8" fmla="*/ 632 w 1791"/>
                    <a:gd name="T9" fmla="*/ 1236 h 1790"/>
                    <a:gd name="T10" fmla="*/ 837 w 1791"/>
                    <a:gd name="T11" fmla="*/ 1322 h 1790"/>
                    <a:gd name="T12" fmla="*/ 1063 w 1791"/>
                    <a:gd name="T13" fmla="*/ 1292 h 1790"/>
                    <a:gd name="T14" fmla="*/ 1236 w 1791"/>
                    <a:gd name="T15" fmla="*/ 1158 h 1790"/>
                    <a:gd name="T16" fmla="*/ 1323 w 1791"/>
                    <a:gd name="T17" fmla="*/ 953 h 1790"/>
                    <a:gd name="T18" fmla="*/ 1293 w 1791"/>
                    <a:gd name="T19" fmla="*/ 728 h 1790"/>
                    <a:gd name="T20" fmla="*/ 1159 w 1791"/>
                    <a:gd name="T21" fmla="*/ 553 h 1790"/>
                    <a:gd name="T22" fmla="*/ 955 w 1791"/>
                    <a:gd name="T23" fmla="*/ 468 h 1790"/>
                    <a:gd name="T24" fmla="*/ 1052 w 1791"/>
                    <a:gd name="T25" fmla="*/ 3 h 1790"/>
                    <a:gd name="T26" fmla="*/ 1139 w 1791"/>
                    <a:gd name="T27" fmla="*/ 73 h 1790"/>
                    <a:gd name="T28" fmla="*/ 1192 w 1791"/>
                    <a:gd name="T29" fmla="*/ 180 h 1790"/>
                    <a:gd name="T30" fmla="*/ 1303 w 1791"/>
                    <a:gd name="T31" fmla="*/ 142 h 1790"/>
                    <a:gd name="T32" fmla="*/ 1416 w 1791"/>
                    <a:gd name="T33" fmla="*/ 155 h 1790"/>
                    <a:gd name="T34" fmla="*/ 1649 w 1791"/>
                    <a:gd name="T35" fmla="*/ 402 h 1790"/>
                    <a:gd name="T36" fmla="*/ 1636 w 1791"/>
                    <a:gd name="T37" fmla="*/ 513 h 1790"/>
                    <a:gd name="T38" fmla="*/ 1625 w 1791"/>
                    <a:gd name="T39" fmla="*/ 638 h 1790"/>
                    <a:gd name="T40" fmla="*/ 1741 w 1791"/>
                    <a:gd name="T41" fmla="*/ 666 h 1790"/>
                    <a:gd name="T42" fmla="*/ 1791 w 1791"/>
                    <a:gd name="T43" fmla="*/ 769 h 1790"/>
                    <a:gd name="T44" fmla="*/ 1762 w 1791"/>
                    <a:gd name="T45" fmla="*/ 1104 h 1790"/>
                    <a:gd name="T46" fmla="*/ 1659 w 1791"/>
                    <a:gd name="T47" fmla="*/ 1152 h 1790"/>
                    <a:gd name="T48" fmla="*/ 1618 w 1791"/>
                    <a:gd name="T49" fmla="*/ 1252 h 1790"/>
                    <a:gd name="T50" fmla="*/ 1655 w 1791"/>
                    <a:gd name="T51" fmla="*/ 1361 h 1790"/>
                    <a:gd name="T52" fmla="*/ 1439 w 1791"/>
                    <a:gd name="T53" fmla="*/ 1617 h 1790"/>
                    <a:gd name="T54" fmla="*/ 1332 w 1791"/>
                    <a:gd name="T55" fmla="*/ 1655 h 1790"/>
                    <a:gd name="T56" fmla="*/ 1229 w 1791"/>
                    <a:gd name="T57" fmla="*/ 1592 h 1790"/>
                    <a:gd name="T58" fmla="*/ 1149 w 1791"/>
                    <a:gd name="T59" fmla="*/ 1688 h 1790"/>
                    <a:gd name="T60" fmla="*/ 1079 w 1791"/>
                    <a:gd name="T61" fmla="*/ 1777 h 1790"/>
                    <a:gd name="T62" fmla="*/ 740 w 1791"/>
                    <a:gd name="T63" fmla="*/ 1787 h 1790"/>
                    <a:gd name="T64" fmla="*/ 652 w 1791"/>
                    <a:gd name="T65" fmla="*/ 1717 h 1790"/>
                    <a:gd name="T66" fmla="*/ 600 w 1791"/>
                    <a:gd name="T67" fmla="*/ 1609 h 1790"/>
                    <a:gd name="T68" fmla="*/ 487 w 1791"/>
                    <a:gd name="T69" fmla="*/ 1648 h 1790"/>
                    <a:gd name="T70" fmla="*/ 374 w 1791"/>
                    <a:gd name="T71" fmla="*/ 1635 h 1790"/>
                    <a:gd name="T72" fmla="*/ 141 w 1791"/>
                    <a:gd name="T73" fmla="*/ 1389 h 1790"/>
                    <a:gd name="T74" fmla="*/ 154 w 1791"/>
                    <a:gd name="T75" fmla="*/ 1276 h 1790"/>
                    <a:gd name="T76" fmla="*/ 167 w 1791"/>
                    <a:gd name="T77" fmla="*/ 1152 h 1790"/>
                    <a:gd name="T78" fmla="*/ 50 w 1791"/>
                    <a:gd name="T79" fmla="*/ 1124 h 1790"/>
                    <a:gd name="T80" fmla="*/ 0 w 1791"/>
                    <a:gd name="T81" fmla="*/ 1021 h 1790"/>
                    <a:gd name="T82" fmla="*/ 29 w 1791"/>
                    <a:gd name="T83" fmla="*/ 686 h 1790"/>
                    <a:gd name="T84" fmla="*/ 133 w 1791"/>
                    <a:gd name="T85" fmla="*/ 638 h 1790"/>
                    <a:gd name="T86" fmla="*/ 174 w 1791"/>
                    <a:gd name="T87" fmla="*/ 538 h 1790"/>
                    <a:gd name="T88" fmla="*/ 136 w 1791"/>
                    <a:gd name="T89" fmla="*/ 429 h 1790"/>
                    <a:gd name="T90" fmla="*/ 351 w 1791"/>
                    <a:gd name="T91" fmla="*/ 173 h 1790"/>
                    <a:gd name="T92" fmla="*/ 459 w 1791"/>
                    <a:gd name="T93" fmla="*/ 135 h 1790"/>
                    <a:gd name="T94" fmla="*/ 562 w 1791"/>
                    <a:gd name="T95" fmla="*/ 197 h 1790"/>
                    <a:gd name="T96" fmla="*/ 642 w 1791"/>
                    <a:gd name="T97" fmla="*/ 102 h 1790"/>
                    <a:gd name="T98" fmla="*/ 712 w 1791"/>
                    <a:gd name="T99" fmla="*/ 13 h 17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791" h="1790">
                      <a:moveTo>
                        <a:pt x="896" y="463"/>
                      </a:moveTo>
                      <a:lnTo>
                        <a:pt x="837" y="468"/>
                      </a:lnTo>
                      <a:lnTo>
                        <a:pt x="780" y="479"/>
                      </a:lnTo>
                      <a:lnTo>
                        <a:pt x="727" y="498"/>
                      </a:lnTo>
                      <a:lnTo>
                        <a:pt x="677" y="523"/>
                      </a:lnTo>
                      <a:lnTo>
                        <a:pt x="632" y="553"/>
                      </a:lnTo>
                      <a:lnTo>
                        <a:pt x="590" y="590"/>
                      </a:lnTo>
                      <a:lnTo>
                        <a:pt x="554" y="632"/>
                      </a:lnTo>
                      <a:lnTo>
                        <a:pt x="523" y="678"/>
                      </a:lnTo>
                      <a:lnTo>
                        <a:pt x="499" y="728"/>
                      </a:lnTo>
                      <a:lnTo>
                        <a:pt x="480" y="781"/>
                      </a:lnTo>
                      <a:lnTo>
                        <a:pt x="469" y="836"/>
                      </a:lnTo>
                      <a:lnTo>
                        <a:pt x="464" y="895"/>
                      </a:lnTo>
                      <a:lnTo>
                        <a:pt x="469" y="953"/>
                      </a:lnTo>
                      <a:lnTo>
                        <a:pt x="480" y="1009"/>
                      </a:lnTo>
                      <a:lnTo>
                        <a:pt x="499" y="1062"/>
                      </a:lnTo>
                      <a:lnTo>
                        <a:pt x="523" y="1112"/>
                      </a:lnTo>
                      <a:lnTo>
                        <a:pt x="554" y="1158"/>
                      </a:lnTo>
                      <a:lnTo>
                        <a:pt x="590" y="1199"/>
                      </a:lnTo>
                      <a:lnTo>
                        <a:pt x="632" y="1236"/>
                      </a:lnTo>
                      <a:lnTo>
                        <a:pt x="677" y="1268"/>
                      </a:lnTo>
                      <a:lnTo>
                        <a:pt x="727" y="1292"/>
                      </a:lnTo>
                      <a:lnTo>
                        <a:pt x="780" y="1311"/>
                      </a:lnTo>
                      <a:lnTo>
                        <a:pt x="837" y="1322"/>
                      </a:lnTo>
                      <a:lnTo>
                        <a:pt x="896" y="1326"/>
                      </a:lnTo>
                      <a:lnTo>
                        <a:pt x="955" y="1322"/>
                      </a:lnTo>
                      <a:lnTo>
                        <a:pt x="1010" y="1311"/>
                      </a:lnTo>
                      <a:lnTo>
                        <a:pt x="1063" y="1292"/>
                      </a:lnTo>
                      <a:lnTo>
                        <a:pt x="1113" y="1268"/>
                      </a:lnTo>
                      <a:lnTo>
                        <a:pt x="1159" y="1236"/>
                      </a:lnTo>
                      <a:lnTo>
                        <a:pt x="1200" y="1199"/>
                      </a:lnTo>
                      <a:lnTo>
                        <a:pt x="1236" y="1158"/>
                      </a:lnTo>
                      <a:lnTo>
                        <a:pt x="1268" y="1112"/>
                      </a:lnTo>
                      <a:lnTo>
                        <a:pt x="1293" y="1062"/>
                      </a:lnTo>
                      <a:lnTo>
                        <a:pt x="1310" y="1009"/>
                      </a:lnTo>
                      <a:lnTo>
                        <a:pt x="1323" y="953"/>
                      </a:lnTo>
                      <a:lnTo>
                        <a:pt x="1326" y="895"/>
                      </a:lnTo>
                      <a:lnTo>
                        <a:pt x="1323" y="836"/>
                      </a:lnTo>
                      <a:lnTo>
                        <a:pt x="1310" y="781"/>
                      </a:lnTo>
                      <a:lnTo>
                        <a:pt x="1293" y="728"/>
                      </a:lnTo>
                      <a:lnTo>
                        <a:pt x="1268" y="678"/>
                      </a:lnTo>
                      <a:lnTo>
                        <a:pt x="1236" y="632"/>
                      </a:lnTo>
                      <a:lnTo>
                        <a:pt x="1200" y="590"/>
                      </a:lnTo>
                      <a:lnTo>
                        <a:pt x="1159" y="553"/>
                      </a:lnTo>
                      <a:lnTo>
                        <a:pt x="1113" y="523"/>
                      </a:lnTo>
                      <a:lnTo>
                        <a:pt x="1063" y="498"/>
                      </a:lnTo>
                      <a:lnTo>
                        <a:pt x="1010" y="479"/>
                      </a:lnTo>
                      <a:lnTo>
                        <a:pt x="955" y="468"/>
                      </a:lnTo>
                      <a:lnTo>
                        <a:pt x="896" y="463"/>
                      </a:lnTo>
                      <a:close/>
                      <a:moveTo>
                        <a:pt x="770" y="0"/>
                      </a:moveTo>
                      <a:lnTo>
                        <a:pt x="1020" y="0"/>
                      </a:lnTo>
                      <a:lnTo>
                        <a:pt x="1052" y="3"/>
                      </a:lnTo>
                      <a:lnTo>
                        <a:pt x="1079" y="13"/>
                      </a:lnTo>
                      <a:lnTo>
                        <a:pt x="1103" y="29"/>
                      </a:lnTo>
                      <a:lnTo>
                        <a:pt x="1125" y="49"/>
                      </a:lnTo>
                      <a:lnTo>
                        <a:pt x="1139" y="73"/>
                      </a:lnTo>
                      <a:lnTo>
                        <a:pt x="1149" y="102"/>
                      </a:lnTo>
                      <a:lnTo>
                        <a:pt x="1153" y="132"/>
                      </a:lnTo>
                      <a:lnTo>
                        <a:pt x="1153" y="166"/>
                      </a:lnTo>
                      <a:lnTo>
                        <a:pt x="1192" y="180"/>
                      </a:lnTo>
                      <a:lnTo>
                        <a:pt x="1229" y="197"/>
                      </a:lnTo>
                      <a:lnTo>
                        <a:pt x="1253" y="173"/>
                      </a:lnTo>
                      <a:lnTo>
                        <a:pt x="1276" y="155"/>
                      </a:lnTo>
                      <a:lnTo>
                        <a:pt x="1303" y="142"/>
                      </a:lnTo>
                      <a:lnTo>
                        <a:pt x="1332" y="135"/>
                      </a:lnTo>
                      <a:lnTo>
                        <a:pt x="1360" y="135"/>
                      </a:lnTo>
                      <a:lnTo>
                        <a:pt x="1389" y="142"/>
                      </a:lnTo>
                      <a:lnTo>
                        <a:pt x="1416" y="155"/>
                      </a:lnTo>
                      <a:lnTo>
                        <a:pt x="1439" y="173"/>
                      </a:lnTo>
                      <a:lnTo>
                        <a:pt x="1618" y="350"/>
                      </a:lnTo>
                      <a:lnTo>
                        <a:pt x="1636" y="375"/>
                      </a:lnTo>
                      <a:lnTo>
                        <a:pt x="1649" y="402"/>
                      </a:lnTo>
                      <a:lnTo>
                        <a:pt x="1655" y="429"/>
                      </a:lnTo>
                      <a:lnTo>
                        <a:pt x="1655" y="459"/>
                      </a:lnTo>
                      <a:lnTo>
                        <a:pt x="1649" y="488"/>
                      </a:lnTo>
                      <a:lnTo>
                        <a:pt x="1636" y="513"/>
                      </a:lnTo>
                      <a:lnTo>
                        <a:pt x="1618" y="538"/>
                      </a:lnTo>
                      <a:lnTo>
                        <a:pt x="1593" y="562"/>
                      </a:lnTo>
                      <a:lnTo>
                        <a:pt x="1609" y="599"/>
                      </a:lnTo>
                      <a:lnTo>
                        <a:pt x="1625" y="638"/>
                      </a:lnTo>
                      <a:lnTo>
                        <a:pt x="1659" y="638"/>
                      </a:lnTo>
                      <a:lnTo>
                        <a:pt x="1689" y="640"/>
                      </a:lnTo>
                      <a:lnTo>
                        <a:pt x="1716" y="651"/>
                      </a:lnTo>
                      <a:lnTo>
                        <a:pt x="1741" y="666"/>
                      </a:lnTo>
                      <a:lnTo>
                        <a:pt x="1762" y="686"/>
                      </a:lnTo>
                      <a:lnTo>
                        <a:pt x="1778" y="712"/>
                      </a:lnTo>
                      <a:lnTo>
                        <a:pt x="1788" y="739"/>
                      </a:lnTo>
                      <a:lnTo>
                        <a:pt x="1791" y="769"/>
                      </a:lnTo>
                      <a:lnTo>
                        <a:pt x="1791" y="1021"/>
                      </a:lnTo>
                      <a:lnTo>
                        <a:pt x="1788" y="1051"/>
                      </a:lnTo>
                      <a:lnTo>
                        <a:pt x="1778" y="1079"/>
                      </a:lnTo>
                      <a:lnTo>
                        <a:pt x="1762" y="1104"/>
                      </a:lnTo>
                      <a:lnTo>
                        <a:pt x="1741" y="1124"/>
                      </a:lnTo>
                      <a:lnTo>
                        <a:pt x="1716" y="1139"/>
                      </a:lnTo>
                      <a:lnTo>
                        <a:pt x="1689" y="1149"/>
                      </a:lnTo>
                      <a:lnTo>
                        <a:pt x="1659" y="1152"/>
                      </a:lnTo>
                      <a:lnTo>
                        <a:pt x="1625" y="1152"/>
                      </a:lnTo>
                      <a:lnTo>
                        <a:pt x="1609" y="1191"/>
                      </a:lnTo>
                      <a:lnTo>
                        <a:pt x="1593" y="1228"/>
                      </a:lnTo>
                      <a:lnTo>
                        <a:pt x="1618" y="1252"/>
                      </a:lnTo>
                      <a:lnTo>
                        <a:pt x="1636" y="1276"/>
                      </a:lnTo>
                      <a:lnTo>
                        <a:pt x="1649" y="1304"/>
                      </a:lnTo>
                      <a:lnTo>
                        <a:pt x="1655" y="1331"/>
                      </a:lnTo>
                      <a:lnTo>
                        <a:pt x="1655" y="1361"/>
                      </a:lnTo>
                      <a:lnTo>
                        <a:pt x="1649" y="1389"/>
                      </a:lnTo>
                      <a:lnTo>
                        <a:pt x="1636" y="1415"/>
                      </a:lnTo>
                      <a:lnTo>
                        <a:pt x="1618" y="1439"/>
                      </a:lnTo>
                      <a:lnTo>
                        <a:pt x="1439" y="1617"/>
                      </a:lnTo>
                      <a:lnTo>
                        <a:pt x="1416" y="1635"/>
                      </a:lnTo>
                      <a:lnTo>
                        <a:pt x="1389" y="1648"/>
                      </a:lnTo>
                      <a:lnTo>
                        <a:pt x="1360" y="1655"/>
                      </a:lnTo>
                      <a:lnTo>
                        <a:pt x="1332" y="1655"/>
                      </a:lnTo>
                      <a:lnTo>
                        <a:pt x="1303" y="1648"/>
                      </a:lnTo>
                      <a:lnTo>
                        <a:pt x="1276" y="1635"/>
                      </a:lnTo>
                      <a:lnTo>
                        <a:pt x="1253" y="1617"/>
                      </a:lnTo>
                      <a:lnTo>
                        <a:pt x="1229" y="1592"/>
                      </a:lnTo>
                      <a:lnTo>
                        <a:pt x="1192" y="1609"/>
                      </a:lnTo>
                      <a:lnTo>
                        <a:pt x="1153" y="1624"/>
                      </a:lnTo>
                      <a:lnTo>
                        <a:pt x="1153" y="1658"/>
                      </a:lnTo>
                      <a:lnTo>
                        <a:pt x="1149" y="1688"/>
                      </a:lnTo>
                      <a:lnTo>
                        <a:pt x="1139" y="1717"/>
                      </a:lnTo>
                      <a:lnTo>
                        <a:pt x="1125" y="1741"/>
                      </a:lnTo>
                      <a:lnTo>
                        <a:pt x="1103" y="1761"/>
                      </a:lnTo>
                      <a:lnTo>
                        <a:pt x="1079" y="1777"/>
                      </a:lnTo>
                      <a:lnTo>
                        <a:pt x="1052" y="1787"/>
                      </a:lnTo>
                      <a:lnTo>
                        <a:pt x="1020" y="1790"/>
                      </a:lnTo>
                      <a:lnTo>
                        <a:pt x="770" y="1790"/>
                      </a:lnTo>
                      <a:lnTo>
                        <a:pt x="740" y="1787"/>
                      </a:lnTo>
                      <a:lnTo>
                        <a:pt x="712" y="1777"/>
                      </a:lnTo>
                      <a:lnTo>
                        <a:pt x="687" y="1761"/>
                      </a:lnTo>
                      <a:lnTo>
                        <a:pt x="667" y="1741"/>
                      </a:lnTo>
                      <a:lnTo>
                        <a:pt x="652" y="1717"/>
                      </a:lnTo>
                      <a:lnTo>
                        <a:pt x="642" y="1688"/>
                      </a:lnTo>
                      <a:lnTo>
                        <a:pt x="637" y="1658"/>
                      </a:lnTo>
                      <a:lnTo>
                        <a:pt x="637" y="1624"/>
                      </a:lnTo>
                      <a:lnTo>
                        <a:pt x="600" y="1609"/>
                      </a:lnTo>
                      <a:lnTo>
                        <a:pt x="562" y="1592"/>
                      </a:lnTo>
                      <a:lnTo>
                        <a:pt x="537" y="1617"/>
                      </a:lnTo>
                      <a:lnTo>
                        <a:pt x="514" y="1635"/>
                      </a:lnTo>
                      <a:lnTo>
                        <a:pt x="487" y="1648"/>
                      </a:lnTo>
                      <a:lnTo>
                        <a:pt x="459" y="1655"/>
                      </a:lnTo>
                      <a:lnTo>
                        <a:pt x="430" y="1655"/>
                      </a:lnTo>
                      <a:lnTo>
                        <a:pt x="401" y="1648"/>
                      </a:lnTo>
                      <a:lnTo>
                        <a:pt x="374" y="1635"/>
                      </a:lnTo>
                      <a:lnTo>
                        <a:pt x="351" y="1617"/>
                      </a:lnTo>
                      <a:lnTo>
                        <a:pt x="174" y="1439"/>
                      </a:lnTo>
                      <a:lnTo>
                        <a:pt x="154" y="1415"/>
                      </a:lnTo>
                      <a:lnTo>
                        <a:pt x="141" y="1389"/>
                      </a:lnTo>
                      <a:lnTo>
                        <a:pt x="136" y="1361"/>
                      </a:lnTo>
                      <a:lnTo>
                        <a:pt x="136" y="1331"/>
                      </a:lnTo>
                      <a:lnTo>
                        <a:pt x="141" y="1304"/>
                      </a:lnTo>
                      <a:lnTo>
                        <a:pt x="154" y="1276"/>
                      </a:lnTo>
                      <a:lnTo>
                        <a:pt x="174" y="1252"/>
                      </a:lnTo>
                      <a:lnTo>
                        <a:pt x="199" y="1228"/>
                      </a:lnTo>
                      <a:lnTo>
                        <a:pt x="181" y="1191"/>
                      </a:lnTo>
                      <a:lnTo>
                        <a:pt x="167" y="1152"/>
                      </a:lnTo>
                      <a:lnTo>
                        <a:pt x="133" y="1152"/>
                      </a:lnTo>
                      <a:lnTo>
                        <a:pt x="101" y="1149"/>
                      </a:lnTo>
                      <a:lnTo>
                        <a:pt x="74" y="1139"/>
                      </a:lnTo>
                      <a:lnTo>
                        <a:pt x="50" y="1124"/>
                      </a:lnTo>
                      <a:lnTo>
                        <a:pt x="29" y="1104"/>
                      </a:lnTo>
                      <a:lnTo>
                        <a:pt x="14" y="1079"/>
                      </a:lnTo>
                      <a:lnTo>
                        <a:pt x="4" y="1051"/>
                      </a:lnTo>
                      <a:lnTo>
                        <a:pt x="0" y="1021"/>
                      </a:lnTo>
                      <a:lnTo>
                        <a:pt x="0" y="769"/>
                      </a:lnTo>
                      <a:lnTo>
                        <a:pt x="4" y="739"/>
                      </a:lnTo>
                      <a:lnTo>
                        <a:pt x="14" y="712"/>
                      </a:lnTo>
                      <a:lnTo>
                        <a:pt x="29" y="686"/>
                      </a:lnTo>
                      <a:lnTo>
                        <a:pt x="50" y="666"/>
                      </a:lnTo>
                      <a:lnTo>
                        <a:pt x="74" y="651"/>
                      </a:lnTo>
                      <a:lnTo>
                        <a:pt x="101" y="640"/>
                      </a:lnTo>
                      <a:lnTo>
                        <a:pt x="133" y="638"/>
                      </a:lnTo>
                      <a:lnTo>
                        <a:pt x="167" y="638"/>
                      </a:lnTo>
                      <a:lnTo>
                        <a:pt x="181" y="599"/>
                      </a:lnTo>
                      <a:lnTo>
                        <a:pt x="199" y="562"/>
                      </a:lnTo>
                      <a:lnTo>
                        <a:pt x="174" y="538"/>
                      </a:lnTo>
                      <a:lnTo>
                        <a:pt x="154" y="513"/>
                      </a:lnTo>
                      <a:lnTo>
                        <a:pt x="141" y="488"/>
                      </a:lnTo>
                      <a:lnTo>
                        <a:pt x="136" y="459"/>
                      </a:lnTo>
                      <a:lnTo>
                        <a:pt x="136" y="429"/>
                      </a:lnTo>
                      <a:lnTo>
                        <a:pt x="141" y="402"/>
                      </a:lnTo>
                      <a:lnTo>
                        <a:pt x="154" y="375"/>
                      </a:lnTo>
                      <a:lnTo>
                        <a:pt x="174" y="350"/>
                      </a:lnTo>
                      <a:lnTo>
                        <a:pt x="351" y="173"/>
                      </a:lnTo>
                      <a:lnTo>
                        <a:pt x="376" y="155"/>
                      </a:lnTo>
                      <a:lnTo>
                        <a:pt x="401" y="142"/>
                      </a:lnTo>
                      <a:lnTo>
                        <a:pt x="430" y="135"/>
                      </a:lnTo>
                      <a:lnTo>
                        <a:pt x="459" y="135"/>
                      </a:lnTo>
                      <a:lnTo>
                        <a:pt x="487" y="142"/>
                      </a:lnTo>
                      <a:lnTo>
                        <a:pt x="514" y="155"/>
                      </a:lnTo>
                      <a:lnTo>
                        <a:pt x="537" y="173"/>
                      </a:lnTo>
                      <a:lnTo>
                        <a:pt x="562" y="197"/>
                      </a:lnTo>
                      <a:lnTo>
                        <a:pt x="600" y="180"/>
                      </a:lnTo>
                      <a:lnTo>
                        <a:pt x="637" y="166"/>
                      </a:lnTo>
                      <a:lnTo>
                        <a:pt x="637" y="132"/>
                      </a:lnTo>
                      <a:lnTo>
                        <a:pt x="642" y="102"/>
                      </a:lnTo>
                      <a:lnTo>
                        <a:pt x="652" y="73"/>
                      </a:lnTo>
                      <a:lnTo>
                        <a:pt x="667" y="49"/>
                      </a:lnTo>
                      <a:lnTo>
                        <a:pt x="687" y="29"/>
                      </a:lnTo>
                      <a:lnTo>
                        <a:pt x="712" y="13"/>
                      </a:lnTo>
                      <a:lnTo>
                        <a:pt x="740" y="3"/>
                      </a:lnTo>
                      <a:lnTo>
                        <a:pt x="77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7" name="Freeform 161"/>
                <p:cNvSpPr>
                  <a:spLocks noEditPoints="1"/>
                </p:cNvSpPr>
                <p:nvPr/>
              </p:nvSpPr>
              <p:spPr bwMode="auto">
                <a:xfrm>
                  <a:off x="5171" y="3325"/>
                  <a:ext cx="710" cy="709"/>
                </a:xfrm>
                <a:custGeom>
                  <a:avLst/>
                  <a:gdLst>
                    <a:gd name="T0" fmla="*/ 602 w 1421"/>
                    <a:gd name="T1" fmla="*/ 385 h 1419"/>
                    <a:gd name="T2" fmla="*/ 469 w 1421"/>
                    <a:gd name="T3" fmla="*/ 467 h 1419"/>
                    <a:gd name="T4" fmla="*/ 386 w 1421"/>
                    <a:gd name="T5" fmla="*/ 602 h 1419"/>
                    <a:gd name="T6" fmla="*/ 373 w 1421"/>
                    <a:gd name="T7" fmla="*/ 765 h 1419"/>
                    <a:gd name="T8" fmla="*/ 435 w 1421"/>
                    <a:gd name="T9" fmla="*/ 912 h 1419"/>
                    <a:gd name="T10" fmla="*/ 553 w 1421"/>
                    <a:gd name="T11" fmla="*/ 1013 h 1419"/>
                    <a:gd name="T12" fmla="*/ 711 w 1421"/>
                    <a:gd name="T13" fmla="*/ 1051 h 1419"/>
                    <a:gd name="T14" fmla="*/ 868 w 1421"/>
                    <a:gd name="T15" fmla="*/ 1013 h 1419"/>
                    <a:gd name="T16" fmla="*/ 986 w 1421"/>
                    <a:gd name="T17" fmla="*/ 912 h 1419"/>
                    <a:gd name="T18" fmla="*/ 1048 w 1421"/>
                    <a:gd name="T19" fmla="*/ 765 h 1419"/>
                    <a:gd name="T20" fmla="*/ 1035 w 1421"/>
                    <a:gd name="T21" fmla="*/ 602 h 1419"/>
                    <a:gd name="T22" fmla="*/ 952 w 1421"/>
                    <a:gd name="T23" fmla="*/ 467 h 1419"/>
                    <a:gd name="T24" fmla="*/ 819 w 1421"/>
                    <a:gd name="T25" fmla="*/ 385 h 1419"/>
                    <a:gd name="T26" fmla="*/ 611 w 1421"/>
                    <a:gd name="T27" fmla="*/ 0 h 1419"/>
                    <a:gd name="T28" fmla="*/ 864 w 1421"/>
                    <a:gd name="T29" fmla="*/ 14 h 1419"/>
                    <a:gd name="T30" fmla="*/ 911 w 1421"/>
                    <a:gd name="T31" fmla="*/ 76 h 1419"/>
                    <a:gd name="T32" fmla="*/ 975 w 1421"/>
                    <a:gd name="T33" fmla="*/ 156 h 1419"/>
                    <a:gd name="T34" fmla="*/ 1032 w 1421"/>
                    <a:gd name="T35" fmla="*/ 113 h 1419"/>
                    <a:gd name="T36" fmla="*/ 1085 w 1421"/>
                    <a:gd name="T37" fmla="*/ 107 h 1419"/>
                    <a:gd name="T38" fmla="*/ 1142 w 1421"/>
                    <a:gd name="T39" fmla="*/ 137 h 1419"/>
                    <a:gd name="T40" fmla="*/ 1311 w 1421"/>
                    <a:gd name="T41" fmla="*/ 326 h 1419"/>
                    <a:gd name="T42" fmla="*/ 1299 w 1421"/>
                    <a:gd name="T43" fmla="*/ 403 h 1419"/>
                    <a:gd name="T44" fmla="*/ 1288 w 1421"/>
                    <a:gd name="T45" fmla="*/ 505 h 1419"/>
                    <a:gd name="T46" fmla="*/ 1368 w 1421"/>
                    <a:gd name="T47" fmla="*/ 519 h 1419"/>
                    <a:gd name="T48" fmla="*/ 1417 w 1421"/>
                    <a:gd name="T49" fmla="*/ 582 h 1419"/>
                    <a:gd name="T50" fmla="*/ 1417 w 1421"/>
                    <a:gd name="T51" fmla="*/ 836 h 1419"/>
                    <a:gd name="T52" fmla="*/ 1368 w 1421"/>
                    <a:gd name="T53" fmla="*/ 899 h 1419"/>
                    <a:gd name="T54" fmla="*/ 1288 w 1421"/>
                    <a:gd name="T55" fmla="*/ 913 h 1419"/>
                    <a:gd name="T56" fmla="*/ 1299 w 1421"/>
                    <a:gd name="T57" fmla="*/ 1015 h 1419"/>
                    <a:gd name="T58" fmla="*/ 1311 w 1421"/>
                    <a:gd name="T59" fmla="*/ 1093 h 1419"/>
                    <a:gd name="T60" fmla="*/ 1142 w 1421"/>
                    <a:gd name="T61" fmla="*/ 1282 h 1419"/>
                    <a:gd name="T62" fmla="*/ 1068 w 1421"/>
                    <a:gd name="T63" fmla="*/ 1312 h 1419"/>
                    <a:gd name="T64" fmla="*/ 994 w 1421"/>
                    <a:gd name="T65" fmla="*/ 1282 h 1419"/>
                    <a:gd name="T66" fmla="*/ 915 w 1421"/>
                    <a:gd name="T67" fmla="*/ 1315 h 1419"/>
                    <a:gd name="T68" fmla="*/ 884 w 1421"/>
                    <a:gd name="T69" fmla="*/ 1388 h 1419"/>
                    <a:gd name="T70" fmla="*/ 811 w 1421"/>
                    <a:gd name="T71" fmla="*/ 1419 h 1419"/>
                    <a:gd name="T72" fmla="*/ 558 w 1421"/>
                    <a:gd name="T73" fmla="*/ 1405 h 1419"/>
                    <a:gd name="T74" fmla="*/ 511 w 1421"/>
                    <a:gd name="T75" fmla="*/ 1342 h 1419"/>
                    <a:gd name="T76" fmla="*/ 446 w 1421"/>
                    <a:gd name="T77" fmla="*/ 1262 h 1419"/>
                    <a:gd name="T78" fmla="*/ 379 w 1421"/>
                    <a:gd name="T79" fmla="*/ 1309 h 1419"/>
                    <a:gd name="T80" fmla="*/ 302 w 1421"/>
                    <a:gd name="T81" fmla="*/ 1299 h 1419"/>
                    <a:gd name="T82" fmla="*/ 122 w 1421"/>
                    <a:gd name="T83" fmla="*/ 1119 h 1419"/>
                    <a:gd name="T84" fmla="*/ 110 w 1421"/>
                    <a:gd name="T85" fmla="*/ 1041 h 1419"/>
                    <a:gd name="T86" fmla="*/ 158 w 1421"/>
                    <a:gd name="T87" fmla="*/ 973 h 1419"/>
                    <a:gd name="T88" fmla="*/ 78 w 1421"/>
                    <a:gd name="T89" fmla="*/ 911 h 1419"/>
                    <a:gd name="T90" fmla="*/ 15 w 1421"/>
                    <a:gd name="T91" fmla="*/ 862 h 1419"/>
                    <a:gd name="T92" fmla="*/ 0 w 1421"/>
                    <a:gd name="T93" fmla="*/ 610 h 1419"/>
                    <a:gd name="T94" fmla="*/ 32 w 1421"/>
                    <a:gd name="T95" fmla="*/ 536 h 1419"/>
                    <a:gd name="T96" fmla="*/ 106 w 1421"/>
                    <a:gd name="T97" fmla="*/ 505 h 1419"/>
                    <a:gd name="T98" fmla="*/ 139 w 1421"/>
                    <a:gd name="T99" fmla="*/ 426 h 1419"/>
                    <a:gd name="T100" fmla="*/ 108 w 1421"/>
                    <a:gd name="T101" fmla="*/ 352 h 1419"/>
                    <a:gd name="T102" fmla="*/ 139 w 1421"/>
                    <a:gd name="T103" fmla="*/ 277 h 1419"/>
                    <a:gd name="T104" fmla="*/ 326 w 1421"/>
                    <a:gd name="T105" fmla="*/ 110 h 1419"/>
                    <a:gd name="T106" fmla="*/ 405 w 1421"/>
                    <a:gd name="T107" fmla="*/ 120 h 1419"/>
                    <a:gd name="T108" fmla="*/ 506 w 1421"/>
                    <a:gd name="T109" fmla="*/ 132 h 1419"/>
                    <a:gd name="T110" fmla="*/ 521 w 1421"/>
                    <a:gd name="T111" fmla="*/ 52 h 1419"/>
                    <a:gd name="T112" fmla="*/ 583 w 1421"/>
                    <a:gd name="T113" fmla="*/ 3 h 14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421" h="1419">
                      <a:moveTo>
                        <a:pt x="711" y="367"/>
                      </a:moveTo>
                      <a:lnTo>
                        <a:pt x="655" y="372"/>
                      </a:lnTo>
                      <a:lnTo>
                        <a:pt x="602" y="385"/>
                      </a:lnTo>
                      <a:lnTo>
                        <a:pt x="553" y="406"/>
                      </a:lnTo>
                      <a:lnTo>
                        <a:pt x="509" y="433"/>
                      </a:lnTo>
                      <a:lnTo>
                        <a:pt x="469" y="467"/>
                      </a:lnTo>
                      <a:lnTo>
                        <a:pt x="435" y="508"/>
                      </a:lnTo>
                      <a:lnTo>
                        <a:pt x="406" y="552"/>
                      </a:lnTo>
                      <a:lnTo>
                        <a:pt x="386" y="602"/>
                      </a:lnTo>
                      <a:lnTo>
                        <a:pt x="373" y="653"/>
                      </a:lnTo>
                      <a:lnTo>
                        <a:pt x="369" y="709"/>
                      </a:lnTo>
                      <a:lnTo>
                        <a:pt x="373" y="765"/>
                      </a:lnTo>
                      <a:lnTo>
                        <a:pt x="386" y="818"/>
                      </a:lnTo>
                      <a:lnTo>
                        <a:pt x="406" y="866"/>
                      </a:lnTo>
                      <a:lnTo>
                        <a:pt x="435" y="912"/>
                      </a:lnTo>
                      <a:lnTo>
                        <a:pt x="469" y="951"/>
                      </a:lnTo>
                      <a:lnTo>
                        <a:pt x="509" y="985"/>
                      </a:lnTo>
                      <a:lnTo>
                        <a:pt x="553" y="1013"/>
                      </a:lnTo>
                      <a:lnTo>
                        <a:pt x="602" y="1033"/>
                      </a:lnTo>
                      <a:lnTo>
                        <a:pt x="655" y="1046"/>
                      </a:lnTo>
                      <a:lnTo>
                        <a:pt x="711" y="1051"/>
                      </a:lnTo>
                      <a:lnTo>
                        <a:pt x="766" y="1046"/>
                      </a:lnTo>
                      <a:lnTo>
                        <a:pt x="819" y="1033"/>
                      </a:lnTo>
                      <a:lnTo>
                        <a:pt x="868" y="1013"/>
                      </a:lnTo>
                      <a:lnTo>
                        <a:pt x="912" y="985"/>
                      </a:lnTo>
                      <a:lnTo>
                        <a:pt x="952" y="951"/>
                      </a:lnTo>
                      <a:lnTo>
                        <a:pt x="986" y="912"/>
                      </a:lnTo>
                      <a:lnTo>
                        <a:pt x="1014" y="866"/>
                      </a:lnTo>
                      <a:lnTo>
                        <a:pt x="1035" y="818"/>
                      </a:lnTo>
                      <a:lnTo>
                        <a:pt x="1048" y="765"/>
                      </a:lnTo>
                      <a:lnTo>
                        <a:pt x="1052" y="709"/>
                      </a:lnTo>
                      <a:lnTo>
                        <a:pt x="1048" y="653"/>
                      </a:lnTo>
                      <a:lnTo>
                        <a:pt x="1035" y="602"/>
                      </a:lnTo>
                      <a:lnTo>
                        <a:pt x="1014" y="552"/>
                      </a:lnTo>
                      <a:lnTo>
                        <a:pt x="986" y="508"/>
                      </a:lnTo>
                      <a:lnTo>
                        <a:pt x="952" y="467"/>
                      </a:lnTo>
                      <a:lnTo>
                        <a:pt x="912" y="433"/>
                      </a:lnTo>
                      <a:lnTo>
                        <a:pt x="868" y="406"/>
                      </a:lnTo>
                      <a:lnTo>
                        <a:pt x="819" y="385"/>
                      </a:lnTo>
                      <a:lnTo>
                        <a:pt x="766" y="372"/>
                      </a:lnTo>
                      <a:lnTo>
                        <a:pt x="711" y="367"/>
                      </a:lnTo>
                      <a:close/>
                      <a:moveTo>
                        <a:pt x="611" y="0"/>
                      </a:moveTo>
                      <a:lnTo>
                        <a:pt x="811" y="0"/>
                      </a:lnTo>
                      <a:lnTo>
                        <a:pt x="838" y="3"/>
                      </a:lnTo>
                      <a:lnTo>
                        <a:pt x="864" y="14"/>
                      </a:lnTo>
                      <a:lnTo>
                        <a:pt x="884" y="30"/>
                      </a:lnTo>
                      <a:lnTo>
                        <a:pt x="901" y="52"/>
                      </a:lnTo>
                      <a:lnTo>
                        <a:pt x="911" y="76"/>
                      </a:lnTo>
                      <a:lnTo>
                        <a:pt x="915" y="104"/>
                      </a:lnTo>
                      <a:lnTo>
                        <a:pt x="915" y="132"/>
                      </a:lnTo>
                      <a:lnTo>
                        <a:pt x="975" y="156"/>
                      </a:lnTo>
                      <a:lnTo>
                        <a:pt x="994" y="137"/>
                      </a:lnTo>
                      <a:lnTo>
                        <a:pt x="1014" y="122"/>
                      </a:lnTo>
                      <a:lnTo>
                        <a:pt x="1032" y="113"/>
                      </a:lnTo>
                      <a:lnTo>
                        <a:pt x="1052" y="107"/>
                      </a:lnTo>
                      <a:lnTo>
                        <a:pt x="1069" y="107"/>
                      </a:lnTo>
                      <a:lnTo>
                        <a:pt x="1085" y="107"/>
                      </a:lnTo>
                      <a:lnTo>
                        <a:pt x="1095" y="110"/>
                      </a:lnTo>
                      <a:lnTo>
                        <a:pt x="1121" y="120"/>
                      </a:lnTo>
                      <a:lnTo>
                        <a:pt x="1142" y="137"/>
                      </a:lnTo>
                      <a:lnTo>
                        <a:pt x="1282" y="277"/>
                      </a:lnTo>
                      <a:lnTo>
                        <a:pt x="1299" y="300"/>
                      </a:lnTo>
                      <a:lnTo>
                        <a:pt x="1311" y="326"/>
                      </a:lnTo>
                      <a:lnTo>
                        <a:pt x="1314" y="352"/>
                      </a:lnTo>
                      <a:lnTo>
                        <a:pt x="1311" y="379"/>
                      </a:lnTo>
                      <a:lnTo>
                        <a:pt x="1299" y="403"/>
                      </a:lnTo>
                      <a:lnTo>
                        <a:pt x="1282" y="426"/>
                      </a:lnTo>
                      <a:lnTo>
                        <a:pt x="1264" y="445"/>
                      </a:lnTo>
                      <a:lnTo>
                        <a:pt x="1288" y="505"/>
                      </a:lnTo>
                      <a:lnTo>
                        <a:pt x="1315" y="505"/>
                      </a:lnTo>
                      <a:lnTo>
                        <a:pt x="1344" y="509"/>
                      </a:lnTo>
                      <a:lnTo>
                        <a:pt x="1368" y="519"/>
                      </a:lnTo>
                      <a:lnTo>
                        <a:pt x="1389" y="536"/>
                      </a:lnTo>
                      <a:lnTo>
                        <a:pt x="1407" y="558"/>
                      </a:lnTo>
                      <a:lnTo>
                        <a:pt x="1417" y="582"/>
                      </a:lnTo>
                      <a:lnTo>
                        <a:pt x="1421" y="610"/>
                      </a:lnTo>
                      <a:lnTo>
                        <a:pt x="1421" y="809"/>
                      </a:lnTo>
                      <a:lnTo>
                        <a:pt x="1417" y="836"/>
                      </a:lnTo>
                      <a:lnTo>
                        <a:pt x="1407" y="862"/>
                      </a:lnTo>
                      <a:lnTo>
                        <a:pt x="1389" y="883"/>
                      </a:lnTo>
                      <a:lnTo>
                        <a:pt x="1368" y="899"/>
                      </a:lnTo>
                      <a:lnTo>
                        <a:pt x="1344" y="911"/>
                      </a:lnTo>
                      <a:lnTo>
                        <a:pt x="1315" y="913"/>
                      </a:lnTo>
                      <a:lnTo>
                        <a:pt x="1288" y="913"/>
                      </a:lnTo>
                      <a:lnTo>
                        <a:pt x="1264" y="973"/>
                      </a:lnTo>
                      <a:lnTo>
                        <a:pt x="1282" y="993"/>
                      </a:lnTo>
                      <a:lnTo>
                        <a:pt x="1299" y="1015"/>
                      </a:lnTo>
                      <a:lnTo>
                        <a:pt x="1311" y="1041"/>
                      </a:lnTo>
                      <a:lnTo>
                        <a:pt x="1314" y="1066"/>
                      </a:lnTo>
                      <a:lnTo>
                        <a:pt x="1311" y="1093"/>
                      </a:lnTo>
                      <a:lnTo>
                        <a:pt x="1299" y="1119"/>
                      </a:lnTo>
                      <a:lnTo>
                        <a:pt x="1282" y="1141"/>
                      </a:lnTo>
                      <a:lnTo>
                        <a:pt x="1142" y="1282"/>
                      </a:lnTo>
                      <a:lnTo>
                        <a:pt x="1119" y="1299"/>
                      </a:lnTo>
                      <a:lnTo>
                        <a:pt x="1095" y="1309"/>
                      </a:lnTo>
                      <a:lnTo>
                        <a:pt x="1068" y="1312"/>
                      </a:lnTo>
                      <a:lnTo>
                        <a:pt x="1042" y="1309"/>
                      </a:lnTo>
                      <a:lnTo>
                        <a:pt x="1016" y="1299"/>
                      </a:lnTo>
                      <a:lnTo>
                        <a:pt x="994" y="1282"/>
                      </a:lnTo>
                      <a:lnTo>
                        <a:pt x="975" y="1262"/>
                      </a:lnTo>
                      <a:lnTo>
                        <a:pt x="915" y="1288"/>
                      </a:lnTo>
                      <a:lnTo>
                        <a:pt x="915" y="1315"/>
                      </a:lnTo>
                      <a:lnTo>
                        <a:pt x="911" y="1342"/>
                      </a:lnTo>
                      <a:lnTo>
                        <a:pt x="901" y="1368"/>
                      </a:lnTo>
                      <a:lnTo>
                        <a:pt x="884" y="1388"/>
                      </a:lnTo>
                      <a:lnTo>
                        <a:pt x="864" y="1405"/>
                      </a:lnTo>
                      <a:lnTo>
                        <a:pt x="838" y="1415"/>
                      </a:lnTo>
                      <a:lnTo>
                        <a:pt x="811" y="1419"/>
                      </a:lnTo>
                      <a:lnTo>
                        <a:pt x="611" y="1419"/>
                      </a:lnTo>
                      <a:lnTo>
                        <a:pt x="583" y="1415"/>
                      </a:lnTo>
                      <a:lnTo>
                        <a:pt x="558" y="1405"/>
                      </a:lnTo>
                      <a:lnTo>
                        <a:pt x="538" y="1388"/>
                      </a:lnTo>
                      <a:lnTo>
                        <a:pt x="521" y="1368"/>
                      </a:lnTo>
                      <a:lnTo>
                        <a:pt x="511" y="1342"/>
                      </a:lnTo>
                      <a:lnTo>
                        <a:pt x="506" y="1315"/>
                      </a:lnTo>
                      <a:lnTo>
                        <a:pt x="506" y="1288"/>
                      </a:lnTo>
                      <a:lnTo>
                        <a:pt x="446" y="1262"/>
                      </a:lnTo>
                      <a:lnTo>
                        <a:pt x="428" y="1282"/>
                      </a:lnTo>
                      <a:lnTo>
                        <a:pt x="405" y="1299"/>
                      </a:lnTo>
                      <a:lnTo>
                        <a:pt x="379" y="1309"/>
                      </a:lnTo>
                      <a:lnTo>
                        <a:pt x="353" y="1312"/>
                      </a:lnTo>
                      <a:lnTo>
                        <a:pt x="326" y="1309"/>
                      </a:lnTo>
                      <a:lnTo>
                        <a:pt x="302" y="1299"/>
                      </a:lnTo>
                      <a:lnTo>
                        <a:pt x="279" y="1282"/>
                      </a:lnTo>
                      <a:lnTo>
                        <a:pt x="139" y="1141"/>
                      </a:lnTo>
                      <a:lnTo>
                        <a:pt x="122" y="1119"/>
                      </a:lnTo>
                      <a:lnTo>
                        <a:pt x="110" y="1093"/>
                      </a:lnTo>
                      <a:lnTo>
                        <a:pt x="108" y="1066"/>
                      </a:lnTo>
                      <a:lnTo>
                        <a:pt x="110" y="1041"/>
                      </a:lnTo>
                      <a:lnTo>
                        <a:pt x="122" y="1015"/>
                      </a:lnTo>
                      <a:lnTo>
                        <a:pt x="139" y="993"/>
                      </a:lnTo>
                      <a:lnTo>
                        <a:pt x="158" y="973"/>
                      </a:lnTo>
                      <a:lnTo>
                        <a:pt x="133" y="913"/>
                      </a:lnTo>
                      <a:lnTo>
                        <a:pt x="106" y="913"/>
                      </a:lnTo>
                      <a:lnTo>
                        <a:pt x="78" y="911"/>
                      </a:lnTo>
                      <a:lnTo>
                        <a:pt x="53" y="899"/>
                      </a:lnTo>
                      <a:lnTo>
                        <a:pt x="32" y="883"/>
                      </a:lnTo>
                      <a:lnTo>
                        <a:pt x="15" y="862"/>
                      </a:lnTo>
                      <a:lnTo>
                        <a:pt x="5" y="836"/>
                      </a:lnTo>
                      <a:lnTo>
                        <a:pt x="0" y="809"/>
                      </a:lnTo>
                      <a:lnTo>
                        <a:pt x="0" y="610"/>
                      </a:lnTo>
                      <a:lnTo>
                        <a:pt x="5" y="582"/>
                      </a:lnTo>
                      <a:lnTo>
                        <a:pt x="15" y="558"/>
                      </a:lnTo>
                      <a:lnTo>
                        <a:pt x="32" y="536"/>
                      </a:lnTo>
                      <a:lnTo>
                        <a:pt x="53" y="519"/>
                      </a:lnTo>
                      <a:lnTo>
                        <a:pt x="78" y="509"/>
                      </a:lnTo>
                      <a:lnTo>
                        <a:pt x="106" y="505"/>
                      </a:lnTo>
                      <a:lnTo>
                        <a:pt x="133" y="505"/>
                      </a:lnTo>
                      <a:lnTo>
                        <a:pt x="158" y="445"/>
                      </a:lnTo>
                      <a:lnTo>
                        <a:pt x="139" y="426"/>
                      </a:lnTo>
                      <a:lnTo>
                        <a:pt x="122" y="403"/>
                      </a:lnTo>
                      <a:lnTo>
                        <a:pt x="110" y="379"/>
                      </a:lnTo>
                      <a:lnTo>
                        <a:pt x="108" y="352"/>
                      </a:lnTo>
                      <a:lnTo>
                        <a:pt x="110" y="326"/>
                      </a:lnTo>
                      <a:lnTo>
                        <a:pt x="122" y="300"/>
                      </a:lnTo>
                      <a:lnTo>
                        <a:pt x="139" y="277"/>
                      </a:lnTo>
                      <a:lnTo>
                        <a:pt x="279" y="137"/>
                      </a:lnTo>
                      <a:lnTo>
                        <a:pt x="302" y="120"/>
                      </a:lnTo>
                      <a:lnTo>
                        <a:pt x="326" y="110"/>
                      </a:lnTo>
                      <a:lnTo>
                        <a:pt x="353" y="106"/>
                      </a:lnTo>
                      <a:lnTo>
                        <a:pt x="379" y="110"/>
                      </a:lnTo>
                      <a:lnTo>
                        <a:pt x="405" y="120"/>
                      </a:lnTo>
                      <a:lnTo>
                        <a:pt x="428" y="137"/>
                      </a:lnTo>
                      <a:lnTo>
                        <a:pt x="446" y="156"/>
                      </a:lnTo>
                      <a:lnTo>
                        <a:pt x="506" y="132"/>
                      </a:lnTo>
                      <a:lnTo>
                        <a:pt x="506" y="104"/>
                      </a:lnTo>
                      <a:lnTo>
                        <a:pt x="511" y="76"/>
                      </a:lnTo>
                      <a:lnTo>
                        <a:pt x="521" y="52"/>
                      </a:lnTo>
                      <a:lnTo>
                        <a:pt x="538" y="30"/>
                      </a:lnTo>
                      <a:lnTo>
                        <a:pt x="558" y="14"/>
                      </a:lnTo>
                      <a:lnTo>
                        <a:pt x="583" y="3"/>
                      </a:lnTo>
                      <a:lnTo>
                        <a:pt x="61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8" name="Freeform 162"/>
                <p:cNvSpPr>
                  <a:spLocks noEditPoints="1"/>
                </p:cNvSpPr>
                <p:nvPr/>
              </p:nvSpPr>
              <p:spPr bwMode="auto">
                <a:xfrm>
                  <a:off x="5571" y="2763"/>
                  <a:ext cx="598" cy="598"/>
                </a:xfrm>
                <a:custGeom>
                  <a:avLst/>
                  <a:gdLst>
                    <a:gd name="T0" fmla="*/ 506 w 1194"/>
                    <a:gd name="T1" fmla="*/ 324 h 1196"/>
                    <a:gd name="T2" fmla="*/ 393 w 1194"/>
                    <a:gd name="T3" fmla="*/ 394 h 1196"/>
                    <a:gd name="T4" fmla="*/ 324 w 1194"/>
                    <a:gd name="T5" fmla="*/ 507 h 1196"/>
                    <a:gd name="T6" fmla="*/ 313 w 1194"/>
                    <a:gd name="T7" fmla="*/ 644 h 1196"/>
                    <a:gd name="T8" fmla="*/ 364 w 1194"/>
                    <a:gd name="T9" fmla="*/ 767 h 1196"/>
                    <a:gd name="T10" fmla="*/ 464 w 1194"/>
                    <a:gd name="T11" fmla="*/ 853 h 1196"/>
                    <a:gd name="T12" fmla="*/ 597 w 1194"/>
                    <a:gd name="T13" fmla="*/ 886 h 1196"/>
                    <a:gd name="T14" fmla="*/ 729 w 1194"/>
                    <a:gd name="T15" fmla="*/ 853 h 1196"/>
                    <a:gd name="T16" fmla="*/ 829 w 1194"/>
                    <a:gd name="T17" fmla="*/ 767 h 1196"/>
                    <a:gd name="T18" fmla="*/ 881 w 1194"/>
                    <a:gd name="T19" fmla="*/ 644 h 1196"/>
                    <a:gd name="T20" fmla="*/ 870 w 1194"/>
                    <a:gd name="T21" fmla="*/ 507 h 1196"/>
                    <a:gd name="T22" fmla="*/ 800 w 1194"/>
                    <a:gd name="T23" fmla="*/ 394 h 1196"/>
                    <a:gd name="T24" fmla="*/ 689 w 1194"/>
                    <a:gd name="T25" fmla="*/ 324 h 1196"/>
                    <a:gd name="T26" fmla="*/ 513 w 1194"/>
                    <a:gd name="T27" fmla="*/ 0 h 1196"/>
                    <a:gd name="T28" fmla="*/ 726 w 1194"/>
                    <a:gd name="T29" fmla="*/ 11 h 1196"/>
                    <a:gd name="T30" fmla="*/ 766 w 1194"/>
                    <a:gd name="T31" fmla="*/ 64 h 1196"/>
                    <a:gd name="T32" fmla="*/ 820 w 1194"/>
                    <a:gd name="T33" fmla="*/ 131 h 1196"/>
                    <a:gd name="T34" fmla="*/ 876 w 1194"/>
                    <a:gd name="T35" fmla="*/ 93 h 1196"/>
                    <a:gd name="T36" fmla="*/ 941 w 1194"/>
                    <a:gd name="T37" fmla="*/ 101 h 1196"/>
                    <a:gd name="T38" fmla="*/ 1093 w 1194"/>
                    <a:gd name="T39" fmla="*/ 253 h 1196"/>
                    <a:gd name="T40" fmla="*/ 1102 w 1194"/>
                    <a:gd name="T41" fmla="*/ 319 h 1196"/>
                    <a:gd name="T42" fmla="*/ 1063 w 1194"/>
                    <a:gd name="T43" fmla="*/ 376 h 1196"/>
                    <a:gd name="T44" fmla="*/ 1130 w 1194"/>
                    <a:gd name="T45" fmla="*/ 429 h 1196"/>
                    <a:gd name="T46" fmla="*/ 1183 w 1194"/>
                    <a:gd name="T47" fmla="*/ 469 h 1196"/>
                    <a:gd name="T48" fmla="*/ 1194 w 1194"/>
                    <a:gd name="T49" fmla="*/ 682 h 1196"/>
                    <a:gd name="T50" fmla="*/ 1169 w 1194"/>
                    <a:gd name="T51" fmla="*/ 743 h 1196"/>
                    <a:gd name="T52" fmla="*/ 1106 w 1194"/>
                    <a:gd name="T53" fmla="*/ 770 h 1196"/>
                    <a:gd name="T54" fmla="*/ 1079 w 1194"/>
                    <a:gd name="T55" fmla="*/ 836 h 1196"/>
                    <a:gd name="T56" fmla="*/ 1104 w 1194"/>
                    <a:gd name="T57" fmla="*/ 899 h 1196"/>
                    <a:gd name="T58" fmla="*/ 1079 w 1194"/>
                    <a:gd name="T59" fmla="*/ 962 h 1196"/>
                    <a:gd name="T60" fmla="*/ 920 w 1194"/>
                    <a:gd name="T61" fmla="*/ 1103 h 1196"/>
                    <a:gd name="T62" fmla="*/ 854 w 1194"/>
                    <a:gd name="T63" fmla="*/ 1095 h 1196"/>
                    <a:gd name="T64" fmla="*/ 769 w 1194"/>
                    <a:gd name="T65" fmla="*/ 1085 h 1196"/>
                    <a:gd name="T66" fmla="*/ 757 w 1194"/>
                    <a:gd name="T67" fmla="*/ 1152 h 1196"/>
                    <a:gd name="T68" fmla="*/ 704 w 1194"/>
                    <a:gd name="T69" fmla="*/ 1192 h 1196"/>
                    <a:gd name="T70" fmla="*/ 490 w 1194"/>
                    <a:gd name="T71" fmla="*/ 1192 h 1196"/>
                    <a:gd name="T72" fmla="*/ 437 w 1194"/>
                    <a:gd name="T73" fmla="*/ 1152 h 1196"/>
                    <a:gd name="T74" fmla="*/ 426 w 1194"/>
                    <a:gd name="T75" fmla="*/ 1085 h 1196"/>
                    <a:gd name="T76" fmla="*/ 340 w 1194"/>
                    <a:gd name="T77" fmla="*/ 1095 h 1196"/>
                    <a:gd name="T78" fmla="*/ 274 w 1194"/>
                    <a:gd name="T79" fmla="*/ 1103 h 1196"/>
                    <a:gd name="T80" fmla="*/ 115 w 1194"/>
                    <a:gd name="T81" fmla="*/ 962 h 1196"/>
                    <a:gd name="T82" fmla="*/ 90 w 1194"/>
                    <a:gd name="T83" fmla="*/ 899 h 1196"/>
                    <a:gd name="T84" fmla="*/ 115 w 1194"/>
                    <a:gd name="T85" fmla="*/ 836 h 1196"/>
                    <a:gd name="T86" fmla="*/ 87 w 1194"/>
                    <a:gd name="T87" fmla="*/ 770 h 1196"/>
                    <a:gd name="T88" fmla="*/ 25 w 1194"/>
                    <a:gd name="T89" fmla="*/ 743 h 1196"/>
                    <a:gd name="T90" fmla="*/ 0 w 1194"/>
                    <a:gd name="T91" fmla="*/ 682 h 1196"/>
                    <a:gd name="T92" fmla="*/ 11 w 1194"/>
                    <a:gd name="T93" fmla="*/ 469 h 1196"/>
                    <a:gd name="T94" fmla="*/ 64 w 1194"/>
                    <a:gd name="T95" fmla="*/ 429 h 1196"/>
                    <a:gd name="T96" fmla="*/ 131 w 1194"/>
                    <a:gd name="T97" fmla="*/ 376 h 1196"/>
                    <a:gd name="T98" fmla="*/ 93 w 1194"/>
                    <a:gd name="T99" fmla="*/ 319 h 1196"/>
                    <a:gd name="T100" fmla="*/ 101 w 1194"/>
                    <a:gd name="T101" fmla="*/ 253 h 1196"/>
                    <a:gd name="T102" fmla="*/ 253 w 1194"/>
                    <a:gd name="T103" fmla="*/ 101 h 1196"/>
                    <a:gd name="T104" fmla="*/ 318 w 1194"/>
                    <a:gd name="T105" fmla="*/ 93 h 1196"/>
                    <a:gd name="T106" fmla="*/ 374 w 1194"/>
                    <a:gd name="T107" fmla="*/ 131 h 1196"/>
                    <a:gd name="T108" fmla="*/ 428 w 1194"/>
                    <a:gd name="T109" fmla="*/ 64 h 1196"/>
                    <a:gd name="T110" fmla="*/ 468 w 1194"/>
                    <a:gd name="T111" fmla="*/ 11 h 11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194" h="1196">
                      <a:moveTo>
                        <a:pt x="597" y="310"/>
                      </a:moveTo>
                      <a:lnTo>
                        <a:pt x="550" y="313"/>
                      </a:lnTo>
                      <a:lnTo>
                        <a:pt x="506" y="324"/>
                      </a:lnTo>
                      <a:lnTo>
                        <a:pt x="464" y="341"/>
                      </a:lnTo>
                      <a:lnTo>
                        <a:pt x="427" y="366"/>
                      </a:lnTo>
                      <a:lnTo>
                        <a:pt x="393" y="394"/>
                      </a:lnTo>
                      <a:lnTo>
                        <a:pt x="364" y="427"/>
                      </a:lnTo>
                      <a:lnTo>
                        <a:pt x="341" y="466"/>
                      </a:lnTo>
                      <a:lnTo>
                        <a:pt x="324" y="507"/>
                      </a:lnTo>
                      <a:lnTo>
                        <a:pt x="313" y="552"/>
                      </a:lnTo>
                      <a:lnTo>
                        <a:pt x="308" y="597"/>
                      </a:lnTo>
                      <a:lnTo>
                        <a:pt x="313" y="644"/>
                      </a:lnTo>
                      <a:lnTo>
                        <a:pt x="324" y="689"/>
                      </a:lnTo>
                      <a:lnTo>
                        <a:pt x="341" y="730"/>
                      </a:lnTo>
                      <a:lnTo>
                        <a:pt x="364" y="767"/>
                      </a:lnTo>
                      <a:lnTo>
                        <a:pt x="393" y="802"/>
                      </a:lnTo>
                      <a:lnTo>
                        <a:pt x="427" y="830"/>
                      </a:lnTo>
                      <a:lnTo>
                        <a:pt x="464" y="853"/>
                      </a:lnTo>
                      <a:lnTo>
                        <a:pt x="506" y="870"/>
                      </a:lnTo>
                      <a:lnTo>
                        <a:pt x="550" y="882"/>
                      </a:lnTo>
                      <a:lnTo>
                        <a:pt x="597" y="886"/>
                      </a:lnTo>
                      <a:lnTo>
                        <a:pt x="644" y="882"/>
                      </a:lnTo>
                      <a:lnTo>
                        <a:pt x="689" y="870"/>
                      </a:lnTo>
                      <a:lnTo>
                        <a:pt x="729" y="853"/>
                      </a:lnTo>
                      <a:lnTo>
                        <a:pt x="767" y="830"/>
                      </a:lnTo>
                      <a:lnTo>
                        <a:pt x="800" y="802"/>
                      </a:lnTo>
                      <a:lnTo>
                        <a:pt x="829" y="767"/>
                      </a:lnTo>
                      <a:lnTo>
                        <a:pt x="853" y="730"/>
                      </a:lnTo>
                      <a:lnTo>
                        <a:pt x="870" y="689"/>
                      </a:lnTo>
                      <a:lnTo>
                        <a:pt x="881" y="644"/>
                      </a:lnTo>
                      <a:lnTo>
                        <a:pt x="884" y="597"/>
                      </a:lnTo>
                      <a:lnTo>
                        <a:pt x="881" y="552"/>
                      </a:lnTo>
                      <a:lnTo>
                        <a:pt x="870" y="507"/>
                      </a:lnTo>
                      <a:lnTo>
                        <a:pt x="853" y="466"/>
                      </a:lnTo>
                      <a:lnTo>
                        <a:pt x="829" y="427"/>
                      </a:lnTo>
                      <a:lnTo>
                        <a:pt x="800" y="394"/>
                      </a:lnTo>
                      <a:lnTo>
                        <a:pt x="767" y="366"/>
                      </a:lnTo>
                      <a:lnTo>
                        <a:pt x="729" y="341"/>
                      </a:lnTo>
                      <a:lnTo>
                        <a:pt x="689" y="324"/>
                      </a:lnTo>
                      <a:lnTo>
                        <a:pt x="644" y="313"/>
                      </a:lnTo>
                      <a:lnTo>
                        <a:pt x="597" y="310"/>
                      </a:lnTo>
                      <a:close/>
                      <a:moveTo>
                        <a:pt x="513" y="0"/>
                      </a:moveTo>
                      <a:lnTo>
                        <a:pt x="681" y="0"/>
                      </a:lnTo>
                      <a:lnTo>
                        <a:pt x="704" y="3"/>
                      </a:lnTo>
                      <a:lnTo>
                        <a:pt x="726" y="11"/>
                      </a:lnTo>
                      <a:lnTo>
                        <a:pt x="743" y="26"/>
                      </a:lnTo>
                      <a:lnTo>
                        <a:pt x="757" y="43"/>
                      </a:lnTo>
                      <a:lnTo>
                        <a:pt x="766" y="64"/>
                      </a:lnTo>
                      <a:lnTo>
                        <a:pt x="769" y="88"/>
                      </a:lnTo>
                      <a:lnTo>
                        <a:pt x="769" y="111"/>
                      </a:lnTo>
                      <a:lnTo>
                        <a:pt x="820" y="131"/>
                      </a:lnTo>
                      <a:lnTo>
                        <a:pt x="836" y="116"/>
                      </a:lnTo>
                      <a:lnTo>
                        <a:pt x="854" y="101"/>
                      </a:lnTo>
                      <a:lnTo>
                        <a:pt x="876" y="93"/>
                      </a:lnTo>
                      <a:lnTo>
                        <a:pt x="899" y="90"/>
                      </a:lnTo>
                      <a:lnTo>
                        <a:pt x="920" y="93"/>
                      </a:lnTo>
                      <a:lnTo>
                        <a:pt x="941" y="101"/>
                      </a:lnTo>
                      <a:lnTo>
                        <a:pt x="960" y="116"/>
                      </a:lnTo>
                      <a:lnTo>
                        <a:pt x="1079" y="234"/>
                      </a:lnTo>
                      <a:lnTo>
                        <a:pt x="1093" y="253"/>
                      </a:lnTo>
                      <a:lnTo>
                        <a:pt x="1102" y="274"/>
                      </a:lnTo>
                      <a:lnTo>
                        <a:pt x="1104" y="297"/>
                      </a:lnTo>
                      <a:lnTo>
                        <a:pt x="1102" y="319"/>
                      </a:lnTo>
                      <a:lnTo>
                        <a:pt x="1093" y="340"/>
                      </a:lnTo>
                      <a:lnTo>
                        <a:pt x="1079" y="359"/>
                      </a:lnTo>
                      <a:lnTo>
                        <a:pt x="1063" y="376"/>
                      </a:lnTo>
                      <a:lnTo>
                        <a:pt x="1083" y="426"/>
                      </a:lnTo>
                      <a:lnTo>
                        <a:pt x="1106" y="426"/>
                      </a:lnTo>
                      <a:lnTo>
                        <a:pt x="1130" y="429"/>
                      </a:lnTo>
                      <a:lnTo>
                        <a:pt x="1152" y="437"/>
                      </a:lnTo>
                      <a:lnTo>
                        <a:pt x="1169" y="451"/>
                      </a:lnTo>
                      <a:lnTo>
                        <a:pt x="1183" y="469"/>
                      </a:lnTo>
                      <a:lnTo>
                        <a:pt x="1192" y="490"/>
                      </a:lnTo>
                      <a:lnTo>
                        <a:pt x="1194" y="514"/>
                      </a:lnTo>
                      <a:lnTo>
                        <a:pt x="1194" y="682"/>
                      </a:lnTo>
                      <a:lnTo>
                        <a:pt x="1192" y="704"/>
                      </a:lnTo>
                      <a:lnTo>
                        <a:pt x="1183" y="726"/>
                      </a:lnTo>
                      <a:lnTo>
                        <a:pt x="1169" y="743"/>
                      </a:lnTo>
                      <a:lnTo>
                        <a:pt x="1152" y="757"/>
                      </a:lnTo>
                      <a:lnTo>
                        <a:pt x="1130" y="766"/>
                      </a:lnTo>
                      <a:lnTo>
                        <a:pt x="1106" y="770"/>
                      </a:lnTo>
                      <a:lnTo>
                        <a:pt x="1083" y="770"/>
                      </a:lnTo>
                      <a:lnTo>
                        <a:pt x="1063" y="820"/>
                      </a:lnTo>
                      <a:lnTo>
                        <a:pt x="1079" y="836"/>
                      </a:lnTo>
                      <a:lnTo>
                        <a:pt x="1093" y="854"/>
                      </a:lnTo>
                      <a:lnTo>
                        <a:pt x="1102" y="876"/>
                      </a:lnTo>
                      <a:lnTo>
                        <a:pt x="1104" y="899"/>
                      </a:lnTo>
                      <a:lnTo>
                        <a:pt x="1102" y="922"/>
                      </a:lnTo>
                      <a:lnTo>
                        <a:pt x="1093" y="942"/>
                      </a:lnTo>
                      <a:lnTo>
                        <a:pt x="1079" y="962"/>
                      </a:lnTo>
                      <a:lnTo>
                        <a:pt x="960" y="1079"/>
                      </a:lnTo>
                      <a:lnTo>
                        <a:pt x="941" y="1095"/>
                      </a:lnTo>
                      <a:lnTo>
                        <a:pt x="920" y="1103"/>
                      </a:lnTo>
                      <a:lnTo>
                        <a:pt x="899" y="1106"/>
                      </a:lnTo>
                      <a:lnTo>
                        <a:pt x="876" y="1103"/>
                      </a:lnTo>
                      <a:lnTo>
                        <a:pt x="854" y="1095"/>
                      </a:lnTo>
                      <a:lnTo>
                        <a:pt x="836" y="1079"/>
                      </a:lnTo>
                      <a:lnTo>
                        <a:pt x="820" y="1063"/>
                      </a:lnTo>
                      <a:lnTo>
                        <a:pt x="769" y="1085"/>
                      </a:lnTo>
                      <a:lnTo>
                        <a:pt x="769" y="1107"/>
                      </a:lnTo>
                      <a:lnTo>
                        <a:pt x="766" y="1130"/>
                      </a:lnTo>
                      <a:lnTo>
                        <a:pt x="757" y="1152"/>
                      </a:lnTo>
                      <a:lnTo>
                        <a:pt x="743" y="1169"/>
                      </a:lnTo>
                      <a:lnTo>
                        <a:pt x="726" y="1183"/>
                      </a:lnTo>
                      <a:lnTo>
                        <a:pt x="704" y="1192"/>
                      </a:lnTo>
                      <a:lnTo>
                        <a:pt x="681" y="1196"/>
                      </a:lnTo>
                      <a:lnTo>
                        <a:pt x="513" y="1196"/>
                      </a:lnTo>
                      <a:lnTo>
                        <a:pt x="490" y="1192"/>
                      </a:lnTo>
                      <a:lnTo>
                        <a:pt x="468" y="1183"/>
                      </a:lnTo>
                      <a:lnTo>
                        <a:pt x="451" y="1169"/>
                      </a:lnTo>
                      <a:lnTo>
                        <a:pt x="437" y="1152"/>
                      </a:lnTo>
                      <a:lnTo>
                        <a:pt x="428" y="1130"/>
                      </a:lnTo>
                      <a:lnTo>
                        <a:pt x="426" y="1107"/>
                      </a:lnTo>
                      <a:lnTo>
                        <a:pt x="426" y="1085"/>
                      </a:lnTo>
                      <a:lnTo>
                        <a:pt x="374" y="1063"/>
                      </a:lnTo>
                      <a:lnTo>
                        <a:pt x="358" y="1079"/>
                      </a:lnTo>
                      <a:lnTo>
                        <a:pt x="340" y="1095"/>
                      </a:lnTo>
                      <a:lnTo>
                        <a:pt x="318" y="1103"/>
                      </a:lnTo>
                      <a:lnTo>
                        <a:pt x="296" y="1106"/>
                      </a:lnTo>
                      <a:lnTo>
                        <a:pt x="274" y="1103"/>
                      </a:lnTo>
                      <a:lnTo>
                        <a:pt x="253" y="1095"/>
                      </a:lnTo>
                      <a:lnTo>
                        <a:pt x="234" y="1079"/>
                      </a:lnTo>
                      <a:lnTo>
                        <a:pt x="115" y="962"/>
                      </a:lnTo>
                      <a:lnTo>
                        <a:pt x="101" y="942"/>
                      </a:lnTo>
                      <a:lnTo>
                        <a:pt x="93" y="922"/>
                      </a:lnTo>
                      <a:lnTo>
                        <a:pt x="90" y="899"/>
                      </a:lnTo>
                      <a:lnTo>
                        <a:pt x="93" y="876"/>
                      </a:lnTo>
                      <a:lnTo>
                        <a:pt x="101" y="854"/>
                      </a:lnTo>
                      <a:lnTo>
                        <a:pt x="115" y="836"/>
                      </a:lnTo>
                      <a:lnTo>
                        <a:pt x="131" y="820"/>
                      </a:lnTo>
                      <a:lnTo>
                        <a:pt x="110" y="770"/>
                      </a:lnTo>
                      <a:lnTo>
                        <a:pt x="87" y="770"/>
                      </a:lnTo>
                      <a:lnTo>
                        <a:pt x="64" y="766"/>
                      </a:lnTo>
                      <a:lnTo>
                        <a:pt x="43" y="757"/>
                      </a:lnTo>
                      <a:lnTo>
                        <a:pt x="25" y="743"/>
                      </a:lnTo>
                      <a:lnTo>
                        <a:pt x="11" y="726"/>
                      </a:lnTo>
                      <a:lnTo>
                        <a:pt x="3" y="704"/>
                      </a:lnTo>
                      <a:lnTo>
                        <a:pt x="0" y="682"/>
                      </a:lnTo>
                      <a:lnTo>
                        <a:pt x="0" y="514"/>
                      </a:lnTo>
                      <a:lnTo>
                        <a:pt x="3" y="490"/>
                      </a:lnTo>
                      <a:lnTo>
                        <a:pt x="11" y="469"/>
                      </a:lnTo>
                      <a:lnTo>
                        <a:pt x="25" y="451"/>
                      </a:lnTo>
                      <a:lnTo>
                        <a:pt x="43" y="437"/>
                      </a:lnTo>
                      <a:lnTo>
                        <a:pt x="64" y="429"/>
                      </a:lnTo>
                      <a:lnTo>
                        <a:pt x="87" y="426"/>
                      </a:lnTo>
                      <a:lnTo>
                        <a:pt x="110" y="426"/>
                      </a:lnTo>
                      <a:lnTo>
                        <a:pt x="131" y="376"/>
                      </a:lnTo>
                      <a:lnTo>
                        <a:pt x="115" y="359"/>
                      </a:lnTo>
                      <a:lnTo>
                        <a:pt x="101" y="340"/>
                      </a:lnTo>
                      <a:lnTo>
                        <a:pt x="93" y="319"/>
                      </a:lnTo>
                      <a:lnTo>
                        <a:pt x="90" y="297"/>
                      </a:lnTo>
                      <a:lnTo>
                        <a:pt x="93" y="274"/>
                      </a:lnTo>
                      <a:lnTo>
                        <a:pt x="101" y="253"/>
                      </a:lnTo>
                      <a:lnTo>
                        <a:pt x="115" y="234"/>
                      </a:lnTo>
                      <a:lnTo>
                        <a:pt x="234" y="116"/>
                      </a:lnTo>
                      <a:lnTo>
                        <a:pt x="253" y="101"/>
                      </a:lnTo>
                      <a:lnTo>
                        <a:pt x="274" y="93"/>
                      </a:lnTo>
                      <a:lnTo>
                        <a:pt x="296" y="90"/>
                      </a:lnTo>
                      <a:lnTo>
                        <a:pt x="318" y="93"/>
                      </a:lnTo>
                      <a:lnTo>
                        <a:pt x="340" y="101"/>
                      </a:lnTo>
                      <a:lnTo>
                        <a:pt x="358" y="116"/>
                      </a:lnTo>
                      <a:lnTo>
                        <a:pt x="374" y="131"/>
                      </a:lnTo>
                      <a:lnTo>
                        <a:pt x="426" y="111"/>
                      </a:lnTo>
                      <a:lnTo>
                        <a:pt x="426" y="88"/>
                      </a:lnTo>
                      <a:lnTo>
                        <a:pt x="428" y="64"/>
                      </a:lnTo>
                      <a:lnTo>
                        <a:pt x="437" y="43"/>
                      </a:lnTo>
                      <a:lnTo>
                        <a:pt x="451" y="26"/>
                      </a:lnTo>
                      <a:lnTo>
                        <a:pt x="468" y="11"/>
                      </a:lnTo>
                      <a:lnTo>
                        <a:pt x="490" y="3"/>
                      </a:lnTo>
                      <a:lnTo>
                        <a:pt x="51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109" name="Group 201"/>
              <p:cNvGrpSpPr>
                <a:grpSpLocks noChangeAspect="1"/>
              </p:cNvGrpSpPr>
              <p:nvPr/>
            </p:nvGrpSpPr>
            <p:grpSpPr bwMode="auto">
              <a:xfrm>
                <a:off x="3427234" y="5185076"/>
                <a:ext cx="548512" cy="615026"/>
                <a:chOff x="4176" y="3243"/>
                <a:chExt cx="602" cy="675"/>
              </a:xfrm>
              <a:solidFill>
                <a:schemeClr val="bg1"/>
              </a:solidFill>
            </p:grpSpPr>
            <p:sp>
              <p:nvSpPr>
                <p:cNvPr id="110" name="Freeform 203"/>
                <p:cNvSpPr>
                  <a:spLocks/>
                </p:cNvSpPr>
                <p:nvPr/>
              </p:nvSpPr>
              <p:spPr bwMode="auto">
                <a:xfrm>
                  <a:off x="4184" y="3243"/>
                  <a:ext cx="594" cy="675"/>
                </a:xfrm>
                <a:custGeom>
                  <a:avLst/>
                  <a:gdLst>
                    <a:gd name="T0" fmla="*/ 2818 w 2971"/>
                    <a:gd name="T1" fmla="*/ 0 h 3374"/>
                    <a:gd name="T2" fmla="*/ 2877 w 2971"/>
                    <a:gd name="T3" fmla="*/ 12 h 3374"/>
                    <a:gd name="T4" fmla="*/ 2926 w 2971"/>
                    <a:gd name="T5" fmla="*/ 45 h 3374"/>
                    <a:gd name="T6" fmla="*/ 2958 w 2971"/>
                    <a:gd name="T7" fmla="*/ 93 h 3374"/>
                    <a:gd name="T8" fmla="*/ 2971 w 2971"/>
                    <a:gd name="T9" fmla="*/ 154 h 3374"/>
                    <a:gd name="T10" fmla="*/ 2960 w 2971"/>
                    <a:gd name="T11" fmla="*/ 207 h 3374"/>
                    <a:gd name="T12" fmla="*/ 2934 w 2971"/>
                    <a:gd name="T13" fmla="*/ 252 h 3374"/>
                    <a:gd name="T14" fmla="*/ 2894 w 2971"/>
                    <a:gd name="T15" fmla="*/ 285 h 3374"/>
                    <a:gd name="T16" fmla="*/ 2892 w 2971"/>
                    <a:gd name="T17" fmla="*/ 2091 h 3374"/>
                    <a:gd name="T18" fmla="*/ 2872 w 2971"/>
                    <a:gd name="T19" fmla="*/ 2124 h 3374"/>
                    <a:gd name="T20" fmla="*/ 2838 w 2971"/>
                    <a:gd name="T21" fmla="*/ 2145 h 3374"/>
                    <a:gd name="T22" fmla="*/ 2197 w 2971"/>
                    <a:gd name="T23" fmla="*/ 2147 h 3374"/>
                    <a:gd name="T24" fmla="*/ 2475 w 2971"/>
                    <a:gd name="T25" fmla="*/ 3208 h 3374"/>
                    <a:gd name="T26" fmla="*/ 2469 w 2971"/>
                    <a:gd name="T27" fmla="*/ 3261 h 3374"/>
                    <a:gd name="T28" fmla="*/ 2448 w 2971"/>
                    <a:gd name="T29" fmla="*/ 3309 h 3374"/>
                    <a:gd name="T30" fmla="*/ 2411 w 2971"/>
                    <a:gd name="T31" fmla="*/ 3346 h 3374"/>
                    <a:gd name="T32" fmla="*/ 2362 w 2971"/>
                    <a:gd name="T33" fmla="*/ 3370 h 3374"/>
                    <a:gd name="T34" fmla="*/ 2323 w 2971"/>
                    <a:gd name="T35" fmla="*/ 3374 h 3374"/>
                    <a:gd name="T36" fmla="*/ 2267 w 2971"/>
                    <a:gd name="T37" fmla="*/ 3363 h 3374"/>
                    <a:gd name="T38" fmla="*/ 2220 w 2971"/>
                    <a:gd name="T39" fmla="*/ 3334 h 3374"/>
                    <a:gd name="T40" fmla="*/ 2186 w 2971"/>
                    <a:gd name="T41" fmla="*/ 3288 h 3374"/>
                    <a:gd name="T42" fmla="*/ 1902 w 2971"/>
                    <a:gd name="T43" fmla="*/ 2224 h 3374"/>
                    <a:gd name="T44" fmla="*/ 794 w 2971"/>
                    <a:gd name="T45" fmla="*/ 3260 h 3374"/>
                    <a:gd name="T46" fmla="*/ 771 w 2971"/>
                    <a:gd name="T47" fmla="*/ 3309 h 3374"/>
                    <a:gd name="T48" fmla="*/ 734 w 2971"/>
                    <a:gd name="T49" fmla="*/ 3346 h 3374"/>
                    <a:gd name="T50" fmla="*/ 687 w 2971"/>
                    <a:gd name="T51" fmla="*/ 3369 h 3374"/>
                    <a:gd name="T52" fmla="*/ 635 w 2971"/>
                    <a:gd name="T53" fmla="*/ 3374 h 3374"/>
                    <a:gd name="T54" fmla="*/ 581 w 2971"/>
                    <a:gd name="T55" fmla="*/ 3360 h 3374"/>
                    <a:gd name="T56" fmla="*/ 538 w 2971"/>
                    <a:gd name="T57" fmla="*/ 3329 h 3374"/>
                    <a:gd name="T58" fmla="*/ 509 w 2971"/>
                    <a:gd name="T59" fmla="*/ 3286 h 3374"/>
                    <a:gd name="T60" fmla="*/ 495 w 2971"/>
                    <a:gd name="T61" fmla="*/ 3236 h 3374"/>
                    <a:gd name="T62" fmla="*/ 500 w 2971"/>
                    <a:gd name="T63" fmla="*/ 3181 h 3374"/>
                    <a:gd name="T64" fmla="*/ 639 w 2971"/>
                    <a:gd name="T65" fmla="*/ 2147 h 3374"/>
                    <a:gd name="T66" fmla="*/ 729 w 2971"/>
                    <a:gd name="T67" fmla="*/ 2048 h 3374"/>
                    <a:gd name="T68" fmla="*/ 2742 w 2971"/>
                    <a:gd name="T69" fmla="*/ 1994 h 3374"/>
                    <a:gd name="T70" fmla="*/ 227 w 2971"/>
                    <a:gd name="T71" fmla="*/ 307 h 3374"/>
                    <a:gd name="T72" fmla="*/ 184 w 2971"/>
                    <a:gd name="T73" fmla="*/ 1953 h 3374"/>
                    <a:gd name="T74" fmla="*/ 108 w 2971"/>
                    <a:gd name="T75" fmla="*/ 2023 h 3374"/>
                    <a:gd name="T76" fmla="*/ 76 w 2971"/>
                    <a:gd name="T77" fmla="*/ 285 h 3374"/>
                    <a:gd name="T78" fmla="*/ 36 w 2971"/>
                    <a:gd name="T79" fmla="*/ 252 h 3374"/>
                    <a:gd name="T80" fmla="*/ 9 w 2971"/>
                    <a:gd name="T81" fmla="*/ 207 h 3374"/>
                    <a:gd name="T82" fmla="*/ 0 w 2971"/>
                    <a:gd name="T83" fmla="*/ 154 h 3374"/>
                    <a:gd name="T84" fmla="*/ 12 w 2971"/>
                    <a:gd name="T85" fmla="*/ 93 h 3374"/>
                    <a:gd name="T86" fmla="*/ 44 w 2971"/>
                    <a:gd name="T87" fmla="*/ 45 h 3374"/>
                    <a:gd name="T88" fmla="*/ 93 w 2971"/>
                    <a:gd name="T89" fmla="*/ 12 h 3374"/>
                    <a:gd name="T90" fmla="*/ 152 w 2971"/>
                    <a:gd name="T91" fmla="*/ 0 h 33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971" h="3374">
                      <a:moveTo>
                        <a:pt x="152" y="0"/>
                      </a:moveTo>
                      <a:lnTo>
                        <a:pt x="2818" y="0"/>
                      </a:lnTo>
                      <a:lnTo>
                        <a:pt x="2849" y="3"/>
                      </a:lnTo>
                      <a:lnTo>
                        <a:pt x="2877" y="12"/>
                      </a:lnTo>
                      <a:lnTo>
                        <a:pt x="2904" y="27"/>
                      </a:lnTo>
                      <a:lnTo>
                        <a:pt x="2926" y="45"/>
                      </a:lnTo>
                      <a:lnTo>
                        <a:pt x="2945" y="68"/>
                      </a:lnTo>
                      <a:lnTo>
                        <a:pt x="2958" y="93"/>
                      </a:lnTo>
                      <a:lnTo>
                        <a:pt x="2968" y="123"/>
                      </a:lnTo>
                      <a:lnTo>
                        <a:pt x="2971" y="154"/>
                      </a:lnTo>
                      <a:lnTo>
                        <a:pt x="2968" y="181"/>
                      </a:lnTo>
                      <a:lnTo>
                        <a:pt x="2960" y="207"/>
                      </a:lnTo>
                      <a:lnTo>
                        <a:pt x="2950" y="231"/>
                      </a:lnTo>
                      <a:lnTo>
                        <a:pt x="2934" y="252"/>
                      </a:lnTo>
                      <a:lnTo>
                        <a:pt x="2916" y="271"/>
                      </a:lnTo>
                      <a:lnTo>
                        <a:pt x="2894" y="285"/>
                      </a:lnTo>
                      <a:lnTo>
                        <a:pt x="2894" y="2070"/>
                      </a:lnTo>
                      <a:lnTo>
                        <a:pt x="2892" y="2091"/>
                      </a:lnTo>
                      <a:lnTo>
                        <a:pt x="2883" y="2110"/>
                      </a:lnTo>
                      <a:lnTo>
                        <a:pt x="2872" y="2124"/>
                      </a:lnTo>
                      <a:lnTo>
                        <a:pt x="2856" y="2137"/>
                      </a:lnTo>
                      <a:lnTo>
                        <a:pt x="2838" y="2145"/>
                      </a:lnTo>
                      <a:lnTo>
                        <a:pt x="2818" y="2147"/>
                      </a:lnTo>
                      <a:lnTo>
                        <a:pt x="2197" y="2147"/>
                      </a:lnTo>
                      <a:lnTo>
                        <a:pt x="2470" y="3181"/>
                      </a:lnTo>
                      <a:lnTo>
                        <a:pt x="2475" y="3208"/>
                      </a:lnTo>
                      <a:lnTo>
                        <a:pt x="2475" y="3235"/>
                      </a:lnTo>
                      <a:lnTo>
                        <a:pt x="2469" y="3261"/>
                      </a:lnTo>
                      <a:lnTo>
                        <a:pt x="2461" y="3286"/>
                      </a:lnTo>
                      <a:lnTo>
                        <a:pt x="2448" y="3309"/>
                      </a:lnTo>
                      <a:lnTo>
                        <a:pt x="2432" y="3329"/>
                      </a:lnTo>
                      <a:lnTo>
                        <a:pt x="2411" y="3346"/>
                      </a:lnTo>
                      <a:lnTo>
                        <a:pt x="2388" y="3360"/>
                      </a:lnTo>
                      <a:lnTo>
                        <a:pt x="2362" y="3370"/>
                      </a:lnTo>
                      <a:lnTo>
                        <a:pt x="2343" y="3373"/>
                      </a:lnTo>
                      <a:lnTo>
                        <a:pt x="2323" y="3374"/>
                      </a:lnTo>
                      <a:lnTo>
                        <a:pt x="2295" y="3372"/>
                      </a:lnTo>
                      <a:lnTo>
                        <a:pt x="2267" y="3363"/>
                      </a:lnTo>
                      <a:lnTo>
                        <a:pt x="2243" y="3351"/>
                      </a:lnTo>
                      <a:lnTo>
                        <a:pt x="2220" y="3334"/>
                      </a:lnTo>
                      <a:lnTo>
                        <a:pt x="2201" y="3313"/>
                      </a:lnTo>
                      <a:lnTo>
                        <a:pt x="2186" y="3288"/>
                      </a:lnTo>
                      <a:lnTo>
                        <a:pt x="2176" y="3260"/>
                      </a:lnTo>
                      <a:lnTo>
                        <a:pt x="1902" y="2224"/>
                      </a:lnTo>
                      <a:lnTo>
                        <a:pt x="1069" y="2224"/>
                      </a:lnTo>
                      <a:lnTo>
                        <a:pt x="794" y="3260"/>
                      </a:lnTo>
                      <a:lnTo>
                        <a:pt x="785" y="3287"/>
                      </a:lnTo>
                      <a:lnTo>
                        <a:pt x="771" y="3309"/>
                      </a:lnTo>
                      <a:lnTo>
                        <a:pt x="754" y="3329"/>
                      </a:lnTo>
                      <a:lnTo>
                        <a:pt x="734" y="3346"/>
                      </a:lnTo>
                      <a:lnTo>
                        <a:pt x="712" y="3360"/>
                      </a:lnTo>
                      <a:lnTo>
                        <a:pt x="687" y="3369"/>
                      </a:lnTo>
                      <a:lnTo>
                        <a:pt x="662" y="3374"/>
                      </a:lnTo>
                      <a:lnTo>
                        <a:pt x="635" y="3374"/>
                      </a:lnTo>
                      <a:lnTo>
                        <a:pt x="608" y="3370"/>
                      </a:lnTo>
                      <a:lnTo>
                        <a:pt x="581" y="3360"/>
                      </a:lnTo>
                      <a:lnTo>
                        <a:pt x="558" y="3346"/>
                      </a:lnTo>
                      <a:lnTo>
                        <a:pt x="538" y="3329"/>
                      </a:lnTo>
                      <a:lnTo>
                        <a:pt x="522" y="3309"/>
                      </a:lnTo>
                      <a:lnTo>
                        <a:pt x="509" y="3286"/>
                      </a:lnTo>
                      <a:lnTo>
                        <a:pt x="500" y="3261"/>
                      </a:lnTo>
                      <a:lnTo>
                        <a:pt x="495" y="3236"/>
                      </a:lnTo>
                      <a:lnTo>
                        <a:pt x="495" y="3208"/>
                      </a:lnTo>
                      <a:lnTo>
                        <a:pt x="500" y="3181"/>
                      </a:lnTo>
                      <a:lnTo>
                        <a:pt x="773" y="2147"/>
                      </a:lnTo>
                      <a:lnTo>
                        <a:pt x="639" y="2147"/>
                      </a:lnTo>
                      <a:lnTo>
                        <a:pt x="683" y="2099"/>
                      </a:lnTo>
                      <a:lnTo>
                        <a:pt x="729" y="2048"/>
                      </a:lnTo>
                      <a:lnTo>
                        <a:pt x="778" y="1994"/>
                      </a:lnTo>
                      <a:lnTo>
                        <a:pt x="2742" y="1994"/>
                      </a:lnTo>
                      <a:lnTo>
                        <a:pt x="2742" y="307"/>
                      </a:lnTo>
                      <a:lnTo>
                        <a:pt x="227" y="307"/>
                      </a:lnTo>
                      <a:lnTo>
                        <a:pt x="227" y="1912"/>
                      </a:lnTo>
                      <a:lnTo>
                        <a:pt x="184" y="1953"/>
                      </a:lnTo>
                      <a:lnTo>
                        <a:pt x="144" y="1989"/>
                      </a:lnTo>
                      <a:lnTo>
                        <a:pt x="108" y="2023"/>
                      </a:lnTo>
                      <a:lnTo>
                        <a:pt x="76" y="2052"/>
                      </a:lnTo>
                      <a:lnTo>
                        <a:pt x="76" y="285"/>
                      </a:lnTo>
                      <a:lnTo>
                        <a:pt x="55" y="271"/>
                      </a:lnTo>
                      <a:lnTo>
                        <a:pt x="36" y="252"/>
                      </a:lnTo>
                      <a:lnTo>
                        <a:pt x="21" y="231"/>
                      </a:lnTo>
                      <a:lnTo>
                        <a:pt x="9" y="207"/>
                      </a:lnTo>
                      <a:lnTo>
                        <a:pt x="2" y="181"/>
                      </a:lnTo>
                      <a:lnTo>
                        <a:pt x="0" y="154"/>
                      </a:lnTo>
                      <a:lnTo>
                        <a:pt x="3" y="123"/>
                      </a:lnTo>
                      <a:lnTo>
                        <a:pt x="12" y="93"/>
                      </a:lnTo>
                      <a:lnTo>
                        <a:pt x="25" y="68"/>
                      </a:lnTo>
                      <a:lnTo>
                        <a:pt x="44" y="45"/>
                      </a:lnTo>
                      <a:lnTo>
                        <a:pt x="66" y="27"/>
                      </a:lnTo>
                      <a:lnTo>
                        <a:pt x="93" y="12"/>
                      </a:lnTo>
                      <a:lnTo>
                        <a:pt x="121" y="3"/>
                      </a:lnTo>
                      <a:lnTo>
                        <a:pt x="15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1" name="Freeform 204"/>
                <p:cNvSpPr>
                  <a:spLocks/>
                </p:cNvSpPr>
                <p:nvPr/>
              </p:nvSpPr>
              <p:spPr bwMode="auto">
                <a:xfrm>
                  <a:off x="4443" y="3439"/>
                  <a:ext cx="60" cy="176"/>
                </a:xfrm>
                <a:custGeom>
                  <a:avLst/>
                  <a:gdLst>
                    <a:gd name="T0" fmla="*/ 153 w 304"/>
                    <a:gd name="T1" fmla="*/ 0 h 881"/>
                    <a:gd name="T2" fmla="*/ 183 w 304"/>
                    <a:gd name="T3" fmla="*/ 3 h 881"/>
                    <a:gd name="T4" fmla="*/ 211 w 304"/>
                    <a:gd name="T5" fmla="*/ 12 h 881"/>
                    <a:gd name="T6" fmla="*/ 237 w 304"/>
                    <a:gd name="T7" fmla="*/ 25 h 881"/>
                    <a:gd name="T8" fmla="*/ 260 w 304"/>
                    <a:gd name="T9" fmla="*/ 44 h 881"/>
                    <a:gd name="T10" fmla="*/ 278 w 304"/>
                    <a:gd name="T11" fmla="*/ 68 h 881"/>
                    <a:gd name="T12" fmla="*/ 293 w 304"/>
                    <a:gd name="T13" fmla="*/ 93 h 881"/>
                    <a:gd name="T14" fmla="*/ 301 w 304"/>
                    <a:gd name="T15" fmla="*/ 122 h 881"/>
                    <a:gd name="T16" fmla="*/ 304 w 304"/>
                    <a:gd name="T17" fmla="*/ 154 h 881"/>
                    <a:gd name="T18" fmla="*/ 304 w 304"/>
                    <a:gd name="T19" fmla="*/ 729 h 881"/>
                    <a:gd name="T20" fmla="*/ 301 w 304"/>
                    <a:gd name="T21" fmla="*/ 759 h 881"/>
                    <a:gd name="T22" fmla="*/ 293 w 304"/>
                    <a:gd name="T23" fmla="*/ 788 h 881"/>
                    <a:gd name="T24" fmla="*/ 278 w 304"/>
                    <a:gd name="T25" fmla="*/ 814 h 881"/>
                    <a:gd name="T26" fmla="*/ 260 w 304"/>
                    <a:gd name="T27" fmla="*/ 837 h 881"/>
                    <a:gd name="T28" fmla="*/ 237 w 304"/>
                    <a:gd name="T29" fmla="*/ 856 h 881"/>
                    <a:gd name="T30" fmla="*/ 211 w 304"/>
                    <a:gd name="T31" fmla="*/ 870 h 881"/>
                    <a:gd name="T32" fmla="*/ 183 w 304"/>
                    <a:gd name="T33" fmla="*/ 878 h 881"/>
                    <a:gd name="T34" fmla="*/ 153 w 304"/>
                    <a:gd name="T35" fmla="*/ 881 h 881"/>
                    <a:gd name="T36" fmla="*/ 121 w 304"/>
                    <a:gd name="T37" fmla="*/ 878 h 881"/>
                    <a:gd name="T38" fmla="*/ 92 w 304"/>
                    <a:gd name="T39" fmla="*/ 870 h 881"/>
                    <a:gd name="T40" fmla="*/ 67 w 304"/>
                    <a:gd name="T41" fmla="*/ 856 h 881"/>
                    <a:gd name="T42" fmla="*/ 44 w 304"/>
                    <a:gd name="T43" fmla="*/ 837 h 881"/>
                    <a:gd name="T44" fmla="*/ 26 w 304"/>
                    <a:gd name="T45" fmla="*/ 814 h 881"/>
                    <a:gd name="T46" fmla="*/ 11 w 304"/>
                    <a:gd name="T47" fmla="*/ 788 h 881"/>
                    <a:gd name="T48" fmla="*/ 3 w 304"/>
                    <a:gd name="T49" fmla="*/ 759 h 881"/>
                    <a:gd name="T50" fmla="*/ 0 w 304"/>
                    <a:gd name="T51" fmla="*/ 729 h 881"/>
                    <a:gd name="T52" fmla="*/ 0 w 304"/>
                    <a:gd name="T53" fmla="*/ 154 h 881"/>
                    <a:gd name="T54" fmla="*/ 3 w 304"/>
                    <a:gd name="T55" fmla="*/ 122 h 881"/>
                    <a:gd name="T56" fmla="*/ 11 w 304"/>
                    <a:gd name="T57" fmla="*/ 93 h 881"/>
                    <a:gd name="T58" fmla="*/ 26 w 304"/>
                    <a:gd name="T59" fmla="*/ 68 h 881"/>
                    <a:gd name="T60" fmla="*/ 44 w 304"/>
                    <a:gd name="T61" fmla="*/ 44 h 881"/>
                    <a:gd name="T62" fmla="*/ 67 w 304"/>
                    <a:gd name="T63" fmla="*/ 25 h 881"/>
                    <a:gd name="T64" fmla="*/ 92 w 304"/>
                    <a:gd name="T65" fmla="*/ 12 h 881"/>
                    <a:gd name="T66" fmla="*/ 121 w 304"/>
                    <a:gd name="T67" fmla="*/ 3 h 881"/>
                    <a:gd name="T68" fmla="*/ 153 w 304"/>
                    <a:gd name="T69" fmla="*/ 0 h 8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04" h="881">
                      <a:moveTo>
                        <a:pt x="153" y="0"/>
                      </a:moveTo>
                      <a:lnTo>
                        <a:pt x="183" y="3"/>
                      </a:lnTo>
                      <a:lnTo>
                        <a:pt x="211" y="12"/>
                      </a:lnTo>
                      <a:lnTo>
                        <a:pt x="237" y="25"/>
                      </a:lnTo>
                      <a:lnTo>
                        <a:pt x="260" y="44"/>
                      </a:lnTo>
                      <a:lnTo>
                        <a:pt x="278" y="68"/>
                      </a:lnTo>
                      <a:lnTo>
                        <a:pt x="293" y="93"/>
                      </a:lnTo>
                      <a:lnTo>
                        <a:pt x="301" y="122"/>
                      </a:lnTo>
                      <a:lnTo>
                        <a:pt x="304" y="154"/>
                      </a:lnTo>
                      <a:lnTo>
                        <a:pt x="304" y="729"/>
                      </a:lnTo>
                      <a:lnTo>
                        <a:pt x="301" y="759"/>
                      </a:lnTo>
                      <a:lnTo>
                        <a:pt x="293" y="788"/>
                      </a:lnTo>
                      <a:lnTo>
                        <a:pt x="278" y="814"/>
                      </a:lnTo>
                      <a:lnTo>
                        <a:pt x="260" y="837"/>
                      </a:lnTo>
                      <a:lnTo>
                        <a:pt x="237" y="856"/>
                      </a:lnTo>
                      <a:lnTo>
                        <a:pt x="211" y="870"/>
                      </a:lnTo>
                      <a:lnTo>
                        <a:pt x="183" y="878"/>
                      </a:lnTo>
                      <a:lnTo>
                        <a:pt x="153" y="881"/>
                      </a:lnTo>
                      <a:lnTo>
                        <a:pt x="121" y="878"/>
                      </a:lnTo>
                      <a:lnTo>
                        <a:pt x="92" y="870"/>
                      </a:lnTo>
                      <a:lnTo>
                        <a:pt x="67" y="856"/>
                      </a:lnTo>
                      <a:lnTo>
                        <a:pt x="44" y="837"/>
                      </a:lnTo>
                      <a:lnTo>
                        <a:pt x="26" y="814"/>
                      </a:lnTo>
                      <a:lnTo>
                        <a:pt x="11" y="788"/>
                      </a:lnTo>
                      <a:lnTo>
                        <a:pt x="3" y="759"/>
                      </a:lnTo>
                      <a:lnTo>
                        <a:pt x="0" y="729"/>
                      </a:lnTo>
                      <a:lnTo>
                        <a:pt x="0" y="154"/>
                      </a:lnTo>
                      <a:lnTo>
                        <a:pt x="3" y="122"/>
                      </a:lnTo>
                      <a:lnTo>
                        <a:pt x="11" y="93"/>
                      </a:lnTo>
                      <a:lnTo>
                        <a:pt x="26" y="68"/>
                      </a:lnTo>
                      <a:lnTo>
                        <a:pt x="44" y="44"/>
                      </a:lnTo>
                      <a:lnTo>
                        <a:pt x="67" y="25"/>
                      </a:lnTo>
                      <a:lnTo>
                        <a:pt x="92" y="12"/>
                      </a:lnTo>
                      <a:lnTo>
                        <a:pt x="121" y="3"/>
                      </a:lnTo>
                      <a:lnTo>
                        <a:pt x="15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2" name="Freeform 205"/>
                <p:cNvSpPr>
                  <a:spLocks/>
                </p:cNvSpPr>
                <p:nvPr/>
              </p:nvSpPr>
              <p:spPr bwMode="auto">
                <a:xfrm>
                  <a:off x="4542" y="3331"/>
                  <a:ext cx="60" cy="284"/>
                </a:xfrm>
                <a:custGeom>
                  <a:avLst/>
                  <a:gdLst>
                    <a:gd name="T0" fmla="*/ 153 w 304"/>
                    <a:gd name="T1" fmla="*/ 0 h 1418"/>
                    <a:gd name="T2" fmla="*/ 183 w 304"/>
                    <a:gd name="T3" fmla="*/ 3 h 1418"/>
                    <a:gd name="T4" fmla="*/ 212 w 304"/>
                    <a:gd name="T5" fmla="*/ 12 h 1418"/>
                    <a:gd name="T6" fmla="*/ 237 w 304"/>
                    <a:gd name="T7" fmla="*/ 26 h 1418"/>
                    <a:gd name="T8" fmla="*/ 260 w 304"/>
                    <a:gd name="T9" fmla="*/ 45 h 1418"/>
                    <a:gd name="T10" fmla="*/ 278 w 304"/>
                    <a:gd name="T11" fmla="*/ 67 h 1418"/>
                    <a:gd name="T12" fmla="*/ 293 w 304"/>
                    <a:gd name="T13" fmla="*/ 94 h 1418"/>
                    <a:gd name="T14" fmla="*/ 301 w 304"/>
                    <a:gd name="T15" fmla="*/ 122 h 1418"/>
                    <a:gd name="T16" fmla="*/ 304 w 304"/>
                    <a:gd name="T17" fmla="*/ 153 h 1418"/>
                    <a:gd name="T18" fmla="*/ 304 w 304"/>
                    <a:gd name="T19" fmla="*/ 1266 h 1418"/>
                    <a:gd name="T20" fmla="*/ 301 w 304"/>
                    <a:gd name="T21" fmla="*/ 1296 h 1418"/>
                    <a:gd name="T22" fmla="*/ 293 w 304"/>
                    <a:gd name="T23" fmla="*/ 1325 h 1418"/>
                    <a:gd name="T24" fmla="*/ 278 w 304"/>
                    <a:gd name="T25" fmla="*/ 1351 h 1418"/>
                    <a:gd name="T26" fmla="*/ 260 w 304"/>
                    <a:gd name="T27" fmla="*/ 1374 h 1418"/>
                    <a:gd name="T28" fmla="*/ 237 w 304"/>
                    <a:gd name="T29" fmla="*/ 1393 h 1418"/>
                    <a:gd name="T30" fmla="*/ 212 w 304"/>
                    <a:gd name="T31" fmla="*/ 1407 h 1418"/>
                    <a:gd name="T32" fmla="*/ 183 w 304"/>
                    <a:gd name="T33" fmla="*/ 1415 h 1418"/>
                    <a:gd name="T34" fmla="*/ 153 w 304"/>
                    <a:gd name="T35" fmla="*/ 1418 h 1418"/>
                    <a:gd name="T36" fmla="*/ 121 w 304"/>
                    <a:gd name="T37" fmla="*/ 1415 h 1418"/>
                    <a:gd name="T38" fmla="*/ 93 w 304"/>
                    <a:gd name="T39" fmla="*/ 1407 h 1418"/>
                    <a:gd name="T40" fmla="*/ 67 w 304"/>
                    <a:gd name="T41" fmla="*/ 1393 h 1418"/>
                    <a:gd name="T42" fmla="*/ 44 w 304"/>
                    <a:gd name="T43" fmla="*/ 1374 h 1418"/>
                    <a:gd name="T44" fmla="*/ 26 w 304"/>
                    <a:gd name="T45" fmla="*/ 1351 h 1418"/>
                    <a:gd name="T46" fmla="*/ 11 w 304"/>
                    <a:gd name="T47" fmla="*/ 1325 h 1418"/>
                    <a:gd name="T48" fmla="*/ 3 w 304"/>
                    <a:gd name="T49" fmla="*/ 1296 h 1418"/>
                    <a:gd name="T50" fmla="*/ 0 w 304"/>
                    <a:gd name="T51" fmla="*/ 1266 h 1418"/>
                    <a:gd name="T52" fmla="*/ 0 w 304"/>
                    <a:gd name="T53" fmla="*/ 153 h 1418"/>
                    <a:gd name="T54" fmla="*/ 3 w 304"/>
                    <a:gd name="T55" fmla="*/ 122 h 1418"/>
                    <a:gd name="T56" fmla="*/ 11 w 304"/>
                    <a:gd name="T57" fmla="*/ 94 h 1418"/>
                    <a:gd name="T58" fmla="*/ 26 w 304"/>
                    <a:gd name="T59" fmla="*/ 67 h 1418"/>
                    <a:gd name="T60" fmla="*/ 44 w 304"/>
                    <a:gd name="T61" fmla="*/ 45 h 1418"/>
                    <a:gd name="T62" fmla="*/ 67 w 304"/>
                    <a:gd name="T63" fmla="*/ 26 h 1418"/>
                    <a:gd name="T64" fmla="*/ 93 w 304"/>
                    <a:gd name="T65" fmla="*/ 12 h 1418"/>
                    <a:gd name="T66" fmla="*/ 121 w 304"/>
                    <a:gd name="T67" fmla="*/ 3 h 1418"/>
                    <a:gd name="T68" fmla="*/ 153 w 304"/>
                    <a:gd name="T69" fmla="*/ 0 h 14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04" h="1418">
                      <a:moveTo>
                        <a:pt x="153" y="0"/>
                      </a:moveTo>
                      <a:lnTo>
                        <a:pt x="183" y="3"/>
                      </a:lnTo>
                      <a:lnTo>
                        <a:pt x="212" y="12"/>
                      </a:lnTo>
                      <a:lnTo>
                        <a:pt x="237" y="26"/>
                      </a:lnTo>
                      <a:lnTo>
                        <a:pt x="260" y="45"/>
                      </a:lnTo>
                      <a:lnTo>
                        <a:pt x="278" y="67"/>
                      </a:lnTo>
                      <a:lnTo>
                        <a:pt x="293" y="94"/>
                      </a:lnTo>
                      <a:lnTo>
                        <a:pt x="301" y="122"/>
                      </a:lnTo>
                      <a:lnTo>
                        <a:pt x="304" y="153"/>
                      </a:lnTo>
                      <a:lnTo>
                        <a:pt x="304" y="1266"/>
                      </a:lnTo>
                      <a:lnTo>
                        <a:pt x="301" y="1296"/>
                      </a:lnTo>
                      <a:lnTo>
                        <a:pt x="293" y="1325"/>
                      </a:lnTo>
                      <a:lnTo>
                        <a:pt x="278" y="1351"/>
                      </a:lnTo>
                      <a:lnTo>
                        <a:pt x="260" y="1374"/>
                      </a:lnTo>
                      <a:lnTo>
                        <a:pt x="237" y="1393"/>
                      </a:lnTo>
                      <a:lnTo>
                        <a:pt x="212" y="1407"/>
                      </a:lnTo>
                      <a:lnTo>
                        <a:pt x="183" y="1415"/>
                      </a:lnTo>
                      <a:lnTo>
                        <a:pt x="153" y="1418"/>
                      </a:lnTo>
                      <a:lnTo>
                        <a:pt x="121" y="1415"/>
                      </a:lnTo>
                      <a:lnTo>
                        <a:pt x="93" y="1407"/>
                      </a:lnTo>
                      <a:lnTo>
                        <a:pt x="67" y="1393"/>
                      </a:lnTo>
                      <a:lnTo>
                        <a:pt x="44" y="1374"/>
                      </a:lnTo>
                      <a:lnTo>
                        <a:pt x="26" y="1351"/>
                      </a:lnTo>
                      <a:lnTo>
                        <a:pt x="11" y="1325"/>
                      </a:lnTo>
                      <a:lnTo>
                        <a:pt x="3" y="1296"/>
                      </a:lnTo>
                      <a:lnTo>
                        <a:pt x="0" y="1266"/>
                      </a:lnTo>
                      <a:lnTo>
                        <a:pt x="0" y="153"/>
                      </a:lnTo>
                      <a:lnTo>
                        <a:pt x="3" y="122"/>
                      </a:lnTo>
                      <a:lnTo>
                        <a:pt x="11" y="94"/>
                      </a:lnTo>
                      <a:lnTo>
                        <a:pt x="26" y="67"/>
                      </a:lnTo>
                      <a:lnTo>
                        <a:pt x="44" y="45"/>
                      </a:lnTo>
                      <a:lnTo>
                        <a:pt x="67" y="26"/>
                      </a:lnTo>
                      <a:lnTo>
                        <a:pt x="93" y="12"/>
                      </a:lnTo>
                      <a:lnTo>
                        <a:pt x="121" y="3"/>
                      </a:lnTo>
                      <a:lnTo>
                        <a:pt x="15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3" name="Freeform 206"/>
                <p:cNvSpPr>
                  <a:spLocks/>
                </p:cNvSpPr>
                <p:nvPr/>
              </p:nvSpPr>
              <p:spPr bwMode="auto">
                <a:xfrm>
                  <a:off x="4641" y="3393"/>
                  <a:ext cx="61" cy="222"/>
                </a:xfrm>
                <a:custGeom>
                  <a:avLst/>
                  <a:gdLst>
                    <a:gd name="T0" fmla="*/ 153 w 305"/>
                    <a:gd name="T1" fmla="*/ 0 h 1111"/>
                    <a:gd name="T2" fmla="*/ 183 w 305"/>
                    <a:gd name="T3" fmla="*/ 3 h 1111"/>
                    <a:gd name="T4" fmla="*/ 212 w 305"/>
                    <a:gd name="T5" fmla="*/ 11 h 1111"/>
                    <a:gd name="T6" fmla="*/ 237 w 305"/>
                    <a:gd name="T7" fmla="*/ 26 h 1111"/>
                    <a:gd name="T8" fmla="*/ 260 w 305"/>
                    <a:gd name="T9" fmla="*/ 44 h 1111"/>
                    <a:gd name="T10" fmla="*/ 278 w 305"/>
                    <a:gd name="T11" fmla="*/ 68 h 1111"/>
                    <a:gd name="T12" fmla="*/ 293 w 305"/>
                    <a:gd name="T13" fmla="*/ 93 h 1111"/>
                    <a:gd name="T14" fmla="*/ 301 w 305"/>
                    <a:gd name="T15" fmla="*/ 122 h 1111"/>
                    <a:gd name="T16" fmla="*/ 305 w 305"/>
                    <a:gd name="T17" fmla="*/ 153 h 1111"/>
                    <a:gd name="T18" fmla="*/ 305 w 305"/>
                    <a:gd name="T19" fmla="*/ 959 h 1111"/>
                    <a:gd name="T20" fmla="*/ 301 w 305"/>
                    <a:gd name="T21" fmla="*/ 989 h 1111"/>
                    <a:gd name="T22" fmla="*/ 293 w 305"/>
                    <a:gd name="T23" fmla="*/ 1018 h 1111"/>
                    <a:gd name="T24" fmla="*/ 278 w 305"/>
                    <a:gd name="T25" fmla="*/ 1044 h 1111"/>
                    <a:gd name="T26" fmla="*/ 260 w 305"/>
                    <a:gd name="T27" fmla="*/ 1067 h 1111"/>
                    <a:gd name="T28" fmla="*/ 237 w 305"/>
                    <a:gd name="T29" fmla="*/ 1086 h 1111"/>
                    <a:gd name="T30" fmla="*/ 212 w 305"/>
                    <a:gd name="T31" fmla="*/ 1100 h 1111"/>
                    <a:gd name="T32" fmla="*/ 183 w 305"/>
                    <a:gd name="T33" fmla="*/ 1108 h 1111"/>
                    <a:gd name="T34" fmla="*/ 153 w 305"/>
                    <a:gd name="T35" fmla="*/ 1111 h 1111"/>
                    <a:gd name="T36" fmla="*/ 121 w 305"/>
                    <a:gd name="T37" fmla="*/ 1108 h 1111"/>
                    <a:gd name="T38" fmla="*/ 93 w 305"/>
                    <a:gd name="T39" fmla="*/ 1100 h 1111"/>
                    <a:gd name="T40" fmla="*/ 67 w 305"/>
                    <a:gd name="T41" fmla="*/ 1086 h 1111"/>
                    <a:gd name="T42" fmla="*/ 44 w 305"/>
                    <a:gd name="T43" fmla="*/ 1067 h 1111"/>
                    <a:gd name="T44" fmla="*/ 26 w 305"/>
                    <a:gd name="T45" fmla="*/ 1044 h 1111"/>
                    <a:gd name="T46" fmla="*/ 12 w 305"/>
                    <a:gd name="T47" fmla="*/ 1018 h 1111"/>
                    <a:gd name="T48" fmla="*/ 3 w 305"/>
                    <a:gd name="T49" fmla="*/ 989 h 1111"/>
                    <a:gd name="T50" fmla="*/ 0 w 305"/>
                    <a:gd name="T51" fmla="*/ 959 h 1111"/>
                    <a:gd name="T52" fmla="*/ 0 w 305"/>
                    <a:gd name="T53" fmla="*/ 153 h 1111"/>
                    <a:gd name="T54" fmla="*/ 3 w 305"/>
                    <a:gd name="T55" fmla="*/ 122 h 1111"/>
                    <a:gd name="T56" fmla="*/ 12 w 305"/>
                    <a:gd name="T57" fmla="*/ 93 h 1111"/>
                    <a:gd name="T58" fmla="*/ 26 w 305"/>
                    <a:gd name="T59" fmla="*/ 68 h 1111"/>
                    <a:gd name="T60" fmla="*/ 44 w 305"/>
                    <a:gd name="T61" fmla="*/ 44 h 1111"/>
                    <a:gd name="T62" fmla="*/ 67 w 305"/>
                    <a:gd name="T63" fmla="*/ 26 h 1111"/>
                    <a:gd name="T64" fmla="*/ 93 w 305"/>
                    <a:gd name="T65" fmla="*/ 11 h 1111"/>
                    <a:gd name="T66" fmla="*/ 121 w 305"/>
                    <a:gd name="T67" fmla="*/ 3 h 1111"/>
                    <a:gd name="T68" fmla="*/ 153 w 305"/>
                    <a:gd name="T69" fmla="*/ 0 h 1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05" h="1111">
                      <a:moveTo>
                        <a:pt x="153" y="0"/>
                      </a:moveTo>
                      <a:lnTo>
                        <a:pt x="183" y="3"/>
                      </a:lnTo>
                      <a:lnTo>
                        <a:pt x="212" y="11"/>
                      </a:lnTo>
                      <a:lnTo>
                        <a:pt x="237" y="26"/>
                      </a:lnTo>
                      <a:lnTo>
                        <a:pt x="260" y="44"/>
                      </a:lnTo>
                      <a:lnTo>
                        <a:pt x="278" y="68"/>
                      </a:lnTo>
                      <a:lnTo>
                        <a:pt x="293" y="93"/>
                      </a:lnTo>
                      <a:lnTo>
                        <a:pt x="301" y="122"/>
                      </a:lnTo>
                      <a:lnTo>
                        <a:pt x="305" y="153"/>
                      </a:lnTo>
                      <a:lnTo>
                        <a:pt x="305" y="959"/>
                      </a:lnTo>
                      <a:lnTo>
                        <a:pt x="301" y="989"/>
                      </a:lnTo>
                      <a:lnTo>
                        <a:pt x="293" y="1018"/>
                      </a:lnTo>
                      <a:lnTo>
                        <a:pt x="278" y="1044"/>
                      </a:lnTo>
                      <a:lnTo>
                        <a:pt x="260" y="1067"/>
                      </a:lnTo>
                      <a:lnTo>
                        <a:pt x="237" y="1086"/>
                      </a:lnTo>
                      <a:lnTo>
                        <a:pt x="212" y="1100"/>
                      </a:lnTo>
                      <a:lnTo>
                        <a:pt x="183" y="1108"/>
                      </a:lnTo>
                      <a:lnTo>
                        <a:pt x="153" y="1111"/>
                      </a:lnTo>
                      <a:lnTo>
                        <a:pt x="121" y="1108"/>
                      </a:lnTo>
                      <a:lnTo>
                        <a:pt x="93" y="1100"/>
                      </a:lnTo>
                      <a:lnTo>
                        <a:pt x="67" y="1086"/>
                      </a:lnTo>
                      <a:lnTo>
                        <a:pt x="44" y="1067"/>
                      </a:lnTo>
                      <a:lnTo>
                        <a:pt x="26" y="1044"/>
                      </a:lnTo>
                      <a:lnTo>
                        <a:pt x="12" y="1018"/>
                      </a:lnTo>
                      <a:lnTo>
                        <a:pt x="3" y="989"/>
                      </a:lnTo>
                      <a:lnTo>
                        <a:pt x="0" y="959"/>
                      </a:lnTo>
                      <a:lnTo>
                        <a:pt x="0" y="153"/>
                      </a:lnTo>
                      <a:lnTo>
                        <a:pt x="3" y="122"/>
                      </a:lnTo>
                      <a:lnTo>
                        <a:pt x="12" y="93"/>
                      </a:lnTo>
                      <a:lnTo>
                        <a:pt x="26" y="68"/>
                      </a:lnTo>
                      <a:lnTo>
                        <a:pt x="44" y="44"/>
                      </a:lnTo>
                      <a:lnTo>
                        <a:pt x="67" y="26"/>
                      </a:lnTo>
                      <a:lnTo>
                        <a:pt x="93" y="11"/>
                      </a:lnTo>
                      <a:lnTo>
                        <a:pt x="121" y="3"/>
                      </a:lnTo>
                      <a:lnTo>
                        <a:pt x="15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4" name="Freeform 207"/>
                <p:cNvSpPr>
                  <a:spLocks/>
                </p:cNvSpPr>
                <p:nvPr/>
              </p:nvSpPr>
              <p:spPr bwMode="auto">
                <a:xfrm>
                  <a:off x="4176" y="3520"/>
                  <a:ext cx="223" cy="225"/>
                </a:xfrm>
                <a:custGeom>
                  <a:avLst/>
                  <a:gdLst>
                    <a:gd name="T0" fmla="*/ 1085 w 1117"/>
                    <a:gd name="T1" fmla="*/ 0 h 1123"/>
                    <a:gd name="T2" fmla="*/ 1106 w 1117"/>
                    <a:gd name="T3" fmla="*/ 10 h 1123"/>
                    <a:gd name="T4" fmla="*/ 1117 w 1117"/>
                    <a:gd name="T5" fmla="*/ 31 h 1123"/>
                    <a:gd name="T6" fmla="*/ 1113 w 1117"/>
                    <a:gd name="T7" fmla="*/ 53 h 1123"/>
                    <a:gd name="T8" fmla="*/ 1104 w 1117"/>
                    <a:gd name="T9" fmla="*/ 66 h 1123"/>
                    <a:gd name="T10" fmla="*/ 1089 w 1117"/>
                    <a:gd name="T11" fmla="*/ 82 h 1123"/>
                    <a:gd name="T12" fmla="*/ 1062 w 1117"/>
                    <a:gd name="T13" fmla="*/ 112 h 1123"/>
                    <a:gd name="T14" fmla="*/ 1023 w 1117"/>
                    <a:gd name="T15" fmla="*/ 155 h 1123"/>
                    <a:gd name="T16" fmla="*/ 973 w 1117"/>
                    <a:gd name="T17" fmla="*/ 209 h 1123"/>
                    <a:gd name="T18" fmla="*/ 917 w 1117"/>
                    <a:gd name="T19" fmla="*/ 272 h 1123"/>
                    <a:gd name="T20" fmla="*/ 853 w 1117"/>
                    <a:gd name="T21" fmla="*/ 342 h 1123"/>
                    <a:gd name="T22" fmla="*/ 785 w 1117"/>
                    <a:gd name="T23" fmla="*/ 417 h 1123"/>
                    <a:gd name="T24" fmla="*/ 712 w 1117"/>
                    <a:gd name="T25" fmla="*/ 497 h 1123"/>
                    <a:gd name="T26" fmla="*/ 640 w 1117"/>
                    <a:gd name="T27" fmla="*/ 577 h 1123"/>
                    <a:gd name="T28" fmla="*/ 566 w 1117"/>
                    <a:gd name="T29" fmla="*/ 658 h 1123"/>
                    <a:gd name="T30" fmla="*/ 494 w 1117"/>
                    <a:gd name="T31" fmla="*/ 737 h 1123"/>
                    <a:gd name="T32" fmla="*/ 425 w 1117"/>
                    <a:gd name="T33" fmla="*/ 813 h 1123"/>
                    <a:gd name="T34" fmla="*/ 361 w 1117"/>
                    <a:gd name="T35" fmla="*/ 884 h 1123"/>
                    <a:gd name="T36" fmla="*/ 303 w 1117"/>
                    <a:gd name="T37" fmla="*/ 946 h 1123"/>
                    <a:gd name="T38" fmla="*/ 254 w 1117"/>
                    <a:gd name="T39" fmla="*/ 1001 h 1123"/>
                    <a:gd name="T40" fmla="*/ 215 w 1117"/>
                    <a:gd name="T41" fmla="*/ 1045 h 1123"/>
                    <a:gd name="T42" fmla="*/ 186 w 1117"/>
                    <a:gd name="T43" fmla="*/ 1076 h 1123"/>
                    <a:gd name="T44" fmla="*/ 171 w 1117"/>
                    <a:gd name="T45" fmla="*/ 1093 h 1123"/>
                    <a:gd name="T46" fmla="*/ 151 w 1117"/>
                    <a:gd name="T47" fmla="*/ 1110 h 1123"/>
                    <a:gd name="T48" fmla="*/ 110 w 1117"/>
                    <a:gd name="T49" fmla="*/ 1123 h 1123"/>
                    <a:gd name="T50" fmla="*/ 66 w 1117"/>
                    <a:gd name="T51" fmla="*/ 1119 h 1123"/>
                    <a:gd name="T52" fmla="*/ 28 w 1117"/>
                    <a:gd name="T53" fmla="*/ 1095 h 1123"/>
                    <a:gd name="T54" fmla="*/ 5 w 1117"/>
                    <a:gd name="T55" fmla="*/ 1057 h 1123"/>
                    <a:gd name="T56" fmla="*/ 0 w 1117"/>
                    <a:gd name="T57" fmla="*/ 1013 h 1123"/>
                    <a:gd name="T58" fmla="*/ 14 w 1117"/>
                    <a:gd name="T59" fmla="*/ 972 h 1123"/>
                    <a:gd name="T60" fmla="*/ 31 w 1117"/>
                    <a:gd name="T61" fmla="*/ 952 h 1123"/>
                    <a:gd name="T62" fmla="*/ 47 w 1117"/>
                    <a:gd name="T63" fmla="*/ 936 h 1123"/>
                    <a:gd name="T64" fmla="*/ 78 w 1117"/>
                    <a:gd name="T65" fmla="*/ 908 h 1123"/>
                    <a:gd name="T66" fmla="*/ 122 w 1117"/>
                    <a:gd name="T67" fmla="*/ 868 h 1123"/>
                    <a:gd name="T68" fmla="*/ 176 w 1117"/>
                    <a:gd name="T69" fmla="*/ 818 h 1123"/>
                    <a:gd name="T70" fmla="*/ 238 w 1117"/>
                    <a:gd name="T71" fmla="*/ 761 h 1123"/>
                    <a:gd name="T72" fmla="*/ 309 w 1117"/>
                    <a:gd name="T73" fmla="*/ 696 h 1123"/>
                    <a:gd name="T74" fmla="*/ 383 w 1117"/>
                    <a:gd name="T75" fmla="*/ 627 h 1123"/>
                    <a:gd name="T76" fmla="*/ 463 w 1117"/>
                    <a:gd name="T77" fmla="*/ 554 h 1123"/>
                    <a:gd name="T78" fmla="*/ 543 w 1117"/>
                    <a:gd name="T79" fmla="*/ 481 h 1123"/>
                    <a:gd name="T80" fmla="*/ 623 w 1117"/>
                    <a:gd name="T81" fmla="*/ 406 h 1123"/>
                    <a:gd name="T82" fmla="*/ 702 w 1117"/>
                    <a:gd name="T83" fmla="*/ 334 h 1123"/>
                    <a:gd name="T84" fmla="*/ 776 w 1117"/>
                    <a:gd name="T85" fmla="*/ 265 h 1123"/>
                    <a:gd name="T86" fmla="*/ 846 w 1117"/>
                    <a:gd name="T87" fmla="*/ 201 h 1123"/>
                    <a:gd name="T88" fmla="*/ 908 w 1117"/>
                    <a:gd name="T89" fmla="*/ 143 h 1123"/>
                    <a:gd name="T90" fmla="*/ 962 w 1117"/>
                    <a:gd name="T91" fmla="*/ 95 h 1123"/>
                    <a:gd name="T92" fmla="*/ 1005 w 1117"/>
                    <a:gd name="T93" fmla="*/ 54 h 1123"/>
                    <a:gd name="T94" fmla="*/ 1036 w 1117"/>
                    <a:gd name="T95" fmla="*/ 27 h 1123"/>
                    <a:gd name="T96" fmla="*/ 1051 w 1117"/>
                    <a:gd name="T97" fmla="*/ 12 h 1123"/>
                    <a:gd name="T98" fmla="*/ 1063 w 1117"/>
                    <a:gd name="T99" fmla="*/ 3 h 1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117" h="1123">
                      <a:moveTo>
                        <a:pt x="1074" y="0"/>
                      </a:moveTo>
                      <a:lnTo>
                        <a:pt x="1085" y="0"/>
                      </a:lnTo>
                      <a:lnTo>
                        <a:pt x="1096" y="3"/>
                      </a:lnTo>
                      <a:lnTo>
                        <a:pt x="1106" y="10"/>
                      </a:lnTo>
                      <a:lnTo>
                        <a:pt x="1113" y="20"/>
                      </a:lnTo>
                      <a:lnTo>
                        <a:pt x="1117" y="31"/>
                      </a:lnTo>
                      <a:lnTo>
                        <a:pt x="1117" y="43"/>
                      </a:lnTo>
                      <a:lnTo>
                        <a:pt x="1113" y="53"/>
                      </a:lnTo>
                      <a:lnTo>
                        <a:pt x="1106" y="64"/>
                      </a:lnTo>
                      <a:lnTo>
                        <a:pt x="1104" y="66"/>
                      </a:lnTo>
                      <a:lnTo>
                        <a:pt x="1099" y="71"/>
                      </a:lnTo>
                      <a:lnTo>
                        <a:pt x="1089" y="82"/>
                      </a:lnTo>
                      <a:lnTo>
                        <a:pt x="1077" y="96"/>
                      </a:lnTo>
                      <a:lnTo>
                        <a:pt x="1062" y="112"/>
                      </a:lnTo>
                      <a:lnTo>
                        <a:pt x="1043" y="132"/>
                      </a:lnTo>
                      <a:lnTo>
                        <a:pt x="1023" y="155"/>
                      </a:lnTo>
                      <a:lnTo>
                        <a:pt x="999" y="181"/>
                      </a:lnTo>
                      <a:lnTo>
                        <a:pt x="973" y="209"/>
                      </a:lnTo>
                      <a:lnTo>
                        <a:pt x="946" y="240"/>
                      </a:lnTo>
                      <a:lnTo>
                        <a:pt x="917" y="272"/>
                      </a:lnTo>
                      <a:lnTo>
                        <a:pt x="885" y="306"/>
                      </a:lnTo>
                      <a:lnTo>
                        <a:pt x="853" y="342"/>
                      </a:lnTo>
                      <a:lnTo>
                        <a:pt x="820" y="379"/>
                      </a:lnTo>
                      <a:lnTo>
                        <a:pt x="785" y="417"/>
                      </a:lnTo>
                      <a:lnTo>
                        <a:pt x="749" y="456"/>
                      </a:lnTo>
                      <a:lnTo>
                        <a:pt x="712" y="497"/>
                      </a:lnTo>
                      <a:lnTo>
                        <a:pt x="676" y="537"/>
                      </a:lnTo>
                      <a:lnTo>
                        <a:pt x="640" y="577"/>
                      </a:lnTo>
                      <a:lnTo>
                        <a:pt x="603" y="617"/>
                      </a:lnTo>
                      <a:lnTo>
                        <a:pt x="566" y="658"/>
                      </a:lnTo>
                      <a:lnTo>
                        <a:pt x="529" y="698"/>
                      </a:lnTo>
                      <a:lnTo>
                        <a:pt x="494" y="737"/>
                      </a:lnTo>
                      <a:lnTo>
                        <a:pt x="458" y="776"/>
                      </a:lnTo>
                      <a:lnTo>
                        <a:pt x="425" y="813"/>
                      </a:lnTo>
                      <a:lnTo>
                        <a:pt x="392" y="849"/>
                      </a:lnTo>
                      <a:lnTo>
                        <a:pt x="361" y="884"/>
                      </a:lnTo>
                      <a:lnTo>
                        <a:pt x="332" y="917"/>
                      </a:lnTo>
                      <a:lnTo>
                        <a:pt x="303" y="946"/>
                      </a:lnTo>
                      <a:lnTo>
                        <a:pt x="278" y="975"/>
                      </a:lnTo>
                      <a:lnTo>
                        <a:pt x="254" y="1001"/>
                      </a:lnTo>
                      <a:lnTo>
                        <a:pt x="233" y="1024"/>
                      </a:lnTo>
                      <a:lnTo>
                        <a:pt x="215" y="1045"/>
                      </a:lnTo>
                      <a:lnTo>
                        <a:pt x="199" y="1062"/>
                      </a:lnTo>
                      <a:lnTo>
                        <a:pt x="186" y="1076"/>
                      </a:lnTo>
                      <a:lnTo>
                        <a:pt x="177" y="1086"/>
                      </a:lnTo>
                      <a:lnTo>
                        <a:pt x="171" y="1093"/>
                      </a:lnTo>
                      <a:lnTo>
                        <a:pt x="169" y="1095"/>
                      </a:lnTo>
                      <a:lnTo>
                        <a:pt x="151" y="1110"/>
                      </a:lnTo>
                      <a:lnTo>
                        <a:pt x="131" y="1119"/>
                      </a:lnTo>
                      <a:lnTo>
                        <a:pt x="110" y="1123"/>
                      </a:lnTo>
                      <a:lnTo>
                        <a:pt x="87" y="1123"/>
                      </a:lnTo>
                      <a:lnTo>
                        <a:pt x="66" y="1119"/>
                      </a:lnTo>
                      <a:lnTo>
                        <a:pt x="46" y="1110"/>
                      </a:lnTo>
                      <a:lnTo>
                        <a:pt x="28" y="1095"/>
                      </a:lnTo>
                      <a:lnTo>
                        <a:pt x="14" y="1077"/>
                      </a:lnTo>
                      <a:lnTo>
                        <a:pt x="5" y="1057"/>
                      </a:lnTo>
                      <a:lnTo>
                        <a:pt x="0" y="1035"/>
                      </a:lnTo>
                      <a:lnTo>
                        <a:pt x="0" y="1013"/>
                      </a:lnTo>
                      <a:lnTo>
                        <a:pt x="5" y="992"/>
                      </a:lnTo>
                      <a:lnTo>
                        <a:pt x="14" y="972"/>
                      </a:lnTo>
                      <a:lnTo>
                        <a:pt x="28" y="954"/>
                      </a:lnTo>
                      <a:lnTo>
                        <a:pt x="31" y="952"/>
                      </a:lnTo>
                      <a:lnTo>
                        <a:pt x="37" y="945"/>
                      </a:lnTo>
                      <a:lnTo>
                        <a:pt x="47" y="936"/>
                      </a:lnTo>
                      <a:lnTo>
                        <a:pt x="61" y="924"/>
                      </a:lnTo>
                      <a:lnTo>
                        <a:pt x="78" y="908"/>
                      </a:lnTo>
                      <a:lnTo>
                        <a:pt x="99" y="889"/>
                      </a:lnTo>
                      <a:lnTo>
                        <a:pt x="122" y="868"/>
                      </a:lnTo>
                      <a:lnTo>
                        <a:pt x="147" y="844"/>
                      </a:lnTo>
                      <a:lnTo>
                        <a:pt x="176" y="818"/>
                      </a:lnTo>
                      <a:lnTo>
                        <a:pt x="206" y="790"/>
                      </a:lnTo>
                      <a:lnTo>
                        <a:pt x="238" y="761"/>
                      </a:lnTo>
                      <a:lnTo>
                        <a:pt x="273" y="729"/>
                      </a:lnTo>
                      <a:lnTo>
                        <a:pt x="309" y="696"/>
                      </a:lnTo>
                      <a:lnTo>
                        <a:pt x="346" y="662"/>
                      </a:lnTo>
                      <a:lnTo>
                        <a:pt x="383" y="627"/>
                      </a:lnTo>
                      <a:lnTo>
                        <a:pt x="422" y="591"/>
                      </a:lnTo>
                      <a:lnTo>
                        <a:pt x="463" y="554"/>
                      </a:lnTo>
                      <a:lnTo>
                        <a:pt x="503" y="518"/>
                      </a:lnTo>
                      <a:lnTo>
                        <a:pt x="543" y="481"/>
                      </a:lnTo>
                      <a:lnTo>
                        <a:pt x="583" y="444"/>
                      </a:lnTo>
                      <a:lnTo>
                        <a:pt x="623" y="406"/>
                      </a:lnTo>
                      <a:lnTo>
                        <a:pt x="663" y="369"/>
                      </a:lnTo>
                      <a:lnTo>
                        <a:pt x="702" y="334"/>
                      </a:lnTo>
                      <a:lnTo>
                        <a:pt x="740" y="299"/>
                      </a:lnTo>
                      <a:lnTo>
                        <a:pt x="776" y="265"/>
                      </a:lnTo>
                      <a:lnTo>
                        <a:pt x="812" y="232"/>
                      </a:lnTo>
                      <a:lnTo>
                        <a:pt x="846" y="201"/>
                      </a:lnTo>
                      <a:lnTo>
                        <a:pt x="879" y="171"/>
                      </a:lnTo>
                      <a:lnTo>
                        <a:pt x="908" y="143"/>
                      </a:lnTo>
                      <a:lnTo>
                        <a:pt x="937" y="118"/>
                      </a:lnTo>
                      <a:lnTo>
                        <a:pt x="962" y="95"/>
                      </a:lnTo>
                      <a:lnTo>
                        <a:pt x="985" y="73"/>
                      </a:lnTo>
                      <a:lnTo>
                        <a:pt x="1005" y="54"/>
                      </a:lnTo>
                      <a:lnTo>
                        <a:pt x="1022" y="39"/>
                      </a:lnTo>
                      <a:lnTo>
                        <a:pt x="1036" y="27"/>
                      </a:lnTo>
                      <a:lnTo>
                        <a:pt x="1045" y="18"/>
                      </a:lnTo>
                      <a:lnTo>
                        <a:pt x="1051" y="12"/>
                      </a:lnTo>
                      <a:lnTo>
                        <a:pt x="1054" y="10"/>
                      </a:lnTo>
                      <a:lnTo>
                        <a:pt x="1063" y="3"/>
                      </a:lnTo>
                      <a:lnTo>
                        <a:pt x="1074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116" name="Group 115"/>
              <p:cNvGrpSpPr>
                <a:grpSpLocks noChangeAspect="1"/>
              </p:cNvGrpSpPr>
              <p:nvPr/>
            </p:nvGrpSpPr>
            <p:grpSpPr bwMode="auto">
              <a:xfrm>
                <a:off x="5306128" y="3308223"/>
                <a:ext cx="646135" cy="651558"/>
                <a:chOff x="4224" y="3247"/>
                <a:chExt cx="715" cy="721"/>
              </a:xfrm>
              <a:solidFill>
                <a:schemeClr val="bg1"/>
              </a:solidFill>
            </p:grpSpPr>
            <p:sp>
              <p:nvSpPr>
                <p:cNvPr id="117" name="Freeform 238"/>
                <p:cNvSpPr>
                  <a:spLocks/>
                </p:cNvSpPr>
                <p:nvPr/>
              </p:nvSpPr>
              <p:spPr bwMode="auto">
                <a:xfrm>
                  <a:off x="4416" y="3533"/>
                  <a:ext cx="175" cy="199"/>
                </a:xfrm>
                <a:custGeom>
                  <a:avLst/>
                  <a:gdLst>
                    <a:gd name="T0" fmla="*/ 449 w 878"/>
                    <a:gd name="T1" fmla="*/ 3 h 992"/>
                    <a:gd name="T2" fmla="*/ 535 w 878"/>
                    <a:gd name="T3" fmla="*/ 19 h 992"/>
                    <a:gd name="T4" fmla="*/ 606 w 878"/>
                    <a:gd name="T5" fmla="*/ 50 h 992"/>
                    <a:gd name="T6" fmla="*/ 664 w 878"/>
                    <a:gd name="T7" fmla="*/ 92 h 992"/>
                    <a:gd name="T8" fmla="*/ 709 w 878"/>
                    <a:gd name="T9" fmla="*/ 145 h 992"/>
                    <a:gd name="T10" fmla="*/ 743 w 878"/>
                    <a:gd name="T11" fmla="*/ 206 h 992"/>
                    <a:gd name="T12" fmla="*/ 768 w 878"/>
                    <a:gd name="T13" fmla="*/ 273 h 992"/>
                    <a:gd name="T14" fmla="*/ 786 w 878"/>
                    <a:gd name="T15" fmla="*/ 342 h 992"/>
                    <a:gd name="T16" fmla="*/ 796 w 878"/>
                    <a:gd name="T17" fmla="*/ 412 h 992"/>
                    <a:gd name="T18" fmla="*/ 801 w 878"/>
                    <a:gd name="T19" fmla="*/ 481 h 992"/>
                    <a:gd name="T20" fmla="*/ 812 w 878"/>
                    <a:gd name="T21" fmla="*/ 513 h 992"/>
                    <a:gd name="T22" fmla="*/ 837 w 878"/>
                    <a:gd name="T23" fmla="*/ 514 h 992"/>
                    <a:gd name="T24" fmla="*/ 859 w 878"/>
                    <a:gd name="T25" fmla="*/ 532 h 992"/>
                    <a:gd name="T26" fmla="*/ 871 w 878"/>
                    <a:gd name="T27" fmla="*/ 562 h 992"/>
                    <a:gd name="T28" fmla="*/ 877 w 878"/>
                    <a:gd name="T29" fmla="*/ 603 h 992"/>
                    <a:gd name="T30" fmla="*/ 878 w 878"/>
                    <a:gd name="T31" fmla="*/ 651 h 992"/>
                    <a:gd name="T32" fmla="*/ 870 w 878"/>
                    <a:gd name="T33" fmla="*/ 704 h 992"/>
                    <a:gd name="T34" fmla="*/ 849 w 878"/>
                    <a:gd name="T35" fmla="*/ 757 h 992"/>
                    <a:gd name="T36" fmla="*/ 820 w 878"/>
                    <a:gd name="T37" fmla="*/ 801 h 992"/>
                    <a:gd name="T38" fmla="*/ 788 w 878"/>
                    <a:gd name="T39" fmla="*/ 828 h 992"/>
                    <a:gd name="T40" fmla="*/ 761 w 878"/>
                    <a:gd name="T41" fmla="*/ 830 h 992"/>
                    <a:gd name="T42" fmla="*/ 729 w 878"/>
                    <a:gd name="T43" fmla="*/ 871 h 992"/>
                    <a:gd name="T44" fmla="*/ 674 w 878"/>
                    <a:gd name="T45" fmla="*/ 956 h 992"/>
                    <a:gd name="T46" fmla="*/ 277 w 878"/>
                    <a:gd name="T47" fmla="*/ 992 h 992"/>
                    <a:gd name="T48" fmla="*/ 207 w 878"/>
                    <a:gd name="T49" fmla="*/ 917 h 992"/>
                    <a:gd name="T50" fmla="*/ 149 w 878"/>
                    <a:gd name="T51" fmla="*/ 827 h 992"/>
                    <a:gd name="T52" fmla="*/ 139 w 878"/>
                    <a:gd name="T53" fmla="*/ 831 h 992"/>
                    <a:gd name="T54" fmla="*/ 118 w 878"/>
                    <a:gd name="T55" fmla="*/ 828 h 992"/>
                    <a:gd name="T56" fmla="*/ 85 w 878"/>
                    <a:gd name="T57" fmla="*/ 807 h 992"/>
                    <a:gd name="T58" fmla="*/ 54 w 878"/>
                    <a:gd name="T59" fmla="*/ 770 h 992"/>
                    <a:gd name="T60" fmla="*/ 27 w 878"/>
                    <a:gd name="T61" fmla="*/ 723 h 992"/>
                    <a:gd name="T62" fmla="*/ 10 w 878"/>
                    <a:gd name="T63" fmla="*/ 674 h 992"/>
                    <a:gd name="T64" fmla="*/ 3 w 878"/>
                    <a:gd name="T65" fmla="*/ 626 h 992"/>
                    <a:gd name="T66" fmla="*/ 0 w 878"/>
                    <a:gd name="T67" fmla="*/ 581 h 992"/>
                    <a:gd name="T68" fmla="*/ 5 w 878"/>
                    <a:gd name="T69" fmla="*/ 545 h 992"/>
                    <a:gd name="T70" fmla="*/ 19 w 878"/>
                    <a:gd name="T71" fmla="*/ 521 h 992"/>
                    <a:gd name="T72" fmla="*/ 46 w 878"/>
                    <a:gd name="T73" fmla="*/ 512 h 992"/>
                    <a:gd name="T74" fmla="*/ 55 w 878"/>
                    <a:gd name="T75" fmla="*/ 513 h 992"/>
                    <a:gd name="T76" fmla="*/ 56 w 878"/>
                    <a:gd name="T77" fmla="*/ 480 h 992"/>
                    <a:gd name="T78" fmla="*/ 55 w 878"/>
                    <a:gd name="T79" fmla="*/ 411 h 992"/>
                    <a:gd name="T80" fmla="*/ 60 w 878"/>
                    <a:gd name="T81" fmla="*/ 341 h 992"/>
                    <a:gd name="T82" fmla="*/ 70 w 878"/>
                    <a:gd name="T83" fmla="*/ 272 h 992"/>
                    <a:gd name="T84" fmla="*/ 90 w 878"/>
                    <a:gd name="T85" fmla="*/ 206 h 992"/>
                    <a:gd name="T86" fmla="*/ 119 w 878"/>
                    <a:gd name="T87" fmla="*/ 145 h 992"/>
                    <a:gd name="T88" fmla="*/ 158 w 878"/>
                    <a:gd name="T89" fmla="*/ 92 h 992"/>
                    <a:gd name="T90" fmla="*/ 211 w 878"/>
                    <a:gd name="T91" fmla="*/ 50 h 992"/>
                    <a:gd name="T92" fmla="*/ 276 w 878"/>
                    <a:gd name="T93" fmla="*/ 19 h 992"/>
                    <a:gd name="T94" fmla="*/ 355 w 878"/>
                    <a:gd name="T95" fmla="*/ 3 h 9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878" h="992">
                      <a:moveTo>
                        <a:pt x="400" y="0"/>
                      </a:moveTo>
                      <a:lnTo>
                        <a:pt x="449" y="3"/>
                      </a:lnTo>
                      <a:lnTo>
                        <a:pt x="494" y="8"/>
                      </a:lnTo>
                      <a:lnTo>
                        <a:pt x="535" y="19"/>
                      </a:lnTo>
                      <a:lnTo>
                        <a:pt x="572" y="33"/>
                      </a:lnTo>
                      <a:lnTo>
                        <a:pt x="606" y="50"/>
                      </a:lnTo>
                      <a:lnTo>
                        <a:pt x="636" y="69"/>
                      </a:lnTo>
                      <a:lnTo>
                        <a:pt x="664" y="92"/>
                      </a:lnTo>
                      <a:lnTo>
                        <a:pt x="687" y="118"/>
                      </a:lnTo>
                      <a:lnTo>
                        <a:pt x="709" y="145"/>
                      </a:lnTo>
                      <a:lnTo>
                        <a:pt x="727" y="175"/>
                      </a:lnTo>
                      <a:lnTo>
                        <a:pt x="743" y="206"/>
                      </a:lnTo>
                      <a:lnTo>
                        <a:pt x="756" y="238"/>
                      </a:lnTo>
                      <a:lnTo>
                        <a:pt x="768" y="273"/>
                      </a:lnTo>
                      <a:lnTo>
                        <a:pt x="777" y="306"/>
                      </a:lnTo>
                      <a:lnTo>
                        <a:pt x="786" y="342"/>
                      </a:lnTo>
                      <a:lnTo>
                        <a:pt x="791" y="376"/>
                      </a:lnTo>
                      <a:lnTo>
                        <a:pt x="796" y="412"/>
                      </a:lnTo>
                      <a:lnTo>
                        <a:pt x="799" y="447"/>
                      </a:lnTo>
                      <a:lnTo>
                        <a:pt x="801" y="481"/>
                      </a:lnTo>
                      <a:lnTo>
                        <a:pt x="802" y="514"/>
                      </a:lnTo>
                      <a:lnTo>
                        <a:pt x="812" y="513"/>
                      </a:lnTo>
                      <a:lnTo>
                        <a:pt x="822" y="512"/>
                      </a:lnTo>
                      <a:lnTo>
                        <a:pt x="837" y="514"/>
                      </a:lnTo>
                      <a:lnTo>
                        <a:pt x="849" y="521"/>
                      </a:lnTo>
                      <a:lnTo>
                        <a:pt x="859" y="532"/>
                      </a:lnTo>
                      <a:lnTo>
                        <a:pt x="866" y="545"/>
                      </a:lnTo>
                      <a:lnTo>
                        <a:pt x="871" y="562"/>
                      </a:lnTo>
                      <a:lnTo>
                        <a:pt x="875" y="581"/>
                      </a:lnTo>
                      <a:lnTo>
                        <a:pt x="877" y="603"/>
                      </a:lnTo>
                      <a:lnTo>
                        <a:pt x="878" y="626"/>
                      </a:lnTo>
                      <a:lnTo>
                        <a:pt x="878" y="651"/>
                      </a:lnTo>
                      <a:lnTo>
                        <a:pt x="876" y="677"/>
                      </a:lnTo>
                      <a:lnTo>
                        <a:pt x="870" y="704"/>
                      </a:lnTo>
                      <a:lnTo>
                        <a:pt x="861" y="731"/>
                      </a:lnTo>
                      <a:lnTo>
                        <a:pt x="849" y="757"/>
                      </a:lnTo>
                      <a:lnTo>
                        <a:pt x="835" y="781"/>
                      </a:lnTo>
                      <a:lnTo>
                        <a:pt x="820" y="801"/>
                      </a:lnTo>
                      <a:lnTo>
                        <a:pt x="804" y="817"/>
                      </a:lnTo>
                      <a:lnTo>
                        <a:pt x="788" y="828"/>
                      </a:lnTo>
                      <a:lnTo>
                        <a:pt x="772" y="832"/>
                      </a:lnTo>
                      <a:lnTo>
                        <a:pt x="761" y="830"/>
                      </a:lnTo>
                      <a:lnTo>
                        <a:pt x="752" y="824"/>
                      </a:lnTo>
                      <a:lnTo>
                        <a:pt x="729" y="871"/>
                      </a:lnTo>
                      <a:lnTo>
                        <a:pt x="703" y="916"/>
                      </a:lnTo>
                      <a:lnTo>
                        <a:pt x="674" y="956"/>
                      </a:lnTo>
                      <a:lnTo>
                        <a:pt x="642" y="992"/>
                      </a:lnTo>
                      <a:lnTo>
                        <a:pt x="277" y="992"/>
                      </a:lnTo>
                      <a:lnTo>
                        <a:pt x="241" y="956"/>
                      </a:lnTo>
                      <a:lnTo>
                        <a:pt x="207" y="917"/>
                      </a:lnTo>
                      <a:lnTo>
                        <a:pt x="177" y="873"/>
                      </a:lnTo>
                      <a:lnTo>
                        <a:pt x="149" y="827"/>
                      </a:lnTo>
                      <a:lnTo>
                        <a:pt x="143" y="830"/>
                      </a:lnTo>
                      <a:lnTo>
                        <a:pt x="139" y="831"/>
                      </a:lnTo>
                      <a:lnTo>
                        <a:pt x="133" y="832"/>
                      </a:lnTo>
                      <a:lnTo>
                        <a:pt x="118" y="828"/>
                      </a:lnTo>
                      <a:lnTo>
                        <a:pt x="101" y="820"/>
                      </a:lnTo>
                      <a:lnTo>
                        <a:pt x="85" y="807"/>
                      </a:lnTo>
                      <a:lnTo>
                        <a:pt x="69" y="789"/>
                      </a:lnTo>
                      <a:lnTo>
                        <a:pt x="54" y="770"/>
                      </a:lnTo>
                      <a:lnTo>
                        <a:pt x="40" y="747"/>
                      </a:lnTo>
                      <a:lnTo>
                        <a:pt x="27" y="723"/>
                      </a:lnTo>
                      <a:lnTo>
                        <a:pt x="18" y="698"/>
                      </a:lnTo>
                      <a:lnTo>
                        <a:pt x="10" y="674"/>
                      </a:lnTo>
                      <a:lnTo>
                        <a:pt x="5" y="651"/>
                      </a:lnTo>
                      <a:lnTo>
                        <a:pt x="3" y="626"/>
                      </a:lnTo>
                      <a:lnTo>
                        <a:pt x="0" y="603"/>
                      </a:lnTo>
                      <a:lnTo>
                        <a:pt x="0" y="581"/>
                      </a:lnTo>
                      <a:lnTo>
                        <a:pt x="2" y="562"/>
                      </a:lnTo>
                      <a:lnTo>
                        <a:pt x="5" y="545"/>
                      </a:lnTo>
                      <a:lnTo>
                        <a:pt x="11" y="532"/>
                      </a:lnTo>
                      <a:lnTo>
                        <a:pt x="19" y="521"/>
                      </a:lnTo>
                      <a:lnTo>
                        <a:pt x="31" y="514"/>
                      </a:lnTo>
                      <a:lnTo>
                        <a:pt x="46" y="512"/>
                      </a:lnTo>
                      <a:lnTo>
                        <a:pt x="50" y="512"/>
                      </a:lnTo>
                      <a:lnTo>
                        <a:pt x="55" y="513"/>
                      </a:lnTo>
                      <a:lnTo>
                        <a:pt x="60" y="513"/>
                      </a:lnTo>
                      <a:lnTo>
                        <a:pt x="56" y="480"/>
                      </a:lnTo>
                      <a:lnTo>
                        <a:pt x="55" y="447"/>
                      </a:lnTo>
                      <a:lnTo>
                        <a:pt x="55" y="411"/>
                      </a:lnTo>
                      <a:lnTo>
                        <a:pt x="56" y="376"/>
                      </a:lnTo>
                      <a:lnTo>
                        <a:pt x="60" y="341"/>
                      </a:lnTo>
                      <a:lnTo>
                        <a:pt x="64" y="306"/>
                      </a:lnTo>
                      <a:lnTo>
                        <a:pt x="70" y="272"/>
                      </a:lnTo>
                      <a:lnTo>
                        <a:pt x="79" y="238"/>
                      </a:lnTo>
                      <a:lnTo>
                        <a:pt x="90" y="206"/>
                      </a:lnTo>
                      <a:lnTo>
                        <a:pt x="103" y="175"/>
                      </a:lnTo>
                      <a:lnTo>
                        <a:pt x="119" y="145"/>
                      </a:lnTo>
                      <a:lnTo>
                        <a:pt x="137" y="118"/>
                      </a:lnTo>
                      <a:lnTo>
                        <a:pt x="158" y="92"/>
                      </a:lnTo>
                      <a:lnTo>
                        <a:pt x="183" y="69"/>
                      </a:lnTo>
                      <a:lnTo>
                        <a:pt x="211" y="50"/>
                      </a:lnTo>
                      <a:lnTo>
                        <a:pt x="241" y="33"/>
                      </a:lnTo>
                      <a:lnTo>
                        <a:pt x="276" y="19"/>
                      </a:lnTo>
                      <a:lnTo>
                        <a:pt x="313" y="8"/>
                      </a:lnTo>
                      <a:lnTo>
                        <a:pt x="355" y="3"/>
                      </a:lnTo>
                      <a:lnTo>
                        <a:pt x="40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8" name="Freeform 239"/>
                <p:cNvSpPr>
                  <a:spLocks/>
                </p:cNvSpPr>
                <p:nvPr/>
              </p:nvSpPr>
              <p:spPr bwMode="auto">
                <a:xfrm>
                  <a:off x="4585" y="3568"/>
                  <a:ext cx="219" cy="63"/>
                </a:xfrm>
                <a:custGeom>
                  <a:avLst/>
                  <a:gdLst>
                    <a:gd name="T0" fmla="*/ 0 w 1098"/>
                    <a:gd name="T1" fmla="*/ 0 h 318"/>
                    <a:gd name="T2" fmla="*/ 1026 w 1098"/>
                    <a:gd name="T3" fmla="*/ 0 h 318"/>
                    <a:gd name="T4" fmla="*/ 1046 w 1098"/>
                    <a:gd name="T5" fmla="*/ 3 h 318"/>
                    <a:gd name="T6" fmla="*/ 1062 w 1098"/>
                    <a:gd name="T7" fmla="*/ 10 h 318"/>
                    <a:gd name="T8" fmla="*/ 1076 w 1098"/>
                    <a:gd name="T9" fmla="*/ 20 h 318"/>
                    <a:gd name="T10" fmla="*/ 1088 w 1098"/>
                    <a:gd name="T11" fmla="*/ 34 h 318"/>
                    <a:gd name="T12" fmla="*/ 1095 w 1098"/>
                    <a:gd name="T13" fmla="*/ 51 h 318"/>
                    <a:gd name="T14" fmla="*/ 1098 w 1098"/>
                    <a:gd name="T15" fmla="*/ 71 h 318"/>
                    <a:gd name="T16" fmla="*/ 1097 w 1098"/>
                    <a:gd name="T17" fmla="*/ 92 h 318"/>
                    <a:gd name="T18" fmla="*/ 1075 w 1098"/>
                    <a:gd name="T19" fmla="*/ 232 h 318"/>
                    <a:gd name="T20" fmla="*/ 1069 w 1098"/>
                    <a:gd name="T21" fmla="*/ 255 h 318"/>
                    <a:gd name="T22" fmla="*/ 1058 w 1098"/>
                    <a:gd name="T23" fmla="*/ 276 h 318"/>
                    <a:gd name="T24" fmla="*/ 1041 w 1098"/>
                    <a:gd name="T25" fmla="*/ 293 h 318"/>
                    <a:gd name="T26" fmla="*/ 1023 w 1098"/>
                    <a:gd name="T27" fmla="*/ 307 h 318"/>
                    <a:gd name="T28" fmla="*/ 1002 w 1098"/>
                    <a:gd name="T29" fmla="*/ 315 h 318"/>
                    <a:gd name="T30" fmla="*/ 980 w 1098"/>
                    <a:gd name="T31" fmla="*/ 318 h 318"/>
                    <a:gd name="T32" fmla="*/ 105 w 1098"/>
                    <a:gd name="T33" fmla="*/ 318 h 318"/>
                    <a:gd name="T34" fmla="*/ 96 w 1098"/>
                    <a:gd name="T35" fmla="*/ 299 h 318"/>
                    <a:gd name="T36" fmla="*/ 84 w 1098"/>
                    <a:gd name="T37" fmla="*/ 282 h 318"/>
                    <a:gd name="T38" fmla="*/ 72 w 1098"/>
                    <a:gd name="T39" fmla="*/ 268 h 318"/>
                    <a:gd name="T40" fmla="*/ 57 w 1098"/>
                    <a:gd name="T41" fmla="*/ 256 h 318"/>
                    <a:gd name="T42" fmla="*/ 51 w 1098"/>
                    <a:gd name="T43" fmla="*/ 197 h 318"/>
                    <a:gd name="T44" fmla="*/ 41 w 1098"/>
                    <a:gd name="T45" fmla="*/ 142 h 318"/>
                    <a:gd name="T46" fmla="*/ 30 w 1098"/>
                    <a:gd name="T47" fmla="*/ 92 h 318"/>
                    <a:gd name="T48" fmla="*/ 16 w 1098"/>
                    <a:gd name="T49" fmla="*/ 44 h 318"/>
                    <a:gd name="T50" fmla="*/ 0 w 1098"/>
                    <a:gd name="T51" fmla="*/ 0 h 3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098" h="318">
                      <a:moveTo>
                        <a:pt x="0" y="0"/>
                      </a:moveTo>
                      <a:lnTo>
                        <a:pt x="1026" y="0"/>
                      </a:lnTo>
                      <a:lnTo>
                        <a:pt x="1046" y="3"/>
                      </a:lnTo>
                      <a:lnTo>
                        <a:pt x="1062" y="10"/>
                      </a:lnTo>
                      <a:lnTo>
                        <a:pt x="1076" y="20"/>
                      </a:lnTo>
                      <a:lnTo>
                        <a:pt x="1088" y="34"/>
                      </a:lnTo>
                      <a:lnTo>
                        <a:pt x="1095" y="51"/>
                      </a:lnTo>
                      <a:lnTo>
                        <a:pt x="1098" y="71"/>
                      </a:lnTo>
                      <a:lnTo>
                        <a:pt x="1097" y="92"/>
                      </a:lnTo>
                      <a:lnTo>
                        <a:pt x="1075" y="232"/>
                      </a:lnTo>
                      <a:lnTo>
                        <a:pt x="1069" y="255"/>
                      </a:lnTo>
                      <a:lnTo>
                        <a:pt x="1058" y="276"/>
                      </a:lnTo>
                      <a:lnTo>
                        <a:pt x="1041" y="293"/>
                      </a:lnTo>
                      <a:lnTo>
                        <a:pt x="1023" y="307"/>
                      </a:lnTo>
                      <a:lnTo>
                        <a:pt x="1002" y="315"/>
                      </a:lnTo>
                      <a:lnTo>
                        <a:pt x="980" y="318"/>
                      </a:lnTo>
                      <a:lnTo>
                        <a:pt x="105" y="318"/>
                      </a:lnTo>
                      <a:lnTo>
                        <a:pt x="96" y="299"/>
                      </a:lnTo>
                      <a:lnTo>
                        <a:pt x="84" y="282"/>
                      </a:lnTo>
                      <a:lnTo>
                        <a:pt x="72" y="268"/>
                      </a:lnTo>
                      <a:lnTo>
                        <a:pt x="57" y="256"/>
                      </a:lnTo>
                      <a:lnTo>
                        <a:pt x="51" y="197"/>
                      </a:lnTo>
                      <a:lnTo>
                        <a:pt x="41" y="142"/>
                      </a:lnTo>
                      <a:lnTo>
                        <a:pt x="30" y="92"/>
                      </a:lnTo>
                      <a:lnTo>
                        <a:pt x="16" y="4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9" name="Freeform 240"/>
                <p:cNvSpPr>
                  <a:spLocks/>
                </p:cNvSpPr>
                <p:nvPr/>
              </p:nvSpPr>
              <p:spPr bwMode="auto">
                <a:xfrm>
                  <a:off x="4577" y="3679"/>
                  <a:ext cx="210" cy="54"/>
                </a:xfrm>
                <a:custGeom>
                  <a:avLst/>
                  <a:gdLst>
                    <a:gd name="T0" fmla="*/ 160 w 1052"/>
                    <a:gd name="T1" fmla="*/ 0 h 271"/>
                    <a:gd name="T2" fmla="*/ 985 w 1052"/>
                    <a:gd name="T3" fmla="*/ 0 h 271"/>
                    <a:gd name="T4" fmla="*/ 1005 w 1052"/>
                    <a:gd name="T5" fmla="*/ 3 h 271"/>
                    <a:gd name="T6" fmla="*/ 1023 w 1052"/>
                    <a:gd name="T7" fmla="*/ 11 h 271"/>
                    <a:gd name="T8" fmla="*/ 1037 w 1052"/>
                    <a:gd name="T9" fmla="*/ 23 h 271"/>
                    <a:gd name="T10" fmla="*/ 1047 w 1052"/>
                    <a:gd name="T11" fmla="*/ 40 h 271"/>
                    <a:gd name="T12" fmla="*/ 1052 w 1052"/>
                    <a:gd name="T13" fmla="*/ 58 h 271"/>
                    <a:gd name="T14" fmla="*/ 1052 w 1052"/>
                    <a:gd name="T15" fmla="*/ 79 h 271"/>
                    <a:gd name="T16" fmla="*/ 1033 w 1052"/>
                    <a:gd name="T17" fmla="*/ 198 h 271"/>
                    <a:gd name="T18" fmla="*/ 1027 w 1052"/>
                    <a:gd name="T19" fmla="*/ 218 h 271"/>
                    <a:gd name="T20" fmla="*/ 1016 w 1052"/>
                    <a:gd name="T21" fmla="*/ 235 h 271"/>
                    <a:gd name="T22" fmla="*/ 1002 w 1052"/>
                    <a:gd name="T23" fmla="*/ 250 h 271"/>
                    <a:gd name="T24" fmla="*/ 985 w 1052"/>
                    <a:gd name="T25" fmla="*/ 262 h 271"/>
                    <a:gd name="T26" fmla="*/ 965 w 1052"/>
                    <a:gd name="T27" fmla="*/ 268 h 271"/>
                    <a:gd name="T28" fmla="*/ 946 w 1052"/>
                    <a:gd name="T29" fmla="*/ 271 h 271"/>
                    <a:gd name="T30" fmla="*/ 1 w 1052"/>
                    <a:gd name="T31" fmla="*/ 271 h 271"/>
                    <a:gd name="T32" fmla="*/ 0 w 1052"/>
                    <a:gd name="T33" fmla="*/ 202 h 271"/>
                    <a:gd name="T34" fmla="*/ 4 w 1052"/>
                    <a:gd name="T35" fmla="*/ 196 h 271"/>
                    <a:gd name="T36" fmla="*/ 7 w 1052"/>
                    <a:gd name="T37" fmla="*/ 190 h 271"/>
                    <a:gd name="T38" fmla="*/ 35 w 1052"/>
                    <a:gd name="T39" fmla="*/ 180 h 271"/>
                    <a:gd name="T40" fmla="*/ 59 w 1052"/>
                    <a:gd name="T41" fmla="*/ 163 h 271"/>
                    <a:gd name="T42" fmla="*/ 83 w 1052"/>
                    <a:gd name="T43" fmla="*/ 143 h 271"/>
                    <a:gd name="T44" fmla="*/ 103 w 1052"/>
                    <a:gd name="T45" fmla="*/ 118 h 271"/>
                    <a:gd name="T46" fmla="*/ 121 w 1052"/>
                    <a:gd name="T47" fmla="*/ 91 h 271"/>
                    <a:gd name="T48" fmla="*/ 137 w 1052"/>
                    <a:gd name="T49" fmla="*/ 63 h 271"/>
                    <a:gd name="T50" fmla="*/ 150 w 1052"/>
                    <a:gd name="T51" fmla="*/ 32 h 271"/>
                    <a:gd name="T52" fmla="*/ 160 w 1052"/>
                    <a:gd name="T53" fmla="*/ 0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052" h="271">
                      <a:moveTo>
                        <a:pt x="160" y="0"/>
                      </a:moveTo>
                      <a:lnTo>
                        <a:pt x="985" y="0"/>
                      </a:lnTo>
                      <a:lnTo>
                        <a:pt x="1005" y="3"/>
                      </a:lnTo>
                      <a:lnTo>
                        <a:pt x="1023" y="11"/>
                      </a:lnTo>
                      <a:lnTo>
                        <a:pt x="1037" y="23"/>
                      </a:lnTo>
                      <a:lnTo>
                        <a:pt x="1047" y="40"/>
                      </a:lnTo>
                      <a:lnTo>
                        <a:pt x="1052" y="58"/>
                      </a:lnTo>
                      <a:lnTo>
                        <a:pt x="1052" y="79"/>
                      </a:lnTo>
                      <a:lnTo>
                        <a:pt x="1033" y="198"/>
                      </a:lnTo>
                      <a:lnTo>
                        <a:pt x="1027" y="218"/>
                      </a:lnTo>
                      <a:lnTo>
                        <a:pt x="1016" y="235"/>
                      </a:lnTo>
                      <a:lnTo>
                        <a:pt x="1002" y="250"/>
                      </a:lnTo>
                      <a:lnTo>
                        <a:pt x="985" y="262"/>
                      </a:lnTo>
                      <a:lnTo>
                        <a:pt x="965" y="268"/>
                      </a:lnTo>
                      <a:lnTo>
                        <a:pt x="946" y="271"/>
                      </a:lnTo>
                      <a:lnTo>
                        <a:pt x="1" y="271"/>
                      </a:lnTo>
                      <a:lnTo>
                        <a:pt x="0" y="202"/>
                      </a:lnTo>
                      <a:lnTo>
                        <a:pt x="4" y="196"/>
                      </a:lnTo>
                      <a:lnTo>
                        <a:pt x="7" y="190"/>
                      </a:lnTo>
                      <a:lnTo>
                        <a:pt x="35" y="180"/>
                      </a:lnTo>
                      <a:lnTo>
                        <a:pt x="59" y="163"/>
                      </a:lnTo>
                      <a:lnTo>
                        <a:pt x="83" y="143"/>
                      </a:lnTo>
                      <a:lnTo>
                        <a:pt x="103" y="118"/>
                      </a:lnTo>
                      <a:lnTo>
                        <a:pt x="121" y="91"/>
                      </a:lnTo>
                      <a:lnTo>
                        <a:pt x="137" y="63"/>
                      </a:lnTo>
                      <a:lnTo>
                        <a:pt x="150" y="32"/>
                      </a:lnTo>
                      <a:lnTo>
                        <a:pt x="16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0" name="Freeform 241"/>
                <p:cNvSpPr>
                  <a:spLocks/>
                </p:cNvSpPr>
                <p:nvPr/>
              </p:nvSpPr>
              <p:spPr bwMode="auto">
                <a:xfrm>
                  <a:off x="4230" y="3409"/>
                  <a:ext cx="701" cy="316"/>
                </a:xfrm>
                <a:custGeom>
                  <a:avLst/>
                  <a:gdLst>
                    <a:gd name="T0" fmla="*/ 475 w 3505"/>
                    <a:gd name="T1" fmla="*/ 0 h 1581"/>
                    <a:gd name="T2" fmla="*/ 3030 w 3505"/>
                    <a:gd name="T3" fmla="*/ 0 h 1581"/>
                    <a:gd name="T4" fmla="*/ 3086 w 3505"/>
                    <a:gd name="T5" fmla="*/ 2 h 1581"/>
                    <a:gd name="T6" fmla="*/ 3139 w 3505"/>
                    <a:gd name="T7" fmla="*/ 11 h 1581"/>
                    <a:gd name="T8" fmla="*/ 3190 w 3505"/>
                    <a:gd name="T9" fmla="*/ 26 h 1581"/>
                    <a:gd name="T10" fmla="*/ 3239 w 3505"/>
                    <a:gd name="T11" fmla="*/ 47 h 1581"/>
                    <a:gd name="T12" fmla="*/ 3285 w 3505"/>
                    <a:gd name="T13" fmla="*/ 72 h 1581"/>
                    <a:gd name="T14" fmla="*/ 3327 w 3505"/>
                    <a:gd name="T15" fmla="*/ 102 h 1581"/>
                    <a:gd name="T16" fmla="*/ 3366 w 3505"/>
                    <a:gd name="T17" fmla="*/ 137 h 1581"/>
                    <a:gd name="T18" fmla="*/ 3401 w 3505"/>
                    <a:gd name="T19" fmla="*/ 176 h 1581"/>
                    <a:gd name="T20" fmla="*/ 3431 w 3505"/>
                    <a:gd name="T21" fmla="*/ 217 h 1581"/>
                    <a:gd name="T22" fmla="*/ 3456 w 3505"/>
                    <a:gd name="T23" fmla="*/ 262 h 1581"/>
                    <a:gd name="T24" fmla="*/ 3477 w 3505"/>
                    <a:gd name="T25" fmla="*/ 310 h 1581"/>
                    <a:gd name="T26" fmla="*/ 3492 w 3505"/>
                    <a:gd name="T27" fmla="*/ 361 h 1581"/>
                    <a:gd name="T28" fmla="*/ 3502 w 3505"/>
                    <a:gd name="T29" fmla="*/ 414 h 1581"/>
                    <a:gd name="T30" fmla="*/ 3505 w 3505"/>
                    <a:gd name="T31" fmla="*/ 469 h 1581"/>
                    <a:gd name="T32" fmla="*/ 3355 w 3505"/>
                    <a:gd name="T33" fmla="*/ 1569 h 1581"/>
                    <a:gd name="T34" fmla="*/ 3131 w 3505"/>
                    <a:gd name="T35" fmla="*/ 1569 h 1581"/>
                    <a:gd name="T36" fmla="*/ 3281 w 3505"/>
                    <a:gd name="T37" fmla="*/ 469 h 1581"/>
                    <a:gd name="T38" fmla="*/ 3278 w 3505"/>
                    <a:gd name="T39" fmla="*/ 429 h 1581"/>
                    <a:gd name="T40" fmla="*/ 3268 w 3505"/>
                    <a:gd name="T41" fmla="*/ 391 h 1581"/>
                    <a:gd name="T42" fmla="*/ 3253 w 3505"/>
                    <a:gd name="T43" fmla="*/ 355 h 1581"/>
                    <a:gd name="T44" fmla="*/ 3232 w 3505"/>
                    <a:gd name="T45" fmla="*/ 323 h 1581"/>
                    <a:gd name="T46" fmla="*/ 3208 w 3505"/>
                    <a:gd name="T47" fmla="*/ 294 h 1581"/>
                    <a:gd name="T48" fmla="*/ 3179 w 3505"/>
                    <a:gd name="T49" fmla="*/ 269 h 1581"/>
                    <a:gd name="T50" fmla="*/ 3145 w 3505"/>
                    <a:gd name="T51" fmla="*/ 249 h 1581"/>
                    <a:gd name="T52" fmla="*/ 3109 w 3505"/>
                    <a:gd name="T53" fmla="*/ 235 h 1581"/>
                    <a:gd name="T54" fmla="*/ 3071 w 3505"/>
                    <a:gd name="T55" fmla="*/ 224 h 1581"/>
                    <a:gd name="T56" fmla="*/ 3030 w 3505"/>
                    <a:gd name="T57" fmla="*/ 222 h 1581"/>
                    <a:gd name="T58" fmla="*/ 475 w 3505"/>
                    <a:gd name="T59" fmla="*/ 222 h 1581"/>
                    <a:gd name="T60" fmla="*/ 434 w 3505"/>
                    <a:gd name="T61" fmla="*/ 224 h 1581"/>
                    <a:gd name="T62" fmla="*/ 396 w 3505"/>
                    <a:gd name="T63" fmla="*/ 235 h 1581"/>
                    <a:gd name="T64" fmla="*/ 360 w 3505"/>
                    <a:gd name="T65" fmla="*/ 249 h 1581"/>
                    <a:gd name="T66" fmla="*/ 327 w 3505"/>
                    <a:gd name="T67" fmla="*/ 269 h 1581"/>
                    <a:gd name="T68" fmla="*/ 298 w 3505"/>
                    <a:gd name="T69" fmla="*/ 294 h 1581"/>
                    <a:gd name="T70" fmla="*/ 273 w 3505"/>
                    <a:gd name="T71" fmla="*/ 323 h 1581"/>
                    <a:gd name="T72" fmla="*/ 252 w 3505"/>
                    <a:gd name="T73" fmla="*/ 355 h 1581"/>
                    <a:gd name="T74" fmla="*/ 237 w 3505"/>
                    <a:gd name="T75" fmla="*/ 391 h 1581"/>
                    <a:gd name="T76" fmla="*/ 228 w 3505"/>
                    <a:gd name="T77" fmla="*/ 429 h 1581"/>
                    <a:gd name="T78" fmla="*/ 224 w 3505"/>
                    <a:gd name="T79" fmla="*/ 469 h 1581"/>
                    <a:gd name="T80" fmla="*/ 392 w 3505"/>
                    <a:gd name="T81" fmla="*/ 1581 h 1581"/>
                    <a:gd name="T82" fmla="*/ 169 w 3505"/>
                    <a:gd name="T83" fmla="*/ 1581 h 1581"/>
                    <a:gd name="T84" fmla="*/ 0 w 3505"/>
                    <a:gd name="T85" fmla="*/ 469 h 1581"/>
                    <a:gd name="T86" fmla="*/ 3 w 3505"/>
                    <a:gd name="T87" fmla="*/ 414 h 1581"/>
                    <a:gd name="T88" fmla="*/ 13 w 3505"/>
                    <a:gd name="T89" fmla="*/ 361 h 1581"/>
                    <a:gd name="T90" fmla="*/ 28 w 3505"/>
                    <a:gd name="T91" fmla="*/ 310 h 1581"/>
                    <a:gd name="T92" fmla="*/ 49 w 3505"/>
                    <a:gd name="T93" fmla="*/ 262 h 1581"/>
                    <a:gd name="T94" fmla="*/ 74 w 3505"/>
                    <a:gd name="T95" fmla="*/ 217 h 1581"/>
                    <a:gd name="T96" fmla="*/ 104 w 3505"/>
                    <a:gd name="T97" fmla="*/ 176 h 1581"/>
                    <a:gd name="T98" fmla="*/ 139 w 3505"/>
                    <a:gd name="T99" fmla="*/ 137 h 1581"/>
                    <a:gd name="T100" fmla="*/ 179 w 3505"/>
                    <a:gd name="T101" fmla="*/ 102 h 1581"/>
                    <a:gd name="T102" fmla="*/ 221 w 3505"/>
                    <a:gd name="T103" fmla="*/ 72 h 1581"/>
                    <a:gd name="T104" fmla="*/ 267 w 3505"/>
                    <a:gd name="T105" fmla="*/ 47 h 1581"/>
                    <a:gd name="T106" fmla="*/ 315 w 3505"/>
                    <a:gd name="T107" fmla="*/ 26 h 1581"/>
                    <a:gd name="T108" fmla="*/ 367 w 3505"/>
                    <a:gd name="T109" fmla="*/ 11 h 1581"/>
                    <a:gd name="T110" fmla="*/ 420 w 3505"/>
                    <a:gd name="T111" fmla="*/ 2 h 1581"/>
                    <a:gd name="T112" fmla="*/ 475 w 3505"/>
                    <a:gd name="T113" fmla="*/ 0 h 15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3505" h="1581">
                      <a:moveTo>
                        <a:pt x="475" y="0"/>
                      </a:moveTo>
                      <a:lnTo>
                        <a:pt x="3030" y="0"/>
                      </a:lnTo>
                      <a:lnTo>
                        <a:pt x="3086" y="2"/>
                      </a:lnTo>
                      <a:lnTo>
                        <a:pt x="3139" y="11"/>
                      </a:lnTo>
                      <a:lnTo>
                        <a:pt x="3190" y="26"/>
                      </a:lnTo>
                      <a:lnTo>
                        <a:pt x="3239" y="47"/>
                      </a:lnTo>
                      <a:lnTo>
                        <a:pt x="3285" y="72"/>
                      </a:lnTo>
                      <a:lnTo>
                        <a:pt x="3327" y="102"/>
                      </a:lnTo>
                      <a:lnTo>
                        <a:pt x="3366" y="137"/>
                      </a:lnTo>
                      <a:lnTo>
                        <a:pt x="3401" y="176"/>
                      </a:lnTo>
                      <a:lnTo>
                        <a:pt x="3431" y="217"/>
                      </a:lnTo>
                      <a:lnTo>
                        <a:pt x="3456" y="262"/>
                      </a:lnTo>
                      <a:lnTo>
                        <a:pt x="3477" y="310"/>
                      </a:lnTo>
                      <a:lnTo>
                        <a:pt x="3492" y="361"/>
                      </a:lnTo>
                      <a:lnTo>
                        <a:pt x="3502" y="414"/>
                      </a:lnTo>
                      <a:lnTo>
                        <a:pt x="3505" y="469"/>
                      </a:lnTo>
                      <a:lnTo>
                        <a:pt x="3355" y="1569"/>
                      </a:lnTo>
                      <a:lnTo>
                        <a:pt x="3131" y="1569"/>
                      </a:lnTo>
                      <a:lnTo>
                        <a:pt x="3281" y="469"/>
                      </a:lnTo>
                      <a:lnTo>
                        <a:pt x="3278" y="429"/>
                      </a:lnTo>
                      <a:lnTo>
                        <a:pt x="3268" y="391"/>
                      </a:lnTo>
                      <a:lnTo>
                        <a:pt x="3253" y="355"/>
                      </a:lnTo>
                      <a:lnTo>
                        <a:pt x="3232" y="323"/>
                      </a:lnTo>
                      <a:lnTo>
                        <a:pt x="3208" y="294"/>
                      </a:lnTo>
                      <a:lnTo>
                        <a:pt x="3179" y="269"/>
                      </a:lnTo>
                      <a:lnTo>
                        <a:pt x="3145" y="249"/>
                      </a:lnTo>
                      <a:lnTo>
                        <a:pt x="3109" y="235"/>
                      </a:lnTo>
                      <a:lnTo>
                        <a:pt x="3071" y="224"/>
                      </a:lnTo>
                      <a:lnTo>
                        <a:pt x="3030" y="222"/>
                      </a:lnTo>
                      <a:lnTo>
                        <a:pt x="475" y="222"/>
                      </a:lnTo>
                      <a:lnTo>
                        <a:pt x="434" y="224"/>
                      </a:lnTo>
                      <a:lnTo>
                        <a:pt x="396" y="235"/>
                      </a:lnTo>
                      <a:lnTo>
                        <a:pt x="360" y="249"/>
                      </a:lnTo>
                      <a:lnTo>
                        <a:pt x="327" y="269"/>
                      </a:lnTo>
                      <a:lnTo>
                        <a:pt x="298" y="294"/>
                      </a:lnTo>
                      <a:lnTo>
                        <a:pt x="273" y="323"/>
                      </a:lnTo>
                      <a:lnTo>
                        <a:pt x="252" y="355"/>
                      </a:lnTo>
                      <a:lnTo>
                        <a:pt x="237" y="391"/>
                      </a:lnTo>
                      <a:lnTo>
                        <a:pt x="228" y="429"/>
                      </a:lnTo>
                      <a:lnTo>
                        <a:pt x="224" y="469"/>
                      </a:lnTo>
                      <a:lnTo>
                        <a:pt x="392" y="1581"/>
                      </a:lnTo>
                      <a:lnTo>
                        <a:pt x="169" y="1581"/>
                      </a:lnTo>
                      <a:lnTo>
                        <a:pt x="0" y="469"/>
                      </a:lnTo>
                      <a:lnTo>
                        <a:pt x="3" y="414"/>
                      </a:lnTo>
                      <a:lnTo>
                        <a:pt x="13" y="361"/>
                      </a:lnTo>
                      <a:lnTo>
                        <a:pt x="28" y="310"/>
                      </a:lnTo>
                      <a:lnTo>
                        <a:pt x="49" y="262"/>
                      </a:lnTo>
                      <a:lnTo>
                        <a:pt x="74" y="217"/>
                      </a:lnTo>
                      <a:lnTo>
                        <a:pt x="104" y="176"/>
                      </a:lnTo>
                      <a:lnTo>
                        <a:pt x="139" y="137"/>
                      </a:lnTo>
                      <a:lnTo>
                        <a:pt x="179" y="102"/>
                      </a:lnTo>
                      <a:lnTo>
                        <a:pt x="221" y="72"/>
                      </a:lnTo>
                      <a:lnTo>
                        <a:pt x="267" y="47"/>
                      </a:lnTo>
                      <a:lnTo>
                        <a:pt x="315" y="26"/>
                      </a:lnTo>
                      <a:lnTo>
                        <a:pt x="367" y="11"/>
                      </a:lnTo>
                      <a:lnTo>
                        <a:pt x="420" y="2"/>
                      </a:lnTo>
                      <a:lnTo>
                        <a:pt x="47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1" name="Freeform 242"/>
                <p:cNvSpPr>
                  <a:spLocks/>
                </p:cNvSpPr>
                <p:nvPr/>
              </p:nvSpPr>
              <p:spPr bwMode="auto">
                <a:xfrm>
                  <a:off x="4224" y="3754"/>
                  <a:ext cx="715" cy="214"/>
                </a:xfrm>
                <a:custGeom>
                  <a:avLst/>
                  <a:gdLst>
                    <a:gd name="T0" fmla="*/ 160 w 3574"/>
                    <a:gd name="T1" fmla="*/ 0 h 1071"/>
                    <a:gd name="T2" fmla="*/ 3415 w 3574"/>
                    <a:gd name="T3" fmla="*/ 0 h 1071"/>
                    <a:gd name="T4" fmla="*/ 3441 w 3574"/>
                    <a:gd name="T5" fmla="*/ 2 h 1071"/>
                    <a:gd name="T6" fmla="*/ 3468 w 3574"/>
                    <a:gd name="T7" fmla="*/ 9 h 1071"/>
                    <a:gd name="T8" fmla="*/ 3492 w 3574"/>
                    <a:gd name="T9" fmla="*/ 21 h 1071"/>
                    <a:gd name="T10" fmla="*/ 3516 w 3574"/>
                    <a:gd name="T11" fmla="*/ 36 h 1071"/>
                    <a:gd name="T12" fmla="*/ 3535 w 3574"/>
                    <a:gd name="T13" fmla="*/ 55 h 1071"/>
                    <a:gd name="T14" fmla="*/ 3552 w 3574"/>
                    <a:gd name="T15" fmla="*/ 77 h 1071"/>
                    <a:gd name="T16" fmla="*/ 3563 w 3574"/>
                    <a:gd name="T17" fmla="*/ 101 h 1071"/>
                    <a:gd name="T18" fmla="*/ 3570 w 3574"/>
                    <a:gd name="T19" fmla="*/ 128 h 1071"/>
                    <a:gd name="T20" fmla="*/ 3574 w 3574"/>
                    <a:gd name="T21" fmla="*/ 154 h 1071"/>
                    <a:gd name="T22" fmla="*/ 3573 w 3574"/>
                    <a:gd name="T23" fmla="*/ 182 h 1071"/>
                    <a:gd name="T24" fmla="*/ 3442 w 3574"/>
                    <a:gd name="T25" fmla="*/ 1071 h 1071"/>
                    <a:gd name="T26" fmla="*/ 132 w 3574"/>
                    <a:gd name="T27" fmla="*/ 1071 h 1071"/>
                    <a:gd name="T28" fmla="*/ 2 w 3574"/>
                    <a:gd name="T29" fmla="*/ 182 h 1071"/>
                    <a:gd name="T30" fmla="*/ 0 w 3574"/>
                    <a:gd name="T31" fmla="*/ 154 h 1071"/>
                    <a:gd name="T32" fmla="*/ 3 w 3574"/>
                    <a:gd name="T33" fmla="*/ 128 h 1071"/>
                    <a:gd name="T34" fmla="*/ 10 w 3574"/>
                    <a:gd name="T35" fmla="*/ 101 h 1071"/>
                    <a:gd name="T36" fmla="*/ 23 w 3574"/>
                    <a:gd name="T37" fmla="*/ 77 h 1071"/>
                    <a:gd name="T38" fmla="*/ 38 w 3574"/>
                    <a:gd name="T39" fmla="*/ 55 h 1071"/>
                    <a:gd name="T40" fmla="*/ 59 w 3574"/>
                    <a:gd name="T41" fmla="*/ 36 h 1071"/>
                    <a:gd name="T42" fmla="*/ 81 w 3574"/>
                    <a:gd name="T43" fmla="*/ 21 h 1071"/>
                    <a:gd name="T44" fmla="*/ 106 w 3574"/>
                    <a:gd name="T45" fmla="*/ 9 h 1071"/>
                    <a:gd name="T46" fmla="*/ 132 w 3574"/>
                    <a:gd name="T47" fmla="*/ 2 h 1071"/>
                    <a:gd name="T48" fmla="*/ 160 w 3574"/>
                    <a:gd name="T49" fmla="*/ 0 h 10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3574" h="1071">
                      <a:moveTo>
                        <a:pt x="160" y="0"/>
                      </a:moveTo>
                      <a:lnTo>
                        <a:pt x="3415" y="0"/>
                      </a:lnTo>
                      <a:lnTo>
                        <a:pt x="3441" y="2"/>
                      </a:lnTo>
                      <a:lnTo>
                        <a:pt x="3468" y="9"/>
                      </a:lnTo>
                      <a:lnTo>
                        <a:pt x="3492" y="21"/>
                      </a:lnTo>
                      <a:lnTo>
                        <a:pt x="3516" y="36"/>
                      </a:lnTo>
                      <a:lnTo>
                        <a:pt x="3535" y="55"/>
                      </a:lnTo>
                      <a:lnTo>
                        <a:pt x="3552" y="77"/>
                      </a:lnTo>
                      <a:lnTo>
                        <a:pt x="3563" y="101"/>
                      </a:lnTo>
                      <a:lnTo>
                        <a:pt x="3570" y="128"/>
                      </a:lnTo>
                      <a:lnTo>
                        <a:pt x="3574" y="154"/>
                      </a:lnTo>
                      <a:lnTo>
                        <a:pt x="3573" y="182"/>
                      </a:lnTo>
                      <a:lnTo>
                        <a:pt x="3442" y="1071"/>
                      </a:lnTo>
                      <a:lnTo>
                        <a:pt x="132" y="1071"/>
                      </a:lnTo>
                      <a:lnTo>
                        <a:pt x="2" y="182"/>
                      </a:lnTo>
                      <a:lnTo>
                        <a:pt x="0" y="154"/>
                      </a:lnTo>
                      <a:lnTo>
                        <a:pt x="3" y="128"/>
                      </a:lnTo>
                      <a:lnTo>
                        <a:pt x="10" y="101"/>
                      </a:lnTo>
                      <a:lnTo>
                        <a:pt x="23" y="77"/>
                      </a:lnTo>
                      <a:lnTo>
                        <a:pt x="38" y="55"/>
                      </a:lnTo>
                      <a:lnTo>
                        <a:pt x="59" y="36"/>
                      </a:lnTo>
                      <a:lnTo>
                        <a:pt x="81" y="21"/>
                      </a:lnTo>
                      <a:lnTo>
                        <a:pt x="106" y="9"/>
                      </a:lnTo>
                      <a:lnTo>
                        <a:pt x="132" y="2"/>
                      </a:lnTo>
                      <a:lnTo>
                        <a:pt x="16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2" name="Freeform 243"/>
                <p:cNvSpPr>
                  <a:spLocks/>
                </p:cNvSpPr>
                <p:nvPr/>
              </p:nvSpPr>
              <p:spPr bwMode="auto">
                <a:xfrm>
                  <a:off x="4329" y="3324"/>
                  <a:ext cx="484" cy="49"/>
                </a:xfrm>
                <a:custGeom>
                  <a:avLst/>
                  <a:gdLst>
                    <a:gd name="T0" fmla="*/ 61 w 2416"/>
                    <a:gd name="T1" fmla="*/ 0 h 245"/>
                    <a:gd name="T2" fmla="*/ 2357 w 2416"/>
                    <a:gd name="T3" fmla="*/ 0 h 245"/>
                    <a:gd name="T4" fmla="*/ 2374 w 2416"/>
                    <a:gd name="T5" fmla="*/ 2 h 245"/>
                    <a:gd name="T6" fmla="*/ 2391 w 2416"/>
                    <a:gd name="T7" fmla="*/ 9 h 245"/>
                    <a:gd name="T8" fmla="*/ 2403 w 2416"/>
                    <a:gd name="T9" fmla="*/ 22 h 245"/>
                    <a:gd name="T10" fmla="*/ 2413 w 2416"/>
                    <a:gd name="T11" fmla="*/ 37 h 245"/>
                    <a:gd name="T12" fmla="*/ 2416 w 2416"/>
                    <a:gd name="T13" fmla="*/ 54 h 245"/>
                    <a:gd name="T14" fmla="*/ 2415 w 2416"/>
                    <a:gd name="T15" fmla="*/ 72 h 245"/>
                    <a:gd name="T16" fmla="*/ 2374 w 2416"/>
                    <a:gd name="T17" fmla="*/ 245 h 245"/>
                    <a:gd name="T18" fmla="*/ 44 w 2416"/>
                    <a:gd name="T19" fmla="*/ 245 h 245"/>
                    <a:gd name="T20" fmla="*/ 1 w 2416"/>
                    <a:gd name="T21" fmla="*/ 73 h 245"/>
                    <a:gd name="T22" fmla="*/ 0 w 2416"/>
                    <a:gd name="T23" fmla="*/ 56 h 245"/>
                    <a:gd name="T24" fmla="*/ 4 w 2416"/>
                    <a:gd name="T25" fmla="*/ 38 h 245"/>
                    <a:gd name="T26" fmla="*/ 13 w 2416"/>
                    <a:gd name="T27" fmla="*/ 23 h 245"/>
                    <a:gd name="T28" fmla="*/ 27 w 2416"/>
                    <a:gd name="T29" fmla="*/ 10 h 245"/>
                    <a:gd name="T30" fmla="*/ 43 w 2416"/>
                    <a:gd name="T31" fmla="*/ 2 h 245"/>
                    <a:gd name="T32" fmla="*/ 61 w 2416"/>
                    <a:gd name="T33" fmla="*/ 0 h 2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416" h="245">
                      <a:moveTo>
                        <a:pt x="61" y="0"/>
                      </a:moveTo>
                      <a:lnTo>
                        <a:pt x="2357" y="0"/>
                      </a:lnTo>
                      <a:lnTo>
                        <a:pt x="2374" y="2"/>
                      </a:lnTo>
                      <a:lnTo>
                        <a:pt x="2391" y="9"/>
                      </a:lnTo>
                      <a:lnTo>
                        <a:pt x="2403" y="22"/>
                      </a:lnTo>
                      <a:lnTo>
                        <a:pt x="2413" y="37"/>
                      </a:lnTo>
                      <a:lnTo>
                        <a:pt x="2416" y="54"/>
                      </a:lnTo>
                      <a:lnTo>
                        <a:pt x="2415" y="72"/>
                      </a:lnTo>
                      <a:lnTo>
                        <a:pt x="2374" y="245"/>
                      </a:lnTo>
                      <a:lnTo>
                        <a:pt x="44" y="245"/>
                      </a:lnTo>
                      <a:lnTo>
                        <a:pt x="1" y="73"/>
                      </a:lnTo>
                      <a:lnTo>
                        <a:pt x="0" y="56"/>
                      </a:lnTo>
                      <a:lnTo>
                        <a:pt x="4" y="38"/>
                      </a:lnTo>
                      <a:lnTo>
                        <a:pt x="13" y="23"/>
                      </a:lnTo>
                      <a:lnTo>
                        <a:pt x="27" y="10"/>
                      </a:lnTo>
                      <a:lnTo>
                        <a:pt x="43" y="2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3" name="Freeform 244"/>
                <p:cNvSpPr>
                  <a:spLocks/>
                </p:cNvSpPr>
                <p:nvPr/>
              </p:nvSpPr>
              <p:spPr bwMode="auto">
                <a:xfrm>
                  <a:off x="4377" y="3247"/>
                  <a:ext cx="388" cy="50"/>
                </a:xfrm>
                <a:custGeom>
                  <a:avLst/>
                  <a:gdLst>
                    <a:gd name="T0" fmla="*/ 60 w 1940"/>
                    <a:gd name="T1" fmla="*/ 0 h 246"/>
                    <a:gd name="T2" fmla="*/ 1881 w 1940"/>
                    <a:gd name="T3" fmla="*/ 0 h 246"/>
                    <a:gd name="T4" fmla="*/ 1898 w 1940"/>
                    <a:gd name="T5" fmla="*/ 2 h 246"/>
                    <a:gd name="T6" fmla="*/ 1913 w 1940"/>
                    <a:gd name="T7" fmla="*/ 10 h 246"/>
                    <a:gd name="T8" fmla="*/ 1927 w 1940"/>
                    <a:gd name="T9" fmla="*/ 22 h 246"/>
                    <a:gd name="T10" fmla="*/ 1935 w 1940"/>
                    <a:gd name="T11" fmla="*/ 37 h 246"/>
                    <a:gd name="T12" fmla="*/ 1940 w 1940"/>
                    <a:gd name="T13" fmla="*/ 53 h 246"/>
                    <a:gd name="T14" fmla="*/ 1940 w 1940"/>
                    <a:gd name="T15" fmla="*/ 70 h 246"/>
                    <a:gd name="T16" fmla="*/ 1906 w 1940"/>
                    <a:gd name="T17" fmla="*/ 246 h 246"/>
                    <a:gd name="T18" fmla="*/ 35 w 1940"/>
                    <a:gd name="T19" fmla="*/ 246 h 246"/>
                    <a:gd name="T20" fmla="*/ 0 w 1940"/>
                    <a:gd name="T21" fmla="*/ 71 h 246"/>
                    <a:gd name="T22" fmla="*/ 0 w 1940"/>
                    <a:gd name="T23" fmla="*/ 54 h 246"/>
                    <a:gd name="T24" fmla="*/ 4 w 1940"/>
                    <a:gd name="T25" fmla="*/ 37 h 246"/>
                    <a:gd name="T26" fmla="*/ 13 w 1940"/>
                    <a:gd name="T27" fmla="*/ 22 h 246"/>
                    <a:gd name="T28" fmla="*/ 26 w 1940"/>
                    <a:gd name="T29" fmla="*/ 10 h 246"/>
                    <a:gd name="T30" fmla="*/ 42 w 1940"/>
                    <a:gd name="T31" fmla="*/ 3 h 246"/>
                    <a:gd name="T32" fmla="*/ 60 w 1940"/>
                    <a:gd name="T33" fmla="*/ 0 h 2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940" h="246">
                      <a:moveTo>
                        <a:pt x="60" y="0"/>
                      </a:moveTo>
                      <a:lnTo>
                        <a:pt x="1881" y="0"/>
                      </a:lnTo>
                      <a:lnTo>
                        <a:pt x="1898" y="2"/>
                      </a:lnTo>
                      <a:lnTo>
                        <a:pt x="1913" y="10"/>
                      </a:lnTo>
                      <a:lnTo>
                        <a:pt x="1927" y="22"/>
                      </a:lnTo>
                      <a:lnTo>
                        <a:pt x="1935" y="37"/>
                      </a:lnTo>
                      <a:lnTo>
                        <a:pt x="1940" y="53"/>
                      </a:lnTo>
                      <a:lnTo>
                        <a:pt x="1940" y="70"/>
                      </a:lnTo>
                      <a:lnTo>
                        <a:pt x="1906" y="246"/>
                      </a:lnTo>
                      <a:lnTo>
                        <a:pt x="35" y="246"/>
                      </a:lnTo>
                      <a:lnTo>
                        <a:pt x="0" y="71"/>
                      </a:lnTo>
                      <a:lnTo>
                        <a:pt x="0" y="54"/>
                      </a:lnTo>
                      <a:lnTo>
                        <a:pt x="4" y="37"/>
                      </a:lnTo>
                      <a:lnTo>
                        <a:pt x="13" y="22"/>
                      </a:lnTo>
                      <a:lnTo>
                        <a:pt x="26" y="10"/>
                      </a:lnTo>
                      <a:lnTo>
                        <a:pt x="42" y="3"/>
                      </a:lnTo>
                      <a:lnTo>
                        <a:pt x="6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124" name="Group 4"/>
              <p:cNvGrpSpPr>
                <a:grpSpLocks noChangeAspect="1"/>
              </p:cNvGrpSpPr>
              <p:nvPr/>
            </p:nvGrpSpPr>
            <p:grpSpPr bwMode="auto">
              <a:xfrm>
                <a:off x="4567238" y="4692532"/>
                <a:ext cx="549805" cy="686040"/>
                <a:chOff x="-755" y="1263"/>
                <a:chExt cx="565" cy="705"/>
              </a:xfrm>
              <a:solidFill>
                <a:schemeClr val="bg1"/>
              </a:solidFill>
            </p:grpSpPr>
            <p:sp>
              <p:nvSpPr>
                <p:cNvPr id="125" name="Freeform 6"/>
                <p:cNvSpPr>
                  <a:spLocks noEditPoints="1"/>
                </p:cNvSpPr>
                <p:nvPr/>
              </p:nvSpPr>
              <p:spPr bwMode="auto">
                <a:xfrm>
                  <a:off x="-755" y="1263"/>
                  <a:ext cx="406" cy="705"/>
                </a:xfrm>
                <a:custGeom>
                  <a:avLst/>
                  <a:gdLst>
                    <a:gd name="T0" fmla="*/ 979 w 2028"/>
                    <a:gd name="T1" fmla="*/ 2986 h 3528"/>
                    <a:gd name="T2" fmla="*/ 918 w 2028"/>
                    <a:gd name="T3" fmla="*/ 3013 h 3528"/>
                    <a:gd name="T4" fmla="*/ 871 w 2028"/>
                    <a:gd name="T5" fmla="*/ 3061 h 3528"/>
                    <a:gd name="T6" fmla="*/ 846 w 2028"/>
                    <a:gd name="T7" fmla="*/ 3124 h 3528"/>
                    <a:gd name="T8" fmla="*/ 846 w 2028"/>
                    <a:gd name="T9" fmla="*/ 3195 h 3528"/>
                    <a:gd name="T10" fmla="*/ 871 w 2028"/>
                    <a:gd name="T11" fmla="*/ 3257 h 3528"/>
                    <a:gd name="T12" fmla="*/ 918 w 2028"/>
                    <a:gd name="T13" fmla="*/ 3305 h 3528"/>
                    <a:gd name="T14" fmla="*/ 979 w 2028"/>
                    <a:gd name="T15" fmla="*/ 3332 h 3528"/>
                    <a:gd name="T16" fmla="*/ 1049 w 2028"/>
                    <a:gd name="T17" fmla="*/ 3332 h 3528"/>
                    <a:gd name="T18" fmla="*/ 1110 w 2028"/>
                    <a:gd name="T19" fmla="*/ 3305 h 3528"/>
                    <a:gd name="T20" fmla="*/ 1156 w 2028"/>
                    <a:gd name="T21" fmla="*/ 3257 h 3528"/>
                    <a:gd name="T22" fmla="*/ 1182 w 2028"/>
                    <a:gd name="T23" fmla="*/ 3195 h 3528"/>
                    <a:gd name="T24" fmla="*/ 1182 w 2028"/>
                    <a:gd name="T25" fmla="*/ 3124 h 3528"/>
                    <a:gd name="T26" fmla="*/ 1156 w 2028"/>
                    <a:gd name="T27" fmla="*/ 3061 h 3528"/>
                    <a:gd name="T28" fmla="*/ 1110 w 2028"/>
                    <a:gd name="T29" fmla="*/ 3013 h 3528"/>
                    <a:gd name="T30" fmla="*/ 1049 w 2028"/>
                    <a:gd name="T31" fmla="*/ 2986 h 3528"/>
                    <a:gd name="T32" fmla="*/ 375 w 2028"/>
                    <a:gd name="T33" fmla="*/ 0 h 3528"/>
                    <a:gd name="T34" fmla="*/ 1703 w 2028"/>
                    <a:gd name="T35" fmla="*/ 3 h 3528"/>
                    <a:gd name="T36" fmla="*/ 1798 w 2028"/>
                    <a:gd name="T37" fmla="*/ 31 h 3528"/>
                    <a:gd name="T38" fmla="*/ 1882 w 2028"/>
                    <a:gd name="T39" fmla="*/ 80 h 3528"/>
                    <a:gd name="T40" fmla="*/ 1950 w 2028"/>
                    <a:gd name="T41" fmla="*/ 150 h 3528"/>
                    <a:gd name="T42" fmla="*/ 1998 w 2028"/>
                    <a:gd name="T43" fmla="*/ 235 h 3528"/>
                    <a:gd name="T44" fmla="*/ 2025 w 2028"/>
                    <a:gd name="T45" fmla="*/ 332 h 3528"/>
                    <a:gd name="T46" fmla="*/ 2028 w 2028"/>
                    <a:gd name="T47" fmla="*/ 609 h 3528"/>
                    <a:gd name="T48" fmla="*/ 1814 w 2028"/>
                    <a:gd name="T49" fmla="*/ 433 h 3528"/>
                    <a:gd name="T50" fmla="*/ 214 w 2028"/>
                    <a:gd name="T51" fmla="*/ 2790 h 3528"/>
                    <a:gd name="T52" fmla="*/ 1814 w 2028"/>
                    <a:gd name="T53" fmla="*/ 2786 h 3528"/>
                    <a:gd name="T54" fmla="*/ 2028 w 2028"/>
                    <a:gd name="T55" fmla="*/ 3144 h 3528"/>
                    <a:gd name="T56" fmla="*/ 2015 w 2028"/>
                    <a:gd name="T57" fmla="*/ 3244 h 3528"/>
                    <a:gd name="T58" fmla="*/ 1977 w 2028"/>
                    <a:gd name="T59" fmla="*/ 3336 h 3528"/>
                    <a:gd name="T60" fmla="*/ 1918 w 2028"/>
                    <a:gd name="T61" fmla="*/ 3414 h 3528"/>
                    <a:gd name="T62" fmla="*/ 1842 w 2028"/>
                    <a:gd name="T63" fmla="*/ 3475 h 3528"/>
                    <a:gd name="T64" fmla="*/ 1752 w 2028"/>
                    <a:gd name="T65" fmla="*/ 3514 h 3528"/>
                    <a:gd name="T66" fmla="*/ 1653 w 2028"/>
                    <a:gd name="T67" fmla="*/ 3528 h 3528"/>
                    <a:gd name="T68" fmla="*/ 324 w 2028"/>
                    <a:gd name="T69" fmla="*/ 3524 h 3528"/>
                    <a:gd name="T70" fmla="*/ 229 w 2028"/>
                    <a:gd name="T71" fmla="*/ 3497 h 3528"/>
                    <a:gd name="T72" fmla="*/ 146 w 2028"/>
                    <a:gd name="T73" fmla="*/ 3447 h 3528"/>
                    <a:gd name="T74" fmla="*/ 78 w 2028"/>
                    <a:gd name="T75" fmla="*/ 3377 h 3528"/>
                    <a:gd name="T76" fmla="*/ 29 w 2028"/>
                    <a:gd name="T77" fmla="*/ 3293 h 3528"/>
                    <a:gd name="T78" fmla="*/ 3 w 2028"/>
                    <a:gd name="T79" fmla="*/ 3195 h 3528"/>
                    <a:gd name="T80" fmla="*/ 0 w 2028"/>
                    <a:gd name="T81" fmla="*/ 384 h 3528"/>
                    <a:gd name="T82" fmla="*/ 13 w 2028"/>
                    <a:gd name="T83" fmla="*/ 282 h 3528"/>
                    <a:gd name="T84" fmla="*/ 51 w 2028"/>
                    <a:gd name="T85" fmla="*/ 190 h 3528"/>
                    <a:gd name="T86" fmla="*/ 110 w 2028"/>
                    <a:gd name="T87" fmla="*/ 113 h 3528"/>
                    <a:gd name="T88" fmla="*/ 186 w 2028"/>
                    <a:gd name="T89" fmla="*/ 52 h 3528"/>
                    <a:gd name="T90" fmla="*/ 276 w 2028"/>
                    <a:gd name="T91" fmla="*/ 13 h 3528"/>
                    <a:gd name="T92" fmla="*/ 375 w 2028"/>
                    <a:gd name="T93" fmla="*/ 0 h 35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028" h="3528">
                      <a:moveTo>
                        <a:pt x="1014" y="2983"/>
                      </a:moveTo>
                      <a:lnTo>
                        <a:pt x="979" y="2986"/>
                      </a:lnTo>
                      <a:lnTo>
                        <a:pt x="947" y="2997"/>
                      </a:lnTo>
                      <a:lnTo>
                        <a:pt x="918" y="3013"/>
                      </a:lnTo>
                      <a:lnTo>
                        <a:pt x="892" y="3035"/>
                      </a:lnTo>
                      <a:lnTo>
                        <a:pt x="871" y="3061"/>
                      </a:lnTo>
                      <a:lnTo>
                        <a:pt x="856" y="3091"/>
                      </a:lnTo>
                      <a:lnTo>
                        <a:pt x="846" y="3124"/>
                      </a:lnTo>
                      <a:lnTo>
                        <a:pt x="842" y="3160"/>
                      </a:lnTo>
                      <a:lnTo>
                        <a:pt x="846" y="3195"/>
                      </a:lnTo>
                      <a:lnTo>
                        <a:pt x="856" y="3227"/>
                      </a:lnTo>
                      <a:lnTo>
                        <a:pt x="871" y="3257"/>
                      </a:lnTo>
                      <a:lnTo>
                        <a:pt x="892" y="3283"/>
                      </a:lnTo>
                      <a:lnTo>
                        <a:pt x="918" y="3305"/>
                      </a:lnTo>
                      <a:lnTo>
                        <a:pt x="947" y="3321"/>
                      </a:lnTo>
                      <a:lnTo>
                        <a:pt x="979" y="3332"/>
                      </a:lnTo>
                      <a:lnTo>
                        <a:pt x="1014" y="3335"/>
                      </a:lnTo>
                      <a:lnTo>
                        <a:pt x="1049" y="3332"/>
                      </a:lnTo>
                      <a:lnTo>
                        <a:pt x="1081" y="3321"/>
                      </a:lnTo>
                      <a:lnTo>
                        <a:pt x="1110" y="3305"/>
                      </a:lnTo>
                      <a:lnTo>
                        <a:pt x="1136" y="3283"/>
                      </a:lnTo>
                      <a:lnTo>
                        <a:pt x="1156" y="3257"/>
                      </a:lnTo>
                      <a:lnTo>
                        <a:pt x="1172" y="3227"/>
                      </a:lnTo>
                      <a:lnTo>
                        <a:pt x="1182" y="3195"/>
                      </a:lnTo>
                      <a:lnTo>
                        <a:pt x="1186" y="3160"/>
                      </a:lnTo>
                      <a:lnTo>
                        <a:pt x="1182" y="3124"/>
                      </a:lnTo>
                      <a:lnTo>
                        <a:pt x="1172" y="3091"/>
                      </a:lnTo>
                      <a:lnTo>
                        <a:pt x="1156" y="3061"/>
                      </a:lnTo>
                      <a:lnTo>
                        <a:pt x="1136" y="3035"/>
                      </a:lnTo>
                      <a:lnTo>
                        <a:pt x="1110" y="3013"/>
                      </a:lnTo>
                      <a:lnTo>
                        <a:pt x="1081" y="2997"/>
                      </a:lnTo>
                      <a:lnTo>
                        <a:pt x="1049" y="2986"/>
                      </a:lnTo>
                      <a:lnTo>
                        <a:pt x="1014" y="2983"/>
                      </a:lnTo>
                      <a:close/>
                      <a:moveTo>
                        <a:pt x="375" y="0"/>
                      </a:moveTo>
                      <a:lnTo>
                        <a:pt x="1653" y="0"/>
                      </a:lnTo>
                      <a:lnTo>
                        <a:pt x="1703" y="3"/>
                      </a:lnTo>
                      <a:lnTo>
                        <a:pt x="1752" y="13"/>
                      </a:lnTo>
                      <a:lnTo>
                        <a:pt x="1798" y="31"/>
                      </a:lnTo>
                      <a:lnTo>
                        <a:pt x="1842" y="52"/>
                      </a:lnTo>
                      <a:lnTo>
                        <a:pt x="1882" y="80"/>
                      </a:lnTo>
                      <a:lnTo>
                        <a:pt x="1918" y="113"/>
                      </a:lnTo>
                      <a:lnTo>
                        <a:pt x="1950" y="150"/>
                      </a:lnTo>
                      <a:lnTo>
                        <a:pt x="1977" y="190"/>
                      </a:lnTo>
                      <a:lnTo>
                        <a:pt x="1998" y="235"/>
                      </a:lnTo>
                      <a:lnTo>
                        <a:pt x="2015" y="282"/>
                      </a:lnTo>
                      <a:lnTo>
                        <a:pt x="2025" y="332"/>
                      </a:lnTo>
                      <a:lnTo>
                        <a:pt x="2028" y="384"/>
                      </a:lnTo>
                      <a:lnTo>
                        <a:pt x="2028" y="609"/>
                      </a:lnTo>
                      <a:lnTo>
                        <a:pt x="1814" y="609"/>
                      </a:lnTo>
                      <a:lnTo>
                        <a:pt x="1814" y="433"/>
                      </a:lnTo>
                      <a:lnTo>
                        <a:pt x="214" y="433"/>
                      </a:lnTo>
                      <a:lnTo>
                        <a:pt x="214" y="2790"/>
                      </a:lnTo>
                      <a:lnTo>
                        <a:pt x="1814" y="2790"/>
                      </a:lnTo>
                      <a:lnTo>
                        <a:pt x="1814" y="2786"/>
                      </a:lnTo>
                      <a:lnTo>
                        <a:pt x="2028" y="2786"/>
                      </a:lnTo>
                      <a:lnTo>
                        <a:pt x="2028" y="3144"/>
                      </a:lnTo>
                      <a:lnTo>
                        <a:pt x="2025" y="3195"/>
                      </a:lnTo>
                      <a:lnTo>
                        <a:pt x="2015" y="3244"/>
                      </a:lnTo>
                      <a:lnTo>
                        <a:pt x="1998" y="3293"/>
                      </a:lnTo>
                      <a:lnTo>
                        <a:pt x="1977" y="3336"/>
                      </a:lnTo>
                      <a:lnTo>
                        <a:pt x="1950" y="3377"/>
                      </a:lnTo>
                      <a:lnTo>
                        <a:pt x="1918" y="3414"/>
                      </a:lnTo>
                      <a:lnTo>
                        <a:pt x="1882" y="3447"/>
                      </a:lnTo>
                      <a:lnTo>
                        <a:pt x="1842" y="3475"/>
                      </a:lnTo>
                      <a:lnTo>
                        <a:pt x="1798" y="3497"/>
                      </a:lnTo>
                      <a:lnTo>
                        <a:pt x="1752" y="3514"/>
                      </a:lnTo>
                      <a:lnTo>
                        <a:pt x="1703" y="3524"/>
                      </a:lnTo>
                      <a:lnTo>
                        <a:pt x="1653" y="3528"/>
                      </a:lnTo>
                      <a:lnTo>
                        <a:pt x="375" y="3528"/>
                      </a:lnTo>
                      <a:lnTo>
                        <a:pt x="324" y="3524"/>
                      </a:lnTo>
                      <a:lnTo>
                        <a:pt x="276" y="3514"/>
                      </a:lnTo>
                      <a:lnTo>
                        <a:pt x="229" y="3497"/>
                      </a:lnTo>
                      <a:lnTo>
                        <a:pt x="186" y="3475"/>
                      </a:lnTo>
                      <a:lnTo>
                        <a:pt x="146" y="3447"/>
                      </a:lnTo>
                      <a:lnTo>
                        <a:pt x="110" y="3414"/>
                      </a:lnTo>
                      <a:lnTo>
                        <a:pt x="78" y="3377"/>
                      </a:lnTo>
                      <a:lnTo>
                        <a:pt x="51" y="3336"/>
                      </a:lnTo>
                      <a:lnTo>
                        <a:pt x="29" y="3293"/>
                      </a:lnTo>
                      <a:lnTo>
                        <a:pt x="13" y="3244"/>
                      </a:lnTo>
                      <a:lnTo>
                        <a:pt x="3" y="3195"/>
                      </a:lnTo>
                      <a:lnTo>
                        <a:pt x="0" y="3144"/>
                      </a:lnTo>
                      <a:lnTo>
                        <a:pt x="0" y="384"/>
                      </a:lnTo>
                      <a:lnTo>
                        <a:pt x="3" y="332"/>
                      </a:lnTo>
                      <a:lnTo>
                        <a:pt x="13" y="282"/>
                      </a:lnTo>
                      <a:lnTo>
                        <a:pt x="29" y="235"/>
                      </a:lnTo>
                      <a:lnTo>
                        <a:pt x="51" y="190"/>
                      </a:lnTo>
                      <a:lnTo>
                        <a:pt x="78" y="150"/>
                      </a:lnTo>
                      <a:lnTo>
                        <a:pt x="110" y="113"/>
                      </a:lnTo>
                      <a:lnTo>
                        <a:pt x="146" y="80"/>
                      </a:lnTo>
                      <a:lnTo>
                        <a:pt x="186" y="52"/>
                      </a:lnTo>
                      <a:lnTo>
                        <a:pt x="229" y="31"/>
                      </a:lnTo>
                      <a:lnTo>
                        <a:pt x="276" y="13"/>
                      </a:lnTo>
                      <a:lnTo>
                        <a:pt x="324" y="3"/>
                      </a:lnTo>
                      <a:lnTo>
                        <a:pt x="37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6" name="Rectangle 7"/>
                <p:cNvSpPr>
                  <a:spLocks noChangeArrowheads="1"/>
                </p:cNvSpPr>
                <p:nvPr/>
              </p:nvSpPr>
              <p:spPr bwMode="auto">
                <a:xfrm>
                  <a:off x="-676" y="1397"/>
                  <a:ext cx="96" cy="6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7" name="Rectangle 8"/>
                <p:cNvSpPr>
                  <a:spLocks noChangeArrowheads="1"/>
                </p:cNvSpPr>
                <p:nvPr/>
              </p:nvSpPr>
              <p:spPr bwMode="auto">
                <a:xfrm>
                  <a:off x="-676" y="1550"/>
                  <a:ext cx="96" cy="61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8" name="Rectangle 9"/>
                <p:cNvSpPr>
                  <a:spLocks noChangeArrowheads="1"/>
                </p:cNvSpPr>
                <p:nvPr/>
              </p:nvSpPr>
              <p:spPr bwMode="auto">
                <a:xfrm>
                  <a:off x="-676" y="1711"/>
                  <a:ext cx="96" cy="61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9" name="Freeform 10"/>
                <p:cNvSpPr>
                  <a:spLocks noEditPoints="1"/>
                </p:cNvSpPr>
                <p:nvPr/>
              </p:nvSpPr>
              <p:spPr bwMode="auto">
                <a:xfrm>
                  <a:off x="-544" y="1420"/>
                  <a:ext cx="354" cy="364"/>
                </a:xfrm>
                <a:custGeom>
                  <a:avLst/>
                  <a:gdLst>
                    <a:gd name="T0" fmla="*/ 845 w 1770"/>
                    <a:gd name="T1" fmla="*/ 634 h 1820"/>
                    <a:gd name="T2" fmla="*/ 771 w 1770"/>
                    <a:gd name="T3" fmla="*/ 657 h 1820"/>
                    <a:gd name="T4" fmla="*/ 707 w 1770"/>
                    <a:gd name="T5" fmla="*/ 699 h 1820"/>
                    <a:gd name="T6" fmla="*/ 658 w 1770"/>
                    <a:gd name="T7" fmla="*/ 758 h 1820"/>
                    <a:gd name="T8" fmla="*/ 626 w 1770"/>
                    <a:gd name="T9" fmla="*/ 829 h 1820"/>
                    <a:gd name="T10" fmla="*/ 615 w 1770"/>
                    <a:gd name="T11" fmla="*/ 909 h 1820"/>
                    <a:gd name="T12" fmla="*/ 626 w 1770"/>
                    <a:gd name="T13" fmla="*/ 990 h 1820"/>
                    <a:gd name="T14" fmla="*/ 658 w 1770"/>
                    <a:gd name="T15" fmla="*/ 1061 h 1820"/>
                    <a:gd name="T16" fmla="*/ 707 w 1770"/>
                    <a:gd name="T17" fmla="*/ 1119 h 1820"/>
                    <a:gd name="T18" fmla="*/ 771 w 1770"/>
                    <a:gd name="T19" fmla="*/ 1162 h 1820"/>
                    <a:gd name="T20" fmla="*/ 845 w 1770"/>
                    <a:gd name="T21" fmla="*/ 1185 h 1820"/>
                    <a:gd name="T22" fmla="*/ 925 w 1770"/>
                    <a:gd name="T23" fmla="*/ 1185 h 1820"/>
                    <a:gd name="T24" fmla="*/ 998 w 1770"/>
                    <a:gd name="T25" fmla="*/ 1162 h 1820"/>
                    <a:gd name="T26" fmla="*/ 1062 w 1770"/>
                    <a:gd name="T27" fmla="*/ 1119 h 1820"/>
                    <a:gd name="T28" fmla="*/ 1111 w 1770"/>
                    <a:gd name="T29" fmla="*/ 1062 h 1820"/>
                    <a:gd name="T30" fmla="*/ 1143 w 1770"/>
                    <a:gd name="T31" fmla="*/ 990 h 1820"/>
                    <a:gd name="T32" fmla="*/ 1155 w 1770"/>
                    <a:gd name="T33" fmla="*/ 909 h 1820"/>
                    <a:gd name="T34" fmla="*/ 1143 w 1770"/>
                    <a:gd name="T35" fmla="*/ 829 h 1820"/>
                    <a:gd name="T36" fmla="*/ 1111 w 1770"/>
                    <a:gd name="T37" fmla="*/ 758 h 1820"/>
                    <a:gd name="T38" fmla="*/ 1062 w 1770"/>
                    <a:gd name="T39" fmla="*/ 699 h 1820"/>
                    <a:gd name="T40" fmla="*/ 998 w 1770"/>
                    <a:gd name="T41" fmla="*/ 657 h 1820"/>
                    <a:gd name="T42" fmla="*/ 925 w 1770"/>
                    <a:gd name="T43" fmla="*/ 634 h 1820"/>
                    <a:gd name="T44" fmla="*/ 761 w 1770"/>
                    <a:gd name="T45" fmla="*/ 0 h 1820"/>
                    <a:gd name="T46" fmla="*/ 1009 w 1770"/>
                    <a:gd name="T47" fmla="*/ 250 h 1820"/>
                    <a:gd name="T48" fmla="*/ 1112 w 1770"/>
                    <a:gd name="T49" fmla="*/ 280 h 1820"/>
                    <a:gd name="T50" fmla="*/ 1207 w 1770"/>
                    <a:gd name="T51" fmla="*/ 324 h 1820"/>
                    <a:gd name="T52" fmla="*/ 1423 w 1770"/>
                    <a:gd name="T53" fmla="*/ 176 h 1820"/>
                    <a:gd name="T54" fmla="*/ 1427 w 1770"/>
                    <a:gd name="T55" fmla="*/ 533 h 1820"/>
                    <a:gd name="T56" fmla="*/ 1478 w 1770"/>
                    <a:gd name="T57" fmla="*/ 626 h 1820"/>
                    <a:gd name="T58" fmla="*/ 1515 w 1770"/>
                    <a:gd name="T59" fmla="*/ 728 h 1820"/>
                    <a:gd name="T60" fmla="*/ 1770 w 1770"/>
                    <a:gd name="T61" fmla="*/ 782 h 1820"/>
                    <a:gd name="T62" fmla="*/ 1527 w 1770"/>
                    <a:gd name="T63" fmla="*/ 1038 h 1820"/>
                    <a:gd name="T64" fmla="*/ 1498 w 1770"/>
                    <a:gd name="T65" fmla="*/ 1143 h 1820"/>
                    <a:gd name="T66" fmla="*/ 1455 w 1770"/>
                    <a:gd name="T67" fmla="*/ 1241 h 1820"/>
                    <a:gd name="T68" fmla="*/ 1599 w 1770"/>
                    <a:gd name="T69" fmla="*/ 1463 h 1820"/>
                    <a:gd name="T70" fmla="*/ 1252 w 1770"/>
                    <a:gd name="T71" fmla="*/ 1467 h 1820"/>
                    <a:gd name="T72" fmla="*/ 1160 w 1770"/>
                    <a:gd name="T73" fmla="*/ 1520 h 1820"/>
                    <a:gd name="T74" fmla="*/ 1061 w 1770"/>
                    <a:gd name="T75" fmla="*/ 1557 h 1820"/>
                    <a:gd name="T76" fmla="*/ 1009 w 1770"/>
                    <a:gd name="T77" fmla="*/ 1820 h 1820"/>
                    <a:gd name="T78" fmla="*/ 761 w 1770"/>
                    <a:gd name="T79" fmla="*/ 1570 h 1820"/>
                    <a:gd name="T80" fmla="*/ 658 w 1770"/>
                    <a:gd name="T81" fmla="*/ 1540 h 1820"/>
                    <a:gd name="T82" fmla="*/ 563 w 1770"/>
                    <a:gd name="T83" fmla="*/ 1495 h 1820"/>
                    <a:gd name="T84" fmla="*/ 347 w 1770"/>
                    <a:gd name="T85" fmla="*/ 1643 h 1820"/>
                    <a:gd name="T86" fmla="*/ 344 w 1770"/>
                    <a:gd name="T87" fmla="*/ 1287 h 1820"/>
                    <a:gd name="T88" fmla="*/ 291 w 1770"/>
                    <a:gd name="T89" fmla="*/ 1193 h 1820"/>
                    <a:gd name="T90" fmla="*/ 256 w 1770"/>
                    <a:gd name="T91" fmla="*/ 1091 h 1820"/>
                    <a:gd name="T92" fmla="*/ 0 w 1770"/>
                    <a:gd name="T93" fmla="*/ 1038 h 1820"/>
                    <a:gd name="T94" fmla="*/ 243 w 1770"/>
                    <a:gd name="T95" fmla="*/ 782 h 1820"/>
                    <a:gd name="T96" fmla="*/ 272 w 1770"/>
                    <a:gd name="T97" fmla="*/ 676 h 1820"/>
                    <a:gd name="T98" fmla="*/ 316 w 1770"/>
                    <a:gd name="T99" fmla="*/ 579 h 1820"/>
                    <a:gd name="T100" fmla="*/ 172 w 1770"/>
                    <a:gd name="T101" fmla="*/ 356 h 1820"/>
                    <a:gd name="T102" fmla="*/ 518 w 1770"/>
                    <a:gd name="T103" fmla="*/ 353 h 1820"/>
                    <a:gd name="T104" fmla="*/ 609 w 1770"/>
                    <a:gd name="T105" fmla="*/ 300 h 1820"/>
                    <a:gd name="T106" fmla="*/ 708 w 1770"/>
                    <a:gd name="T107" fmla="*/ 262 h 1820"/>
                    <a:gd name="T108" fmla="*/ 761 w 1770"/>
                    <a:gd name="T109" fmla="*/ 0 h 18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770" h="1820">
                      <a:moveTo>
                        <a:pt x="885" y="632"/>
                      </a:moveTo>
                      <a:lnTo>
                        <a:pt x="845" y="634"/>
                      </a:lnTo>
                      <a:lnTo>
                        <a:pt x="807" y="643"/>
                      </a:lnTo>
                      <a:lnTo>
                        <a:pt x="771" y="657"/>
                      </a:lnTo>
                      <a:lnTo>
                        <a:pt x="737" y="676"/>
                      </a:lnTo>
                      <a:lnTo>
                        <a:pt x="707" y="699"/>
                      </a:lnTo>
                      <a:lnTo>
                        <a:pt x="681" y="727"/>
                      </a:lnTo>
                      <a:lnTo>
                        <a:pt x="658" y="758"/>
                      </a:lnTo>
                      <a:lnTo>
                        <a:pt x="639" y="792"/>
                      </a:lnTo>
                      <a:lnTo>
                        <a:pt x="626" y="829"/>
                      </a:lnTo>
                      <a:lnTo>
                        <a:pt x="617" y="868"/>
                      </a:lnTo>
                      <a:lnTo>
                        <a:pt x="615" y="909"/>
                      </a:lnTo>
                      <a:lnTo>
                        <a:pt x="617" y="951"/>
                      </a:lnTo>
                      <a:lnTo>
                        <a:pt x="626" y="990"/>
                      </a:lnTo>
                      <a:lnTo>
                        <a:pt x="639" y="1026"/>
                      </a:lnTo>
                      <a:lnTo>
                        <a:pt x="658" y="1061"/>
                      </a:lnTo>
                      <a:lnTo>
                        <a:pt x="681" y="1092"/>
                      </a:lnTo>
                      <a:lnTo>
                        <a:pt x="707" y="1119"/>
                      </a:lnTo>
                      <a:lnTo>
                        <a:pt x="737" y="1143"/>
                      </a:lnTo>
                      <a:lnTo>
                        <a:pt x="771" y="1162"/>
                      </a:lnTo>
                      <a:lnTo>
                        <a:pt x="807" y="1175"/>
                      </a:lnTo>
                      <a:lnTo>
                        <a:pt x="845" y="1185"/>
                      </a:lnTo>
                      <a:lnTo>
                        <a:pt x="885" y="1187"/>
                      </a:lnTo>
                      <a:lnTo>
                        <a:pt x="925" y="1185"/>
                      </a:lnTo>
                      <a:lnTo>
                        <a:pt x="963" y="1175"/>
                      </a:lnTo>
                      <a:lnTo>
                        <a:pt x="998" y="1162"/>
                      </a:lnTo>
                      <a:lnTo>
                        <a:pt x="1032" y="1143"/>
                      </a:lnTo>
                      <a:lnTo>
                        <a:pt x="1062" y="1119"/>
                      </a:lnTo>
                      <a:lnTo>
                        <a:pt x="1089" y="1093"/>
                      </a:lnTo>
                      <a:lnTo>
                        <a:pt x="1111" y="1062"/>
                      </a:lnTo>
                      <a:lnTo>
                        <a:pt x="1130" y="1027"/>
                      </a:lnTo>
                      <a:lnTo>
                        <a:pt x="1143" y="990"/>
                      </a:lnTo>
                      <a:lnTo>
                        <a:pt x="1152" y="951"/>
                      </a:lnTo>
                      <a:lnTo>
                        <a:pt x="1155" y="909"/>
                      </a:lnTo>
                      <a:lnTo>
                        <a:pt x="1152" y="868"/>
                      </a:lnTo>
                      <a:lnTo>
                        <a:pt x="1143" y="829"/>
                      </a:lnTo>
                      <a:lnTo>
                        <a:pt x="1130" y="792"/>
                      </a:lnTo>
                      <a:lnTo>
                        <a:pt x="1111" y="758"/>
                      </a:lnTo>
                      <a:lnTo>
                        <a:pt x="1089" y="727"/>
                      </a:lnTo>
                      <a:lnTo>
                        <a:pt x="1062" y="699"/>
                      </a:lnTo>
                      <a:lnTo>
                        <a:pt x="1032" y="676"/>
                      </a:lnTo>
                      <a:lnTo>
                        <a:pt x="998" y="657"/>
                      </a:lnTo>
                      <a:lnTo>
                        <a:pt x="963" y="643"/>
                      </a:lnTo>
                      <a:lnTo>
                        <a:pt x="925" y="634"/>
                      </a:lnTo>
                      <a:lnTo>
                        <a:pt x="885" y="632"/>
                      </a:lnTo>
                      <a:close/>
                      <a:moveTo>
                        <a:pt x="761" y="0"/>
                      </a:moveTo>
                      <a:lnTo>
                        <a:pt x="1009" y="0"/>
                      </a:lnTo>
                      <a:lnTo>
                        <a:pt x="1009" y="250"/>
                      </a:lnTo>
                      <a:lnTo>
                        <a:pt x="1061" y="262"/>
                      </a:lnTo>
                      <a:lnTo>
                        <a:pt x="1112" y="280"/>
                      </a:lnTo>
                      <a:lnTo>
                        <a:pt x="1160" y="300"/>
                      </a:lnTo>
                      <a:lnTo>
                        <a:pt x="1207" y="324"/>
                      </a:lnTo>
                      <a:lnTo>
                        <a:pt x="1252" y="353"/>
                      </a:lnTo>
                      <a:lnTo>
                        <a:pt x="1423" y="176"/>
                      </a:lnTo>
                      <a:lnTo>
                        <a:pt x="1599" y="355"/>
                      </a:lnTo>
                      <a:lnTo>
                        <a:pt x="1427" y="533"/>
                      </a:lnTo>
                      <a:lnTo>
                        <a:pt x="1454" y="579"/>
                      </a:lnTo>
                      <a:lnTo>
                        <a:pt x="1478" y="626"/>
                      </a:lnTo>
                      <a:lnTo>
                        <a:pt x="1498" y="676"/>
                      </a:lnTo>
                      <a:lnTo>
                        <a:pt x="1515" y="728"/>
                      </a:lnTo>
                      <a:lnTo>
                        <a:pt x="1527" y="782"/>
                      </a:lnTo>
                      <a:lnTo>
                        <a:pt x="1770" y="782"/>
                      </a:lnTo>
                      <a:lnTo>
                        <a:pt x="1770" y="1038"/>
                      </a:lnTo>
                      <a:lnTo>
                        <a:pt x="1527" y="1038"/>
                      </a:lnTo>
                      <a:lnTo>
                        <a:pt x="1515" y="1091"/>
                      </a:lnTo>
                      <a:lnTo>
                        <a:pt x="1498" y="1143"/>
                      </a:lnTo>
                      <a:lnTo>
                        <a:pt x="1478" y="1193"/>
                      </a:lnTo>
                      <a:lnTo>
                        <a:pt x="1455" y="1241"/>
                      </a:lnTo>
                      <a:lnTo>
                        <a:pt x="1427" y="1287"/>
                      </a:lnTo>
                      <a:lnTo>
                        <a:pt x="1599" y="1463"/>
                      </a:lnTo>
                      <a:lnTo>
                        <a:pt x="1423" y="1643"/>
                      </a:lnTo>
                      <a:lnTo>
                        <a:pt x="1252" y="1467"/>
                      </a:lnTo>
                      <a:lnTo>
                        <a:pt x="1207" y="1495"/>
                      </a:lnTo>
                      <a:lnTo>
                        <a:pt x="1160" y="1520"/>
                      </a:lnTo>
                      <a:lnTo>
                        <a:pt x="1112" y="1540"/>
                      </a:lnTo>
                      <a:lnTo>
                        <a:pt x="1061" y="1557"/>
                      </a:lnTo>
                      <a:lnTo>
                        <a:pt x="1009" y="1570"/>
                      </a:lnTo>
                      <a:lnTo>
                        <a:pt x="1009" y="1820"/>
                      </a:lnTo>
                      <a:lnTo>
                        <a:pt x="761" y="1820"/>
                      </a:lnTo>
                      <a:lnTo>
                        <a:pt x="761" y="1570"/>
                      </a:lnTo>
                      <a:lnTo>
                        <a:pt x="708" y="1557"/>
                      </a:lnTo>
                      <a:lnTo>
                        <a:pt x="658" y="1540"/>
                      </a:lnTo>
                      <a:lnTo>
                        <a:pt x="609" y="1520"/>
                      </a:lnTo>
                      <a:lnTo>
                        <a:pt x="563" y="1495"/>
                      </a:lnTo>
                      <a:lnTo>
                        <a:pt x="519" y="1467"/>
                      </a:lnTo>
                      <a:lnTo>
                        <a:pt x="347" y="1643"/>
                      </a:lnTo>
                      <a:lnTo>
                        <a:pt x="172" y="1463"/>
                      </a:lnTo>
                      <a:lnTo>
                        <a:pt x="344" y="1287"/>
                      </a:lnTo>
                      <a:lnTo>
                        <a:pt x="316" y="1241"/>
                      </a:lnTo>
                      <a:lnTo>
                        <a:pt x="291" y="1193"/>
                      </a:lnTo>
                      <a:lnTo>
                        <a:pt x="271" y="1143"/>
                      </a:lnTo>
                      <a:lnTo>
                        <a:pt x="256" y="1091"/>
                      </a:lnTo>
                      <a:lnTo>
                        <a:pt x="243" y="1038"/>
                      </a:lnTo>
                      <a:lnTo>
                        <a:pt x="0" y="1038"/>
                      </a:lnTo>
                      <a:lnTo>
                        <a:pt x="0" y="782"/>
                      </a:lnTo>
                      <a:lnTo>
                        <a:pt x="243" y="782"/>
                      </a:lnTo>
                      <a:lnTo>
                        <a:pt x="256" y="728"/>
                      </a:lnTo>
                      <a:lnTo>
                        <a:pt x="272" y="676"/>
                      </a:lnTo>
                      <a:lnTo>
                        <a:pt x="292" y="627"/>
                      </a:lnTo>
                      <a:lnTo>
                        <a:pt x="316" y="579"/>
                      </a:lnTo>
                      <a:lnTo>
                        <a:pt x="344" y="533"/>
                      </a:lnTo>
                      <a:lnTo>
                        <a:pt x="172" y="356"/>
                      </a:lnTo>
                      <a:lnTo>
                        <a:pt x="347" y="176"/>
                      </a:lnTo>
                      <a:lnTo>
                        <a:pt x="518" y="353"/>
                      </a:lnTo>
                      <a:lnTo>
                        <a:pt x="562" y="324"/>
                      </a:lnTo>
                      <a:lnTo>
                        <a:pt x="609" y="300"/>
                      </a:lnTo>
                      <a:lnTo>
                        <a:pt x="658" y="280"/>
                      </a:lnTo>
                      <a:lnTo>
                        <a:pt x="708" y="262"/>
                      </a:lnTo>
                      <a:lnTo>
                        <a:pt x="761" y="250"/>
                      </a:lnTo>
                      <a:lnTo>
                        <a:pt x="76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30" name="Freeform 88"/>
              <p:cNvSpPr>
                <a:spLocks/>
              </p:cNvSpPr>
              <p:nvPr/>
            </p:nvSpPr>
            <p:spPr bwMode="auto">
              <a:xfrm>
                <a:off x="4028362" y="5204311"/>
                <a:ext cx="790132" cy="535441"/>
              </a:xfrm>
              <a:custGeom>
                <a:avLst/>
                <a:gdLst>
                  <a:gd name="T0" fmla="*/ 3895 w 6125"/>
                  <a:gd name="T1" fmla="*/ 17 h 4150"/>
                  <a:gd name="T2" fmla="*/ 4222 w 6125"/>
                  <a:gd name="T3" fmla="*/ 97 h 4150"/>
                  <a:gd name="T4" fmla="*/ 4499 w 6125"/>
                  <a:gd name="T5" fmla="*/ 240 h 4150"/>
                  <a:gd name="T6" fmla="*/ 4729 w 6125"/>
                  <a:gd name="T7" fmla="*/ 433 h 4150"/>
                  <a:gd name="T8" fmla="*/ 4909 w 6125"/>
                  <a:gd name="T9" fmla="*/ 667 h 4150"/>
                  <a:gd name="T10" fmla="*/ 5041 w 6125"/>
                  <a:gd name="T11" fmla="*/ 936 h 4150"/>
                  <a:gd name="T12" fmla="*/ 5127 w 6125"/>
                  <a:gd name="T13" fmla="*/ 1232 h 4150"/>
                  <a:gd name="T14" fmla="*/ 5166 w 6125"/>
                  <a:gd name="T15" fmla="*/ 1542 h 4150"/>
                  <a:gd name="T16" fmla="*/ 5162 w 6125"/>
                  <a:gd name="T17" fmla="*/ 1752 h 4150"/>
                  <a:gd name="T18" fmla="*/ 5474 w 6125"/>
                  <a:gd name="T19" fmla="*/ 1863 h 4150"/>
                  <a:gd name="T20" fmla="*/ 5738 w 6125"/>
                  <a:gd name="T21" fmla="*/ 2051 h 4150"/>
                  <a:gd name="T22" fmla="*/ 5944 w 6125"/>
                  <a:gd name="T23" fmla="*/ 2300 h 4150"/>
                  <a:gd name="T24" fmla="*/ 6078 w 6125"/>
                  <a:gd name="T25" fmla="*/ 2601 h 4150"/>
                  <a:gd name="T26" fmla="*/ 6125 w 6125"/>
                  <a:gd name="T27" fmla="*/ 2937 h 4150"/>
                  <a:gd name="T28" fmla="*/ 6076 w 6125"/>
                  <a:gd name="T29" fmla="*/ 3277 h 4150"/>
                  <a:gd name="T30" fmla="*/ 5941 w 6125"/>
                  <a:gd name="T31" fmla="*/ 3580 h 4150"/>
                  <a:gd name="T32" fmla="*/ 5732 w 6125"/>
                  <a:gd name="T33" fmla="*/ 3832 h 4150"/>
                  <a:gd name="T34" fmla="*/ 5465 w 6125"/>
                  <a:gd name="T35" fmla="*/ 4020 h 4150"/>
                  <a:gd name="T36" fmla="*/ 5151 w 6125"/>
                  <a:gd name="T37" fmla="*/ 4128 h 4150"/>
                  <a:gd name="T38" fmla="*/ 1202 w 6125"/>
                  <a:gd name="T39" fmla="*/ 4150 h 4150"/>
                  <a:gd name="T40" fmla="*/ 864 w 6125"/>
                  <a:gd name="T41" fmla="*/ 4102 h 4150"/>
                  <a:gd name="T42" fmla="*/ 565 w 6125"/>
                  <a:gd name="T43" fmla="*/ 3964 h 4150"/>
                  <a:gd name="T44" fmla="*/ 314 w 6125"/>
                  <a:gd name="T45" fmla="*/ 3754 h 4150"/>
                  <a:gd name="T46" fmla="*/ 130 w 6125"/>
                  <a:gd name="T47" fmla="*/ 3485 h 4150"/>
                  <a:gd name="T48" fmla="*/ 22 w 6125"/>
                  <a:gd name="T49" fmla="*/ 3167 h 4150"/>
                  <a:gd name="T50" fmla="*/ 6 w 6125"/>
                  <a:gd name="T51" fmla="*/ 2818 h 4150"/>
                  <a:gd name="T52" fmla="*/ 87 w 6125"/>
                  <a:gd name="T53" fmla="*/ 2484 h 4150"/>
                  <a:gd name="T54" fmla="*/ 256 w 6125"/>
                  <a:gd name="T55" fmla="*/ 2192 h 4150"/>
                  <a:gd name="T56" fmla="*/ 496 w 6125"/>
                  <a:gd name="T57" fmla="*/ 1960 h 4150"/>
                  <a:gd name="T58" fmla="*/ 792 w 6125"/>
                  <a:gd name="T59" fmla="*/ 1800 h 4150"/>
                  <a:gd name="T60" fmla="*/ 1005 w 6125"/>
                  <a:gd name="T61" fmla="*/ 1678 h 4150"/>
                  <a:gd name="T62" fmla="*/ 1022 w 6125"/>
                  <a:gd name="T63" fmla="*/ 1436 h 4150"/>
                  <a:gd name="T64" fmla="*/ 1120 w 6125"/>
                  <a:gd name="T65" fmla="*/ 1200 h 4150"/>
                  <a:gd name="T66" fmla="*/ 1288 w 6125"/>
                  <a:gd name="T67" fmla="*/ 1013 h 4150"/>
                  <a:gd name="T68" fmla="*/ 1507 w 6125"/>
                  <a:gd name="T69" fmla="*/ 890 h 4150"/>
                  <a:gd name="T70" fmla="*/ 1763 w 6125"/>
                  <a:gd name="T71" fmla="*/ 845 h 4150"/>
                  <a:gd name="T72" fmla="*/ 2031 w 6125"/>
                  <a:gd name="T73" fmla="*/ 894 h 4150"/>
                  <a:gd name="T74" fmla="*/ 2256 w 6125"/>
                  <a:gd name="T75" fmla="*/ 1026 h 4150"/>
                  <a:gd name="T76" fmla="*/ 2362 w 6125"/>
                  <a:gd name="T77" fmla="*/ 801 h 4150"/>
                  <a:gd name="T78" fmla="*/ 2486 w 6125"/>
                  <a:gd name="T79" fmla="*/ 589 h 4150"/>
                  <a:gd name="T80" fmla="*/ 2635 w 6125"/>
                  <a:gd name="T81" fmla="*/ 398 h 4150"/>
                  <a:gd name="T82" fmla="*/ 2817 w 6125"/>
                  <a:gd name="T83" fmla="*/ 234 h 4150"/>
                  <a:gd name="T84" fmla="*/ 3040 w 6125"/>
                  <a:gd name="T85" fmla="*/ 110 h 4150"/>
                  <a:gd name="T86" fmla="*/ 3315 w 6125"/>
                  <a:gd name="T87" fmla="*/ 28 h 4150"/>
                  <a:gd name="T88" fmla="*/ 3648 w 6125"/>
                  <a:gd name="T89" fmla="*/ 0 h 4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125" h="4150">
                    <a:moveTo>
                      <a:pt x="3648" y="0"/>
                    </a:moveTo>
                    <a:lnTo>
                      <a:pt x="3774" y="4"/>
                    </a:lnTo>
                    <a:lnTo>
                      <a:pt x="3895" y="17"/>
                    </a:lnTo>
                    <a:lnTo>
                      <a:pt x="4008" y="35"/>
                    </a:lnTo>
                    <a:lnTo>
                      <a:pt x="4118" y="63"/>
                    </a:lnTo>
                    <a:lnTo>
                      <a:pt x="4222" y="97"/>
                    </a:lnTo>
                    <a:lnTo>
                      <a:pt x="4320" y="138"/>
                    </a:lnTo>
                    <a:lnTo>
                      <a:pt x="4413" y="186"/>
                    </a:lnTo>
                    <a:lnTo>
                      <a:pt x="4499" y="240"/>
                    </a:lnTo>
                    <a:lnTo>
                      <a:pt x="4580" y="297"/>
                    </a:lnTo>
                    <a:lnTo>
                      <a:pt x="4658" y="362"/>
                    </a:lnTo>
                    <a:lnTo>
                      <a:pt x="4729" y="433"/>
                    </a:lnTo>
                    <a:lnTo>
                      <a:pt x="4794" y="507"/>
                    </a:lnTo>
                    <a:lnTo>
                      <a:pt x="4854" y="585"/>
                    </a:lnTo>
                    <a:lnTo>
                      <a:pt x="4909" y="667"/>
                    </a:lnTo>
                    <a:lnTo>
                      <a:pt x="4958" y="754"/>
                    </a:lnTo>
                    <a:lnTo>
                      <a:pt x="5002" y="844"/>
                    </a:lnTo>
                    <a:lnTo>
                      <a:pt x="5041" y="936"/>
                    </a:lnTo>
                    <a:lnTo>
                      <a:pt x="5075" y="1033"/>
                    </a:lnTo>
                    <a:lnTo>
                      <a:pt x="5103" y="1131"/>
                    </a:lnTo>
                    <a:lnTo>
                      <a:pt x="5127" y="1232"/>
                    </a:lnTo>
                    <a:lnTo>
                      <a:pt x="5145" y="1334"/>
                    </a:lnTo>
                    <a:lnTo>
                      <a:pt x="5156" y="1438"/>
                    </a:lnTo>
                    <a:lnTo>
                      <a:pt x="5166" y="1542"/>
                    </a:lnTo>
                    <a:lnTo>
                      <a:pt x="5168" y="1648"/>
                    </a:lnTo>
                    <a:lnTo>
                      <a:pt x="5166" y="1700"/>
                    </a:lnTo>
                    <a:lnTo>
                      <a:pt x="5162" y="1752"/>
                    </a:lnTo>
                    <a:lnTo>
                      <a:pt x="5270" y="1780"/>
                    </a:lnTo>
                    <a:lnTo>
                      <a:pt x="5374" y="1817"/>
                    </a:lnTo>
                    <a:lnTo>
                      <a:pt x="5474" y="1863"/>
                    </a:lnTo>
                    <a:lnTo>
                      <a:pt x="5567" y="1917"/>
                    </a:lnTo>
                    <a:lnTo>
                      <a:pt x="5656" y="1980"/>
                    </a:lnTo>
                    <a:lnTo>
                      <a:pt x="5738" y="2051"/>
                    </a:lnTo>
                    <a:lnTo>
                      <a:pt x="5814" y="2127"/>
                    </a:lnTo>
                    <a:lnTo>
                      <a:pt x="5883" y="2211"/>
                    </a:lnTo>
                    <a:lnTo>
                      <a:pt x="5944" y="2300"/>
                    </a:lnTo>
                    <a:lnTo>
                      <a:pt x="5996" y="2397"/>
                    </a:lnTo>
                    <a:lnTo>
                      <a:pt x="6041" y="2497"/>
                    </a:lnTo>
                    <a:lnTo>
                      <a:pt x="6078" y="2601"/>
                    </a:lnTo>
                    <a:lnTo>
                      <a:pt x="6102" y="2710"/>
                    </a:lnTo>
                    <a:lnTo>
                      <a:pt x="6119" y="2822"/>
                    </a:lnTo>
                    <a:lnTo>
                      <a:pt x="6125" y="2937"/>
                    </a:lnTo>
                    <a:lnTo>
                      <a:pt x="6119" y="3054"/>
                    </a:lnTo>
                    <a:lnTo>
                      <a:pt x="6102" y="3167"/>
                    </a:lnTo>
                    <a:lnTo>
                      <a:pt x="6076" y="3277"/>
                    </a:lnTo>
                    <a:lnTo>
                      <a:pt x="6041" y="3383"/>
                    </a:lnTo>
                    <a:lnTo>
                      <a:pt x="5994" y="3485"/>
                    </a:lnTo>
                    <a:lnTo>
                      <a:pt x="5941" y="3580"/>
                    </a:lnTo>
                    <a:lnTo>
                      <a:pt x="5879" y="3671"/>
                    </a:lnTo>
                    <a:lnTo>
                      <a:pt x="5811" y="3754"/>
                    </a:lnTo>
                    <a:lnTo>
                      <a:pt x="5732" y="3832"/>
                    </a:lnTo>
                    <a:lnTo>
                      <a:pt x="5649" y="3903"/>
                    </a:lnTo>
                    <a:lnTo>
                      <a:pt x="5560" y="3964"/>
                    </a:lnTo>
                    <a:lnTo>
                      <a:pt x="5465" y="4020"/>
                    </a:lnTo>
                    <a:lnTo>
                      <a:pt x="5365" y="4065"/>
                    </a:lnTo>
                    <a:lnTo>
                      <a:pt x="5261" y="4102"/>
                    </a:lnTo>
                    <a:lnTo>
                      <a:pt x="5151" y="4128"/>
                    </a:lnTo>
                    <a:lnTo>
                      <a:pt x="5038" y="4145"/>
                    </a:lnTo>
                    <a:lnTo>
                      <a:pt x="4922" y="4150"/>
                    </a:lnTo>
                    <a:lnTo>
                      <a:pt x="1202" y="4150"/>
                    </a:lnTo>
                    <a:lnTo>
                      <a:pt x="1087" y="4145"/>
                    </a:lnTo>
                    <a:lnTo>
                      <a:pt x="974" y="4128"/>
                    </a:lnTo>
                    <a:lnTo>
                      <a:pt x="864" y="4102"/>
                    </a:lnTo>
                    <a:lnTo>
                      <a:pt x="760" y="4065"/>
                    </a:lnTo>
                    <a:lnTo>
                      <a:pt x="660" y="4020"/>
                    </a:lnTo>
                    <a:lnTo>
                      <a:pt x="565" y="3964"/>
                    </a:lnTo>
                    <a:lnTo>
                      <a:pt x="476" y="3903"/>
                    </a:lnTo>
                    <a:lnTo>
                      <a:pt x="392" y="3832"/>
                    </a:lnTo>
                    <a:lnTo>
                      <a:pt x="314" y="3754"/>
                    </a:lnTo>
                    <a:lnTo>
                      <a:pt x="245" y="3671"/>
                    </a:lnTo>
                    <a:lnTo>
                      <a:pt x="184" y="3580"/>
                    </a:lnTo>
                    <a:lnTo>
                      <a:pt x="130" y="3485"/>
                    </a:lnTo>
                    <a:lnTo>
                      <a:pt x="84" y="3383"/>
                    </a:lnTo>
                    <a:lnTo>
                      <a:pt x="48" y="3277"/>
                    </a:lnTo>
                    <a:lnTo>
                      <a:pt x="22" y="3167"/>
                    </a:lnTo>
                    <a:lnTo>
                      <a:pt x="6" y="3054"/>
                    </a:lnTo>
                    <a:lnTo>
                      <a:pt x="0" y="2937"/>
                    </a:lnTo>
                    <a:lnTo>
                      <a:pt x="6" y="2818"/>
                    </a:lnTo>
                    <a:lnTo>
                      <a:pt x="22" y="2703"/>
                    </a:lnTo>
                    <a:lnTo>
                      <a:pt x="50" y="2592"/>
                    </a:lnTo>
                    <a:lnTo>
                      <a:pt x="87" y="2484"/>
                    </a:lnTo>
                    <a:lnTo>
                      <a:pt x="136" y="2382"/>
                    </a:lnTo>
                    <a:lnTo>
                      <a:pt x="191" y="2283"/>
                    </a:lnTo>
                    <a:lnTo>
                      <a:pt x="256" y="2192"/>
                    </a:lnTo>
                    <a:lnTo>
                      <a:pt x="329" y="2107"/>
                    </a:lnTo>
                    <a:lnTo>
                      <a:pt x="409" y="2029"/>
                    </a:lnTo>
                    <a:lnTo>
                      <a:pt x="496" y="1960"/>
                    </a:lnTo>
                    <a:lnTo>
                      <a:pt x="589" y="1897"/>
                    </a:lnTo>
                    <a:lnTo>
                      <a:pt x="688" y="1845"/>
                    </a:lnTo>
                    <a:lnTo>
                      <a:pt x="792" y="1800"/>
                    </a:lnTo>
                    <a:lnTo>
                      <a:pt x="899" y="1767"/>
                    </a:lnTo>
                    <a:lnTo>
                      <a:pt x="1013" y="1743"/>
                    </a:lnTo>
                    <a:lnTo>
                      <a:pt x="1005" y="1678"/>
                    </a:lnTo>
                    <a:lnTo>
                      <a:pt x="1002" y="1611"/>
                    </a:lnTo>
                    <a:lnTo>
                      <a:pt x="1007" y="1522"/>
                    </a:lnTo>
                    <a:lnTo>
                      <a:pt x="1022" y="1436"/>
                    </a:lnTo>
                    <a:lnTo>
                      <a:pt x="1046" y="1353"/>
                    </a:lnTo>
                    <a:lnTo>
                      <a:pt x="1080" y="1274"/>
                    </a:lnTo>
                    <a:lnTo>
                      <a:pt x="1120" y="1200"/>
                    </a:lnTo>
                    <a:lnTo>
                      <a:pt x="1169" y="1131"/>
                    </a:lnTo>
                    <a:lnTo>
                      <a:pt x="1225" y="1068"/>
                    </a:lnTo>
                    <a:lnTo>
                      <a:pt x="1288" y="1013"/>
                    </a:lnTo>
                    <a:lnTo>
                      <a:pt x="1355" y="964"/>
                    </a:lnTo>
                    <a:lnTo>
                      <a:pt x="1429" y="923"/>
                    </a:lnTo>
                    <a:lnTo>
                      <a:pt x="1507" y="890"/>
                    </a:lnTo>
                    <a:lnTo>
                      <a:pt x="1589" y="866"/>
                    </a:lnTo>
                    <a:lnTo>
                      <a:pt x="1674" y="851"/>
                    </a:lnTo>
                    <a:lnTo>
                      <a:pt x="1763" y="845"/>
                    </a:lnTo>
                    <a:lnTo>
                      <a:pt x="1856" y="851"/>
                    </a:lnTo>
                    <a:lnTo>
                      <a:pt x="1946" y="868"/>
                    </a:lnTo>
                    <a:lnTo>
                      <a:pt x="2031" y="894"/>
                    </a:lnTo>
                    <a:lnTo>
                      <a:pt x="2111" y="929"/>
                    </a:lnTo>
                    <a:lnTo>
                      <a:pt x="2185" y="974"/>
                    </a:lnTo>
                    <a:lnTo>
                      <a:pt x="2256" y="1026"/>
                    </a:lnTo>
                    <a:lnTo>
                      <a:pt x="2289" y="949"/>
                    </a:lnTo>
                    <a:lnTo>
                      <a:pt x="2325" y="875"/>
                    </a:lnTo>
                    <a:lnTo>
                      <a:pt x="2362" y="801"/>
                    </a:lnTo>
                    <a:lnTo>
                      <a:pt x="2401" y="728"/>
                    </a:lnTo>
                    <a:lnTo>
                      <a:pt x="2444" y="658"/>
                    </a:lnTo>
                    <a:lnTo>
                      <a:pt x="2486" y="589"/>
                    </a:lnTo>
                    <a:lnTo>
                      <a:pt x="2533" y="522"/>
                    </a:lnTo>
                    <a:lnTo>
                      <a:pt x="2583" y="457"/>
                    </a:lnTo>
                    <a:lnTo>
                      <a:pt x="2635" y="398"/>
                    </a:lnTo>
                    <a:lnTo>
                      <a:pt x="2691" y="340"/>
                    </a:lnTo>
                    <a:lnTo>
                      <a:pt x="2752" y="286"/>
                    </a:lnTo>
                    <a:lnTo>
                      <a:pt x="2817" y="234"/>
                    </a:lnTo>
                    <a:lnTo>
                      <a:pt x="2886" y="188"/>
                    </a:lnTo>
                    <a:lnTo>
                      <a:pt x="2960" y="147"/>
                    </a:lnTo>
                    <a:lnTo>
                      <a:pt x="3040" y="110"/>
                    </a:lnTo>
                    <a:lnTo>
                      <a:pt x="3125" y="76"/>
                    </a:lnTo>
                    <a:lnTo>
                      <a:pt x="3217" y="50"/>
                    </a:lnTo>
                    <a:lnTo>
                      <a:pt x="3315" y="28"/>
                    </a:lnTo>
                    <a:lnTo>
                      <a:pt x="3419" y="13"/>
                    </a:lnTo>
                    <a:lnTo>
                      <a:pt x="3531" y="4"/>
                    </a:lnTo>
                    <a:lnTo>
                      <a:pt x="3648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88"/>
              <p:cNvSpPr>
                <a:spLocks/>
              </p:cNvSpPr>
              <p:nvPr/>
            </p:nvSpPr>
            <p:spPr bwMode="auto">
              <a:xfrm>
                <a:off x="4510770" y="2932648"/>
                <a:ext cx="732523" cy="496402"/>
              </a:xfrm>
              <a:custGeom>
                <a:avLst/>
                <a:gdLst>
                  <a:gd name="T0" fmla="*/ 3895 w 6125"/>
                  <a:gd name="T1" fmla="*/ 17 h 4150"/>
                  <a:gd name="T2" fmla="*/ 4222 w 6125"/>
                  <a:gd name="T3" fmla="*/ 97 h 4150"/>
                  <a:gd name="T4" fmla="*/ 4499 w 6125"/>
                  <a:gd name="T5" fmla="*/ 240 h 4150"/>
                  <a:gd name="T6" fmla="*/ 4729 w 6125"/>
                  <a:gd name="T7" fmla="*/ 433 h 4150"/>
                  <a:gd name="T8" fmla="*/ 4909 w 6125"/>
                  <a:gd name="T9" fmla="*/ 667 h 4150"/>
                  <a:gd name="T10" fmla="*/ 5041 w 6125"/>
                  <a:gd name="T11" fmla="*/ 936 h 4150"/>
                  <a:gd name="T12" fmla="*/ 5127 w 6125"/>
                  <a:gd name="T13" fmla="*/ 1232 h 4150"/>
                  <a:gd name="T14" fmla="*/ 5166 w 6125"/>
                  <a:gd name="T15" fmla="*/ 1542 h 4150"/>
                  <a:gd name="T16" fmla="*/ 5162 w 6125"/>
                  <a:gd name="T17" fmla="*/ 1752 h 4150"/>
                  <a:gd name="T18" fmla="*/ 5474 w 6125"/>
                  <a:gd name="T19" fmla="*/ 1863 h 4150"/>
                  <a:gd name="T20" fmla="*/ 5738 w 6125"/>
                  <a:gd name="T21" fmla="*/ 2051 h 4150"/>
                  <a:gd name="T22" fmla="*/ 5944 w 6125"/>
                  <a:gd name="T23" fmla="*/ 2300 h 4150"/>
                  <a:gd name="T24" fmla="*/ 6078 w 6125"/>
                  <a:gd name="T25" fmla="*/ 2601 h 4150"/>
                  <a:gd name="T26" fmla="*/ 6125 w 6125"/>
                  <a:gd name="T27" fmla="*/ 2937 h 4150"/>
                  <a:gd name="T28" fmla="*/ 6076 w 6125"/>
                  <a:gd name="T29" fmla="*/ 3277 h 4150"/>
                  <a:gd name="T30" fmla="*/ 5941 w 6125"/>
                  <a:gd name="T31" fmla="*/ 3580 h 4150"/>
                  <a:gd name="T32" fmla="*/ 5732 w 6125"/>
                  <a:gd name="T33" fmla="*/ 3832 h 4150"/>
                  <a:gd name="T34" fmla="*/ 5465 w 6125"/>
                  <a:gd name="T35" fmla="*/ 4020 h 4150"/>
                  <a:gd name="T36" fmla="*/ 5151 w 6125"/>
                  <a:gd name="T37" fmla="*/ 4128 h 4150"/>
                  <a:gd name="T38" fmla="*/ 1202 w 6125"/>
                  <a:gd name="T39" fmla="*/ 4150 h 4150"/>
                  <a:gd name="T40" fmla="*/ 864 w 6125"/>
                  <a:gd name="T41" fmla="*/ 4102 h 4150"/>
                  <a:gd name="T42" fmla="*/ 565 w 6125"/>
                  <a:gd name="T43" fmla="*/ 3964 h 4150"/>
                  <a:gd name="T44" fmla="*/ 314 w 6125"/>
                  <a:gd name="T45" fmla="*/ 3754 h 4150"/>
                  <a:gd name="T46" fmla="*/ 130 w 6125"/>
                  <a:gd name="T47" fmla="*/ 3485 h 4150"/>
                  <a:gd name="T48" fmla="*/ 22 w 6125"/>
                  <a:gd name="T49" fmla="*/ 3167 h 4150"/>
                  <a:gd name="T50" fmla="*/ 6 w 6125"/>
                  <a:gd name="T51" fmla="*/ 2818 h 4150"/>
                  <a:gd name="T52" fmla="*/ 87 w 6125"/>
                  <a:gd name="T53" fmla="*/ 2484 h 4150"/>
                  <a:gd name="T54" fmla="*/ 256 w 6125"/>
                  <a:gd name="T55" fmla="*/ 2192 h 4150"/>
                  <a:gd name="T56" fmla="*/ 496 w 6125"/>
                  <a:gd name="T57" fmla="*/ 1960 h 4150"/>
                  <a:gd name="T58" fmla="*/ 792 w 6125"/>
                  <a:gd name="T59" fmla="*/ 1800 h 4150"/>
                  <a:gd name="T60" fmla="*/ 1005 w 6125"/>
                  <a:gd name="T61" fmla="*/ 1678 h 4150"/>
                  <a:gd name="T62" fmla="*/ 1022 w 6125"/>
                  <a:gd name="T63" fmla="*/ 1436 h 4150"/>
                  <a:gd name="T64" fmla="*/ 1120 w 6125"/>
                  <a:gd name="T65" fmla="*/ 1200 h 4150"/>
                  <a:gd name="T66" fmla="*/ 1288 w 6125"/>
                  <a:gd name="T67" fmla="*/ 1013 h 4150"/>
                  <a:gd name="T68" fmla="*/ 1507 w 6125"/>
                  <a:gd name="T69" fmla="*/ 890 h 4150"/>
                  <a:gd name="T70" fmla="*/ 1763 w 6125"/>
                  <a:gd name="T71" fmla="*/ 845 h 4150"/>
                  <a:gd name="T72" fmla="*/ 2031 w 6125"/>
                  <a:gd name="T73" fmla="*/ 894 h 4150"/>
                  <a:gd name="T74" fmla="*/ 2256 w 6125"/>
                  <a:gd name="T75" fmla="*/ 1026 h 4150"/>
                  <a:gd name="T76" fmla="*/ 2362 w 6125"/>
                  <a:gd name="T77" fmla="*/ 801 h 4150"/>
                  <a:gd name="T78" fmla="*/ 2486 w 6125"/>
                  <a:gd name="T79" fmla="*/ 589 h 4150"/>
                  <a:gd name="T80" fmla="*/ 2635 w 6125"/>
                  <a:gd name="T81" fmla="*/ 398 h 4150"/>
                  <a:gd name="T82" fmla="*/ 2817 w 6125"/>
                  <a:gd name="T83" fmla="*/ 234 h 4150"/>
                  <a:gd name="T84" fmla="*/ 3040 w 6125"/>
                  <a:gd name="T85" fmla="*/ 110 h 4150"/>
                  <a:gd name="T86" fmla="*/ 3315 w 6125"/>
                  <a:gd name="T87" fmla="*/ 28 h 4150"/>
                  <a:gd name="T88" fmla="*/ 3648 w 6125"/>
                  <a:gd name="T89" fmla="*/ 0 h 4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125" h="4150">
                    <a:moveTo>
                      <a:pt x="3648" y="0"/>
                    </a:moveTo>
                    <a:lnTo>
                      <a:pt x="3774" y="4"/>
                    </a:lnTo>
                    <a:lnTo>
                      <a:pt x="3895" y="17"/>
                    </a:lnTo>
                    <a:lnTo>
                      <a:pt x="4008" y="35"/>
                    </a:lnTo>
                    <a:lnTo>
                      <a:pt x="4118" y="63"/>
                    </a:lnTo>
                    <a:lnTo>
                      <a:pt x="4222" y="97"/>
                    </a:lnTo>
                    <a:lnTo>
                      <a:pt x="4320" y="138"/>
                    </a:lnTo>
                    <a:lnTo>
                      <a:pt x="4413" y="186"/>
                    </a:lnTo>
                    <a:lnTo>
                      <a:pt x="4499" y="240"/>
                    </a:lnTo>
                    <a:lnTo>
                      <a:pt x="4580" y="297"/>
                    </a:lnTo>
                    <a:lnTo>
                      <a:pt x="4658" y="362"/>
                    </a:lnTo>
                    <a:lnTo>
                      <a:pt x="4729" y="433"/>
                    </a:lnTo>
                    <a:lnTo>
                      <a:pt x="4794" y="507"/>
                    </a:lnTo>
                    <a:lnTo>
                      <a:pt x="4854" y="585"/>
                    </a:lnTo>
                    <a:lnTo>
                      <a:pt x="4909" y="667"/>
                    </a:lnTo>
                    <a:lnTo>
                      <a:pt x="4958" y="754"/>
                    </a:lnTo>
                    <a:lnTo>
                      <a:pt x="5002" y="844"/>
                    </a:lnTo>
                    <a:lnTo>
                      <a:pt x="5041" y="936"/>
                    </a:lnTo>
                    <a:lnTo>
                      <a:pt x="5075" y="1033"/>
                    </a:lnTo>
                    <a:lnTo>
                      <a:pt x="5103" y="1131"/>
                    </a:lnTo>
                    <a:lnTo>
                      <a:pt x="5127" y="1232"/>
                    </a:lnTo>
                    <a:lnTo>
                      <a:pt x="5145" y="1334"/>
                    </a:lnTo>
                    <a:lnTo>
                      <a:pt x="5156" y="1438"/>
                    </a:lnTo>
                    <a:lnTo>
                      <a:pt x="5166" y="1542"/>
                    </a:lnTo>
                    <a:lnTo>
                      <a:pt x="5168" y="1648"/>
                    </a:lnTo>
                    <a:lnTo>
                      <a:pt x="5166" y="1700"/>
                    </a:lnTo>
                    <a:lnTo>
                      <a:pt x="5162" y="1752"/>
                    </a:lnTo>
                    <a:lnTo>
                      <a:pt x="5270" y="1780"/>
                    </a:lnTo>
                    <a:lnTo>
                      <a:pt x="5374" y="1817"/>
                    </a:lnTo>
                    <a:lnTo>
                      <a:pt x="5474" y="1863"/>
                    </a:lnTo>
                    <a:lnTo>
                      <a:pt x="5567" y="1917"/>
                    </a:lnTo>
                    <a:lnTo>
                      <a:pt x="5656" y="1980"/>
                    </a:lnTo>
                    <a:lnTo>
                      <a:pt x="5738" y="2051"/>
                    </a:lnTo>
                    <a:lnTo>
                      <a:pt x="5814" y="2127"/>
                    </a:lnTo>
                    <a:lnTo>
                      <a:pt x="5883" y="2211"/>
                    </a:lnTo>
                    <a:lnTo>
                      <a:pt x="5944" y="2300"/>
                    </a:lnTo>
                    <a:lnTo>
                      <a:pt x="5996" y="2397"/>
                    </a:lnTo>
                    <a:lnTo>
                      <a:pt x="6041" y="2497"/>
                    </a:lnTo>
                    <a:lnTo>
                      <a:pt x="6078" y="2601"/>
                    </a:lnTo>
                    <a:lnTo>
                      <a:pt x="6102" y="2710"/>
                    </a:lnTo>
                    <a:lnTo>
                      <a:pt x="6119" y="2822"/>
                    </a:lnTo>
                    <a:lnTo>
                      <a:pt x="6125" y="2937"/>
                    </a:lnTo>
                    <a:lnTo>
                      <a:pt x="6119" y="3054"/>
                    </a:lnTo>
                    <a:lnTo>
                      <a:pt x="6102" y="3167"/>
                    </a:lnTo>
                    <a:lnTo>
                      <a:pt x="6076" y="3277"/>
                    </a:lnTo>
                    <a:lnTo>
                      <a:pt x="6041" y="3383"/>
                    </a:lnTo>
                    <a:lnTo>
                      <a:pt x="5994" y="3485"/>
                    </a:lnTo>
                    <a:lnTo>
                      <a:pt x="5941" y="3580"/>
                    </a:lnTo>
                    <a:lnTo>
                      <a:pt x="5879" y="3671"/>
                    </a:lnTo>
                    <a:lnTo>
                      <a:pt x="5811" y="3754"/>
                    </a:lnTo>
                    <a:lnTo>
                      <a:pt x="5732" y="3832"/>
                    </a:lnTo>
                    <a:lnTo>
                      <a:pt x="5649" y="3903"/>
                    </a:lnTo>
                    <a:lnTo>
                      <a:pt x="5560" y="3964"/>
                    </a:lnTo>
                    <a:lnTo>
                      <a:pt x="5465" y="4020"/>
                    </a:lnTo>
                    <a:lnTo>
                      <a:pt x="5365" y="4065"/>
                    </a:lnTo>
                    <a:lnTo>
                      <a:pt x="5261" y="4102"/>
                    </a:lnTo>
                    <a:lnTo>
                      <a:pt x="5151" y="4128"/>
                    </a:lnTo>
                    <a:lnTo>
                      <a:pt x="5038" y="4145"/>
                    </a:lnTo>
                    <a:lnTo>
                      <a:pt x="4922" y="4150"/>
                    </a:lnTo>
                    <a:lnTo>
                      <a:pt x="1202" y="4150"/>
                    </a:lnTo>
                    <a:lnTo>
                      <a:pt x="1087" y="4145"/>
                    </a:lnTo>
                    <a:lnTo>
                      <a:pt x="974" y="4128"/>
                    </a:lnTo>
                    <a:lnTo>
                      <a:pt x="864" y="4102"/>
                    </a:lnTo>
                    <a:lnTo>
                      <a:pt x="760" y="4065"/>
                    </a:lnTo>
                    <a:lnTo>
                      <a:pt x="660" y="4020"/>
                    </a:lnTo>
                    <a:lnTo>
                      <a:pt x="565" y="3964"/>
                    </a:lnTo>
                    <a:lnTo>
                      <a:pt x="476" y="3903"/>
                    </a:lnTo>
                    <a:lnTo>
                      <a:pt x="392" y="3832"/>
                    </a:lnTo>
                    <a:lnTo>
                      <a:pt x="314" y="3754"/>
                    </a:lnTo>
                    <a:lnTo>
                      <a:pt x="245" y="3671"/>
                    </a:lnTo>
                    <a:lnTo>
                      <a:pt x="184" y="3580"/>
                    </a:lnTo>
                    <a:lnTo>
                      <a:pt x="130" y="3485"/>
                    </a:lnTo>
                    <a:lnTo>
                      <a:pt x="84" y="3383"/>
                    </a:lnTo>
                    <a:lnTo>
                      <a:pt x="48" y="3277"/>
                    </a:lnTo>
                    <a:lnTo>
                      <a:pt x="22" y="3167"/>
                    </a:lnTo>
                    <a:lnTo>
                      <a:pt x="6" y="3054"/>
                    </a:lnTo>
                    <a:lnTo>
                      <a:pt x="0" y="2937"/>
                    </a:lnTo>
                    <a:lnTo>
                      <a:pt x="6" y="2818"/>
                    </a:lnTo>
                    <a:lnTo>
                      <a:pt x="22" y="2703"/>
                    </a:lnTo>
                    <a:lnTo>
                      <a:pt x="50" y="2592"/>
                    </a:lnTo>
                    <a:lnTo>
                      <a:pt x="87" y="2484"/>
                    </a:lnTo>
                    <a:lnTo>
                      <a:pt x="136" y="2382"/>
                    </a:lnTo>
                    <a:lnTo>
                      <a:pt x="191" y="2283"/>
                    </a:lnTo>
                    <a:lnTo>
                      <a:pt x="256" y="2192"/>
                    </a:lnTo>
                    <a:lnTo>
                      <a:pt x="329" y="2107"/>
                    </a:lnTo>
                    <a:lnTo>
                      <a:pt x="409" y="2029"/>
                    </a:lnTo>
                    <a:lnTo>
                      <a:pt x="496" y="1960"/>
                    </a:lnTo>
                    <a:lnTo>
                      <a:pt x="589" y="1897"/>
                    </a:lnTo>
                    <a:lnTo>
                      <a:pt x="688" y="1845"/>
                    </a:lnTo>
                    <a:lnTo>
                      <a:pt x="792" y="1800"/>
                    </a:lnTo>
                    <a:lnTo>
                      <a:pt x="899" y="1767"/>
                    </a:lnTo>
                    <a:lnTo>
                      <a:pt x="1013" y="1743"/>
                    </a:lnTo>
                    <a:lnTo>
                      <a:pt x="1005" y="1678"/>
                    </a:lnTo>
                    <a:lnTo>
                      <a:pt x="1002" y="1611"/>
                    </a:lnTo>
                    <a:lnTo>
                      <a:pt x="1007" y="1522"/>
                    </a:lnTo>
                    <a:lnTo>
                      <a:pt x="1022" y="1436"/>
                    </a:lnTo>
                    <a:lnTo>
                      <a:pt x="1046" y="1353"/>
                    </a:lnTo>
                    <a:lnTo>
                      <a:pt x="1080" y="1274"/>
                    </a:lnTo>
                    <a:lnTo>
                      <a:pt x="1120" y="1200"/>
                    </a:lnTo>
                    <a:lnTo>
                      <a:pt x="1169" y="1131"/>
                    </a:lnTo>
                    <a:lnTo>
                      <a:pt x="1225" y="1068"/>
                    </a:lnTo>
                    <a:lnTo>
                      <a:pt x="1288" y="1013"/>
                    </a:lnTo>
                    <a:lnTo>
                      <a:pt x="1355" y="964"/>
                    </a:lnTo>
                    <a:lnTo>
                      <a:pt x="1429" y="923"/>
                    </a:lnTo>
                    <a:lnTo>
                      <a:pt x="1507" y="890"/>
                    </a:lnTo>
                    <a:lnTo>
                      <a:pt x="1589" y="866"/>
                    </a:lnTo>
                    <a:lnTo>
                      <a:pt x="1674" y="851"/>
                    </a:lnTo>
                    <a:lnTo>
                      <a:pt x="1763" y="845"/>
                    </a:lnTo>
                    <a:lnTo>
                      <a:pt x="1856" y="851"/>
                    </a:lnTo>
                    <a:lnTo>
                      <a:pt x="1946" y="868"/>
                    </a:lnTo>
                    <a:lnTo>
                      <a:pt x="2031" y="894"/>
                    </a:lnTo>
                    <a:lnTo>
                      <a:pt x="2111" y="929"/>
                    </a:lnTo>
                    <a:lnTo>
                      <a:pt x="2185" y="974"/>
                    </a:lnTo>
                    <a:lnTo>
                      <a:pt x="2256" y="1026"/>
                    </a:lnTo>
                    <a:lnTo>
                      <a:pt x="2289" y="949"/>
                    </a:lnTo>
                    <a:lnTo>
                      <a:pt x="2325" y="875"/>
                    </a:lnTo>
                    <a:lnTo>
                      <a:pt x="2362" y="801"/>
                    </a:lnTo>
                    <a:lnTo>
                      <a:pt x="2401" y="728"/>
                    </a:lnTo>
                    <a:lnTo>
                      <a:pt x="2444" y="658"/>
                    </a:lnTo>
                    <a:lnTo>
                      <a:pt x="2486" y="589"/>
                    </a:lnTo>
                    <a:lnTo>
                      <a:pt x="2533" y="522"/>
                    </a:lnTo>
                    <a:lnTo>
                      <a:pt x="2583" y="457"/>
                    </a:lnTo>
                    <a:lnTo>
                      <a:pt x="2635" y="398"/>
                    </a:lnTo>
                    <a:lnTo>
                      <a:pt x="2691" y="340"/>
                    </a:lnTo>
                    <a:lnTo>
                      <a:pt x="2752" y="286"/>
                    </a:lnTo>
                    <a:lnTo>
                      <a:pt x="2817" y="234"/>
                    </a:lnTo>
                    <a:lnTo>
                      <a:pt x="2886" y="188"/>
                    </a:lnTo>
                    <a:lnTo>
                      <a:pt x="2960" y="147"/>
                    </a:lnTo>
                    <a:lnTo>
                      <a:pt x="3040" y="110"/>
                    </a:lnTo>
                    <a:lnTo>
                      <a:pt x="3125" y="76"/>
                    </a:lnTo>
                    <a:lnTo>
                      <a:pt x="3217" y="50"/>
                    </a:lnTo>
                    <a:lnTo>
                      <a:pt x="3315" y="28"/>
                    </a:lnTo>
                    <a:lnTo>
                      <a:pt x="3419" y="13"/>
                    </a:lnTo>
                    <a:lnTo>
                      <a:pt x="3531" y="4"/>
                    </a:lnTo>
                    <a:lnTo>
                      <a:pt x="3648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133" name="Group 51"/>
              <p:cNvGrpSpPr>
                <a:grpSpLocks noChangeAspect="1"/>
              </p:cNvGrpSpPr>
              <p:nvPr/>
            </p:nvGrpSpPr>
            <p:grpSpPr bwMode="auto">
              <a:xfrm>
                <a:off x="5210941" y="4072272"/>
                <a:ext cx="311842" cy="311651"/>
                <a:chOff x="1238" y="519"/>
                <a:chExt cx="3280" cy="3278"/>
              </a:xfrm>
              <a:solidFill>
                <a:schemeClr val="bg1"/>
              </a:solidFill>
            </p:grpSpPr>
            <p:sp>
              <p:nvSpPr>
                <p:cNvPr id="134" name="Freeform 53"/>
                <p:cNvSpPr>
                  <a:spLocks/>
                </p:cNvSpPr>
                <p:nvPr/>
              </p:nvSpPr>
              <p:spPr bwMode="auto">
                <a:xfrm>
                  <a:off x="1238" y="1134"/>
                  <a:ext cx="2870" cy="1844"/>
                </a:xfrm>
                <a:custGeom>
                  <a:avLst/>
                  <a:gdLst>
                    <a:gd name="T0" fmla="*/ 0 w 5740"/>
                    <a:gd name="T1" fmla="*/ 0 h 3688"/>
                    <a:gd name="T2" fmla="*/ 1159 w 5740"/>
                    <a:gd name="T3" fmla="*/ 0 h 3688"/>
                    <a:gd name="T4" fmla="*/ 2595 w 5740"/>
                    <a:gd name="T5" fmla="*/ 3277 h 3688"/>
                    <a:gd name="T6" fmla="*/ 5740 w 5740"/>
                    <a:gd name="T7" fmla="*/ 3277 h 3688"/>
                    <a:gd name="T8" fmla="*/ 5740 w 5740"/>
                    <a:gd name="T9" fmla="*/ 3688 h 3688"/>
                    <a:gd name="T10" fmla="*/ 2326 w 5740"/>
                    <a:gd name="T11" fmla="*/ 3688 h 3688"/>
                    <a:gd name="T12" fmla="*/ 892 w 5740"/>
                    <a:gd name="T13" fmla="*/ 408 h 3688"/>
                    <a:gd name="T14" fmla="*/ 0 w 5740"/>
                    <a:gd name="T15" fmla="*/ 408 h 3688"/>
                    <a:gd name="T16" fmla="*/ 0 w 5740"/>
                    <a:gd name="T17" fmla="*/ 0 h 36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740" h="3688">
                      <a:moveTo>
                        <a:pt x="0" y="0"/>
                      </a:moveTo>
                      <a:lnTo>
                        <a:pt x="1159" y="0"/>
                      </a:lnTo>
                      <a:lnTo>
                        <a:pt x="2595" y="3277"/>
                      </a:lnTo>
                      <a:lnTo>
                        <a:pt x="5740" y="3277"/>
                      </a:lnTo>
                      <a:lnTo>
                        <a:pt x="5740" y="3688"/>
                      </a:lnTo>
                      <a:lnTo>
                        <a:pt x="2326" y="3688"/>
                      </a:lnTo>
                      <a:lnTo>
                        <a:pt x="892" y="408"/>
                      </a:lnTo>
                      <a:lnTo>
                        <a:pt x="0" y="40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5" name="Freeform 54"/>
                <p:cNvSpPr>
                  <a:spLocks/>
                </p:cNvSpPr>
                <p:nvPr/>
              </p:nvSpPr>
              <p:spPr bwMode="auto">
                <a:xfrm>
                  <a:off x="2468" y="3182"/>
                  <a:ext cx="615" cy="615"/>
                </a:xfrm>
                <a:custGeom>
                  <a:avLst/>
                  <a:gdLst>
                    <a:gd name="T0" fmla="*/ 617 w 1231"/>
                    <a:gd name="T1" fmla="*/ 0 h 1230"/>
                    <a:gd name="T2" fmla="*/ 698 w 1231"/>
                    <a:gd name="T3" fmla="*/ 6 h 1230"/>
                    <a:gd name="T4" fmla="*/ 780 w 1231"/>
                    <a:gd name="T5" fmla="*/ 22 h 1230"/>
                    <a:gd name="T6" fmla="*/ 856 w 1231"/>
                    <a:gd name="T7" fmla="*/ 50 h 1230"/>
                    <a:gd name="T8" fmla="*/ 926 w 1231"/>
                    <a:gd name="T9" fmla="*/ 84 h 1230"/>
                    <a:gd name="T10" fmla="*/ 992 w 1231"/>
                    <a:gd name="T11" fmla="*/ 130 h 1230"/>
                    <a:gd name="T12" fmla="*/ 1051 w 1231"/>
                    <a:gd name="T13" fmla="*/ 182 h 1230"/>
                    <a:gd name="T14" fmla="*/ 1103 w 1231"/>
                    <a:gd name="T15" fmla="*/ 239 h 1230"/>
                    <a:gd name="T16" fmla="*/ 1147 w 1231"/>
                    <a:gd name="T17" fmla="*/ 305 h 1230"/>
                    <a:gd name="T18" fmla="*/ 1183 w 1231"/>
                    <a:gd name="T19" fmla="*/ 377 h 1230"/>
                    <a:gd name="T20" fmla="*/ 1209 w 1231"/>
                    <a:gd name="T21" fmla="*/ 453 h 1230"/>
                    <a:gd name="T22" fmla="*/ 1225 w 1231"/>
                    <a:gd name="T23" fmla="*/ 532 h 1230"/>
                    <a:gd name="T24" fmla="*/ 1231 w 1231"/>
                    <a:gd name="T25" fmla="*/ 616 h 1230"/>
                    <a:gd name="T26" fmla="*/ 1225 w 1231"/>
                    <a:gd name="T27" fmla="*/ 698 h 1230"/>
                    <a:gd name="T28" fmla="*/ 1209 w 1231"/>
                    <a:gd name="T29" fmla="*/ 780 h 1230"/>
                    <a:gd name="T30" fmla="*/ 1183 w 1231"/>
                    <a:gd name="T31" fmla="*/ 855 h 1230"/>
                    <a:gd name="T32" fmla="*/ 1147 w 1231"/>
                    <a:gd name="T33" fmla="*/ 925 h 1230"/>
                    <a:gd name="T34" fmla="*/ 1103 w 1231"/>
                    <a:gd name="T35" fmla="*/ 991 h 1230"/>
                    <a:gd name="T36" fmla="*/ 1051 w 1231"/>
                    <a:gd name="T37" fmla="*/ 1051 h 1230"/>
                    <a:gd name="T38" fmla="*/ 992 w 1231"/>
                    <a:gd name="T39" fmla="*/ 1102 h 1230"/>
                    <a:gd name="T40" fmla="*/ 926 w 1231"/>
                    <a:gd name="T41" fmla="*/ 1146 h 1230"/>
                    <a:gd name="T42" fmla="*/ 856 w 1231"/>
                    <a:gd name="T43" fmla="*/ 1182 h 1230"/>
                    <a:gd name="T44" fmla="*/ 780 w 1231"/>
                    <a:gd name="T45" fmla="*/ 1208 h 1230"/>
                    <a:gd name="T46" fmla="*/ 698 w 1231"/>
                    <a:gd name="T47" fmla="*/ 1224 h 1230"/>
                    <a:gd name="T48" fmla="*/ 617 w 1231"/>
                    <a:gd name="T49" fmla="*/ 1230 h 1230"/>
                    <a:gd name="T50" fmla="*/ 533 w 1231"/>
                    <a:gd name="T51" fmla="*/ 1224 h 1230"/>
                    <a:gd name="T52" fmla="*/ 453 w 1231"/>
                    <a:gd name="T53" fmla="*/ 1208 h 1230"/>
                    <a:gd name="T54" fmla="*/ 377 w 1231"/>
                    <a:gd name="T55" fmla="*/ 1182 h 1230"/>
                    <a:gd name="T56" fmla="*/ 305 w 1231"/>
                    <a:gd name="T57" fmla="*/ 1146 h 1230"/>
                    <a:gd name="T58" fmla="*/ 240 w 1231"/>
                    <a:gd name="T59" fmla="*/ 1102 h 1230"/>
                    <a:gd name="T60" fmla="*/ 182 w 1231"/>
                    <a:gd name="T61" fmla="*/ 1051 h 1230"/>
                    <a:gd name="T62" fmla="*/ 130 w 1231"/>
                    <a:gd name="T63" fmla="*/ 991 h 1230"/>
                    <a:gd name="T64" fmla="*/ 84 w 1231"/>
                    <a:gd name="T65" fmla="*/ 925 h 1230"/>
                    <a:gd name="T66" fmla="*/ 50 w 1231"/>
                    <a:gd name="T67" fmla="*/ 855 h 1230"/>
                    <a:gd name="T68" fmla="*/ 22 w 1231"/>
                    <a:gd name="T69" fmla="*/ 780 h 1230"/>
                    <a:gd name="T70" fmla="*/ 6 w 1231"/>
                    <a:gd name="T71" fmla="*/ 698 h 1230"/>
                    <a:gd name="T72" fmla="*/ 0 w 1231"/>
                    <a:gd name="T73" fmla="*/ 616 h 1230"/>
                    <a:gd name="T74" fmla="*/ 6 w 1231"/>
                    <a:gd name="T75" fmla="*/ 532 h 1230"/>
                    <a:gd name="T76" fmla="*/ 22 w 1231"/>
                    <a:gd name="T77" fmla="*/ 453 h 1230"/>
                    <a:gd name="T78" fmla="*/ 50 w 1231"/>
                    <a:gd name="T79" fmla="*/ 377 h 1230"/>
                    <a:gd name="T80" fmla="*/ 84 w 1231"/>
                    <a:gd name="T81" fmla="*/ 305 h 1230"/>
                    <a:gd name="T82" fmla="*/ 130 w 1231"/>
                    <a:gd name="T83" fmla="*/ 239 h 1230"/>
                    <a:gd name="T84" fmla="*/ 182 w 1231"/>
                    <a:gd name="T85" fmla="*/ 182 h 1230"/>
                    <a:gd name="T86" fmla="*/ 240 w 1231"/>
                    <a:gd name="T87" fmla="*/ 130 h 1230"/>
                    <a:gd name="T88" fmla="*/ 305 w 1231"/>
                    <a:gd name="T89" fmla="*/ 84 h 1230"/>
                    <a:gd name="T90" fmla="*/ 377 w 1231"/>
                    <a:gd name="T91" fmla="*/ 50 h 1230"/>
                    <a:gd name="T92" fmla="*/ 453 w 1231"/>
                    <a:gd name="T93" fmla="*/ 22 h 1230"/>
                    <a:gd name="T94" fmla="*/ 533 w 1231"/>
                    <a:gd name="T95" fmla="*/ 6 h 1230"/>
                    <a:gd name="T96" fmla="*/ 617 w 1231"/>
                    <a:gd name="T97" fmla="*/ 0 h 12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31" h="1230">
                      <a:moveTo>
                        <a:pt x="617" y="0"/>
                      </a:moveTo>
                      <a:lnTo>
                        <a:pt x="698" y="6"/>
                      </a:lnTo>
                      <a:lnTo>
                        <a:pt x="780" y="22"/>
                      </a:lnTo>
                      <a:lnTo>
                        <a:pt x="856" y="50"/>
                      </a:lnTo>
                      <a:lnTo>
                        <a:pt x="926" y="84"/>
                      </a:lnTo>
                      <a:lnTo>
                        <a:pt x="992" y="130"/>
                      </a:lnTo>
                      <a:lnTo>
                        <a:pt x="1051" y="182"/>
                      </a:lnTo>
                      <a:lnTo>
                        <a:pt x="1103" y="239"/>
                      </a:lnTo>
                      <a:lnTo>
                        <a:pt x="1147" y="305"/>
                      </a:lnTo>
                      <a:lnTo>
                        <a:pt x="1183" y="377"/>
                      </a:lnTo>
                      <a:lnTo>
                        <a:pt x="1209" y="453"/>
                      </a:lnTo>
                      <a:lnTo>
                        <a:pt x="1225" y="532"/>
                      </a:lnTo>
                      <a:lnTo>
                        <a:pt x="1231" y="616"/>
                      </a:lnTo>
                      <a:lnTo>
                        <a:pt x="1225" y="698"/>
                      </a:lnTo>
                      <a:lnTo>
                        <a:pt x="1209" y="780"/>
                      </a:lnTo>
                      <a:lnTo>
                        <a:pt x="1183" y="855"/>
                      </a:lnTo>
                      <a:lnTo>
                        <a:pt x="1147" y="925"/>
                      </a:lnTo>
                      <a:lnTo>
                        <a:pt x="1103" y="991"/>
                      </a:lnTo>
                      <a:lnTo>
                        <a:pt x="1051" y="1051"/>
                      </a:lnTo>
                      <a:lnTo>
                        <a:pt x="992" y="1102"/>
                      </a:lnTo>
                      <a:lnTo>
                        <a:pt x="926" y="1146"/>
                      </a:lnTo>
                      <a:lnTo>
                        <a:pt x="856" y="1182"/>
                      </a:lnTo>
                      <a:lnTo>
                        <a:pt x="780" y="1208"/>
                      </a:lnTo>
                      <a:lnTo>
                        <a:pt x="698" y="1224"/>
                      </a:lnTo>
                      <a:lnTo>
                        <a:pt x="617" y="1230"/>
                      </a:lnTo>
                      <a:lnTo>
                        <a:pt x="533" y="1224"/>
                      </a:lnTo>
                      <a:lnTo>
                        <a:pt x="453" y="1208"/>
                      </a:lnTo>
                      <a:lnTo>
                        <a:pt x="377" y="1182"/>
                      </a:lnTo>
                      <a:lnTo>
                        <a:pt x="305" y="1146"/>
                      </a:lnTo>
                      <a:lnTo>
                        <a:pt x="240" y="1102"/>
                      </a:lnTo>
                      <a:lnTo>
                        <a:pt x="182" y="1051"/>
                      </a:lnTo>
                      <a:lnTo>
                        <a:pt x="130" y="991"/>
                      </a:lnTo>
                      <a:lnTo>
                        <a:pt x="84" y="925"/>
                      </a:lnTo>
                      <a:lnTo>
                        <a:pt x="50" y="855"/>
                      </a:lnTo>
                      <a:lnTo>
                        <a:pt x="22" y="780"/>
                      </a:lnTo>
                      <a:lnTo>
                        <a:pt x="6" y="698"/>
                      </a:lnTo>
                      <a:lnTo>
                        <a:pt x="0" y="616"/>
                      </a:lnTo>
                      <a:lnTo>
                        <a:pt x="6" y="532"/>
                      </a:lnTo>
                      <a:lnTo>
                        <a:pt x="22" y="453"/>
                      </a:lnTo>
                      <a:lnTo>
                        <a:pt x="50" y="377"/>
                      </a:lnTo>
                      <a:lnTo>
                        <a:pt x="84" y="305"/>
                      </a:lnTo>
                      <a:lnTo>
                        <a:pt x="130" y="239"/>
                      </a:lnTo>
                      <a:lnTo>
                        <a:pt x="182" y="182"/>
                      </a:lnTo>
                      <a:lnTo>
                        <a:pt x="240" y="130"/>
                      </a:lnTo>
                      <a:lnTo>
                        <a:pt x="305" y="84"/>
                      </a:lnTo>
                      <a:lnTo>
                        <a:pt x="377" y="50"/>
                      </a:lnTo>
                      <a:lnTo>
                        <a:pt x="453" y="22"/>
                      </a:lnTo>
                      <a:lnTo>
                        <a:pt x="533" y="6"/>
                      </a:lnTo>
                      <a:lnTo>
                        <a:pt x="61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 55"/>
                <p:cNvSpPr>
                  <a:spLocks/>
                </p:cNvSpPr>
                <p:nvPr/>
              </p:nvSpPr>
              <p:spPr bwMode="auto">
                <a:xfrm>
                  <a:off x="3493" y="3182"/>
                  <a:ext cx="615" cy="615"/>
                </a:xfrm>
                <a:custGeom>
                  <a:avLst/>
                  <a:gdLst>
                    <a:gd name="T0" fmla="*/ 614 w 1230"/>
                    <a:gd name="T1" fmla="*/ 0 h 1230"/>
                    <a:gd name="T2" fmla="*/ 698 w 1230"/>
                    <a:gd name="T3" fmla="*/ 6 h 1230"/>
                    <a:gd name="T4" fmla="*/ 778 w 1230"/>
                    <a:gd name="T5" fmla="*/ 22 h 1230"/>
                    <a:gd name="T6" fmla="*/ 853 w 1230"/>
                    <a:gd name="T7" fmla="*/ 50 h 1230"/>
                    <a:gd name="T8" fmla="*/ 925 w 1230"/>
                    <a:gd name="T9" fmla="*/ 84 h 1230"/>
                    <a:gd name="T10" fmla="*/ 991 w 1230"/>
                    <a:gd name="T11" fmla="*/ 130 h 1230"/>
                    <a:gd name="T12" fmla="*/ 1049 w 1230"/>
                    <a:gd name="T13" fmla="*/ 182 h 1230"/>
                    <a:gd name="T14" fmla="*/ 1101 w 1230"/>
                    <a:gd name="T15" fmla="*/ 239 h 1230"/>
                    <a:gd name="T16" fmla="*/ 1146 w 1230"/>
                    <a:gd name="T17" fmla="*/ 305 h 1230"/>
                    <a:gd name="T18" fmla="*/ 1180 w 1230"/>
                    <a:gd name="T19" fmla="*/ 377 h 1230"/>
                    <a:gd name="T20" fmla="*/ 1208 w 1230"/>
                    <a:gd name="T21" fmla="*/ 453 h 1230"/>
                    <a:gd name="T22" fmla="*/ 1224 w 1230"/>
                    <a:gd name="T23" fmla="*/ 532 h 1230"/>
                    <a:gd name="T24" fmla="*/ 1230 w 1230"/>
                    <a:gd name="T25" fmla="*/ 616 h 1230"/>
                    <a:gd name="T26" fmla="*/ 1224 w 1230"/>
                    <a:gd name="T27" fmla="*/ 698 h 1230"/>
                    <a:gd name="T28" fmla="*/ 1208 w 1230"/>
                    <a:gd name="T29" fmla="*/ 780 h 1230"/>
                    <a:gd name="T30" fmla="*/ 1180 w 1230"/>
                    <a:gd name="T31" fmla="*/ 855 h 1230"/>
                    <a:gd name="T32" fmla="*/ 1146 w 1230"/>
                    <a:gd name="T33" fmla="*/ 925 h 1230"/>
                    <a:gd name="T34" fmla="*/ 1101 w 1230"/>
                    <a:gd name="T35" fmla="*/ 991 h 1230"/>
                    <a:gd name="T36" fmla="*/ 1049 w 1230"/>
                    <a:gd name="T37" fmla="*/ 1051 h 1230"/>
                    <a:gd name="T38" fmla="*/ 991 w 1230"/>
                    <a:gd name="T39" fmla="*/ 1102 h 1230"/>
                    <a:gd name="T40" fmla="*/ 925 w 1230"/>
                    <a:gd name="T41" fmla="*/ 1146 h 1230"/>
                    <a:gd name="T42" fmla="*/ 853 w 1230"/>
                    <a:gd name="T43" fmla="*/ 1182 h 1230"/>
                    <a:gd name="T44" fmla="*/ 778 w 1230"/>
                    <a:gd name="T45" fmla="*/ 1208 h 1230"/>
                    <a:gd name="T46" fmla="*/ 698 w 1230"/>
                    <a:gd name="T47" fmla="*/ 1224 h 1230"/>
                    <a:gd name="T48" fmla="*/ 614 w 1230"/>
                    <a:gd name="T49" fmla="*/ 1230 h 1230"/>
                    <a:gd name="T50" fmla="*/ 532 w 1230"/>
                    <a:gd name="T51" fmla="*/ 1224 h 1230"/>
                    <a:gd name="T52" fmla="*/ 450 w 1230"/>
                    <a:gd name="T53" fmla="*/ 1208 h 1230"/>
                    <a:gd name="T54" fmla="*/ 375 w 1230"/>
                    <a:gd name="T55" fmla="*/ 1182 h 1230"/>
                    <a:gd name="T56" fmla="*/ 305 w 1230"/>
                    <a:gd name="T57" fmla="*/ 1146 h 1230"/>
                    <a:gd name="T58" fmla="*/ 239 w 1230"/>
                    <a:gd name="T59" fmla="*/ 1102 h 1230"/>
                    <a:gd name="T60" fmla="*/ 179 w 1230"/>
                    <a:gd name="T61" fmla="*/ 1051 h 1230"/>
                    <a:gd name="T62" fmla="*/ 127 w 1230"/>
                    <a:gd name="T63" fmla="*/ 991 h 1230"/>
                    <a:gd name="T64" fmla="*/ 83 w 1230"/>
                    <a:gd name="T65" fmla="*/ 925 h 1230"/>
                    <a:gd name="T66" fmla="*/ 48 w 1230"/>
                    <a:gd name="T67" fmla="*/ 855 h 1230"/>
                    <a:gd name="T68" fmla="*/ 22 w 1230"/>
                    <a:gd name="T69" fmla="*/ 780 h 1230"/>
                    <a:gd name="T70" fmla="*/ 6 w 1230"/>
                    <a:gd name="T71" fmla="*/ 698 h 1230"/>
                    <a:gd name="T72" fmla="*/ 0 w 1230"/>
                    <a:gd name="T73" fmla="*/ 616 h 1230"/>
                    <a:gd name="T74" fmla="*/ 6 w 1230"/>
                    <a:gd name="T75" fmla="*/ 532 h 1230"/>
                    <a:gd name="T76" fmla="*/ 22 w 1230"/>
                    <a:gd name="T77" fmla="*/ 453 h 1230"/>
                    <a:gd name="T78" fmla="*/ 48 w 1230"/>
                    <a:gd name="T79" fmla="*/ 377 h 1230"/>
                    <a:gd name="T80" fmla="*/ 83 w 1230"/>
                    <a:gd name="T81" fmla="*/ 305 h 1230"/>
                    <a:gd name="T82" fmla="*/ 127 w 1230"/>
                    <a:gd name="T83" fmla="*/ 239 h 1230"/>
                    <a:gd name="T84" fmla="*/ 179 w 1230"/>
                    <a:gd name="T85" fmla="*/ 182 h 1230"/>
                    <a:gd name="T86" fmla="*/ 239 w 1230"/>
                    <a:gd name="T87" fmla="*/ 130 h 1230"/>
                    <a:gd name="T88" fmla="*/ 305 w 1230"/>
                    <a:gd name="T89" fmla="*/ 84 h 1230"/>
                    <a:gd name="T90" fmla="*/ 375 w 1230"/>
                    <a:gd name="T91" fmla="*/ 50 h 1230"/>
                    <a:gd name="T92" fmla="*/ 450 w 1230"/>
                    <a:gd name="T93" fmla="*/ 22 h 1230"/>
                    <a:gd name="T94" fmla="*/ 532 w 1230"/>
                    <a:gd name="T95" fmla="*/ 6 h 1230"/>
                    <a:gd name="T96" fmla="*/ 614 w 1230"/>
                    <a:gd name="T97" fmla="*/ 0 h 12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30" h="1230">
                      <a:moveTo>
                        <a:pt x="614" y="0"/>
                      </a:moveTo>
                      <a:lnTo>
                        <a:pt x="698" y="6"/>
                      </a:lnTo>
                      <a:lnTo>
                        <a:pt x="778" y="22"/>
                      </a:lnTo>
                      <a:lnTo>
                        <a:pt x="853" y="50"/>
                      </a:lnTo>
                      <a:lnTo>
                        <a:pt x="925" y="84"/>
                      </a:lnTo>
                      <a:lnTo>
                        <a:pt x="991" y="130"/>
                      </a:lnTo>
                      <a:lnTo>
                        <a:pt x="1049" y="182"/>
                      </a:lnTo>
                      <a:lnTo>
                        <a:pt x="1101" y="239"/>
                      </a:lnTo>
                      <a:lnTo>
                        <a:pt x="1146" y="305"/>
                      </a:lnTo>
                      <a:lnTo>
                        <a:pt x="1180" y="377"/>
                      </a:lnTo>
                      <a:lnTo>
                        <a:pt x="1208" y="453"/>
                      </a:lnTo>
                      <a:lnTo>
                        <a:pt x="1224" y="532"/>
                      </a:lnTo>
                      <a:lnTo>
                        <a:pt x="1230" y="616"/>
                      </a:lnTo>
                      <a:lnTo>
                        <a:pt x="1224" y="698"/>
                      </a:lnTo>
                      <a:lnTo>
                        <a:pt x="1208" y="780"/>
                      </a:lnTo>
                      <a:lnTo>
                        <a:pt x="1180" y="855"/>
                      </a:lnTo>
                      <a:lnTo>
                        <a:pt x="1146" y="925"/>
                      </a:lnTo>
                      <a:lnTo>
                        <a:pt x="1101" y="991"/>
                      </a:lnTo>
                      <a:lnTo>
                        <a:pt x="1049" y="1051"/>
                      </a:lnTo>
                      <a:lnTo>
                        <a:pt x="991" y="1102"/>
                      </a:lnTo>
                      <a:lnTo>
                        <a:pt x="925" y="1146"/>
                      </a:lnTo>
                      <a:lnTo>
                        <a:pt x="853" y="1182"/>
                      </a:lnTo>
                      <a:lnTo>
                        <a:pt x="778" y="1208"/>
                      </a:lnTo>
                      <a:lnTo>
                        <a:pt x="698" y="1224"/>
                      </a:lnTo>
                      <a:lnTo>
                        <a:pt x="614" y="1230"/>
                      </a:lnTo>
                      <a:lnTo>
                        <a:pt x="532" y="1224"/>
                      </a:lnTo>
                      <a:lnTo>
                        <a:pt x="450" y="1208"/>
                      </a:lnTo>
                      <a:lnTo>
                        <a:pt x="375" y="1182"/>
                      </a:lnTo>
                      <a:lnTo>
                        <a:pt x="305" y="1146"/>
                      </a:lnTo>
                      <a:lnTo>
                        <a:pt x="239" y="1102"/>
                      </a:lnTo>
                      <a:lnTo>
                        <a:pt x="179" y="1051"/>
                      </a:lnTo>
                      <a:lnTo>
                        <a:pt x="127" y="991"/>
                      </a:lnTo>
                      <a:lnTo>
                        <a:pt x="83" y="925"/>
                      </a:lnTo>
                      <a:lnTo>
                        <a:pt x="48" y="855"/>
                      </a:lnTo>
                      <a:lnTo>
                        <a:pt x="22" y="780"/>
                      </a:lnTo>
                      <a:lnTo>
                        <a:pt x="6" y="698"/>
                      </a:lnTo>
                      <a:lnTo>
                        <a:pt x="0" y="616"/>
                      </a:lnTo>
                      <a:lnTo>
                        <a:pt x="6" y="532"/>
                      </a:lnTo>
                      <a:lnTo>
                        <a:pt x="22" y="453"/>
                      </a:lnTo>
                      <a:lnTo>
                        <a:pt x="48" y="377"/>
                      </a:lnTo>
                      <a:lnTo>
                        <a:pt x="83" y="305"/>
                      </a:lnTo>
                      <a:lnTo>
                        <a:pt x="127" y="239"/>
                      </a:lnTo>
                      <a:lnTo>
                        <a:pt x="179" y="182"/>
                      </a:lnTo>
                      <a:lnTo>
                        <a:pt x="239" y="130"/>
                      </a:lnTo>
                      <a:lnTo>
                        <a:pt x="305" y="84"/>
                      </a:lnTo>
                      <a:lnTo>
                        <a:pt x="375" y="50"/>
                      </a:lnTo>
                      <a:lnTo>
                        <a:pt x="450" y="22"/>
                      </a:lnTo>
                      <a:lnTo>
                        <a:pt x="532" y="6"/>
                      </a:lnTo>
                      <a:lnTo>
                        <a:pt x="614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56"/>
                <p:cNvSpPr>
                  <a:spLocks noEditPoints="1"/>
                </p:cNvSpPr>
                <p:nvPr/>
              </p:nvSpPr>
              <p:spPr bwMode="auto">
                <a:xfrm>
                  <a:off x="3083" y="519"/>
                  <a:ext cx="1435" cy="1434"/>
                </a:xfrm>
                <a:custGeom>
                  <a:avLst/>
                  <a:gdLst>
                    <a:gd name="T0" fmla="*/ 1231 w 2870"/>
                    <a:gd name="T1" fmla="*/ 1230 h 2868"/>
                    <a:gd name="T2" fmla="*/ 614 w 2870"/>
                    <a:gd name="T3" fmla="*/ 1638 h 2868"/>
                    <a:gd name="T4" fmla="*/ 1231 w 2870"/>
                    <a:gd name="T5" fmla="*/ 2254 h 2868"/>
                    <a:gd name="T6" fmla="*/ 1639 w 2870"/>
                    <a:gd name="T7" fmla="*/ 1638 h 2868"/>
                    <a:gd name="T8" fmla="*/ 2254 w 2870"/>
                    <a:gd name="T9" fmla="*/ 1230 h 2868"/>
                    <a:gd name="T10" fmla="*/ 1639 w 2870"/>
                    <a:gd name="T11" fmla="*/ 616 h 2868"/>
                    <a:gd name="T12" fmla="*/ 1434 w 2870"/>
                    <a:gd name="T13" fmla="*/ 0 h 2868"/>
                    <a:gd name="T14" fmla="*/ 1693 w 2870"/>
                    <a:gd name="T15" fmla="*/ 24 h 2868"/>
                    <a:gd name="T16" fmla="*/ 1935 w 2870"/>
                    <a:gd name="T17" fmla="*/ 90 h 2868"/>
                    <a:gd name="T18" fmla="*/ 2158 w 2870"/>
                    <a:gd name="T19" fmla="*/ 195 h 2868"/>
                    <a:gd name="T20" fmla="*/ 2359 w 2870"/>
                    <a:gd name="T21" fmla="*/ 337 h 2868"/>
                    <a:gd name="T22" fmla="*/ 2533 w 2870"/>
                    <a:gd name="T23" fmla="*/ 510 h 2868"/>
                    <a:gd name="T24" fmla="*/ 2675 w 2870"/>
                    <a:gd name="T25" fmla="*/ 712 h 2868"/>
                    <a:gd name="T26" fmla="*/ 2780 w 2870"/>
                    <a:gd name="T27" fmla="*/ 935 h 2868"/>
                    <a:gd name="T28" fmla="*/ 2846 w 2870"/>
                    <a:gd name="T29" fmla="*/ 1176 h 2868"/>
                    <a:gd name="T30" fmla="*/ 2870 w 2870"/>
                    <a:gd name="T31" fmla="*/ 1435 h 2868"/>
                    <a:gd name="T32" fmla="*/ 2846 w 2870"/>
                    <a:gd name="T33" fmla="*/ 1692 h 2868"/>
                    <a:gd name="T34" fmla="*/ 2780 w 2870"/>
                    <a:gd name="T35" fmla="*/ 1936 h 2868"/>
                    <a:gd name="T36" fmla="*/ 2675 w 2870"/>
                    <a:gd name="T37" fmla="*/ 2159 h 2868"/>
                    <a:gd name="T38" fmla="*/ 2533 w 2870"/>
                    <a:gd name="T39" fmla="*/ 2358 h 2868"/>
                    <a:gd name="T40" fmla="*/ 2359 w 2870"/>
                    <a:gd name="T41" fmla="*/ 2532 h 2868"/>
                    <a:gd name="T42" fmla="*/ 2158 w 2870"/>
                    <a:gd name="T43" fmla="*/ 2673 h 2868"/>
                    <a:gd name="T44" fmla="*/ 1935 w 2870"/>
                    <a:gd name="T45" fmla="*/ 2779 h 2868"/>
                    <a:gd name="T46" fmla="*/ 1693 w 2870"/>
                    <a:gd name="T47" fmla="*/ 2844 h 2868"/>
                    <a:gd name="T48" fmla="*/ 1434 w 2870"/>
                    <a:gd name="T49" fmla="*/ 2868 h 2868"/>
                    <a:gd name="T50" fmla="*/ 1177 w 2870"/>
                    <a:gd name="T51" fmla="*/ 2844 h 2868"/>
                    <a:gd name="T52" fmla="*/ 933 w 2870"/>
                    <a:gd name="T53" fmla="*/ 2779 h 2868"/>
                    <a:gd name="T54" fmla="*/ 710 w 2870"/>
                    <a:gd name="T55" fmla="*/ 2673 h 2868"/>
                    <a:gd name="T56" fmla="*/ 510 w 2870"/>
                    <a:gd name="T57" fmla="*/ 2532 h 2868"/>
                    <a:gd name="T58" fmla="*/ 337 w 2870"/>
                    <a:gd name="T59" fmla="*/ 2358 h 2868"/>
                    <a:gd name="T60" fmla="*/ 195 w 2870"/>
                    <a:gd name="T61" fmla="*/ 2159 h 2868"/>
                    <a:gd name="T62" fmla="*/ 90 w 2870"/>
                    <a:gd name="T63" fmla="*/ 1936 h 2868"/>
                    <a:gd name="T64" fmla="*/ 24 w 2870"/>
                    <a:gd name="T65" fmla="*/ 1692 h 2868"/>
                    <a:gd name="T66" fmla="*/ 0 w 2870"/>
                    <a:gd name="T67" fmla="*/ 1435 h 2868"/>
                    <a:gd name="T68" fmla="*/ 24 w 2870"/>
                    <a:gd name="T69" fmla="*/ 1176 h 2868"/>
                    <a:gd name="T70" fmla="*/ 90 w 2870"/>
                    <a:gd name="T71" fmla="*/ 935 h 2868"/>
                    <a:gd name="T72" fmla="*/ 195 w 2870"/>
                    <a:gd name="T73" fmla="*/ 712 h 2868"/>
                    <a:gd name="T74" fmla="*/ 337 w 2870"/>
                    <a:gd name="T75" fmla="*/ 510 h 2868"/>
                    <a:gd name="T76" fmla="*/ 510 w 2870"/>
                    <a:gd name="T77" fmla="*/ 337 h 2868"/>
                    <a:gd name="T78" fmla="*/ 710 w 2870"/>
                    <a:gd name="T79" fmla="*/ 195 h 2868"/>
                    <a:gd name="T80" fmla="*/ 933 w 2870"/>
                    <a:gd name="T81" fmla="*/ 90 h 2868"/>
                    <a:gd name="T82" fmla="*/ 1177 w 2870"/>
                    <a:gd name="T83" fmla="*/ 24 h 2868"/>
                    <a:gd name="T84" fmla="*/ 1434 w 2870"/>
                    <a:gd name="T85" fmla="*/ 0 h 28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870" h="2868">
                      <a:moveTo>
                        <a:pt x="1231" y="616"/>
                      </a:moveTo>
                      <a:lnTo>
                        <a:pt x="1231" y="1230"/>
                      </a:lnTo>
                      <a:lnTo>
                        <a:pt x="614" y="1230"/>
                      </a:lnTo>
                      <a:lnTo>
                        <a:pt x="614" y="1638"/>
                      </a:lnTo>
                      <a:lnTo>
                        <a:pt x="1231" y="1638"/>
                      </a:lnTo>
                      <a:lnTo>
                        <a:pt x="1231" y="2254"/>
                      </a:lnTo>
                      <a:lnTo>
                        <a:pt x="1639" y="2254"/>
                      </a:lnTo>
                      <a:lnTo>
                        <a:pt x="1639" y="1638"/>
                      </a:lnTo>
                      <a:lnTo>
                        <a:pt x="2254" y="1638"/>
                      </a:lnTo>
                      <a:lnTo>
                        <a:pt x="2254" y="1230"/>
                      </a:lnTo>
                      <a:lnTo>
                        <a:pt x="1639" y="1230"/>
                      </a:lnTo>
                      <a:lnTo>
                        <a:pt x="1639" y="616"/>
                      </a:lnTo>
                      <a:lnTo>
                        <a:pt x="1231" y="616"/>
                      </a:lnTo>
                      <a:close/>
                      <a:moveTo>
                        <a:pt x="1434" y="0"/>
                      </a:moveTo>
                      <a:lnTo>
                        <a:pt x="1566" y="6"/>
                      </a:lnTo>
                      <a:lnTo>
                        <a:pt x="1693" y="24"/>
                      </a:lnTo>
                      <a:lnTo>
                        <a:pt x="1817" y="52"/>
                      </a:lnTo>
                      <a:lnTo>
                        <a:pt x="1935" y="90"/>
                      </a:lnTo>
                      <a:lnTo>
                        <a:pt x="2050" y="138"/>
                      </a:lnTo>
                      <a:lnTo>
                        <a:pt x="2158" y="195"/>
                      </a:lnTo>
                      <a:lnTo>
                        <a:pt x="2262" y="263"/>
                      </a:lnTo>
                      <a:lnTo>
                        <a:pt x="2359" y="337"/>
                      </a:lnTo>
                      <a:lnTo>
                        <a:pt x="2449" y="421"/>
                      </a:lnTo>
                      <a:lnTo>
                        <a:pt x="2533" y="510"/>
                      </a:lnTo>
                      <a:lnTo>
                        <a:pt x="2607" y="608"/>
                      </a:lnTo>
                      <a:lnTo>
                        <a:pt x="2675" y="712"/>
                      </a:lnTo>
                      <a:lnTo>
                        <a:pt x="2732" y="819"/>
                      </a:lnTo>
                      <a:lnTo>
                        <a:pt x="2780" y="935"/>
                      </a:lnTo>
                      <a:lnTo>
                        <a:pt x="2818" y="1052"/>
                      </a:lnTo>
                      <a:lnTo>
                        <a:pt x="2846" y="1176"/>
                      </a:lnTo>
                      <a:lnTo>
                        <a:pt x="2864" y="1304"/>
                      </a:lnTo>
                      <a:lnTo>
                        <a:pt x="2870" y="1435"/>
                      </a:lnTo>
                      <a:lnTo>
                        <a:pt x="2864" y="1565"/>
                      </a:lnTo>
                      <a:lnTo>
                        <a:pt x="2846" y="1692"/>
                      </a:lnTo>
                      <a:lnTo>
                        <a:pt x="2818" y="1816"/>
                      </a:lnTo>
                      <a:lnTo>
                        <a:pt x="2780" y="1936"/>
                      </a:lnTo>
                      <a:lnTo>
                        <a:pt x="2732" y="2049"/>
                      </a:lnTo>
                      <a:lnTo>
                        <a:pt x="2675" y="2159"/>
                      </a:lnTo>
                      <a:lnTo>
                        <a:pt x="2607" y="2260"/>
                      </a:lnTo>
                      <a:lnTo>
                        <a:pt x="2533" y="2358"/>
                      </a:lnTo>
                      <a:lnTo>
                        <a:pt x="2449" y="2448"/>
                      </a:lnTo>
                      <a:lnTo>
                        <a:pt x="2359" y="2532"/>
                      </a:lnTo>
                      <a:lnTo>
                        <a:pt x="2262" y="2605"/>
                      </a:lnTo>
                      <a:lnTo>
                        <a:pt x="2158" y="2673"/>
                      </a:lnTo>
                      <a:lnTo>
                        <a:pt x="2050" y="2731"/>
                      </a:lnTo>
                      <a:lnTo>
                        <a:pt x="1935" y="2779"/>
                      </a:lnTo>
                      <a:lnTo>
                        <a:pt x="1817" y="2817"/>
                      </a:lnTo>
                      <a:lnTo>
                        <a:pt x="1693" y="2844"/>
                      </a:lnTo>
                      <a:lnTo>
                        <a:pt x="1566" y="2862"/>
                      </a:lnTo>
                      <a:lnTo>
                        <a:pt x="1434" y="2868"/>
                      </a:lnTo>
                      <a:lnTo>
                        <a:pt x="1304" y="2862"/>
                      </a:lnTo>
                      <a:lnTo>
                        <a:pt x="1177" y="2844"/>
                      </a:lnTo>
                      <a:lnTo>
                        <a:pt x="1053" y="2817"/>
                      </a:lnTo>
                      <a:lnTo>
                        <a:pt x="933" y="2779"/>
                      </a:lnTo>
                      <a:lnTo>
                        <a:pt x="820" y="2731"/>
                      </a:lnTo>
                      <a:lnTo>
                        <a:pt x="710" y="2673"/>
                      </a:lnTo>
                      <a:lnTo>
                        <a:pt x="606" y="2605"/>
                      </a:lnTo>
                      <a:lnTo>
                        <a:pt x="510" y="2532"/>
                      </a:lnTo>
                      <a:lnTo>
                        <a:pt x="421" y="2448"/>
                      </a:lnTo>
                      <a:lnTo>
                        <a:pt x="337" y="2358"/>
                      </a:lnTo>
                      <a:lnTo>
                        <a:pt x="263" y="2260"/>
                      </a:lnTo>
                      <a:lnTo>
                        <a:pt x="195" y="2159"/>
                      </a:lnTo>
                      <a:lnTo>
                        <a:pt x="138" y="2049"/>
                      </a:lnTo>
                      <a:lnTo>
                        <a:pt x="90" y="1936"/>
                      </a:lnTo>
                      <a:lnTo>
                        <a:pt x="52" y="1816"/>
                      </a:lnTo>
                      <a:lnTo>
                        <a:pt x="24" y="1692"/>
                      </a:lnTo>
                      <a:lnTo>
                        <a:pt x="6" y="1565"/>
                      </a:lnTo>
                      <a:lnTo>
                        <a:pt x="0" y="1435"/>
                      </a:lnTo>
                      <a:lnTo>
                        <a:pt x="6" y="1304"/>
                      </a:lnTo>
                      <a:lnTo>
                        <a:pt x="24" y="1176"/>
                      </a:lnTo>
                      <a:lnTo>
                        <a:pt x="52" y="1052"/>
                      </a:lnTo>
                      <a:lnTo>
                        <a:pt x="90" y="935"/>
                      </a:lnTo>
                      <a:lnTo>
                        <a:pt x="138" y="819"/>
                      </a:lnTo>
                      <a:lnTo>
                        <a:pt x="195" y="712"/>
                      </a:lnTo>
                      <a:lnTo>
                        <a:pt x="263" y="608"/>
                      </a:lnTo>
                      <a:lnTo>
                        <a:pt x="337" y="510"/>
                      </a:lnTo>
                      <a:lnTo>
                        <a:pt x="421" y="421"/>
                      </a:lnTo>
                      <a:lnTo>
                        <a:pt x="510" y="337"/>
                      </a:lnTo>
                      <a:lnTo>
                        <a:pt x="606" y="263"/>
                      </a:lnTo>
                      <a:lnTo>
                        <a:pt x="710" y="195"/>
                      </a:lnTo>
                      <a:lnTo>
                        <a:pt x="820" y="138"/>
                      </a:lnTo>
                      <a:lnTo>
                        <a:pt x="933" y="90"/>
                      </a:lnTo>
                      <a:lnTo>
                        <a:pt x="1053" y="52"/>
                      </a:lnTo>
                      <a:lnTo>
                        <a:pt x="1177" y="24"/>
                      </a:lnTo>
                      <a:lnTo>
                        <a:pt x="1304" y="6"/>
                      </a:lnTo>
                      <a:lnTo>
                        <a:pt x="1434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57"/>
                <p:cNvSpPr>
                  <a:spLocks/>
                </p:cNvSpPr>
                <p:nvPr/>
              </p:nvSpPr>
              <p:spPr bwMode="auto">
                <a:xfrm>
                  <a:off x="2263" y="1544"/>
                  <a:ext cx="2081" cy="1024"/>
                </a:xfrm>
                <a:custGeom>
                  <a:avLst/>
                  <a:gdLst>
                    <a:gd name="T0" fmla="*/ 0 w 4163"/>
                    <a:gd name="T1" fmla="*/ 0 h 2049"/>
                    <a:gd name="T2" fmla="*/ 1343 w 4163"/>
                    <a:gd name="T3" fmla="*/ 0 h 2049"/>
                    <a:gd name="T4" fmla="*/ 1397 w 4163"/>
                    <a:gd name="T5" fmla="*/ 132 h 2049"/>
                    <a:gd name="T6" fmla="*/ 1458 w 4163"/>
                    <a:gd name="T7" fmla="*/ 257 h 2049"/>
                    <a:gd name="T8" fmla="*/ 1528 w 4163"/>
                    <a:gd name="T9" fmla="*/ 379 h 2049"/>
                    <a:gd name="T10" fmla="*/ 1608 w 4163"/>
                    <a:gd name="T11" fmla="*/ 492 h 2049"/>
                    <a:gd name="T12" fmla="*/ 1696 w 4163"/>
                    <a:gd name="T13" fmla="*/ 602 h 2049"/>
                    <a:gd name="T14" fmla="*/ 1791 w 4163"/>
                    <a:gd name="T15" fmla="*/ 702 h 2049"/>
                    <a:gd name="T16" fmla="*/ 1895 w 4163"/>
                    <a:gd name="T17" fmla="*/ 795 h 2049"/>
                    <a:gd name="T18" fmla="*/ 2005 w 4163"/>
                    <a:gd name="T19" fmla="*/ 883 h 2049"/>
                    <a:gd name="T20" fmla="*/ 2121 w 4163"/>
                    <a:gd name="T21" fmla="*/ 959 h 2049"/>
                    <a:gd name="T22" fmla="*/ 2242 w 4163"/>
                    <a:gd name="T23" fmla="*/ 1029 h 2049"/>
                    <a:gd name="T24" fmla="*/ 2370 w 4163"/>
                    <a:gd name="T25" fmla="*/ 1088 h 2049"/>
                    <a:gd name="T26" fmla="*/ 2502 w 4163"/>
                    <a:gd name="T27" fmla="*/ 1138 h 2049"/>
                    <a:gd name="T28" fmla="*/ 2639 w 4163"/>
                    <a:gd name="T29" fmla="*/ 1176 h 2049"/>
                    <a:gd name="T30" fmla="*/ 2781 w 4163"/>
                    <a:gd name="T31" fmla="*/ 1206 h 2049"/>
                    <a:gd name="T32" fmla="*/ 2926 w 4163"/>
                    <a:gd name="T33" fmla="*/ 1224 h 2049"/>
                    <a:gd name="T34" fmla="*/ 3074 w 4163"/>
                    <a:gd name="T35" fmla="*/ 1230 h 2049"/>
                    <a:gd name="T36" fmla="*/ 3210 w 4163"/>
                    <a:gd name="T37" fmla="*/ 1224 h 2049"/>
                    <a:gd name="T38" fmla="*/ 3341 w 4163"/>
                    <a:gd name="T39" fmla="*/ 1210 h 2049"/>
                    <a:gd name="T40" fmla="*/ 3471 w 4163"/>
                    <a:gd name="T41" fmla="*/ 1186 h 2049"/>
                    <a:gd name="T42" fmla="*/ 3597 w 4163"/>
                    <a:gd name="T43" fmla="*/ 1152 h 2049"/>
                    <a:gd name="T44" fmla="*/ 3718 w 4163"/>
                    <a:gd name="T45" fmla="*/ 1110 h 2049"/>
                    <a:gd name="T46" fmla="*/ 3836 w 4163"/>
                    <a:gd name="T47" fmla="*/ 1061 h 2049"/>
                    <a:gd name="T48" fmla="*/ 3950 w 4163"/>
                    <a:gd name="T49" fmla="*/ 1003 h 2049"/>
                    <a:gd name="T50" fmla="*/ 4059 w 4163"/>
                    <a:gd name="T51" fmla="*/ 939 h 2049"/>
                    <a:gd name="T52" fmla="*/ 4163 w 4163"/>
                    <a:gd name="T53" fmla="*/ 867 h 2049"/>
                    <a:gd name="T54" fmla="*/ 3690 w 4163"/>
                    <a:gd name="T55" fmla="*/ 2049 h 2049"/>
                    <a:gd name="T56" fmla="*/ 820 w 4163"/>
                    <a:gd name="T57" fmla="*/ 2049 h 2049"/>
                    <a:gd name="T58" fmla="*/ 0 w 4163"/>
                    <a:gd name="T59" fmla="*/ 0 h 20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163" h="2049">
                      <a:moveTo>
                        <a:pt x="0" y="0"/>
                      </a:moveTo>
                      <a:lnTo>
                        <a:pt x="1343" y="0"/>
                      </a:lnTo>
                      <a:lnTo>
                        <a:pt x="1397" y="132"/>
                      </a:lnTo>
                      <a:lnTo>
                        <a:pt x="1458" y="257"/>
                      </a:lnTo>
                      <a:lnTo>
                        <a:pt x="1528" y="379"/>
                      </a:lnTo>
                      <a:lnTo>
                        <a:pt x="1608" y="492"/>
                      </a:lnTo>
                      <a:lnTo>
                        <a:pt x="1696" y="602"/>
                      </a:lnTo>
                      <a:lnTo>
                        <a:pt x="1791" y="702"/>
                      </a:lnTo>
                      <a:lnTo>
                        <a:pt x="1895" y="795"/>
                      </a:lnTo>
                      <a:lnTo>
                        <a:pt x="2005" y="883"/>
                      </a:lnTo>
                      <a:lnTo>
                        <a:pt x="2121" y="959"/>
                      </a:lnTo>
                      <a:lnTo>
                        <a:pt x="2242" y="1029"/>
                      </a:lnTo>
                      <a:lnTo>
                        <a:pt x="2370" y="1088"/>
                      </a:lnTo>
                      <a:lnTo>
                        <a:pt x="2502" y="1138"/>
                      </a:lnTo>
                      <a:lnTo>
                        <a:pt x="2639" y="1176"/>
                      </a:lnTo>
                      <a:lnTo>
                        <a:pt x="2781" y="1206"/>
                      </a:lnTo>
                      <a:lnTo>
                        <a:pt x="2926" y="1224"/>
                      </a:lnTo>
                      <a:lnTo>
                        <a:pt x="3074" y="1230"/>
                      </a:lnTo>
                      <a:lnTo>
                        <a:pt x="3210" y="1224"/>
                      </a:lnTo>
                      <a:lnTo>
                        <a:pt x="3341" y="1210"/>
                      </a:lnTo>
                      <a:lnTo>
                        <a:pt x="3471" y="1186"/>
                      </a:lnTo>
                      <a:lnTo>
                        <a:pt x="3597" y="1152"/>
                      </a:lnTo>
                      <a:lnTo>
                        <a:pt x="3718" y="1110"/>
                      </a:lnTo>
                      <a:lnTo>
                        <a:pt x="3836" y="1061"/>
                      </a:lnTo>
                      <a:lnTo>
                        <a:pt x="3950" y="1003"/>
                      </a:lnTo>
                      <a:lnTo>
                        <a:pt x="4059" y="939"/>
                      </a:lnTo>
                      <a:lnTo>
                        <a:pt x="4163" y="867"/>
                      </a:lnTo>
                      <a:lnTo>
                        <a:pt x="3690" y="2049"/>
                      </a:lnTo>
                      <a:lnTo>
                        <a:pt x="820" y="204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39" name="Freeform 83"/>
              <p:cNvSpPr>
                <a:spLocks/>
              </p:cNvSpPr>
              <p:nvPr/>
            </p:nvSpPr>
            <p:spPr bwMode="auto">
              <a:xfrm>
                <a:off x="6290037" y="4468087"/>
                <a:ext cx="336838" cy="342412"/>
              </a:xfrm>
              <a:custGeom>
                <a:avLst/>
                <a:gdLst>
                  <a:gd name="T0" fmla="*/ 1707 w 3294"/>
                  <a:gd name="T1" fmla="*/ 11 h 3870"/>
                  <a:gd name="T2" fmla="*/ 3255 w 3294"/>
                  <a:gd name="T3" fmla="*/ 1624 h 3870"/>
                  <a:gd name="T4" fmla="*/ 3292 w 3294"/>
                  <a:gd name="T5" fmla="*/ 1697 h 3870"/>
                  <a:gd name="T6" fmla="*/ 3282 w 3294"/>
                  <a:gd name="T7" fmla="*/ 1778 h 3870"/>
                  <a:gd name="T8" fmla="*/ 3230 w 3294"/>
                  <a:gd name="T9" fmla="*/ 1841 h 3870"/>
                  <a:gd name="T10" fmla="*/ 3151 w 3294"/>
                  <a:gd name="T11" fmla="*/ 1865 h 3870"/>
                  <a:gd name="T12" fmla="*/ 2941 w 3294"/>
                  <a:gd name="T13" fmla="*/ 3533 h 3870"/>
                  <a:gd name="T14" fmla="*/ 2892 w 3294"/>
                  <a:gd name="T15" fmla="*/ 3677 h 3870"/>
                  <a:gd name="T16" fmla="*/ 2792 w 3294"/>
                  <a:gd name="T17" fmla="*/ 3789 h 3870"/>
                  <a:gd name="T18" fmla="*/ 2658 w 3294"/>
                  <a:gd name="T19" fmla="*/ 3857 h 3870"/>
                  <a:gd name="T20" fmla="*/ 1777 w 3294"/>
                  <a:gd name="T21" fmla="*/ 3870 h 3870"/>
                  <a:gd name="T22" fmla="*/ 1884 w 3294"/>
                  <a:gd name="T23" fmla="*/ 3125 h 3870"/>
                  <a:gd name="T24" fmla="*/ 2016 w 3294"/>
                  <a:gd name="T25" fmla="*/ 3017 h 3870"/>
                  <a:gd name="T26" fmla="*/ 2105 w 3294"/>
                  <a:gd name="T27" fmla="*/ 2872 h 3870"/>
                  <a:gd name="T28" fmla="*/ 2137 w 3294"/>
                  <a:gd name="T29" fmla="*/ 2698 h 3870"/>
                  <a:gd name="T30" fmla="*/ 2194 w 3294"/>
                  <a:gd name="T31" fmla="*/ 2305 h 3870"/>
                  <a:gd name="T32" fmla="*/ 2253 w 3294"/>
                  <a:gd name="T33" fmla="*/ 2246 h 3870"/>
                  <a:gd name="T34" fmla="*/ 2264 w 3294"/>
                  <a:gd name="T35" fmla="*/ 2158 h 3870"/>
                  <a:gd name="T36" fmla="*/ 2218 w 3294"/>
                  <a:gd name="T37" fmla="*/ 2087 h 3870"/>
                  <a:gd name="T38" fmla="*/ 2137 w 3294"/>
                  <a:gd name="T39" fmla="*/ 2057 h 3870"/>
                  <a:gd name="T40" fmla="*/ 1954 w 3294"/>
                  <a:gd name="T41" fmla="*/ 1744 h 3870"/>
                  <a:gd name="T42" fmla="*/ 1908 w 3294"/>
                  <a:gd name="T43" fmla="*/ 1685 h 3870"/>
                  <a:gd name="T44" fmla="*/ 1832 w 3294"/>
                  <a:gd name="T45" fmla="*/ 1675 h 3870"/>
                  <a:gd name="T46" fmla="*/ 1774 w 3294"/>
                  <a:gd name="T47" fmla="*/ 1720 h 3870"/>
                  <a:gd name="T48" fmla="*/ 1760 w 3294"/>
                  <a:gd name="T49" fmla="*/ 2057 h 3870"/>
                  <a:gd name="T50" fmla="*/ 1561 w 3294"/>
                  <a:gd name="T51" fmla="*/ 1744 h 3870"/>
                  <a:gd name="T52" fmla="*/ 1516 w 3294"/>
                  <a:gd name="T53" fmla="*/ 1685 h 3870"/>
                  <a:gd name="T54" fmla="*/ 1440 w 3294"/>
                  <a:gd name="T55" fmla="*/ 1675 h 3870"/>
                  <a:gd name="T56" fmla="*/ 1383 w 3294"/>
                  <a:gd name="T57" fmla="*/ 1720 h 3870"/>
                  <a:gd name="T58" fmla="*/ 1368 w 3294"/>
                  <a:gd name="T59" fmla="*/ 2057 h 3870"/>
                  <a:gd name="T60" fmla="*/ 1099 w 3294"/>
                  <a:gd name="T61" fmla="*/ 2070 h 3870"/>
                  <a:gd name="T62" fmla="*/ 1039 w 3294"/>
                  <a:gd name="T63" fmla="*/ 2130 h 3870"/>
                  <a:gd name="T64" fmla="*/ 1030 w 3294"/>
                  <a:gd name="T65" fmla="*/ 2217 h 3870"/>
                  <a:gd name="T66" fmla="*/ 1075 w 3294"/>
                  <a:gd name="T67" fmla="*/ 2289 h 3870"/>
                  <a:gd name="T68" fmla="*/ 1156 w 3294"/>
                  <a:gd name="T69" fmla="*/ 2319 h 3870"/>
                  <a:gd name="T70" fmla="*/ 1171 w 3294"/>
                  <a:gd name="T71" fmla="*/ 2817 h 3870"/>
                  <a:gd name="T72" fmla="*/ 1242 w 3294"/>
                  <a:gd name="T73" fmla="*/ 2973 h 3870"/>
                  <a:gd name="T74" fmla="*/ 1361 w 3294"/>
                  <a:gd name="T75" fmla="*/ 3094 h 3870"/>
                  <a:gd name="T76" fmla="*/ 1516 w 3294"/>
                  <a:gd name="T77" fmla="*/ 3168 h 3870"/>
                  <a:gd name="T78" fmla="*/ 686 w 3294"/>
                  <a:gd name="T79" fmla="*/ 3867 h 3870"/>
                  <a:gd name="T80" fmla="*/ 541 w 3294"/>
                  <a:gd name="T81" fmla="*/ 3817 h 3870"/>
                  <a:gd name="T82" fmla="*/ 429 w 3294"/>
                  <a:gd name="T83" fmla="*/ 3718 h 3870"/>
                  <a:gd name="T84" fmla="*/ 362 w 3294"/>
                  <a:gd name="T85" fmla="*/ 3584 h 3870"/>
                  <a:gd name="T86" fmla="*/ 348 w 3294"/>
                  <a:gd name="T87" fmla="*/ 1865 h 3870"/>
                  <a:gd name="T88" fmla="*/ 88 w 3294"/>
                  <a:gd name="T89" fmla="*/ 1854 h 3870"/>
                  <a:gd name="T90" fmla="*/ 26 w 3294"/>
                  <a:gd name="T91" fmla="*/ 1803 h 3870"/>
                  <a:gd name="T92" fmla="*/ 0 w 3294"/>
                  <a:gd name="T93" fmla="*/ 1724 h 3870"/>
                  <a:gd name="T94" fmla="*/ 22 w 3294"/>
                  <a:gd name="T95" fmla="*/ 1646 h 3870"/>
                  <a:gd name="T96" fmla="*/ 1569 w 3294"/>
                  <a:gd name="T97" fmla="*/ 25 h 3870"/>
                  <a:gd name="T98" fmla="*/ 1650 w 3294"/>
                  <a:gd name="T99" fmla="*/ 0 h 38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94" h="3870">
                    <a:moveTo>
                      <a:pt x="1650" y="0"/>
                    </a:moveTo>
                    <a:lnTo>
                      <a:pt x="1680" y="2"/>
                    </a:lnTo>
                    <a:lnTo>
                      <a:pt x="1707" y="11"/>
                    </a:lnTo>
                    <a:lnTo>
                      <a:pt x="1732" y="25"/>
                    </a:lnTo>
                    <a:lnTo>
                      <a:pt x="1754" y="44"/>
                    </a:lnTo>
                    <a:lnTo>
                      <a:pt x="3255" y="1624"/>
                    </a:lnTo>
                    <a:lnTo>
                      <a:pt x="3273" y="1646"/>
                    </a:lnTo>
                    <a:lnTo>
                      <a:pt x="3284" y="1671"/>
                    </a:lnTo>
                    <a:lnTo>
                      <a:pt x="3292" y="1697"/>
                    </a:lnTo>
                    <a:lnTo>
                      <a:pt x="3294" y="1725"/>
                    </a:lnTo>
                    <a:lnTo>
                      <a:pt x="3290" y="1752"/>
                    </a:lnTo>
                    <a:lnTo>
                      <a:pt x="3282" y="1778"/>
                    </a:lnTo>
                    <a:lnTo>
                      <a:pt x="3269" y="1803"/>
                    </a:lnTo>
                    <a:lnTo>
                      <a:pt x="3251" y="1824"/>
                    </a:lnTo>
                    <a:lnTo>
                      <a:pt x="3230" y="1841"/>
                    </a:lnTo>
                    <a:lnTo>
                      <a:pt x="3205" y="1854"/>
                    </a:lnTo>
                    <a:lnTo>
                      <a:pt x="3179" y="1862"/>
                    </a:lnTo>
                    <a:lnTo>
                      <a:pt x="3151" y="1865"/>
                    </a:lnTo>
                    <a:lnTo>
                      <a:pt x="2945" y="1865"/>
                    </a:lnTo>
                    <a:lnTo>
                      <a:pt x="2945" y="3480"/>
                    </a:lnTo>
                    <a:lnTo>
                      <a:pt x="2941" y="3533"/>
                    </a:lnTo>
                    <a:lnTo>
                      <a:pt x="2932" y="3584"/>
                    </a:lnTo>
                    <a:lnTo>
                      <a:pt x="2914" y="3632"/>
                    </a:lnTo>
                    <a:lnTo>
                      <a:pt x="2892" y="3677"/>
                    </a:lnTo>
                    <a:lnTo>
                      <a:pt x="2863" y="3718"/>
                    </a:lnTo>
                    <a:lnTo>
                      <a:pt x="2830" y="3756"/>
                    </a:lnTo>
                    <a:lnTo>
                      <a:pt x="2792" y="3789"/>
                    </a:lnTo>
                    <a:lnTo>
                      <a:pt x="2751" y="3817"/>
                    </a:lnTo>
                    <a:lnTo>
                      <a:pt x="2706" y="3840"/>
                    </a:lnTo>
                    <a:lnTo>
                      <a:pt x="2658" y="3857"/>
                    </a:lnTo>
                    <a:lnTo>
                      <a:pt x="2607" y="3867"/>
                    </a:lnTo>
                    <a:lnTo>
                      <a:pt x="2554" y="3870"/>
                    </a:lnTo>
                    <a:lnTo>
                      <a:pt x="1777" y="3870"/>
                    </a:lnTo>
                    <a:lnTo>
                      <a:pt x="1777" y="3168"/>
                    </a:lnTo>
                    <a:lnTo>
                      <a:pt x="1832" y="3149"/>
                    </a:lnTo>
                    <a:lnTo>
                      <a:pt x="1884" y="3125"/>
                    </a:lnTo>
                    <a:lnTo>
                      <a:pt x="1932" y="3094"/>
                    </a:lnTo>
                    <a:lnTo>
                      <a:pt x="1976" y="3057"/>
                    </a:lnTo>
                    <a:lnTo>
                      <a:pt x="2016" y="3017"/>
                    </a:lnTo>
                    <a:lnTo>
                      <a:pt x="2052" y="2973"/>
                    </a:lnTo>
                    <a:lnTo>
                      <a:pt x="2081" y="2924"/>
                    </a:lnTo>
                    <a:lnTo>
                      <a:pt x="2105" y="2872"/>
                    </a:lnTo>
                    <a:lnTo>
                      <a:pt x="2122" y="2817"/>
                    </a:lnTo>
                    <a:lnTo>
                      <a:pt x="2133" y="2758"/>
                    </a:lnTo>
                    <a:lnTo>
                      <a:pt x="2137" y="2698"/>
                    </a:lnTo>
                    <a:lnTo>
                      <a:pt x="2137" y="2319"/>
                    </a:lnTo>
                    <a:lnTo>
                      <a:pt x="2166" y="2315"/>
                    </a:lnTo>
                    <a:lnTo>
                      <a:pt x="2194" y="2305"/>
                    </a:lnTo>
                    <a:lnTo>
                      <a:pt x="2218" y="2289"/>
                    </a:lnTo>
                    <a:lnTo>
                      <a:pt x="2238" y="2269"/>
                    </a:lnTo>
                    <a:lnTo>
                      <a:pt x="2253" y="2246"/>
                    </a:lnTo>
                    <a:lnTo>
                      <a:pt x="2264" y="2217"/>
                    </a:lnTo>
                    <a:lnTo>
                      <a:pt x="2267" y="2188"/>
                    </a:lnTo>
                    <a:lnTo>
                      <a:pt x="2264" y="2158"/>
                    </a:lnTo>
                    <a:lnTo>
                      <a:pt x="2253" y="2130"/>
                    </a:lnTo>
                    <a:lnTo>
                      <a:pt x="2238" y="2107"/>
                    </a:lnTo>
                    <a:lnTo>
                      <a:pt x="2218" y="2087"/>
                    </a:lnTo>
                    <a:lnTo>
                      <a:pt x="2194" y="2070"/>
                    </a:lnTo>
                    <a:lnTo>
                      <a:pt x="2166" y="2061"/>
                    </a:lnTo>
                    <a:lnTo>
                      <a:pt x="2137" y="2057"/>
                    </a:lnTo>
                    <a:lnTo>
                      <a:pt x="1957" y="2057"/>
                    </a:lnTo>
                    <a:lnTo>
                      <a:pt x="1957" y="1770"/>
                    </a:lnTo>
                    <a:lnTo>
                      <a:pt x="1954" y="1744"/>
                    </a:lnTo>
                    <a:lnTo>
                      <a:pt x="1943" y="1720"/>
                    </a:lnTo>
                    <a:lnTo>
                      <a:pt x="1928" y="1700"/>
                    </a:lnTo>
                    <a:lnTo>
                      <a:pt x="1908" y="1685"/>
                    </a:lnTo>
                    <a:lnTo>
                      <a:pt x="1885" y="1675"/>
                    </a:lnTo>
                    <a:lnTo>
                      <a:pt x="1858" y="1672"/>
                    </a:lnTo>
                    <a:lnTo>
                      <a:pt x="1832" y="1675"/>
                    </a:lnTo>
                    <a:lnTo>
                      <a:pt x="1810" y="1685"/>
                    </a:lnTo>
                    <a:lnTo>
                      <a:pt x="1790" y="1700"/>
                    </a:lnTo>
                    <a:lnTo>
                      <a:pt x="1774" y="1720"/>
                    </a:lnTo>
                    <a:lnTo>
                      <a:pt x="1764" y="1744"/>
                    </a:lnTo>
                    <a:lnTo>
                      <a:pt x="1760" y="1770"/>
                    </a:lnTo>
                    <a:lnTo>
                      <a:pt x="1760" y="2057"/>
                    </a:lnTo>
                    <a:lnTo>
                      <a:pt x="1564" y="2057"/>
                    </a:lnTo>
                    <a:lnTo>
                      <a:pt x="1564" y="1770"/>
                    </a:lnTo>
                    <a:lnTo>
                      <a:pt x="1561" y="1744"/>
                    </a:lnTo>
                    <a:lnTo>
                      <a:pt x="1551" y="1720"/>
                    </a:lnTo>
                    <a:lnTo>
                      <a:pt x="1536" y="1700"/>
                    </a:lnTo>
                    <a:lnTo>
                      <a:pt x="1516" y="1685"/>
                    </a:lnTo>
                    <a:lnTo>
                      <a:pt x="1492" y="1675"/>
                    </a:lnTo>
                    <a:lnTo>
                      <a:pt x="1466" y="1672"/>
                    </a:lnTo>
                    <a:lnTo>
                      <a:pt x="1440" y="1675"/>
                    </a:lnTo>
                    <a:lnTo>
                      <a:pt x="1417" y="1685"/>
                    </a:lnTo>
                    <a:lnTo>
                      <a:pt x="1398" y="1700"/>
                    </a:lnTo>
                    <a:lnTo>
                      <a:pt x="1383" y="1720"/>
                    </a:lnTo>
                    <a:lnTo>
                      <a:pt x="1372" y="1744"/>
                    </a:lnTo>
                    <a:lnTo>
                      <a:pt x="1368" y="1770"/>
                    </a:lnTo>
                    <a:lnTo>
                      <a:pt x="1368" y="2057"/>
                    </a:lnTo>
                    <a:lnTo>
                      <a:pt x="1156" y="2057"/>
                    </a:lnTo>
                    <a:lnTo>
                      <a:pt x="1127" y="2061"/>
                    </a:lnTo>
                    <a:lnTo>
                      <a:pt x="1099" y="2070"/>
                    </a:lnTo>
                    <a:lnTo>
                      <a:pt x="1075" y="2087"/>
                    </a:lnTo>
                    <a:lnTo>
                      <a:pt x="1055" y="2107"/>
                    </a:lnTo>
                    <a:lnTo>
                      <a:pt x="1039" y="2130"/>
                    </a:lnTo>
                    <a:lnTo>
                      <a:pt x="1030" y="2158"/>
                    </a:lnTo>
                    <a:lnTo>
                      <a:pt x="1026" y="2188"/>
                    </a:lnTo>
                    <a:lnTo>
                      <a:pt x="1030" y="2217"/>
                    </a:lnTo>
                    <a:lnTo>
                      <a:pt x="1039" y="2246"/>
                    </a:lnTo>
                    <a:lnTo>
                      <a:pt x="1055" y="2269"/>
                    </a:lnTo>
                    <a:lnTo>
                      <a:pt x="1075" y="2289"/>
                    </a:lnTo>
                    <a:lnTo>
                      <a:pt x="1099" y="2305"/>
                    </a:lnTo>
                    <a:lnTo>
                      <a:pt x="1127" y="2315"/>
                    </a:lnTo>
                    <a:lnTo>
                      <a:pt x="1156" y="2319"/>
                    </a:lnTo>
                    <a:lnTo>
                      <a:pt x="1156" y="2698"/>
                    </a:lnTo>
                    <a:lnTo>
                      <a:pt x="1161" y="2758"/>
                    </a:lnTo>
                    <a:lnTo>
                      <a:pt x="1171" y="2817"/>
                    </a:lnTo>
                    <a:lnTo>
                      <a:pt x="1189" y="2871"/>
                    </a:lnTo>
                    <a:lnTo>
                      <a:pt x="1213" y="2924"/>
                    </a:lnTo>
                    <a:lnTo>
                      <a:pt x="1242" y="2973"/>
                    </a:lnTo>
                    <a:lnTo>
                      <a:pt x="1276" y="3017"/>
                    </a:lnTo>
                    <a:lnTo>
                      <a:pt x="1317" y="3057"/>
                    </a:lnTo>
                    <a:lnTo>
                      <a:pt x="1361" y="3094"/>
                    </a:lnTo>
                    <a:lnTo>
                      <a:pt x="1409" y="3125"/>
                    </a:lnTo>
                    <a:lnTo>
                      <a:pt x="1460" y="3149"/>
                    </a:lnTo>
                    <a:lnTo>
                      <a:pt x="1516" y="3168"/>
                    </a:lnTo>
                    <a:lnTo>
                      <a:pt x="1516" y="3870"/>
                    </a:lnTo>
                    <a:lnTo>
                      <a:pt x="740" y="3870"/>
                    </a:lnTo>
                    <a:lnTo>
                      <a:pt x="686" y="3867"/>
                    </a:lnTo>
                    <a:lnTo>
                      <a:pt x="636" y="3857"/>
                    </a:lnTo>
                    <a:lnTo>
                      <a:pt x="587" y="3840"/>
                    </a:lnTo>
                    <a:lnTo>
                      <a:pt x="541" y="3817"/>
                    </a:lnTo>
                    <a:lnTo>
                      <a:pt x="500" y="3789"/>
                    </a:lnTo>
                    <a:lnTo>
                      <a:pt x="462" y="3756"/>
                    </a:lnTo>
                    <a:lnTo>
                      <a:pt x="429" y="3718"/>
                    </a:lnTo>
                    <a:lnTo>
                      <a:pt x="401" y="3677"/>
                    </a:lnTo>
                    <a:lnTo>
                      <a:pt x="379" y="3632"/>
                    </a:lnTo>
                    <a:lnTo>
                      <a:pt x="362" y="3584"/>
                    </a:lnTo>
                    <a:lnTo>
                      <a:pt x="351" y="3533"/>
                    </a:lnTo>
                    <a:lnTo>
                      <a:pt x="348" y="3480"/>
                    </a:lnTo>
                    <a:lnTo>
                      <a:pt x="348" y="1865"/>
                    </a:lnTo>
                    <a:lnTo>
                      <a:pt x="143" y="1865"/>
                    </a:lnTo>
                    <a:lnTo>
                      <a:pt x="115" y="1862"/>
                    </a:lnTo>
                    <a:lnTo>
                      <a:pt x="88" y="1854"/>
                    </a:lnTo>
                    <a:lnTo>
                      <a:pt x="65" y="1841"/>
                    </a:lnTo>
                    <a:lnTo>
                      <a:pt x="43" y="1824"/>
                    </a:lnTo>
                    <a:lnTo>
                      <a:pt x="26" y="1803"/>
                    </a:lnTo>
                    <a:lnTo>
                      <a:pt x="12" y="1778"/>
                    </a:lnTo>
                    <a:lnTo>
                      <a:pt x="3" y="1752"/>
                    </a:lnTo>
                    <a:lnTo>
                      <a:pt x="0" y="1724"/>
                    </a:lnTo>
                    <a:lnTo>
                      <a:pt x="2" y="1697"/>
                    </a:lnTo>
                    <a:lnTo>
                      <a:pt x="9" y="1671"/>
                    </a:lnTo>
                    <a:lnTo>
                      <a:pt x="22" y="1646"/>
                    </a:lnTo>
                    <a:lnTo>
                      <a:pt x="40" y="1624"/>
                    </a:lnTo>
                    <a:lnTo>
                      <a:pt x="1547" y="44"/>
                    </a:lnTo>
                    <a:lnTo>
                      <a:pt x="1569" y="25"/>
                    </a:lnTo>
                    <a:lnTo>
                      <a:pt x="1594" y="11"/>
                    </a:lnTo>
                    <a:lnTo>
                      <a:pt x="1622" y="2"/>
                    </a:lnTo>
                    <a:lnTo>
                      <a:pt x="165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pic>
            <p:nvPicPr>
              <p:cNvPr id="143" name="Picture 142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70053" y="4075993"/>
                <a:ext cx="776038" cy="465622"/>
              </a:xfrm>
              <a:prstGeom prst="rect">
                <a:avLst/>
              </a:prstGeom>
              <a:noFill/>
            </p:spPr>
          </p:pic>
          <p:grpSp>
            <p:nvGrpSpPr>
              <p:cNvPr id="144" name="Group 107"/>
              <p:cNvGrpSpPr>
                <a:grpSpLocks noChangeAspect="1"/>
              </p:cNvGrpSpPr>
              <p:nvPr/>
            </p:nvGrpSpPr>
            <p:grpSpPr bwMode="auto">
              <a:xfrm>
                <a:off x="4805024" y="3524486"/>
                <a:ext cx="293393" cy="381089"/>
                <a:chOff x="6087" y="198"/>
                <a:chExt cx="1723" cy="2238"/>
              </a:xfrm>
              <a:solidFill>
                <a:schemeClr val="bg1"/>
              </a:solidFill>
            </p:grpSpPr>
            <p:sp>
              <p:nvSpPr>
                <p:cNvPr id="145" name="Freeform 109"/>
                <p:cNvSpPr>
                  <a:spLocks noEditPoints="1"/>
                </p:cNvSpPr>
                <p:nvPr/>
              </p:nvSpPr>
              <p:spPr bwMode="auto">
                <a:xfrm>
                  <a:off x="6087" y="198"/>
                  <a:ext cx="1723" cy="2238"/>
                </a:xfrm>
                <a:custGeom>
                  <a:avLst/>
                  <a:gdLst>
                    <a:gd name="T0" fmla="*/ 292 w 3445"/>
                    <a:gd name="T1" fmla="*/ 3944 h 4476"/>
                    <a:gd name="T2" fmla="*/ 481 w 3445"/>
                    <a:gd name="T3" fmla="*/ 4159 h 4476"/>
                    <a:gd name="T4" fmla="*/ 2735 w 3445"/>
                    <a:gd name="T5" fmla="*/ 4220 h 4476"/>
                    <a:gd name="T6" fmla="*/ 3011 w 3445"/>
                    <a:gd name="T7" fmla="*/ 4126 h 4476"/>
                    <a:gd name="T8" fmla="*/ 3172 w 3445"/>
                    <a:gd name="T9" fmla="*/ 3887 h 4476"/>
                    <a:gd name="T10" fmla="*/ 3134 w 3445"/>
                    <a:gd name="T11" fmla="*/ 3563 h 4476"/>
                    <a:gd name="T12" fmla="*/ 2807 w 3445"/>
                    <a:gd name="T13" fmla="*/ 3683 h 4476"/>
                    <a:gd name="T14" fmla="*/ 497 w 3445"/>
                    <a:gd name="T15" fmla="*/ 3654 h 4476"/>
                    <a:gd name="T16" fmla="*/ 257 w 3445"/>
                    <a:gd name="T17" fmla="*/ 2733 h 4476"/>
                    <a:gd name="T18" fmla="*/ 318 w 3445"/>
                    <a:gd name="T19" fmla="*/ 3205 h 4476"/>
                    <a:gd name="T20" fmla="*/ 534 w 3445"/>
                    <a:gd name="T21" fmla="*/ 3394 h 4476"/>
                    <a:gd name="T22" fmla="*/ 2796 w 3445"/>
                    <a:gd name="T23" fmla="*/ 3425 h 4476"/>
                    <a:gd name="T24" fmla="*/ 3055 w 3445"/>
                    <a:gd name="T25" fmla="*/ 3296 h 4476"/>
                    <a:gd name="T26" fmla="*/ 3184 w 3445"/>
                    <a:gd name="T27" fmla="*/ 3038 h 4476"/>
                    <a:gd name="T28" fmla="*/ 3075 w 3445"/>
                    <a:gd name="T29" fmla="*/ 2810 h 4476"/>
                    <a:gd name="T30" fmla="*/ 2735 w 3445"/>
                    <a:gd name="T31" fmla="*/ 2897 h 4476"/>
                    <a:gd name="T32" fmla="*/ 432 w 3445"/>
                    <a:gd name="T33" fmla="*/ 2840 h 4476"/>
                    <a:gd name="T34" fmla="*/ 257 w 3445"/>
                    <a:gd name="T35" fmla="*/ 2186 h 4476"/>
                    <a:gd name="T36" fmla="*/ 350 w 3445"/>
                    <a:gd name="T37" fmla="*/ 2463 h 4476"/>
                    <a:gd name="T38" fmla="*/ 590 w 3445"/>
                    <a:gd name="T39" fmla="*/ 2623 h 4476"/>
                    <a:gd name="T40" fmla="*/ 2855 w 3445"/>
                    <a:gd name="T41" fmla="*/ 2623 h 4476"/>
                    <a:gd name="T42" fmla="*/ 3094 w 3445"/>
                    <a:gd name="T43" fmla="*/ 2463 h 4476"/>
                    <a:gd name="T44" fmla="*/ 3188 w 3445"/>
                    <a:gd name="T45" fmla="*/ 2186 h 4476"/>
                    <a:gd name="T46" fmla="*/ 3013 w 3445"/>
                    <a:gd name="T47" fmla="*/ 2052 h 4476"/>
                    <a:gd name="T48" fmla="*/ 709 w 3445"/>
                    <a:gd name="T49" fmla="*/ 2109 h 4476"/>
                    <a:gd name="T50" fmla="*/ 369 w 3445"/>
                    <a:gd name="T51" fmla="*/ 2022 h 4476"/>
                    <a:gd name="T52" fmla="*/ 1533 w 3445"/>
                    <a:gd name="T53" fmla="*/ 298 h 4476"/>
                    <a:gd name="T54" fmla="*/ 1102 w 3445"/>
                    <a:gd name="T55" fmla="*/ 415 h 4476"/>
                    <a:gd name="T56" fmla="*/ 783 w 3445"/>
                    <a:gd name="T57" fmla="*/ 640 h 4476"/>
                    <a:gd name="T58" fmla="*/ 624 w 3445"/>
                    <a:gd name="T59" fmla="*/ 928 h 4476"/>
                    <a:gd name="T60" fmla="*/ 643 w 3445"/>
                    <a:gd name="T61" fmla="*/ 1244 h 4476"/>
                    <a:gd name="T62" fmla="*/ 834 w 3445"/>
                    <a:gd name="T63" fmla="*/ 1520 h 4476"/>
                    <a:gd name="T64" fmla="*/ 1183 w 3445"/>
                    <a:gd name="T65" fmla="*/ 1728 h 4476"/>
                    <a:gd name="T66" fmla="*/ 1627 w 3445"/>
                    <a:gd name="T67" fmla="*/ 1819 h 4476"/>
                    <a:gd name="T68" fmla="*/ 2092 w 3445"/>
                    <a:gd name="T69" fmla="*/ 1780 h 4476"/>
                    <a:gd name="T70" fmla="*/ 2488 w 3445"/>
                    <a:gd name="T71" fmla="*/ 1614 h 4476"/>
                    <a:gd name="T72" fmla="*/ 2746 w 3445"/>
                    <a:gd name="T73" fmla="*/ 1360 h 4476"/>
                    <a:gd name="T74" fmla="*/ 2835 w 3445"/>
                    <a:gd name="T75" fmla="*/ 1055 h 4476"/>
                    <a:gd name="T76" fmla="*/ 2746 w 3445"/>
                    <a:gd name="T77" fmla="*/ 749 h 4476"/>
                    <a:gd name="T78" fmla="*/ 2488 w 3445"/>
                    <a:gd name="T79" fmla="*/ 495 h 4476"/>
                    <a:gd name="T80" fmla="*/ 2092 w 3445"/>
                    <a:gd name="T81" fmla="*/ 330 h 4476"/>
                    <a:gd name="T82" fmla="*/ 709 w 3445"/>
                    <a:gd name="T83" fmla="*/ 0 h 4476"/>
                    <a:gd name="T84" fmla="*/ 3028 w 3445"/>
                    <a:gd name="T85" fmla="*/ 64 h 4476"/>
                    <a:gd name="T86" fmla="*/ 3308 w 3445"/>
                    <a:gd name="T87" fmla="*/ 290 h 4476"/>
                    <a:gd name="T88" fmla="*/ 3441 w 3445"/>
                    <a:gd name="T89" fmla="*/ 631 h 4476"/>
                    <a:gd name="T90" fmla="*/ 3408 w 3445"/>
                    <a:gd name="T91" fmla="*/ 3992 h 4476"/>
                    <a:gd name="T92" fmla="*/ 3210 w 3445"/>
                    <a:gd name="T93" fmla="*/ 4293 h 4476"/>
                    <a:gd name="T94" fmla="*/ 2886 w 3445"/>
                    <a:gd name="T95" fmla="*/ 4460 h 4476"/>
                    <a:gd name="T96" fmla="*/ 557 w 3445"/>
                    <a:gd name="T97" fmla="*/ 4460 h 4476"/>
                    <a:gd name="T98" fmla="*/ 235 w 3445"/>
                    <a:gd name="T99" fmla="*/ 4293 h 4476"/>
                    <a:gd name="T100" fmla="*/ 36 w 3445"/>
                    <a:gd name="T101" fmla="*/ 3992 h 4476"/>
                    <a:gd name="T102" fmla="*/ 4 w 3445"/>
                    <a:gd name="T103" fmla="*/ 631 h 4476"/>
                    <a:gd name="T104" fmla="*/ 137 w 3445"/>
                    <a:gd name="T105" fmla="*/ 290 h 4476"/>
                    <a:gd name="T106" fmla="*/ 417 w 3445"/>
                    <a:gd name="T107" fmla="*/ 64 h 44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445" h="4476">
                      <a:moveTo>
                        <a:pt x="257" y="3522"/>
                      </a:moveTo>
                      <a:lnTo>
                        <a:pt x="257" y="3768"/>
                      </a:lnTo>
                      <a:lnTo>
                        <a:pt x="261" y="3829"/>
                      </a:lnTo>
                      <a:lnTo>
                        <a:pt x="273" y="3887"/>
                      </a:lnTo>
                      <a:lnTo>
                        <a:pt x="292" y="3944"/>
                      </a:lnTo>
                      <a:lnTo>
                        <a:pt x="318" y="3996"/>
                      </a:lnTo>
                      <a:lnTo>
                        <a:pt x="350" y="4045"/>
                      </a:lnTo>
                      <a:lnTo>
                        <a:pt x="389" y="4088"/>
                      </a:lnTo>
                      <a:lnTo>
                        <a:pt x="433" y="4126"/>
                      </a:lnTo>
                      <a:lnTo>
                        <a:pt x="481" y="4159"/>
                      </a:lnTo>
                      <a:lnTo>
                        <a:pt x="534" y="4184"/>
                      </a:lnTo>
                      <a:lnTo>
                        <a:pt x="590" y="4203"/>
                      </a:lnTo>
                      <a:lnTo>
                        <a:pt x="648" y="4216"/>
                      </a:lnTo>
                      <a:lnTo>
                        <a:pt x="709" y="4220"/>
                      </a:lnTo>
                      <a:lnTo>
                        <a:pt x="2735" y="4220"/>
                      </a:lnTo>
                      <a:lnTo>
                        <a:pt x="2796" y="4216"/>
                      </a:lnTo>
                      <a:lnTo>
                        <a:pt x="2855" y="4203"/>
                      </a:lnTo>
                      <a:lnTo>
                        <a:pt x="2911" y="4184"/>
                      </a:lnTo>
                      <a:lnTo>
                        <a:pt x="2964" y="4159"/>
                      </a:lnTo>
                      <a:lnTo>
                        <a:pt x="3011" y="4126"/>
                      </a:lnTo>
                      <a:lnTo>
                        <a:pt x="3055" y="4088"/>
                      </a:lnTo>
                      <a:lnTo>
                        <a:pt x="3094" y="4045"/>
                      </a:lnTo>
                      <a:lnTo>
                        <a:pt x="3127" y="3996"/>
                      </a:lnTo>
                      <a:lnTo>
                        <a:pt x="3153" y="3944"/>
                      </a:lnTo>
                      <a:lnTo>
                        <a:pt x="3172" y="3887"/>
                      </a:lnTo>
                      <a:lnTo>
                        <a:pt x="3184" y="3829"/>
                      </a:lnTo>
                      <a:lnTo>
                        <a:pt x="3188" y="3768"/>
                      </a:lnTo>
                      <a:lnTo>
                        <a:pt x="3188" y="3768"/>
                      </a:lnTo>
                      <a:lnTo>
                        <a:pt x="3188" y="3522"/>
                      </a:lnTo>
                      <a:lnTo>
                        <a:pt x="3134" y="3563"/>
                      </a:lnTo>
                      <a:lnTo>
                        <a:pt x="3075" y="3598"/>
                      </a:lnTo>
                      <a:lnTo>
                        <a:pt x="3013" y="3630"/>
                      </a:lnTo>
                      <a:lnTo>
                        <a:pt x="2947" y="3654"/>
                      </a:lnTo>
                      <a:lnTo>
                        <a:pt x="2878" y="3672"/>
                      </a:lnTo>
                      <a:lnTo>
                        <a:pt x="2807" y="3683"/>
                      </a:lnTo>
                      <a:lnTo>
                        <a:pt x="2735" y="3685"/>
                      </a:lnTo>
                      <a:lnTo>
                        <a:pt x="709" y="3685"/>
                      </a:lnTo>
                      <a:lnTo>
                        <a:pt x="637" y="3683"/>
                      </a:lnTo>
                      <a:lnTo>
                        <a:pt x="567" y="3672"/>
                      </a:lnTo>
                      <a:lnTo>
                        <a:pt x="497" y="3654"/>
                      </a:lnTo>
                      <a:lnTo>
                        <a:pt x="432" y="3630"/>
                      </a:lnTo>
                      <a:lnTo>
                        <a:pt x="369" y="3598"/>
                      </a:lnTo>
                      <a:lnTo>
                        <a:pt x="311" y="3563"/>
                      </a:lnTo>
                      <a:lnTo>
                        <a:pt x="257" y="3522"/>
                      </a:lnTo>
                      <a:close/>
                      <a:moveTo>
                        <a:pt x="257" y="2733"/>
                      </a:moveTo>
                      <a:lnTo>
                        <a:pt x="257" y="2977"/>
                      </a:lnTo>
                      <a:lnTo>
                        <a:pt x="261" y="3038"/>
                      </a:lnTo>
                      <a:lnTo>
                        <a:pt x="273" y="3097"/>
                      </a:lnTo>
                      <a:lnTo>
                        <a:pt x="292" y="3152"/>
                      </a:lnTo>
                      <a:lnTo>
                        <a:pt x="318" y="3205"/>
                      </a:lnTo>
                      <a:lnTo>
                        <a:pt x="350" y="3253"/>
                      </a:lnTo>
                      <a:lnTo>
                        <a:pt x="389" y="3296"/>
                      </a:lnTo>
                      <a:lnTo>
                        <a:pt x="433" y="3335"/>
                      </a:lnTo>
                      <a:lnTo>
                        <a:pt x="481" y="3368"/>
                      </a:lnTo>
                      <a:lnTo>
                        <a:pt x="534" y="3394"/>
                      </a:lnTo>
                      <a:lnTo>
                        <a:pt x="590" y="3413"/>
                      </a:lnTo>
                      <a:lnTo>
                        <a:pt x="648" y="3425"/>
                      </a:lnTo>
                      <a:lnTo>
                        <a:pt x="709" y="3429"/>
                      </a:lnTo>
                      <a:lnTo>
                        <a:pt x="2735" y="3429"/>
                      </a:lnTo>
                      <a:lnTo>
                        <a:pt x="2796" y="3425"/>
                      </a:lnTo>
                      <a:lnTo>
                        <a:pt x="2855" y="3413"/>
                      </a:lnTo>
                      <a:lnTo>
                        <a:pt x="2911" y="3394"/>
                      </a:lnTo>
                      <a:lnTo>
                        <a:pt x="2964" y="3368"/>
                      </a:lnTo>
                      <a:lnTo>
                        <a:pt x="3011" y="3335"/>
                      </a:lnTo>
                      <a:lnTo>
                        <a:pt x="3055" y="3296"/>
                      </a:lnTo>
                      <a:lnTo>
                        <a:pt x="3094" y="3253"/>
                      </a:lnTo>
                      <a:lnTo>
                        <a:pt x="3127" y="3205"/>
                      </a:lnTo>
                      <a:lnTo>
                        <a:pt x="3153" y="3152"/>
                      </a:lnTo>
                      <a:lnTo>
                        <a:pt x="3172" y="3097"/>
                      </a:lnTo>
                      <a:lnTo>
                        <a:pt x="3184" y="3038"/>
                      </a:lnTo>
                      <a:lnTo>
                        <a:pt x="3188" y="2977"/>
                      </a:lnTo>
                      <a:lnTo>
                        <a:pt x="3188" y="2977"/>
                      </a:lnTo>
                      <a:lnTo>
                        <a:pt x="3188" y="2733"/>
                      </a:lnTo>
                      <a:lnTo>
                        <a:pt x="3134" y="2774"/>
                      </a:lnTo>
                      <a:lnTo>
                        <a:pt x="3075" y="2810"/>
                      </a:lnTo>
                      <a:lnTo>
                        <a:pt x="3013" y="2840"/>
                      </a:lnTo>
                      <a:lnTo>
                        <a:pt x="2947" y="2865"/>
                      </a:lnTo>
                      <a:lnTo>
                        <a:pt x="2878" y="2882"/>
                      </a:lnTo>
                      <a:lnTo>
                        <a:pt x="2807" y="2893"/>
                      </a:lnTo>
                      <a:lnTo>
                        <a:pt x="2735" y="2897"/>
                      </a:lnTo>
                      <a:lnTo>
                        <a:pt x="709" y="2897"/>
                      </a:lnTo>
                      <a:lnTo>
                        <a:pt x="637" y="2893"/>
                      </a:lnTo>
                      <a:lnTo>
                        <a:pt x="567" y="2882"/>
                      </a:lnTo>
                      <a:lnTo>
                        <a:pt x="497" y="2865"/>
                      </a:lnTo>
                      <a:lnTo>
                        <a:pt x="432" y="2840"/>
                      </a:lnTo>
                      <a:lnTo>
                        <a:pt x="369" y="2810"/>
                      </a:lnTo>
                      <a:lnTo>
                        <a:pt x="311" y="2774"/>
                      </a:lnTo>
                      <a:lnTo>
                        <a:pt x="257" y="2733"/>
                      </a:lnTo>
                      <a:close/>
                      <a:moveTo>
                        <a:pt x="257" y="1945"/>
                      </a:moveTo>
                      <a:lnTo>
                        <a:pt x="257" y="2186"/>
                      </a:lnTo>
                      <a:lnTo>
                        <a:pt x="261" y="2247"/>
                      </a:lnTo>
                      <a:lnTo>
                        <a:pt x="273" y="2307"/>
                      </a:lnTo>
                      <a:lnTo>
                        <a:pt x="292" y="2363"/>
                      </a:lnTo>
                      <a:lnTo>
                        <a:pt x="318" y="2414"/>
                      </a:lnTo>
                      <a:lnTo>
                        <a:pt x="350" y="2463"/>
                      </a:lnTo>
                      <a:lnTo>
                        <a:pt x="389" y="2507"/>
                      </a:lnTo>
                      <a:lnTo>
                        <a:pt x="433" y="2545"/>
                      </a:lnTo>
                      <a:lnTo>
                        <a:pt x="481" y="2577"/>
                      </a:lnTo>
                      <a:lnTo>
                        <a:pt x="534" y="2603"/>
                      </a:lnTo>
                      <a:lnTo>
                        <a:pt x="590" y="2623"/>
                      </a:lnTo>
                      <a:lnTo>
                        <a:pt x="648" y="2635"/>
                      </a:lnTo>
                      <a:lnTo>
                        <a:pt x="709" y="2639"/>
                      </a:lnTo>
                      <a:lnTo>
                        <a:pt x="2735" y="2639"/>
                      </a:lnTo>
                      <a:lnTo>
                        <a:pt x="2796" y="2635"/>
                      </a:lnTo>
                      <a:lnTo>
                        <a:pt x="2855" y="2623"/>
                      </a:lnTo>
                      <a:lnTo>
                        <a:pt x="2911" y="2603"/>
                      </a:lnTo>
                      <a:lnTo>
                        <a:pt x="2964" y="2577"/>
                      </a:lnTo>
                      <a:lnTo>
                        <a:pt x="3011" y="2545"/>
                      </a:lnTo>
                      <a:lnTo>
                        <a:pt x="3055" y="2507"/>
                      </a:lnTo>
                      <a:lnTo>
                        <a:pt x="3094" y="2463"/>
                      </a:lnTo>
                      <a:lnTo>
                        <a:pt x="3127" y="2414"/>
                      </a:lnTo>
                      <a:lnTo>
                        <a:pt x="3153" y="2363"/>
                      </a:lnTo>
                      <a:lnTo>
                        <a:pt x="3172" y="2307"/>
                      </a:lnTo>
                      <a:lnTo>
                        <a:pt x="3184" y="2247"/>
                      </a:lnTo>
                      <a:lnTo>
                        <a:pt x="3188" y="2186"/>
                      </a:lnTo>
                      <a:lnTo>
                        <a:pt x="3188" y="2186"/>
                      </a:lnTo>
                      <a:lnTo>
                        <a:pt x="3188" y="1945"/>
                      </a:lnTo>
                      <a:lnTo>
                        <a:pt x="3134" y="1986"/>
                      </a:lnTo>
                      <a:lnTo>
                        <a:pt x="3075" y="2022"/>
                      </a:lnTo>
                      <a:lnTo>
                        <a:pt x="3013" y="2052"/>
                      </a:lnTo>
                      <a:lnTo>
                        <a:pt x="2947" y="2077"/>
                      </a:lnTo>
                      <a:lnTo>
                        <a:pt x="2878" y="2094"/>
                      </a:lnTo>
                      <a:lnTo>
                        <a:pt x="2807" y="2105"/>
                      </a:lnTo>
                      <a:lnTo>
                        <a:pt x="2735" y="2109"/>
                      </a:lnTo>
                      <a:lnTo>
                        <a:pt x="709" y="2109"/>
                      </a:lnTo>
                      <a:lnTo>
                        <a:pt x="637" y="2105"/>
                      </a:lnTo>
                      <a:lnTo>
                        <a:pt x="567" y="2094"/>
                      </a:lnTo>
                      <a:lnTo>
                        <a:pt x="497" y="2077"/>
                      </a:lnTo>
                      <a:lnTo>
                        <a:pt x="432" y="2052"/>
                      </a:lnTo>
                      <a:lnTo>
                        <a:pt x="369" y="2022"/>
                      </a:lnTo>
                      <a:lnTo>
                        <a:pt x="311" y="1986"/>
                      </a:lnTo>
                      <a:lnTo>
                        <a:pt x="257" y="1945"/>
                      </a:lnTo>
                      <a:close/>
                      <a:moveTo>
                        <a:pt x="1721" y="288"/>
                      </a:moveTo>
                      <a:lnTo>
                        <a:pt x="1627" y="290"/>
                      </a:lnTo>
                      <a:lnTo>
                        <a:pt x="1533" y="298"/>
                      </a:lnTo>
                      <a:lnTo>
                        <a:pt x="1442" y="312"/>
                      </a:lnTo>
                      <a:lnTo>
                        <a:pt x="1352" y="330"/>
                      </a:lnTo>
                      <a:lnTo>
                        <a:pt x="1265" y="354"/>
                      </a:lnTo>
                      <a:lnTo>
                        <a:pt x="1183" y="382"/>
                      </a:lnTo>
                      <a:lnTo>
                        <a:pt x="1102" y="415"/>
                      </a:lnTo>
                      <a:lnTo>
                        <a:pt x="1028" y="453"/>
                      </a:lnTo>
                      <a:lnTo>
                        <a:pt x="957" y="495"/>
                      </a:lnTo>
                      <a:lnTo>
                        <a:pt x="892" y="541"/>
                      </a:lnTo>
                      <a:lnTo>
                        <a:pt x="834" y="589"/>
                      </a:lnTo>
                      <a:lnTo>
                        <a:pt x="783" y="640"/>
                      </a:lnTo>
                      <a:lnTo>
                        <a:pt x="738" y="693"/>
                      </a:lnTo>
                      <a:lnTo>
                        <a:pt x="699" y="749"/>
                      </a:lnTo>
                      <a:lnTo>
                        <a:pt x="667" y="807"/>
                      </a:lnTo>
                      <a:lnTo>
                        <a:pt x="643" y="867"/>
                      </a:lnTo>
                      <a:lnTo>
                        <a:pt x="624" y="928"/>
                      </a:lnTo>
                      <a:lnTo>
                        <a:pt x="613" y="990"/>
                      </a:lnTo>
                      <a:lnTo>
                        <a:pt x="610" y="1055"/>
                      </a:lnTo>
                      <a:lnTo>
                        <a:pt x="613" y="1119"/>
                      </a:lnTo>
                      <a:lnTo>
                        <a:pt x="624" y="1181"/>
                      </a:lnTo>
                      <a:lnTo>
                        <a:pt x="643" y="1244"/>
                      </a:lnTo>
                      <a:lnTo>
                        <a:pt x="667" y="1303"/>
                      </a:lnTo>
                      <a:lnTo>
                        <a:pt x="699" y="1360"/>
                      </a:lnTo>
                      <a:lnTo>
                        <a:pt x="738" y="1416"/>
                      </a:lnTo>
                      <a:lnTo>
                        <a:pt x="783" y="1470"/>
                      </a:lnTo>
                      <a:lnTo>
                        <a:pt x="834" y="1520"/>
                      </a:lnTo>
                      <a:lnTo>
                        <a:pt x="892" y="1569"/>
                      </a:lnTo>
                      <a:lnTo>
                        <a:pt x="957" y="1614"/>
                      </a:lnTo>
                      <a:lnTo>
                        <a:pt x="1028" y="1656"/>
                      </a:lnTo>
                      <a:lnTo>
                        <a:pt x="1102" y="1694"/>
                      </a:lnTo>
                      <a:lnTo>
                        <a:pt x="1183" y="1728"/>
                      </a:lnTo>
                      <a:lnTo>
                        <a:pt x="1265" y="1756"/>
                      </a:lnTo>
                      <a:lnTo>
                        <a:pt x="1352" y="1780"/>
                      </a:lnTo>
                      <a:lnTo>
                        <a:pt x="1442" y="1799"/>
                      </a:lnTo>
                      <a:lnTo>
                        <a:pt x="1533" y="1811"/>
                      </a:lnTo>
                      <a:lnTo>
                        <a:pt x="1627" y="1819"/>
                      </a:lnTo>
                      <a:lnTo>
                        <a:pt x="1721" y="1822"/>
                      </a:lnTo>
                      <a:lnTo>
                        <a:pt x="1817" y="1819"/>
                      </a:lnTo>
                      <a:lnTo>
                        <a:pt x="1911" y="1811"/>
                      </a:lnTo>
                      <a:lnTo>
                        <a:pt x="2002" y="1799"/>
                      </a:lnTo>
                      <a:lnTo>
                        <a:pt x="2092" y="1780"/>
                      </a:lnTo>
                      <a:lnTo>
                        <a:pt x="2179" y="1756"/>
                      </a:lnTo>
                      <a:lnTo>
                        <a:pt x="2262" y="1728"/>
                      </a:lnTo>
                      <a:lnTo>
                        <a:pt x="2341" y="1694"/>
                      </a:lnTo>
                      <a:lnTo>
                        <a:pt x="2417" y="1656"/>
                      </a:lnTo>
                      <a:lnTo>
                        <a:pt x="2488" y="1614"/>
                      </a:lnTo>
                      <a:lnTo>
                        <a:pt x="2553" y="1569"/>
                      </a:lnTo>
                      <a:lnTo>
                        <a:pt x="2610" y="1520"/>
                      </a:lnTo>
                      <a:lnTo>
                        <a:pt x="2662" y="1470"/>
                      </a:lnTo>
                      <a:lnTo>
                        <a:pt x="2707" y="1416"/>
                      </a:lnTo>
                      <a:lnTo>
                        <a:pt x="2746" y="1360"/>
                      </a:lnTo>
                      <a:lnTo>
                        <a:pt x="2777" y="1303"/>
                      </a:lnTo>
                      <a:lnTo>
                        <a:pt x="2802" y="1244"/>
                      </a:lnTo>
                      <a:lnTo>
                        <a:pt x="2821" y="1181"/>
                      </a:lnTo>
                      <a:lnTo>
                        <a:pt x="2832" y="1119"/>
                      </a:lnTo>
                      <a:lnTo>
                        <a:pt x="2835" y="1055"/>
                      </a:lnTo>
                      <a:lnTo>
                        <a:pt x="2832" y="990"/>
                      </a:lnTo>
                      <a:lnTo>
                        <a:pt x="2821" y="928"/>
                      </a:lnTo>
                      <a:lnTo>
                        <a:pt x="2802" y="867"/>
                      </a:lnTo>
                      <a:lnTo>
                        <a:pt x="2777" y="807"/>
                      </a:lnTo>
                      <a:lnTo>
                        <a:pt x="2746" y="749"/>
                      </a:lnTo>
                      <a:lnTo>
                        <a:pt x="2707" y="693"/>
                      </a:lnTo>
                      <a:lnTo>
                        <a:pt x="2662" y="640"/>
                      </a:lnTo>
                      <a:lnTo>
                        <a:pt x="2610" y="589"/>
                      </a:lnTo>
                      <a:lnTo>
                        <a:pt x="2553" y="541"/>
                      </a:lnTo>
                      <a:lnTo>
                        <a:pt x="2488" y="495"/>
                      </a:lnTo>
                      <a:lnTo>
                        <a:pt x="2417" y="453"/>
                      </a:lnTo>
                      <a:lnTo>
                        <a:pt x="2341" y="415"/>
                      </a:lnTo>
                      <a:lnTo>
                        <a:pt x="2262" y="382"/>
                      </a:lnTo>
                      <a:lnTo>
                        <a:pt x="2179" y="354"/>
                      </a:lnTo>
                      <a:lnTo>
                        <a:pt x="2092" y="330"/>
                      </a:lnTo>
                      <a:lnTo>
                        <a:pt x="2002" y="312"/>
                      </a:lnTo>
                      <a:lnTo>
                        <a:pt x="1911" y="298"/>
                      </a:lnTo>
                      <a:lnTo>
                        <a:pt x="1817" y="290"/>
                      </a:lnTo>
                      <a:lnTo>
                        <a:pt x="1721" y="288"/>
                      </a:lnTo>
                      <a:close/>
                      <a:moveTo>
                        <a:pt x="709" y="0"/>
                      </a:moveTo>
                      <a:lnTo>
                        <a:pt x="2735" y="0"/>
                      </a:lnTo>
                      <a:lnTo>
                        <a:pt x="2811" y="4"/>
                      </a:lnTo>
                      <a:lnTo>
                        <a:pt x="2888" y="16"/>
                      </a:lnTo>
                      <a:lnTo>
                        <a:pt x="2960" y="37"/>
                      </a:lnTo>
                      <a:lnTo>
                        <a:pt x="3028" y="64"/>
                      </a:lnTo>
                      <a:lnTo>
                        <a:pt x="3093" y="96"/>
                      </a:lnTo>
                      <a:lnTo>
                        <a:pt x="3154" y="137"/>
                      </a:lnTo>
                      <a:lnTo>
                        <a:pt x="3210" y="183"/>
                      </a:lnTo>
                      <a:lnTo>
                        <a:pt x="3261" y="235"/>
                      </a:lnTo>
                      <a:lnTo>
                        <a:pt x="3308" y="290"/>
                      </a:lnTo>
                      <a:lnTo>
                        <a:pt x="3347" y="351"/>
                      </a:lnTo>
                      <a:lnTo>
                        <a:pt x="3381" y="416"/>
                      </a:lnTo>
                      <a:lnTo>
                        <a:pt x="3408" y="484"/>
                      </a:lnTo>
                      <a:lnTo>
                        <a:pt x="3429" y="556"/>
                      </a:lnTo>
                      <a:lnTo>
                        <a:pt x="3441" y="631"/>
                      </a:lnTo>
                      <a:lnTo>
                        <a:pt x="3445" y="708"/>
                      </a:lnTo>
                      <a:lnTo>
                        <a:pt x="3445" y="3768"/>
                      </a:lnTo>
                      <a:lnTo>
                        <a:pt x="3441" y="3845"/>
                      </a:lnTo>
                      <a:lnTo>
                        <a:pt x="3429" y="3920"/>
                      </a:lnTo>
                      <a:lnTo>
                        <a:pt x="3408" y="3992"/>
                      </a:lnTo>
                      <a:lnTo>
                        <a:pt x="3381" y="4060"/>
                      </a:lnTo>
                      <a:lnTo>
                        <a:pt x="3347" y="4125"/>
                      </a:lnTo>
                      <a:lnTo>
                        <a:pt x="3308" y="4186"/>
                      </a:lnTo>
                      <a:lnTo>
                        <a:pt x="3261" y="4241"/>
                      </a:lnTo>
                      <a:lnTo>
                        <a:pt x="3210" y="4293"/>
                      </a:lnTo>
                      <a:lnTo>
                        <a:pt x="3154" y="4339"/>
                      </a:lnTo>
                      <a:lnTo>
                        <a:pt x="3093" y="4380"/>
                      </a:lnTo>
                      <a:lnTo>
                        <a:pt x="3028" y="4412"/>
                      </a:lnTo>
                      <a:lnTo>
                        <a:pt x="2958" y="4439"/>
                      </a:lnTo>
                      <a:lnTo>
                        <a:pt x="2886" y="4460"/>
                      </a:lnTo>
                      <a:lnTo>
                        <a:pt x="2811" y="4472"/>
                      </a:lnTo>
                      <a:lnTo>
                        <a:pt x="2735" y="4476"/>
                      </a:lnTo>
                      <a:lnTo>
                        <a:pt x="709" y="4476"/>
                      </a:lnTo>
                      <a:lnTo>
                        <a:pt x="632" y="4472"/>
                      </a:lnTo>
                      <a:lnTo>
                        <a:pt x="557" y="4460"/>
                      </a:lnTo>
                      <a:lnTo>
                        <a:pt x="485" y="4439"/>
                      </a:lnTo>
                      <a:lnTo>
                        <a:pt x="417" y="4412"/>
                      </a:lnTo>
                      <a:lnTo>
                        <a:pt x="352" y="4380"/>
                      </a:lnTo>
                      <a:lnTo>
                        <a:pt x="291" y="4339"/>
                      </a:lnTo>
                      <a:lnTo>
                        <a:pt x="235" y="4293"/>
                      </a:lnTo>
                      <a:lnTo>
                        <a:pt x="183" y="4241"/>
                      </a:lnTo>
                      <a:lnTo>
                        <a:pt x="137" y="4186"/>
                      </a:lnTo>
                      <a:lnTo>
                        <a:pt x="96" y="4125"/>
                      </a:lnTo>
                      <a:lnTo>
                        <a:pt x="64" y="4060"/>
                      </a:lnTo>
                      <a:lnTo>
                        <a:pt x="36" y="3992"/>
                      </a:lnTo>
                      <a:lnTo>
                        <a:pt x="16" y="3920"/>
                      </a:lnTo>
                      <a:lnTo>
                        <a:pt x="4" y="3845"/>
                      </a:lnTo>
                      <a:lnTo>
                        <a:pt x="0" y="3768"/>
                      </a:lnTo>
                      <a:lnTo>
                        <a:pt x="0" y="708"/>
                      </a:lnTo>
                      <a:lnTo>
                        <a:pt x="4" y="631"/>
                      </a:lnTo>
                      <a:lnTo>
                        <a:pt x="16" y="556"/>
                      </a:lnTo>
                      <a:lnTo>
                        <a:pt x="36" y="484"/>
                      </a:lnTo>
                      <a:lnTo>
                        <a:pt x="64" y="416"/>
                      </a:lnTo>
                      <a:lnTo>
                        <a:pt x="96" y="351"/>
                      </a:lnTo>
                      <a:lnTo>
                        <a:pt x="137" y="290"/>
                      </a:lnTo>
                      <a:lnTo>
                        <a:pt x="183" y="235"/>
                      </a:lnTo>
                      <a:lnTo>
                        <a:pt x="235" y="183"/>
                      </a:lnTo>
                      <a:lnTo>
                        <a:pt x="291" y="137"/>
                      </a:lnTo>
                      <a:lnTo>
                        <a:pt x="352" y="96"/>
                      </a:lnTo>
                      <a:lnTo>
                        <a:pt x="417" y="64"/>
                      </a:lnTo>
                      <a:lnTo>
                        <a:pt x="485" y="37"/>
                      </a:lnTo>
                      <a:lnTo>
                        <a:pt x="557" y="16"/>
                      </a:lnTo>
                      <a:lnTo>
                        <a:pt x="632" y="4"/>
                      </a:lnTo>
                      <a:lnTo>
                        <a:pt x="709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/>
                </a:p>
              </p:txBody>
            </p:sp>
            <p:sp>
              <p:nvSpPr>
                <p:cNvPr id="146" name="Freeform 110"/>
                <p:cNvSpPr>
                  <a:spLocks/>
                </p:cNvSpPr>
                <p:nvPr/>
              </p:nvSpPr>
              <p:spPr bwMode="auto">
                <a:xfrm>
                  <a:off x="6752" y="597"/>
                  <a:ext cx="394" cy="256"/>
                </a:xfrm>
                <a:custGeom>
                  <a:avLst/>
                  <a:gdLst>
                    <a:gd name="T0" fmla="*/ 393 w 789"/>
                    <a:gd name="T1" fmla="*/ 0 h 511"/>
                    <a:gd name="T2" fmla="*/ 453 w 789"/>
                    <a:gd name="T3" fmla="*/ 3 h 511"/>
                    <a:gd name="T4" fmla="*/ 509 w 789"/>
                    <a:gd name="T5" fmla="*/ 11 h 511"/>
                    <a:gd name="T6" fmla="*/ 560 w 789"/>
                    <a:gd name="T7" fmla="*/ 24 h 511"/>
                    <a:gd name="T8" fmla="*/ 609 w 789"/>
                    <a:gd name="T9" fmla="*/ 42 h 511"/>
                    <a:gd name="T10" fmla="*/ 653 w 789"/>
                    <a:gd name="T11" fmla="*/ 62 h 511"/>
                    <a:gd name="T12" fmla="*/ 691 w 789"/>
                    <a:gd name="T13" fmla="*/ 88 h 511"/>
                    <a:gd name="T14" fmla="*/ 725 w 789"/>
                    <a:gd name="T15" fmla="*/ 117 h 511"/>
                    <a:gd name="T16" fmla="*/ 752 w 789"/>
                    <a:gd name="T17" fmla="*/ 148 h 511"/>
                    <a:gd name="T18" fmla="*/ 771 w 789"/>
                    <a:gd name="T19" fmla="*/ 182 h 511"/>
                    <a:gd name="T20" fmla="*/ 783 w 789"/>
                    <a:gd name="T21" fmla="*/ 218 h 511"/>
                    <a:gd name="T22" fmla="*/ 789 w 789"/>
                    <a:gd name="T23" fmla="*/ 256 h 511"/>
                    <a:gd name="T24" fmla="*/ 783 w 789"/>
                    <a:gd name="T25" fmla="*/ 294 h 511"/>
                    <a:gd name="T26" fmla="*/ 771 w 789"/>
                    <a:gd name="T27" fmla="*/ 329 h 511"/>
                    <a:gd name="T28" fmla="*/ 752 w 789"/>
                    <a:gd name="T29" fmla="*/ 363 h 511"/>
                    <a:gd name="T30" fmla="*/ 725 w 789"/>
                    <a:gd name="T31" fmla="*/ 395 h 511"/>
                    <a:gd name="T32" fmla="*/ 691 w 789"/>
                    <a:gd name="T33" fmla="*/ 423 h 511"/>
                    <a:gd name="T34" fmla="*/ 653 w 789"/>
                    <a:gd name="T35" fmla="*/ 449 h 511"/>
                    <a:gd name="T36" fmla="*/ 609 w 789"/>
                    <a:gd name="T37" fmla="*/ 471 h 511"/>
                    <a:gd name="T38" fmla="*/ 560 w 789"/>
                    <a:gd name="T39" fmla="*/ 488 h 511"/>
                    <a:gd name="T40" fmla="*/ 509 w 789"/>
                    <a:gd name="T41" fmla="*/ 500 h 511"/>
                    <a:gd name="T42" fmla="*/ 453 w 789"/>
                    <a:gd name="T43" fmla="*/ 509 h 511"/>
                    <a:gd name="T44" fmla="*/ 393 w 789"/>
                    <a:gd name="T45" fmla="*/ 511 h 511"/>
                    <a:gd name="T46" fmla="*/ 336 w 789"/>
                    <a:gd name="T47" fmla="*/ 509 h 511"/>
                    <a:gd name="T48" fmla="*/ 280 w 789"/>
                    <a:gd name="T49" fmla="*/ 500 h 511"/>
                    <a:gd name="T50" fmla="*/ 228 w 789"/>
                    <a:gd name="T51" fmla="*/ 488 h 511"/>
                    <a:gd name="T52" fmla="*/ 179 w 789"/>
                    <a:gd name="T53" fmla="*/ 471 h 511"/>
                    <a:gd name="T54" fmla="*/ 136 w 789"/>
                    <a:gd name="T55" fmla="*/ 449 h 511"/>
                    <a:gd name="T56" fmla="*/ 97 w 789"/>
                    <a:gd name="T57" fmla="*/ 423 h 511"/>
                    <a:gd name="T58" fmla="*/ 64 w 789"/>
                    <a:gd name="T59" fmla="*/ 395 h 511"/>
                    <a:gd name="T60" fmla="*/ 37 w 789"/>
                    <a:gd name="T61" fmla="*/ 363 h 511"/>
                    <a:gd name="T62" fmla="*/ 18 w 789"/>
                    <a:gd name="T63" fmla="*/ 329 h 511"/>
                    <a:gd name="T64" fmla="*/ 4 w 789"/>
                    <a:gd name="T65" fmla="*/ 294 h 511"/>
                    <a:gd name="T66" fmla="*/ 0 w 789"/>
                    <a:gd name="T67" fmla="*/ 256 h 511"/>
                    <a:gd name="T68" fmla="*/ 4 w 789"/>
                    <a:gd name="T69" fmla="*/ 218 h 511"/>
                    <a:gd name="T70" fmla="*/ 18 w 789"/>
                    <a:gd name="T71" fmla="*/ 182 h 511"/>
                    <a:gd name="T72" fmla="*/ 37 w 789"/>
                    <a:gd name="T73" fmla="*/ 148 h 511"/>
                    <a:gd name="T74" fmla="*/ 64 w 789"/>
                    <a:gd name="T75" fmla="*/ 117 h 511"/>
                    <a:gd name="T76" fmla="*/ 97 w 789"/>
                    <a:gd name="T77" fmla="*/ 88 h 511"/>
                    <a:gd name="T78" fmla="*/ 136 w 789"/>
                    <a:gd name="T79" fmla="*/ 62 h 511"/>
                    <a:gd name="T80" fmla="*/ 179 w 789"/>
                    <a:gd name="T81" fmla="*/ 42 h 511"/>
                    <a:gd name="T82" fmla="*/ 228 w 789"/>
                    <a:gd name="T83" fmla="*/ 24 h 511"/>
                    <a:gd name="T84" fmla="*/ 280 w 789"/>
                    <a:gd name="T85" fmla="*/ 11 h 511"/>
                    <a:gd name="T86" fmla="*/ 336 w 789"/>
                    <a:gd name="T87" fmla="*/ 3 h 511"/>
                    <a:gd name="T88" fmla="*/ 393 w 789"/>
                    <a:gd name="T89" fmla="*/ 0 h 5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89" h="511">
                      <a:moveTo>
                        <a:pt x="393" y="0"/>
                      </a:moveTo>
                      <a:lnTo>
                        <a:pt x="453" y="3"/>
                      </a:lnTo>
                      <a:lnTo>
                        <a:pt x="509" y="11"/>
                      </a:lnTo>
                      <a:lnTo>
                        <a:pt x="560" y="24"/>
                      </a:lnTo>
                      <a:lnTo>
                        <a:pt x="609" y="42"/>
                      </a:lnTo>
                      <a:lnTo>
                        <a:pt x="653" y="62"/>
                      </a:lnTo>
                      <a:lnTo>
                        <a:pt x="691" y="88"/>
                      </a:lnTo>
                      <a:lnTo>
                        <a:pt x="725" y="117"/>
                      </a:lnTo>
                      <a:lnTo>
                        <a:pt x="752" y="148"/>
                      </a:lnTo>
                      <a:lnTo>
                        <a:pt x="771" y="182"/>
                      </a:lnTo>
                      <a:lnTo>
                        <a:pt x="783" y="218"/>
                      </a:lnTo>
                      <a:lnTo>
                        <a:pt x="789" y="256"/>
                      </a:lnTo>
                      <a:lnTo>
                        <a:pt x="783" y="294"/>
                      </a:lnTo>
                      <a:lnTo>
                        <a:pt x="771" y="329"/>
                      </a:lnTo>
                      <a:lnTo>
                        <a:pt x="752" y="363"/>
                      </a:lnTo>
                      <a:lnTo>
                        <a:pt x="725" y="395"/>
                      </a:lnTo>
                      <a:lnTo>
                        <a:pt x="691" y="423"/>
                      </a:lnTo>
                      <a:lnTo>
                        <a:pt x="653" y="449"/>
                      </a:lnTo>
                      <a:lnTo>
                        <a:pt x="609" y="471"/>
                      </a:lnTo>
                      <a:lnTo>
                        <a:pt x="560" y="488"/>
                      </a:lnTo>
                      <a:lnTo>
                        <a:pt x="509" y="500"/>
                      </a:lnTo>
                      <a:lnTo>
                        <a:pt x="453" y="509"/>
                      </a:lnTo>
                      <a:lnTo>
                        <a:pt x="393" y="511"/>
                      </a:lnTo>
                      <a:lnTo>
                        <a:pt x="336" y="509"/>
                      </a:lnTo>
                      <a:lnTo>
                        <a:pt x="280" y="500"/>
                      </a:lnTo>
                      <a:lnTo>
                        <a:pt x="228" y="488"/>
                      </a:lnTo>
                      <a:lnTo>
                        <a:pt x="179" y="471"/>
                      </a:lnTo>
                      <a:lnTo>
                        <a:pt x="136" y="449"/>
                      </a:lnTo>
                      <a:lnTo>
                        <a:pt x="97" y="423"/>
                      </a:lnTo>
                      <a:lnTo>
                        <a:pt x="64" y="395"/>
                      </a:lnTo>
                      <a:lnTo>
                        <a:pt x="37" y="363"/>
                      </a:lnTo>
                      <a:lnTo>
                        <a:pt x="18" y="329"/>
                      </a:lnTo>
                      <a:lnTo>
                        <a:pt x="4" y="294"/>
                      </a:lnTo>
                      <a:lnTo>
                        <a:pt x="0" y="256"/>
                      </a:lnTo>
                      <a:lnTo>
                        <a:pt x="4" y="218"/>
                      </a:lnTo>
                      <a:lnTo>
                        <a:pt x="18" y="182"/>
                      </a:lnTo>
                      <a:lnTo>
                        <a:pt x="37" y="148"/>
                      </a:lnTo>
                      <a:lnTo>
                        <a:pt x="64" y="117"/>
                      </a:lnTo>
                      <a:lnTo>
                        <a:pt x="97" y="88"/>
                      </a:lnTo>
                      <a:lnTo>
                        <a:pt x="136" y="62"/>
                      </a:lnTo>
                      <a:lnTo>
                        <a:pt x="179" y="42"/>
                      </a:lnTo>
                      <a:lnTo>
                        <a:pt x="228" y="24"/>
                      </a:lnTo>
                      <a:lnTo>
                        <a:pt x="280" y="11"/>
                      </a:lnTo>
                      <a:lnTo>
                        <a:pt x="336" y="3"/>
                      </a:lnTo>
                      <a:lnTo>
                        <a:pt x="39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/>
                </a:p>
              </p:txBody>
            </p:sp>
          </p:grpSp>
        </p:grpSp>
        <p:sp>
          <p:nvSpPr>
            <p:cNvPr id="149" name="Freeform 148"/>
            <p:cNvSpPr/>
            <p:nvPr/>
          </p:nvSpPr>
          <p:spPr bwMode="ltGray">
            <a:xfrm>
              <a:off x="4084657" y="3437624"/>
              <a:ext cx="436317" cy="433097"/>
            </a:xfrm>
            <a:custGeom>
              <a:avLst/>
              <a:gdLst>
                <a:gd name="connsiteX0" fmla="*/ 495300 w 645319"/>
                <a:gd name="connsiteY0" fmla="*/ 0 h 640556"/>
                <a:gd name="connsiteX1" fmla="*/ 645319 w 645319"/>
                <a:gd name="connsiteY1" fmla="*/ 59531 h 640556"/>
                <a:gd name="connsiteX2" fmla="*/ 645319 w 645319"/>
                <a:gd name="connsiteY2" fmla="*/ 583406 h 640556"/>
                <a:gd name="connsiteX3" fmla="*/ 473869 w 645319"/>
                <a:gd name="connsiteY3" fmla="*/ 640556 h 640556"/>
                <a:gd name="connsiteX4" fmla="*/ 228600 w 645319"/>
                <a:gd name="connsiteY4" fmla="*/ 383381 h 640556"/>
                <a:gd name="connsiteX5" fmla="*/ 59532 w 645319"/>
                <a:gd name="connsiteY5" fmla="*/ 509588 h 640556"/>
                <a:gd name="connsiteX6" fmla="*/ 0 w 645319"/>
                <a:gd name="connsiteY6" fmla="*/ 483394 h 640556"/>
                <a:gd name="connsiteX7" fmla="*/ 2382 w 645319"/>
                <a:gd name="connsiteY7" fmla="*/ 157163 h 640556"/>
                <a:gd name="connsiteX8" fmla="*/ 61913 w 645319"/>
                <a:gd name="connsiteY8" fmla="*/ 126206 h 640556"/>
                <a:gd name="connsiteX9" fmla="*/ 230982 w 645319"/>
                <a:gd name="connsiteY9" fmla="*/ 257175 h 640556"/>
                <a:gd name="connsiteX10" fmla="*/ 495300 w 645319"/>
                <a:gd name="connsiteY10" fmla="*/ 0 h 640556"/>
                <a:gd name="connsiteX11" fmla="*/ 489052 w 645319"/>
                <a:gd name="connsiteY11" fmla="*/ 180975 h 640556"/>
                <a:gd name="connsiteX12" fmla="*/ 310458 w 645319"/>
                <a:gd name="connsiteY12" fmla="*/ 319088 h 640556"/>
                <a:gd name="connsiteX13" fmla="*/ 484289 w 645319"/>
                <a:gd name="connsiteY13" fmla="*/ 454819 h 640556"/>
                <a:gd name="connsiteX14" fmla="*/ 489052 w 645319"/>
                <a:gd name="connsiteY14" fmla="*/ 180975 h 640556"/>
                <a:gd name="connsiteX15" fmla="*/ 53283 w 645319"/>
                <a:gd name="connsiteY15" fmla="*/ 223838 h 640556"/>
                <a:gd name="connsiteX16" fmla="*/ 58046 w 645319"/>
                <a:gd name="connsiteY16" fmla="*/ 423863 h 640556"/>
                <a:gd name="connsiteX17" fmla="*/ 162821 w 645319"/>
                <a:gd name="connsiteY17" fmla="*/ 321469 h 640556"/>
                <a:gd name="connsiteX18" fmla="*/ 53283 w 645319"/>
                <a:gd name="connsiteY18" fmla="*/ 223838 h 640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45319" h="640556">
                  <a:moveTo>
                    <a:pt x="495300" y="0"/>
                  </a:moveTo>
                  <a:lnTo>
                    <a:pt x="645319" y="59531"/>
                  </a:lnTo>
                  <a:lnTo>
                    <a:pt x="645319" y="583406"/>
                  </a:lnTo>
                  <a:lnTo>
                    <a:pt x="473869" y="640556"/>
                  </a:lnTo>
                  <a:lnTo>
                    <a:pt x="228600" y="383381"/>
                  </a:lnTo>
                  <a:lnTo>
                    <a:pt x="59532" y="509588"/>
                  </a:lnTo>
                  <a:lnTo>
                    <a:pt x="0" y="483394"/>
                  </a:lnTo>
                  <a:lnTo>
                    <a:pt x="2382" y="157163"/>
                  </a:lnTo>
                  <a:lnTo>
                    <a:pt x="61913" y="126206"/>
                  </a:lnTo>
                  <a:lnTo>
                    <a:pt x="230982" y="257175"/>
                  </a:lnTo>
                  <a:lnTo>
                    <a:pt x="495300" y="0"/>
                  </a:lnTo>
                  <a:close/>
                  <a:moveTo>
                    <a:pt x="489052" y="180975"/>
                  </a:moveTo>
                  <a:lnTo>
                    <a:pt x="310458" y="319088"/>
                  </a:lnTo>
                  <a:lnTo>
                    <a:pt x="484289" y="454819"/>
                  </a:lnTo>
                  <a:cubicBezTo>
                    <a:pt x="485877" y="363538"/>
                    <a:pt x="487464" y="272256"/>
                    <a:pt x="489052" y="180975"/>
                  </a:cubicBezTo>
                  <a:close/>
                  <a:moveTo>
                    <a:pt x="53283" y="223838"/>
                  </a:moveTo>
                  <a:lnTo>
                    <a:pt x="58046" y="423863"/>
                  </a:lnTo>
                  <a:lnTo>
                    <a:pt x="162821" y="321469"/>
                  </a:lnTo>
                  <a:lnTo>
                    <a:pt x="53283" y="223838"/>
                  </a:ln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3415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1461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9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640075"/>
            <a:ext cx="7389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Машинное обучение</a:t>
            </a:r>
          </a:p>
        </p:txBody>
      </p:sp>
      <p:sp>
        <p:nvSpPr>
          <p:cNvPr id="40" name="Rectangle 17"/>
          <p:cNvSpPr>
            <a:spLocks/>
          </p:cNvSpPr>
          <p:nvPr/>
        </p:nvSpPr>
        <p:spPr bwMode="auto">
          <a:xfrm>
            <a:off x="284929" y="3237270"/>
            <a:ext cx="59051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Данные</a:t>
            </a:r>
            <a:endParaRPr lang="ru-RU" sz="1050" b="1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142450" y="1059988"/>
            <a:ext cx="79730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Имитационное моделирование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1472896" y="3146130"/>
            <a:ext cx="1982977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i="1" dirty="0" smtClean="0">
                <a:solidFill>
                  <a:schemeClr val="bg1"/>
                </a:solidFill>
                <a:latin typeface="+mj-lt"/>
              </a:rPr>
              <a:t>... или точного выстраивания продуктового маркетинга в магазине</a:t>
            </a:r>
          </a:p>
        </p:txBody>
      </p:sp>
      <p:pic>
        <p:nvPicPr>
          <p:cNvPr id="93" name="Picture 2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7238" y="3504108"/>
            <a:ext cx="731055" cy="731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9" name="Rectangle 208"/>
          <p:cNvSpPr/>
          <p:nvPr/>
        </p:nvSpPr>
        <p:spPr>
          <a:xfrm>
            <a:off x="6211798" y="3146130"/>
            <a:ext cx="1798154" cy="172354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При помощи анализа планировки в магазине можно оптимизировать распределение товаров и увеличить объемы продаж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610776" y="3146130"/>
            <a:ext cx="2429505" cy="1176238"/>
            <a:chOff x="4058550" y="2972035"/>
            <a:chExt cx="2429505" cy="1176238"/>
          </a:xfrm>
        </p:grpSpPr>
        <p:sp>
          <p:nvSpPr>
            <p:cNvPr id="102" name="TextBox 101"/>
            <p:cNvSpPr txBox="1"/>
            <p:nvPr/>
          </p:nvSpPr>
          <p:spPr>
            <a:xfrm>
              <a:off x="4058550" y="3972195"/>
              <a:ext cx="512607" cy="17607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indent="-274320">
                <a:spcAft>
                  <a:spcPts val="900"/>
                </a:spcAft>
              </a:pPr>
              <a:r>
                <a:rPr lang="ru-RU" sz="1400" b="1" dirty="0" smtClean="0">
                  <a:solidFill>
                    <a:schemeClr val="bg1"/>
                  </a:solidFill>
                  <a:latin typeface="+mj-lt"/>
                </a:rPr>
                <a:t>Текущая </a:t>
              </a:r>
            </a:p>
            <a:p>
              <a:pPr indent="-274320">
                <a:spcAft>
                  <a:spcPts val="900"/>
                </a:spcAft>
              </a:pPr>
              <a:r>
                <a:rPr lang="ru-RU" sz="1400" b="1" dirty="0" smtClean="0">
                  <a:solidFill>
                    <a:schemeClr val="bg1"/>
                  </a:solidFill>
                  <a:latin typeface="+mj-lt"/>
                </a:rPr>
                <a:t>ситуация</a:t>
              </a:r>
              <a:endParaRPr lang="ru-RU" sz="2000" b="1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5418617" y="3972195"/>
              <a:ext cx="512607" cy="17607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indent="-274320">
                <a:spcAft>
                  <a:spcPts val="900"/>
                </a:spcAft>
              </a:pPr>
              <a:r>
                <a:rPr lang="ru-RU" sz="1400" b="1" dirty="0" smtClean="0">
                  <a:solidFill>
                    <a:schemeClr val="bg1"/>
                  </a:solidFill>
                  <a:latin typeface="+mj-lt"/>
                </a:rPr>
                <a:t>Цель</a:t>
              </a:r>
              <a:endParaRPr lang="ru-RU" sz="2000" b="1" dirty="0" smtClean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4058550" y="2972035"/>
              <a:ext cx="1069438" cy="929661"/>
              <a:chOff x="4752892" y="2377039"/>
              <a:chExt cx="1069438" cy="929661"/>
            </a:xfrm>
          </p:grpSpPr>
          <p:sp>
            <p:nvSpPr>
              <p:cNvPr id="11" name="Rectangle 10"/>
              <p:cNvSpPr/>
              <p:nvPr/>
            </p:nvSpPr>
            <p:spPr bwMode="ltGray">
              <a:xfrm>
                <a:off x="4752892" y="2377039"/>
                <a:ext cx="1069438" cy="70988"/>
              </a:xfrm>
              <a:prstGeom prst="rect">
                <a:avLst/>
              </a:prstGeom>
              <a:solidFill>
                <a:srgbClr val="A7A49B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48" name="Rectangle 247"/>
              <p:cNvSpPr/>
              <p:nvPr/>
            </p:nvSpPr>
            <p:spPr bwMode="ltGray">
              <a:xfrm>
                <a:off x="4752892" y="2663263"/>
                <a:ext cx="1069438" cy="70988"/>
              </a:xfrm>
              <a:prstGeom prst="rect">
                <a:avLst/>
              </a:prstGeom>
              <a:solidFill>
                <a:srgbClr val="A7A49B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49" name="Rectangle 248"/>
              <p:cNvSpPr/>
              <p:nvPr/>
            </p:nvSpPr>
            <p:spPr bwMode="ltGray">
              <a:xfrm>
                <a:off x="4752892" y="2949487"/>
                <a:ext cx="1069438" cy="70988"/>
              </a:xfrm>
              <a:prstGeom prst="rect">
                <a:avLst/>
              </a:prstGeom>
              <a:solidFill>
                <a:srgbClr val="A7A49B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50" name="Rectangle 249"/>
              <p:cNvSpPr/>
              <p:nvPr/>
            </p:nvSpPr>
            <p:spPr bwMode="ltGray">
              <a:xfrm>
                <a:off x="4752892" y="3235712"/>
                <a:ext cx="1069438" cy="70988"/>
              </a:xfrm>
              <a:prstGeom prst="rect">
                <a:avLst/>
              </a:prstGeom>
              <a:solidFill>
                <a:srgbClr val="A7A49B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5418617" y="2972035"/>
              <a:ext cx="1069438" cy="929661"/>
              <a:chOff x="6016380" y="2377039"/>
              <a:chExt cx="1069438" cy="929661"/>
            </a:xfrm>
          </p:grpSpPr>
          <p:sp>
            <p:nvSpPr>
              <p:cNvPr id="251" name="Rectangle 250"/>
              <p:cNvSpPr/>
              <p:nvPr/>
            </p:nvSpPr>
            <p:spPr bwMode="ltGray">
              <a:xfrm>
                <a:off x="6016380" y="2377039"/>
                <a:ext cx="1069438" cy="70988"/>
              </a:xfrm>
              <a:prstGeom prst="rect">
                <a:avLst/>
              </a:prstGeom>
              <a:solidFill>
                <a:srgbClr val="A7A49B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52" name="Rectangle 251"/>
              <p:cNvSpPr/>
              <p:nvPr/>
            </p:nvSpPr>
            <p:spPr bwMode="ltGray">
              <a:xfrm>
                <a:off x="6016380" y="2663263"/>
                <a:ext cx="1069438" cy="70988"/>
              </a:xfrm>
              <a:prstGeom prst="rect">
                <a:avLst/>
              </a:prstGeom>
              <a:solidFill>
                <a:srgbClr val="A7A49B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53" name="Rectangle 252"/>
              <p:cNvSpPr/>
              <p:nvPr/>
            </p:nvSpPr>
            <p:spPr bwMode="ltGray">
              <a:xfrm>
                <a:off x="6016380" y="2949487"/>
                <a:ext cx="1069438" cy="70988"/>
              </a:xfrm>
              <a:prstGeom prst="rect">
                <a:avLst/>
              </a:prstGeom>
              <a:solidFill>
                <a:srgbClr val="A7A49B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54" name="Rectangle 253"/>
              <p:cNvSpPr/>
              <p:nvPr/>
            </p:nvSpPr>
            <p:spPr bwMode="ltGray">
              <a:xfrm>
                <a:off x="6016380" y="3235712"/>
                <a:ext cx="1069438" cy="70988"/>
              </a:xfrm>
              <a:prstGeom prst="rect">
                <a:avLst/>
              </a:prstGeom>
              <a:solidFill>
                <a:srgbClr val="A7A49B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sp>
          <p:nvSpPr>
            <p:cNvPr id="14" name="Rectangle 13"/>
            <p:cNvSpPr/>
            <p:nvPr/>
          </p:nvSpPr>
          <p:spPr bwMode="ltGray">
            <a:xfrm>
              <a:off x="4107791" y="3064614"/>
              <a:ext cx="221921" cy="221921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5" name="Rectangle 254"/>
            <p:cNvSpPr/>
            <p:nvPr/>
          </p:nvSpPr>
          <p:spPr bwMode="ltGray">
            <a:xfrm>
              <a:off x="4819432" y="3347975"/>
              <a:ext cx="221921" cy="221921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6" name="Rectangle 255"/>
            <p:cNvSpPr/>
            <p:nvPr/>
          </p:nvSpPr>
          <p:spPr bwMode="ltGray">
            <a:xfrm>
              <a:off x="4105646" y="3630635"/>
              <a:ext cx="221921" cy="221921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7" name="Rectangle 256"/>
            <p:cNvSpPr/>
            <p:nvPr/>
          </p:nvSpPr>
          <p:spPr bwMode="ltGray">
            <a:xfrm>
              <a:off x="4462632" y="3630635"/>
              <a:ext cx="221921" cy="221921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Oval 14"/>
            <p:cNvSpPr/>
            <p:nvPr/>
          </p:nvSpPr>
          <p:spPr bwMode="ltGray">
            <a:xfrm>
              <a:off x="4477940" y="3095230"/>
              <a:ext cx="191305" cy="191305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8" name="Oval 257"/>
            <p:cNvSpPr/>
            <p:nvPr/>
          </p:nvSpPr>
          <p:spPr bwMode="ltGray">
            <a:xfrm>
              <a:off x="4477940" y="3378591"/>
              <a:ext cx="191305" cy="191305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9" name="Oval 258"/>
            <p:cNvSpPr/>
            <p:nvPr/>
          </p:nvSpPr>
          <p:spPr bwMode="ltGray">
            <a:xfrm>
              <a:off x="4834740" y="3661251"/>
              <a:ext cx="191305" cy="191305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5495188" y="3095230"/>
              <a:ext cx="916296" cy="191305"/>
              <a:chOff x="5026390" y="2608257"/>
              <a:chExt cx="916296" cy="191305"/>
            </a:xfrm>
          </p:grpSpPr>
          <p:sp>
            <p:nvSpPr>
              <p:cNvPr id="260" name="Oval 259"/>
              <p:cNvSpPr/>
              <p:nvPr/>
            </p:nvSpPr>
            <p:spPr bwMode="ltGray">
              <a:xfrm>
                <a:off x="5026390" y="2608257"/>
                <a:ext cx="191305" cy="191305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61" name="Oval 260"/>
              <p:cNvSpPr/>
              <p:nvPr/>
            </p:nvSpPr>
            <p:spPr bwMode="ltGray">
              <a:xfrm>
                <a:off x="5388886" y="2608257"/>
                <a:ext cx="191305" cy="191305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62" name="Oval 261"/>
              <p:cNvSpPr/>
              <p:nvPr/>
            </p:nvSpPr>
            <p:spPr bwMode="ltGray">
              <a:xfrm>
                <a:off x="5751381" y="2608257"/>
                <a:ext cx="191305" cy="191305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5486530" y="3347975"/>
              <a:ext cx="933612" cy="221921"/>
              <a:chOff x="5011168" y="2861002"/>
              <a:chExt cx="933612" cy="221921"/>
            </a:xfrm>
          </p:grpSpPr>
          <p:sp>
            <p:nvSpPr>
              <p:cNvPr id="263" name="Rectangle 262"/>
              <p:cNvSpPr/>
              <p:nvPr/>
            </p:nvSpPr>
            <p:spPr bwMode="ltGray">
              <a:xfrm>
                <a:off x="5011168" y="2861002"/>
                <a:ext cx="221921" cy="221921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64" name="Rectangle 263"/>
              <p:cNvSpPr/>
              <p:nvPr/>
            </p:nvSpPr>
            <p:spPr bwMode="ltGray">
              <a:xfrm>
                <a:off x="5367014" y="2861002"/>
                <a:ext cx="221921" cy="221921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65" name="Rectangle 264"/>
              <p:cNvSpPr/>
              <p:nvPr/>
            </p:nvSpPr>
            <p:spPr bwMode="ltGray">
              <a:xfrm>
                <a:off x="5722859" y="2861002"/>
                <a:ext cx="221921" cy="221921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270" name="Group 269"/>
            <p:cNvGrpSpPr/>
            <p:nvPr/>
          </p:nvGrpSpPr>
          <p:grpSpPr>
            <a:xfrm>
              <a:off x="5486530" y="3634853"/>
              <a:ext cx="933612" cy="221921"/>
              <a:chOff x="5011168" y="2861002"/>
              <a:chExt cx="933612" cy="221921"/>
            </a:xfrm>
          </p:grpSpPr>
          <p:sp>
            <p:nvSpPr>
              <p:cNvPr id="271" name="Rectangle 270"/>
              <p:cNvSpPr/>
              <p:nvPr/>
            </p:nvSpPr>
            <p:spPr bwMode="ltGray">
              <a:xfrm>
                <a:off x="5011168" y="2861002"/>
                <a:ext cx="221921" cy="221921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72" name="Rectangle 271"/>
              <p:cNvSpPr/>
              <p:nvPr/>
            </p:nvSpPr>
            <p:spPr bwMode="ltGray">
              <a:xfrm>
                <a:off x="5367014" y="2861002"/>
                <a:ext cx="221921" cy="221921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73" name="Rectangle 272"/>
              <p:cNvSpPr/>
              <p:nvPr/>
            </p:nvSpPr>
            <p:spPr bwMode="ltGray">
              <a:xfrm>
                <a:off x="5722859" y="2861002"/>
                <a:ext cx="221921" cy="221921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sp>
          <p:nvSpPr>
            <p:cNvPr id="274" name="Rectangle 273"/>
            <p:cNvSpPr/>
            <p:nvPr/>
          </p:nvSpPr>
          <p:spPr bwMode="ltGray">
            <a:xfrm>
              <a:off x="4819432" y="3064353"/>
              <a:ext cx="221921" cy="221921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75" name="Rectangle 274"/>
            <p:cNvSpPr/>
            <p:nvPr/>
          </p:nvSpPr>
          <p:spPr bwMode="ltGray">
            <a:xfrm>
              <a:off x="4105646" y="3347975"/>
              <a:ext cx="221921" cy="221921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1472896" y="1118501"/>
            <a:ext cx="7137704" cy="1543741"/>
            <a:chOff x="1472896" y="1193800"/>
            <a:chExt cx="7137704" cy="1543741"/>
          </a:xfrm>
        </p:grpSpPr>
        <p:sp>
          <p:nvSpPr>
            <p:cNvPr id="4" name="Rectangle 3"/>
            <p:cNvSpPr/>
            <p:nvPr/>
          </p:nvSpPr>
          <p:spPr bwMode="ltGray">
            <a:xfrm>
              <a:off x="3610776" y="1226865"/>
              <a:ext cx="4999824" cy="1510676"/>
            </a:xfrm>
            <a:prstGeom prst="rect">
              <a:avLst/>
            </a:prstGeom>
            <a:solidFill>
              <a:srgbClr val="A7A4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1472896" y="1193800"/>
              <a:ext cx="1956736" cy="14899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indent="-274320">
                <a:spcAft>
                  <a:spcPts val="900"/>
                </a:spcAft>
              </a:pPr>
              <a:r>
                <a:rPr lang="ru-RU" i="1" dirty="0" smtClean="0">
                  <a:solidFill>
                    <a:schemeClr val="bg1"/>
                  </a:solidFill>
                  <a:latin typeface="+mj-lt"/>
                </a:rPr>
                <a:t>... и окружающих условий для повышения эффективности процессов</a:t>
              </a:r>
            </a:p>
          </p:txBody>
        </p:sp>
        <p:sp>
          <p:nvSpPr>
            <p:cNvPr id="95" name="Freeform 8"/>
            <p:cNvSpPr>
              <a:spLocks/>
            </p:cNvSpPr>
            <p:nvPr/>
          </p:nvSpPr>
          <p:spPr bwMode="auto">
            <a:xfrm>
              <a:off x="4137247" y="1388889"/>
              <a:ext cx="729545" cy="678897"/>
            </a:xfrm>
            <a:custGeom>
              <a:avLst/>
              <a:gdLst>
                <a:gd name="T0" fmla="*/ 553 w 1065"/>
                <a:gd name="T1" fmla="*/ 562 h 1009"/>
                <a:gd name="T2" fmla="*/ 609 w 1065"/>
                <a:gd name="T3" fmla="*/ 557 h 1009"/>
                <a:gd name="T4" fmla="*/ 694 w 1065"/>
                <a:gd name="T5" fmla="*/ 549 h 1009"/>
                <a:gd name="T6" fmla="*/ 755 w 1065"/>
                <a:gd name="T7" fmla="*/ 547 h 1009"/>
                <a:gd name="T8" fmla="*/ 830 w 1065"/>
                <a:gd name="T9" fmla="*/ 549 h 1009"/>
                <a:gd name="T10" fmla="*/ 919 w 1065"/>
                <a:gd name="T11" fmla="*/ 551 h 1009"/>
                <a:gd name="T12" fmla="*/ 1000 w 1065"/>
                <a:gd name="T13" fmla="*/ 554 h 1009"/>
                <a:gd name="T14" fmla="*/ 1054 w 1065"/>
                <a:gd name="T15" fmla="*/ 557 h 1009"/>
                <a:gd name="T16" fmla="*/ 1064 w 1065"/>
                <a:gd name="T17" fmla="*/ 554 h 1009"/>
                <a:gd name="T18" fmla="*/ 1053 w 1065"/>
                <a:gd name="T19" fmla="*/ 522 h 1009"/>
                <a:gd name="T20" fmla="*/ 1024 w 1065"/>
                <a:gd name="T21" fmla="*/ 482 h 1009"/>
                <a:gd name="T22" fmla="*/ 984 w 1065"/>
                <a:gd name="T23" fmla="*/ 466 h 1009"/>
                <a:gd name="T24" fmla="*/ 886 w 1065"/>
                <a:gd name="T25" fmla="*/ 447 h 1009"/>
                <a:gd name="T26" fmla="*/ 750 w 1065"/>
                <a:gd name="T27" fmla="*/ 423 h 1009"/>
                <a:gd name="T28" fmla="*/ 615 w 1065"/>
                <a:gd name="T29" fmla="*/ 399 h 1009"/>
                <a:gd name="T30" fmla="*/ 520 w 1065"/>
                <a:gd name="T31" fmla="*/ 382 h 1009"/>
                <a:gd name="T32" fmla="*/ 411 w 1065"/>
                <a:gd name="T33" fmla="*/ 78 h 1009"/>
                <a:gd name="T34" fmla="*/ 387 w 1065"/>
                <a:gd name="T35" fmla="*/ 37 h 1009"/>
                <a:gd name="T36" fmla="*/ 350 w 1065"/>
                <a:gd name="T37" fmla="*/ 5 h 1009"/>
                <a:gd name="T38" fmla="*/ 320 w 1065"/>
                <a:gd name="T39" fmla="*/ 6 h 1009"/>
                <a:gd name="T40" fmla="*/ 302 w 1065"/>
                <a:gd name="T41" fmla="*/ 46 h 1009"/>
                <a:gd name="T42" fmla="*/ 297 w 1065"/>
                <a:gd name="T43" fmla="*/ 97 h 1009"/>
                <a:gd name="T44" fmla="*/ 381 w 1065"/>
                <a:gd name="T45" fmla="*/ 414 h 1009"/>
                <a:gd name="T46" fmla="*/ 328 w 1065"/>
                <a:gd name="T47" fmla="*/ 463 h 1009"/>
                <a:gd name="T48" fmla="*/ 236 w 1065"/>
                <a:gd name="T49" fmla="*/ 550 h 1009"/>
                <a:gd name="T50" fmla="*/ 133 w 1065"/>
                <a:gd name="T51" fmla="*/ 646 h 1009"/>
                <a:gd name="T52" fmla="*/ 49 w 1065"/>
                <a:gd name="T53" fmla="*/ 726 h 1009"/>
                <a:gd name="T54" fmla="*/ 13 w 1065"/>
                <a:gd name="T55" fmla="*/ 762 h 1009"/>
                <a:gd name="T56" fmla="*/ 2 w 1065"/>
                <a:gd name="T57" fmla="*/ 855 h 1009"/>
                <a:gd name="T58" fmla="*/ 14 w 1065"/>
                <a:gd name="T59" fmla="*/ 858 h 1009"/>
                <a:gd name="T60" fmla="*/ 53 w 1065"/>
                <a:gd name="T61" fmla="*/ 830 h 1009"/>
                <a:gd name="T62" fmla="*/ 113 w 1065"/>
                <a:gd name="T63" fmla="*/ 787 h 1009"/>
                <a:gd name="T64" fmla="*/ 178 w 1065"/>
                <a:gd name="T65" fmla="*/ 741 h 1009"/>
                <a:gd name="T66" fmla="*/ 237 w 1065"/>
                <a:gd name="T67" fmla="*/ 701 h 1009"/>
                <a:gd name="T68" fmla="*/ 291 w 1065"/>
                <a:gd name="T69" fmla="*/ 670 h 1009"/>
                <a:gd name="T70" fmla="*/ 377 w 1065"/>
                <a:gd name="T71" fmla="*/ 627 h 1009"/>
                <a:gd name="T72" fmla="*/ 435 w 1065"/>
                <a:gd name="T73" fmla="*/ 598 h 1009"/>
                <a:gd name="T74" fmla="*/ 496 w 1065"/>
                <a:gd name="T75" fmla="*/ 805 h 1009"/>
                <a:gd name="T76" fmla="*/ 464 w 1065"/>
                <a:gd name="T77" fmla="*/ 840 h 1009"/>
                <a:gd name="T78" fmla="*/ 425 w 1065"/>
                <a:gd name="T79" fmla="*/ 901 h 1009"/>
                <a:gd name="T80" fmla="*/ 416 w 1065"/>
                <a:gd name="T81" fmla="*/ 962 h 1009"/>
                <a:gd name="T82" fmla="*/ 430 w 1065"/>
                <a:gd name="T83" fmla="*/ 992 h 1009"/>
                <a:gd name="T84" fmla="*/ 440 w 1065"/>
                <a:gd name="T85" fmla="*/ 999 h 1009"/>
                <a:gd name="T86" fmla="*/ 586 w 1065"/>
                <a:gd name="T87" fmla="*/ 994 h 1009"/>
                <a:gd name="T88" fmla="*/ 598 w 1065"/>
                <a:gd name="T89" fmla="*/ 1006 h 1009"/>
                <a:gd name="T90" fmla="*/ 615 w 1065"/>
                <a:gd name="T91" fmla="*/ 1009 h 1009"/>
                <a:gd name="T92" fmla="*/ 638 w 1065"/>
                <a:gd name="T93" fmla="*/ 994 h 1009"/>
                <a:gd name="T94" fmla="*/ 617 w 1065"/>
                <a:gd name="T95" fmla="*/ 895 h 1009"/>
                <a:gd name="T96" fmla="*/ 767 w 1065"/>
                <a:gd name="T97" fmla="*/ 870 h 1009"/>
                <a:gd name="T98" fmla="*/ 728 w 1065"/>
                <a:gd name="T99" fmla="*/ 808 h 1009"/>
                <a:gd name="T100" fmla="*/ 663 w 1065"/>
                <a:gd name="T101" fmla="*/ 785 h 1009"/>
                <a:gd name="T102" fmla="*/ 611 w 1065"/>
                <a:gd name="T103" fmla="*/ 773 h 1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65" h="1009">
                  <a:moveTo>
                    <a:pt x="607" y="772"/>
                  </a:moveTo>
                  <a:lnTo>
                    <a:pt x="548" y="564"/>
                  </a:lnTo>
                  <a:lnTo>
                    <a:pt x="553" y="562"/>
                  </a:lnTo>
                  <a:lnTo>
                    <a:pt x="565" y="561"/>
                  </a:lnTo>
                  <a:lnTo>
                    <a:pt x="585" y="559"/>
                  </a:lnTo>
                  <a:lnTo>
                    <a:pt x="609" y="557"/>
                  </a:lnTo>
                  <a:lnTo>
                    <a:pt x="637" y="553"/>
                  </a:lnTo>
                  <a:lnTo>
                    <a:pt x="666" y="551"/>
                  </a:lnTo>
                  <a:lnTo>
                    <a:pt x="694" y="549"/>
                  </a:lnTo>
                  <a:lnTo>
                    <a:pt x="721" y="547"/>
                  </a:lnTo>
                  <a:lnTo>
                    <a:pt x="736" y="547"/>
                  </a:lnTo>
                  <a:lnTo>
                    <a:pt x="755" y="547"/>
                  </a:lnTo>
                  <a:lnTo>
                    <a:pt x="779" y="547"/>
                  </a:lnTo>
                  <a:lnTo>
                    <a:pt x="804" y="547"/>
                  </a:lnTo>
                  <a:lnTo>
                    <a:pt x="830" y="549"/>
                  </a:lnTo>
                  <a:lnTo>
                    <a:pt x="860" y="550"/>
                  </a:lnTo>
                  <a:lnTo>
                    <a:pt x="889" y="550"/>
                  </a:lnTo>
                  <a:lnTo>
                    <a:pt x="919" y="551"/>
                  </a:lnTo>
                  <a:lnTo>
                    <a:pt x="947" y="552"/>
                  </a:lnTo>
                  <a:lnTo>
                    <a:pt x="974" y="553"/>
                  </a:lnTo>
                  <a:lnTo>
                    <a:pt x="1000" y="554"/>
                  </a:lnTo>
                  <a:lnTo>
                    <a:pt x="1022" y="554"/>
                  </a:lnTo>
                  <a:lnTo>
                    <a:pt x="1039" y="555"/>
                  </a:lnTo>
                  <a:lnTo>
                    <a:pt x="1054" y="557"/>
                  </a:lnTo>
                  <a:lnTo>
                    <a:pt x="1062" y="557"/>
                  </a:lnTo>
                  <a:lnTo>
                    <a:pt x="1065" y="557"/>
                  </a:lnTo>
                  <a:lnTo>
                    <a:pt x="1064" y="554"/>
                  </a:lnTo>
                  <a:lnTo>
                    <a:pt x="1063" y="546"/>
                  </a:lnTo>
                  <a:lnTo>
                    <a:pt x="1058" y="536"/>
                  </a:lnTo>
                  <a:lnTo>
                    <a:pt x="1053" y="522"/>
                  </a:lnTo>
                  <a:lnTo>
                    <a:pt x="1046" y="508"/>
                  </a:lnTo>
                  <a:lnTo>
                    <a:pt x="1035" y="494"/>
                  </a:lnTo>
                  <a:lnTo>
                    <a:pt x="1024" y="482"/>
                  </a:lnTo>
                  <a:lnTo>
                    <a:pt x="1009" y="471"/>
                  </a:lnTo>
                  <a:lnTo>
                    <a:pt x="1002" y="469"/>
                  </a:lnTo>
                  <a:lnTo>
                    <a:pt x="984" y="466"/>
                  </a:lnTo>
                  <a:lnTo>
                    <a:pt x="958" y="461"/>
                  </a:lnTo>
                  <a:lnTo>
                    <a:pt x="925" y="454"/>
                  </a:lnTo>
                  <a:lnTo>
                    <a:pt x="886" y="447"/>
                  </a:lnTo>
                  <a:lnTo>
                    <a:pt x="843" y="439"/>
                  </a:lnTo>
                  <a:lnTo>
                    <a:pt x="797" y="431"/>
                  </a:lnTo>
                  <a:lnTo>
                    <a:pt x="750" y="423"/>
                  </a:lnTo>
                  <a:lnTo>
                    <a:pt x="702" y="414"/>
                  </a:lnTo>
                  <a:lnTo>
                    <a:pt x="658" y="406"/>
                  </a:lnTo>
                  <a:lnTo>
                    <a:pt x="615" y="399"/>
                  </a:lnTo>
                  <a:lnTo>
                    <a:pt x="577" y="392"/>
                  </a:lnTo>
                  <a:lnTo>
                    <a:pt x="545" y="386"/>
                  </a:lnTo>
                  <a:lnTo>
                    <a:pt x="520" y="382"/>
                  </a:lnTo>
                  <a:lnTo>
                    <a:pt x="504" y="379"/>
                  </a:lnTo>
                  <a:lnTo>
                    <a:pt x="499" y="378"/>
                  </a:lnTo>
                  <a:lnTo>
                    <a:pt x="411" y="78"/>
                  </a:lnTo>
                  <a:lnTo>
                    <a:pt x="405" y="65"/>
                  </a:lnTo>
                  <a:lnTo>
                    <a:pt x="397" y="51"/>
                  </a:lnTo>
                  <a:lnTo>
                    <a:pt x="387" y="37"/>
                  </a:lnTo>
                  <a:lnTo>
                    <a:pt x="375" y="25"/>
                  </a:lnTo>
                  <a:lnTo>
                    <a:pt x="363" y="13"/>
                  </a:lnTo>
                  <a:lnTo>
                    <a:pt x="350" y="5"/>
                  </a:lnTo>
                  <a:lnTo>
                    <a:pt x="339" y="0"/>
                  </a:lnTo>
                  <a:lnTo>
                    <a:pt x="328" y="0"/>
                  </a:lnTo>
                  <a:lnTo>
                    <a:pt x="320" y="6"/>
                  </a:lnTo>
                  <a:lnTo>
                    <a:pt x="312" y="16"/>
                  </a:lnTo>
                  <a:lnTo>
                    <a:pt x="306" y="30"/>
                  </a:lnTo>
                  <a:lnTo>
                    <a:pt x="302" y="46"/>
                  </a:lnTo>
                  <a:lnTo>
                    <a:pt x="298" y="64"/>
                  </a:lnTo>
                  <a:lnTo>
                    <a:pt x="297" y="81"/>
                  </a:lnTo>
                  <a:lnTo>
                    <a:pt x="297" y="97"/>
                  </a:lnTo>
                  <a:lnTo>
                    <a:pt x="299" y="110"/>
                  </a:lnTo>
                  <a:lnTo>
                    <a:pt x="386" y="410"/>
                  </a:lnTo>
                  <a:lnTo>
                    <a:pt x="381" y="414"/>
                  </a:lnTo>
                  <a:lnTo>
                    <a:pt x="370" y="425"/>
                  </a:lnTo>
                  <a:lnTo>
                    <a:pt x="352" y="441"/>
                  </a:lnTo>
                  <a:lnTo>
                    <a:pt x="328" y="463"/>
                  </a:lnTo>
                  <a:lnTo>
                    <a:pt x="300" y="490"/>
                  </a:lnTo>
                  <a:lnTo>
                    <a:pt x="269" y="519"/>
                  </a:lnTo>
                  <a:lnTo>
                    <a:pt x="236" y="550"/>
                  </a:lnTo>
                  <a:lnTo>
                    <a:pt x="201" y="582"/>
                  </a:lnTo>
                  <a:lnTo>
                    <a:pt x="167" y="614"/>
                  </a:lnTo>
                  <a:lnTo>
                    <a:pt x="133" y="646"/>
                  </a:lnTo>
                  <a:lnTo>
                    <a:pt x="101" y="675"/>
                  </a:lnTo>
                  <a:lnTo>
                    <a:pt x="74" y="703"/>
                  </a:lnTo>
                  <a:lnTo>
                    <a:pt x="49" y="726"/>
                  </a:lnTo>
                  <a:lnTo>
                    <a:pt x="30" y="743"/>
                  </a:lnTo>
                  <a:lnTo>
                    <a:pt x="17" y="756"/>
                  </a:lnTo>
                  <a:lnTo>
                    <a:pt x="13" y="762"/>
                  </a:lnTo>
                  <a:lnTo>
                    <a:pt x="1" y="797"/>
                  </a:lnTo>
                  <a:lnTo>
                    <a:pt x="0" y="831"/>
                  </a:lnTo>
                  <a:lnTo>
                    <a:pt x="2" y="855"/>
                  </a:lnTo>
                  <a:lnTo>
                    <a:pt x="4" y="865"/>
                  </a:lnTo>
                  <a:lnTo>
                    <a:pt x="7" y="864"/>
                  </a:lnTo>
                  <a:lnTo>
                    <a:pt x="14" y="858"/>
                  </a:lnTo>
                  <a:lnTo>
                    <a:pt x="23" y="851"/>
                  </a:lnTo>
                  <a:lnTo>
                    <a:pt x="37" y="842"/>
                  </a:lnTo>
                  <a:lnTo>
                    <a:pt x="53" y="830"/>
                  </a:lnTo>
                  <a:lnTo>
                    <a:pt x="71" y="817"/>
                  </a:lnTo>
                  <a:lnTo>
                    <a:pt x="91" y="802"/>
                  </a:lnTo>
                  <a:lnTo>
                    <a:pt x="113" y="787"/>
                  </a:lnTo>
                  <a:lnTo>
                    <a:pt x="135" y="772"/>
                  </a:lnTo>
                  <a:lnTo>
                    <a:pt x="157" y="756"/>
                  </a:lnTo>
                  <a:lnTo>
                    <a:pt x="178" y="741"/>
                  </a:lnTo>
                  <a:lnTo>
                    <a:pt x="199" y="726"/>
                  </a:lnTo>
                  <a:lnTo>
                    <a:pt x="219" y="713"/>
                  </a:lnTo>
                  <a:lnTo>
                    <a:pt x="237" y="701"/>
                  </a:lnTo>
                  <a:lnTo>
                    <a:pt x="253" y="691"/>
                  </a:lnTo>
                  <a:lnTo>
                    <a:pt x="266" y="683"/>
                  </a:lnTo>
                  <a:lnTo>
                    <a:pt x="291" y="670"/>
                  </a:lnTo>
                  <a:lnTo>
                    <a:pt x="319" y="656"/>
                  </a:lnTo>
                  <a:lnTo>
                    <a:pt x="349" y="641"/>
                  </a:lnTo>
                  <a:lnTo>
                    <a:pt x="377" y="627"/>
                  </a:lnTo>
                  <a:lnTo>
                    <a:pt x="401" y="614"/>
                  </a:lnTo>
                  <a:lnTo>
                    <a:pt x="421" y="605"/>
                  </a:lnTo>
                  <a:lnTo>
                    <a:pt x="435" y="598"/>
                  </a:lnTo>
                  <a:lnTo>
                    <a:pt x="440" y="596"/>
                  </a:lnTo>
                  <a:lnTo>
                    <a:pt x="500" y="803"/>
                  </a:lnTo>
                  <a:lnTo>
                    <a:pt x="496" y="805"/>
                  </a:lnTo>
                  <a:lnTo>
                    <a:pt x="489" y="813"/>
                  </a:lnTo>
                  <a:lnTo>
                    <a:pt x="478" y="825"/>
                  </a:lnTo>
                  <a:lnTo>
                    <a:pt x="464" y="840"/>
                  </a:lnTo>
                  <a:lnTo>
                    <a:pt x="450" y="858"/>
                  </a:lnTo>
                  <a:lnTo>
                    <a:pt x="436" y="878"/>
                  </a:lnTo>
                  <a:lnTo>
                    <a:pt x="425" y="901"/>
                  </a:lnTo>
                  <a:lnTo>
                    <a:pt x="418" y="924"/>
                  </a:lnTo>
                  <a:lnTo>
                    <a:pt x="416" y="946"/>
                  </a:lnTo>
                  <a:lnTo>
                    <a:pt x="416" y="962"/>
                  </a:lnTo>
                  <a:lnTo>
                    <a:pt x="419" y="976"/>
                  </a:lnTo>
                  <a:lnTo>
                    <a:pt x="424" y="985"/>
                  </a:lnTo>
                  <a:lnTo>
                    <a:pt x="430" y="992"/>
                  </a:lnTo>
                  <a:lnTo>
                    <a:pt x="434" y="997"/>
                  </a:lnTo>
                  <a:lnTo>
                    <a:pt x="439" y="998"/>
                  </a:lnTo>
                  <a:lnTo>
                    <a:pt x="440" y="999"/>
                  </a:lnTo>
                  <a:lnTo>
                    <a:pt x="562" y="911"/>
                  </a:lnTo>
                  <a:lnTo>
                    <a:pt x="584" y="989"/>
                  </a:lnTo>
                  <a:lnTo>
                    <a:pt x="586" y="994"/>
                  </a:lnTo>
                  <a:lnTo>
                    <a:pt x="590" y="999"/>
                  </a:lnTo>
                  <a:lnTo>
                    <a:pt x="593" y="1002"/>
                  </a:lnTo>
                  <a:lnTo>
                    <a:pt x="598" y="1006"/>
                  </a:lnTo>
                  <a:lnTo>
                    <a:pt x="603" y="1008"/>
                  </a:lnTo>
                  <a:lnTo>
                    <a:pt x="609" y="1009"/>
                  </a:lnTo>
                  <a:lnTo>
                    <a:pt x="615" y="1009"/>
                  </a:lnTo>
                  <a:lnTo>
                    <a:pt x="621" y="1008"/>
                  </a:lnTo>
                  <a:lnTo>
                    <a:pt x="631" y="1002"/>
                  </a:lnTo>
                  <a:lnTo>
                    <a:pt x="638" y="994"/>
                  </a:lnTo>
                  <a:lnTo>
                    <a:pt x="641" y="984"/>
                  </a:lnTo>
                  <a:lnTo>
                    <a:pt x="640" y="972"/>
                  </a:lnTo>
                  <a:lnTo>
                    <a:pt x="617" y="895"/>
                  </a:lnTo>
                  <a:lnTo>
                    <a:pt x="768" y="903"/>
                  </a:lnTo>
                  <a:lnTo>
                    <a:pt x="768" y="894"/>
                  </a:lnTo>
                  <a:lnTo>
                    <a:pt x="767" y="870"/>
                  </a:lnTo>
                  <a:lnTo>
                    <a:pt x="760" y="842"/>
                  </a:lnTo>
                  <a:lnTo>
                    <a:pt x="743" y="817"/>
                  </a:lnTo>
                  <a:lnTo>
                    <a:pt x="728" y="808"/>
                  </a:lnTo>
                  <a:lnTo>
                    <a:pt x="708" y="799"/>
                  </a:lnTo>
                  <a:lnTo>
                    <a:pt x="686" y="792"/>
                  </a:lnTo>
                  <a:lnTo>
                    <a:pt x="663" y="785"/>
                  </a:lnTo>
                  <a:lnTo>
                    <a:pt x="641" y="779"/>
                  </a:lnTo>
                  <a:lnTo>
                    <a:pt x="624" y="775"/>
                  </a:lnTo>
                  <a:lnTo>
                    <a:pt x="611" y="773"/>
                  </a:lnTo>
                  <a:lnTo>
                    <a:pt x="607" y="77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239" name="Group 238"/>
            <p:cNvGrpSpPr/>
            <p:nvPr/>
          </p:nvGrpSpPr>
          <p:grpSpPr>
            <a:xfrm>
              <a:off x="7407407" y="1540741"/>
              <a:ext cx="712150" cy="550427"/>
              <a:chOff x="5700713" y="4672013"/>
              <a:chExt cx="796925" cy="615950"/>
            </a:xfrm>
          </p:grpSpPr>
          <p:sp>
            <p:nvSpPr>
              <p:cNvPr id="240" name="Freeform 292"/>
              <p:cNvSpPr>
                <a:spLocks/>
              </p:cNvSpPr>
              <p:nvPr/>
            </p:nvSpPr>
            <p:spPr bwMode="auto">
              <a:xfrm>
                <a:off x="5986463" y="4672013"/>
                <a:ext cx="104775" cy="104775"/>
              </a:xfrm>
              <a:custGeom>
                <a:avLst/>
                <a:gdLst>
                  <a:gd name="T0" fmla="*/ 34 w 66"/>
                  <a:gd name="T1" fmla="*/ 66 h 66"/>
                  <a:gd name="T2" fmla="*/ 34 w 66"/>
                  <a:gd name="T3" fmla="*/ 66 h 66"/>
                  <a:gd name="T4" fmla="*/ 40 w 66"/>
                  <a:gd name="T5" fmla="*/ 66 h 66"/>
                  <a:gd name="T6" fmla="*/ 46 w 66"/>
                  <a:gd name="T7" fmla="*/ 64 h 66"/>
                  <a:gd name="T8" fmla="*/ 52 w 66"/>
                  <a:gd name="T9" fmla="*/ 60 h 66"/>
                  <a:gd name="T10" fmla="*/ 56 w 66"/>
                  <a:gd name="T11" fmla="*/ 56 h 66"/>
                  <a:gd name="T12" fmla="*/ 60 w 66"/>
                  <a:gd name="T13" fmla="*/ 52 h 66"/>
                  <a:gd name="T14" fmla="*/ 64 w 66"/>
                  <a:gd name="T15" fmla="*/ 46 h 66"/>
                  <a:gd name="T16" fmla="*/ 66 w 66"/>
                  <a:gd name="T17" fmla="*/ 40 h 66"/>
                  <a:gd name="T18" fmla="*/ 66 w 66"/>
                  <a:gd name="T19" fmla="*/ 32 h 66"/>
                  <a:gd name="T20" fmla="*/ 66 w 66"/>
                  <a:gd name="T21" fmla="*/ 32 h 66"/>
                  <a:gd name="T22" fmla="*/ 66 w 66"/>
                  <a:gd name="T23" fmla="*/ 26 h 66"/>
                  <a:gd name="T24" fmla="*/ 64 w 66"/>
                  <a:gd name="T25" fmla="*/ 20 h 66"/>
                  <a:gd name="T26" fmla="*/ 60 w 66"/>
                  <a:gd name="T27" fmla="*/ 14 h 66"/>
                  <a:gd name="T28" fmla="*/ 56 w 66"/>
                  <a:gd name="T29" fmla="*/ 8 h 66"/>
                  <a:gd name="T30" fmla="*/ 52 w 66"/>
                  <a:gd name="T31" fmla="*/ 4 h 66"/>
                  <a:gd name="T32" fmla="*/ 46 w 66"/>
                  <a:gd name="T33" fmla="*/ 2 h 66"/>
                  <a:gd name="T34" fmla="*/ 40 w 66"/>
                  <a:gd name="T35" fmla="*/ 0 h 66"/>
                  <a:gd name="T36" fmla="*/ 34 w 66"/>
                  <a:gd name="T37" fmla="*/ 0 h 66"/>
                  <a:gd name="T38" fmla="*/ 34 w 66"/>
                  <a:gd name="T39" fmla="*/ 0 h 66"/>
                  <a:gd name="T40" fmla="*/ 26 w 66"/>
                  <a:gd name="T41" fmla="*/ 0 h 66"/>
                  <a:gd name="T42" fmla="*/ 20 w 66"/>
                  <a:gd name="T43" fmla="*/ 2 h 66"/>
                  <a:gd name="T44" fmla="*/ 14 w 66"/>
                  <a:gd name="T45" fmla="*/ 4 h 66"/>
                  <a:gd name="T46" fmla="*/ 10 w 66"/>
                  <a:gd name="T47" fmla="*/ 8 h 66"/>
                  <a:gd name="T48" fmla="*/ 6 w 66"/>
                  <a:gd name="T49" fmla="*/ 14 h 66"/>
                  <a:gd name="T50" fmla="*/ 2 w 66"/>
                  <a:gd name="T51" fmla="*/ 20 h 66"/>
                  <a:gd name="T52" fmla="*/ 0 w 66"/>
                  <a:gd name="T53" fmla="*/ 26 h 66"/>
                  <a:gd name="T54" fmla="*/ 0 w 66"/>
                  <a:gd name="T55" fmla="*/ 32 h 66"/>
                  <a:gd name="T56" fmla="*/ 0 w 66"/>
                  <a:gd name="T57" fmla="*/ 32 h 66"/>
                  <a:gd name="T58" fmla="*/ 0 w 66"/>
                  <a:gd name="T59" fmla="*/ 40 h 66"/>
                  <a:gd name="T60" fmla="*/ 2 w 66"/>
                  <a:gd name="T61" fmla="*/ 46 h 66"/>
                  <a:gd name="T62" fmla="*/ 6 w 66"/>
                  <a:gd name="T63" fmla="*/ 52 h 66"/>
                  <a:gd name="T64" fmla="*/ 10 w 66"/>
                  <a:gd name="T65" fmla="*/ 56 h 66"/>
                  <a:gd name="T66" fmla="*/ 14 w 66"/>
                  <a:gd name="T67" fmla="*/ 60 h 66"/>
                  <a:gd name="T68" fmla="*/ 20 w 66"/>
                  <a:gd name="T69" fmla="*/ 64 h 66"/>
                  <a:gd name="T70" fmla="*/ 26 w 66"/>
                  <a:gd name="T71" fmla="*/ 66 h 66"/>
                  <a:gd name="T72" fmla="*/ 34 w 66"/>
                  <a:gd name="T73" fmla="*/ 66 h 66"/>
                  <a:gd name="T74" fmla="*/ 34 w 66"/>
                  <a:gd name="T75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6" h="66">
                    <a:moveTo>
                      <a:pt x="34" y="66"/>
                    </a:move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0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2"/>
                    </a:lnTo>
                    <a:lnTo>
                      <a:pt x="66" y="32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0" y="14"/>
                    </a:lnTo>
                    <a:lnTo>
                      <a:pt x="56" y="8"/>
                    </a:lnTo>
                    <a:lnTo>
                      <a:pt x="52" y="4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4" y="60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41" name="Line 293"/>
              <p:cNvSpPr>
                <a:spLocks noChangeShapeType="1"/>
              </p:cNvSpPr>
              <p:nvPr/>
            </p:nvSpPr>
            <p:spPr bwMode="auto">
              <a:xfrm>
                <a:off x="6040438" y="4722813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42" name="Line 294"/>
              <p:cNvSpPr>
                <a:spLocks noChangeShapeType="1"/>
              </p:cNvSpPr>
              <p:nvPr/>
            </p:nvSpPr>
            <p:spPr bwMode="auto">
              <a:xfrm>
                <a:off x="6040438" y="4722813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44" name="Freeform 296"/>
              <p:cNvSpPr>
                <a:spLocks noEditPoints="1"/>
              </p:cNvSpPr>
              <p:nvPr/>
            </p:nvSpPr>
            <p:spPr bwMode="auto">
              <a:xfrm>
                <a:off x="5700713" y="4729163"/>
                <a:ext cx="796925" cy="558800"/>
              </a:xfrm>
              <a:custGeom>
                <a:avLst/>
                <a:gdLst>
                  <a:gd name="T0" fmla="*/ 366 w 502"/>
                  <a:gd name="T1" fmla="*/ 0 h 352"/>
                  <a:gd name="T2" fmla="*/ 328 w 502"/>
                  <a:gd name="T3" fmla="*/ 10 h 352"/>
                  <a:gd name="T4" fmla="*/ 246 w 502"/>
                  <a:gd name="T5" fmla="*/ 68 h 352"/>
                  <a:gd name="T6" fmla="*/ 244 w 502"/>
                  <a:gd name="T7" fmla="*/ 54 h 352"/>
                  <a:gd name="T8" fmla="*/ 230 w 502"/>
                  <a:gd name="T9" fmla="*/ 40 h 352"/>
                  <a:gd name="T10" fmla="*/ 202 w 502"/>
                  <a:gd name="T11" fmla="*/ 38 h 352"/>
                  <a:gd name="T12" fmla="*/ 186 w 502"/>
                  <a:gd name="T13" fmla="*/ 48 h 352"/>
                  <a:gd name="T14" fmla="*/ 180 w 502"/>
                  <a:gd name="T15" fmla="*/ 68 h 352"/>
                  <a:gd name="T16" fmla="*/ 118 w 502"/>
                  <a:gd name="T17" fmla="*/ 216 h 352"/>
                  <a:gd name="T18" fmla="*/ 100 w 502"/>
                  <a:gd name="T19" fmla="*/ 222 h 352"/>
                  <a:gd name="T20" fmla="*/ 62 w 502"/>
                  <a:gd name="T21" fmla="*/ 222 h 352"/>
                  <a:gd name="T22" fmla="*/ 26 w 502"/>
                  <a:gd name="T23" fmla="*/ 234 h 352"/>
                  <a:gd name="T24" fmla="*/ 4 w 502"/>
                  <a:gd name="T25" fmla="*/ 264 h 352"/>
                  <a:gd name="T26" fmla="*/ 0 w 502"/>
                  <a:gd name="T27" fmla="*/ 286 h 352"/>
                  <a:gd name="T28" fmla="*/ 10 w 502"/>
                  <a:gd name="T29" fmla="*/ 320 h 352"/>
                  <a:gd name="T30" fmla="*/ 38 w 502"/>
                  <a:gd name="T31" fmla="*/ 346 h 352"/>
                  <a:gd name="T32" fmla="*/ 66 w 502"/>
                  <a:gd name="T33" fmla="*/ 352 h 352"/>
                  <a:gd name="T34" fmla="*/ 146 w 502"/>
                  <a:gd name="T35" fmla="*/ 350 h 352"/>
                  <a:gd name="T36" fmla="*/ 184 w 502"/>
                  <a:gd name="T37" fmla="*/ 330 h 352"/>
                  <a:gd name="T38" fmla="*/ 388 w 502"/>
                  <a:gd name="T39" fmla="*/ 130 h 352"/>
                  <a:gd name="T40" fmla="*/ 446 w 502"/>
                  <a:gd name="T41" fmla="*/ 128 h 352"/>
                  <a:gd name="T42" fmla="*/ 464 w 502"/>
                  <a:gd name="T43" fmla="*/ 124 h 352"/>
                  <a:gd name="T44" fmla="*/ 492 w 502"/>
                  <a:gd name="T45" fmla="*/ 100 h 352"/>
                  <a:gd name="T46" fmla="*/ 502 w 502"/>
                  <a:gd name="T47" fmla="*/ 62 h 352"/>
                  <a:gd name="T48" fmla="*/ 498 w 502"/>
                  <a:gd name="T49" fmla="*/ 36 h 352"/>
                  <a:gd name="T50" fmla="*/ 474 w 502"/>
                  <a:gd name="T51" fmla="*/ 10 h 352"/>
                  <a:gd name="T52" fmla="*/ 444 w 502"/>
                  <a:gd name="T53" fmla="*/ 0 h 352"/>
                  <a:gd name="T54" fmla="*/ 398 w 502"/>
                  <a:gd name="T55" fmla="*/ 94 h 352"/>
                  <a:gd name="T56" fmla="*/ 378 w 502"/>
                  <a:gd name="T57" fmla="*/ 98 h 352"/>
                  <a:gd name="T58" fmla="*/ 162 w 502"/>
                  <a:gd name="T59" fmla="*/ 308 h 352"/>
                  <a:gd name="T60" fmla="*/ 148 w 502"/>
                  <a:gd name="T61" fmla="*/ 316 h 352"/>
                  <a:gd name="T62" fmla="*/ 66 w 502"/>
                  <a:gd name="T63" fmla="*/ 318 h 352"/>
                  <a:gd name="T64" fmla="*/ 54 w 502"/>
                  <a:gd name="T65" fmla="*/ 316 h 352"/>
                  <a:gd name="T66" fmla="*/ 36 w 502"/>
                  <a:gd name="T67" fmla="*/ 298 h 352"/>
                  <a:gd name="T68" fmla="*/ 34 w 502"/>
                  <a:gd name="T69" fmla="*/ 286 h 352"/>
                  <a:gd name="T70" fmla="*/ 38 w 502"/>
                  <a:gd name="T71" fmla="*/ 268 h 352"/>
                  <a:gd name="T72" fmla="*/ 62 w 502"/>
                  <a:gd name="T73" fmla="*/ 256 h 352"/>
                  <a:gd name="T74" fmla="*/ 116 w 502"/>
                  <a:gd name="T75" fmla="*/ 256 h 352"/>
                  <a:gd name="T76" fmla="*/ 138 w 502"/>
                  <a:gd name="T77" fmla="*/ 244 h 352"/>
                  <a:gd name="T78" fmla="*/ 346 w 502"/>
                  <a:gd name="T79" fmla="*/ 36 h 352"/>
                  <a:gd name="T80" fmla="*/ 372 w 502"/>
                  <a:gd name="T81" fmla="*/ 32 h 352"/>
                  <a:gd name="T82" fmla="*/ 446 w 502"/>
                  <a:gd name="T83" fmla="*/ 34 h 352"/>
                  <a:gd name="T84" fmla="*/ 468 w 502"/>
                  <a:gd name="T85" fmla="*/ 52 h 352"/>
                  <a:gd name="T86" fmla="*/ 468 w 502"/>
                  <a:gd name="T87" fmla="*/ 72 h 352"/>
                  <a:gd name="T88" fmla="*/ 454 w 502"/>
                  <a:gd name="T89" fmla="*/ 92 h 352"/>
                  <a:gd name="T90" fmla="*/ 440 w 502"/>
                  <a:gd name="T91" fmla="*/ 94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02" h="352">
                    <a:moveTo>
                      <a:pt x="444" y="0"/>
                    </a:moveTo>
                    <a:lnTo>
                      <a:pt x="366" y="0"/>
                    </a:lnTo>
                    <a:lnTo>
                      <a:pt x="366" y="0"/>
                    </a:lnTo>
                    <a:lnTo>
                      <a:pt x="354" y="0"/>
                    </a:lnTo>
                    <a:lnTo>
                      <a:pt x="340" y="4"/>
                    </a:lnTo>
                    <a:lnTo>
                      <a:pt x="328" y="10"/>
                    </a:lnTo>
                    <a:lnTo>
                      <a:pt x="318" y="18"/>
                    </a:lnTo>
                    <a:lnTo>
                      <a:pt x="246" y="90"/>
                    </a:lnTo>
                    <a:lnTo>
                      <a:pt x="246" y="68"/>
                    </a:lnTo>
                    <a:lnTo>
                      <a:pt x="246" y="68"/>
                    </a:lnTo>
                    <a:lnTo>
                      <a:pt x="246" y="60"/>
                    </a:lnTo>
                    <a:lnTo>
                      <a:pt x="244" y="54"/>
                    </a:lnTo>
                    <a:lnTo>
                      <a:pt x="240" y="48"/>
                    </a:lnTo>
                    <a:lnTo>
                      <a:pt x="236" y="44"/>
                    </a:lnTo>
                    <a:lnTo>
                      <a:pt x="230" y="40"/>
                    </a:lnTo>
                    <a:lnTo>
                      <a:pt x="226" y="38"/>
                    </a:lnTo>
                    <a:lnTo>
                      <a:pt x="214" y="36"/>
                    </a:lnTo>
                    <a:lnTo>
                      <a:pt x="202" y="38"/>
                    </a:lnTo>
                    <a:lnTo>
                      <a:pt x="196" y="40"/>
                    </a:lnTo>
                    <a:lnTo>
                      <a:pt x="190" y="44"/>
                    </a:lnTo>
                    <a:lnTo>
                      <a:pt x="186" y="48"/>
                    </a:lnTo>
                    <a:lnTo>
                      <a:pt x="184" y="54"/>
                    </a:lnTo>
                    <a:lnTo>
                      <a:pt x="180" y="60"/>
                    </a:lnTo>
                    <a:lnTo>
                      <a:pt x="180" y="68"/>
                    </a:lnTo>
                    <a:lnTo>
                      <a:pt x="180" y="154"/>
                    </a:lnTo>
                    <a:lnTo>
                      <a:pt x="180" y="154"/>
                    </a:lnTo>
                    <a:lnTo>
                      <a:pt x="118" y="216"/>
                    </a:lnTo>
                    <a:lnTo>
                      <a:pt x="118" y="216"/>
                    </a:lnTo>
                    <a:lnTo>
                      <a:pt x="112" y="222"/>
                    </a:lnTo>
                    <a:lnTo>
                      <a:pt x="100" y="222"/>
                    </a:lnTo>
                    <a:lnTo>
                      <a:pt x="100" y="222"/>
                    </a:lnTo>
                    <a:lnTo>
                      <a:pt x="62" y="222"/>
                    </a:lnTo>
                    <a:lnTo>
                      <a:pt x="62" y="222"/>
                    </a:lnTo>
                    <a:lnTo>
                      <a:pt x="48" y="224"/>
                    </a:lnTo>
                    <a:lnTo>
                      <a:pt x="36" y="228"/>
                    </a:lnTo>
                    <a:lnTo>
                      <a:pt x="26" y="234"/>
                    </a:lnTo>
                    <a:lnTo>
                      <a:pt x="16" y="244"/>
                    </a:lnTo>
                    <a:lnTo>
                      <a:pt x="10" y="254"/>
                    </a:lnTo>
                    <a:lnTo>
                      <a:pt x="4" y="264"/>
                    </a:lnTo>
                    <a:lnTo>
                      <a:pt x="2" y="274"/>
                    </a:lnTo>
                    <a:lnTo>
                      <a:pt x="0" y="286"/>
                    </a:lnTo>
                    <a:lnTo>
                      <a:pt x="0" y="286"/>
                    </a:lnTo>
                    <a:lnTo>
                      <a:pt x="2" y="298"/>
                    </a:lnTo>
                    <a:lnTo>
                      <a:pt x="4" y="308"/>
                    </a:lnTo>
                    <a:lnTo>
                      <a:pt x="10" y="320"/>
                    </a:lnTo>
                    <a:lnTo>
                      <a:pt x="18" y="330"/>
                    </a:lnTo>
                    <a:lnTo>
                      <a:pt x="26" y="338"/>
                    </a:lnTo>
                    <a:lnTo>
                      <a:pt x="38" y="346"/>
                    </a:lnTo>
                    <a:lnTo>
                      <a:pt x="50" y="350"/>
                    </a:lnTo>
                    <a:lnTo>
                      <a:pt x="66" y="352"/>
                    </a:lnTo>
                    <a:lnTo>
                      <a:pt x="66" y="352"/>
                    </a:lnTo>
                    <a:lnTo>
                      <a:pt x="134" y="352"/>
                    </a:lnTo>
                    <a:lnTo>
                      <a:pt x="134" y="352"/>
                    </a:lnTo>
                    <a:lnTo>
                      <a:pt x="146" y="350"/>
                    </a:lnTo>
                    <a:lnTo>
                      <a:pt x="158" y="348"/>
                    </a:lnTo>
                    <a:lnTo>
                      <a:pt x="172" y="340"/>
                    </a:lnTo>
                    <a:lnTo>
                      <a:pt x="184" y="330"/>
                    </a:lnTo>
                    <a:lnTo>
                      <a:pt x="382" y="134"/>
                    </a:lnTo>
                    <a:lnTo>
                      <a:pt x="382" y="134"/>
                    </a:lnTo>
                    <a:lnTo>
                      <a:pt x="388" y="130"/>
                    </a:lnTo>
                    <a:lnTo>
                      <a:pt x="396" y="128"/>
                    </a:lnTo>
                    <a:lnTo>
                      <a:pt x="396" y="128"/>
                    </a:lnTo>
                    <a:lnTo>
                      <a:pt x="446" y="128"/>
                    </a:lnTo>
                    <a:lnTo>
                      <a:pt x="446" y="128"/>
                    </a:lnTo>
                    <a:lnTo>
                      <a:pt x="456" y="126"/>
                    </a:lnTo>
                    <a:lnTo>
                      <a:pt x="464" y="124"/>
                    </a:lnTo>
                    <a:lnTo>
                      <a:pt x="474" y="118"/>
                    </a:lnTo>
                    <a:lnTo>
                      <a:pt x="484" y="110"/>
                    </a:lnTo>
                    <a:lnTo>
                      <a:pt x="492" y="100"/>
                    </a:lnTo>
                    <a:lnTo>
                      <a:pt x="498" y="90"/>
                    </a:lnTo>
                    <a:lnTo>
                      <a:pt x="502" y="76"/>
                    </a:lnTo>
                    <a:lnTo>
                      <a:pt x="502" y="62"/>
                    </a:lnTo>
                    <a:lnTo>
                      <a:pt x="502" y="62"/>
                    </a:lnTo>
                    <a:lnTo>
                      <a:pt x="502" y="50"/>
                    </a:lnTo>
                    <a:lnTo>
                      <a:pt x="498" y="36"/>
                    </a:lnTo>
                    <a:lnTo>
                      <a:pt x="490" y="26"/>
                    </a:lnTo>
                    <a:lnTo>
                      <a:pt x="482" y="16"/>
                    </a:lnTo>
                    <a:lnTo>
                      <a:pt x="474" y="10"/>
                    </a:lnTo>
                    <a:lnTo>
                      <a:pt x="464" y="4"/>
                    </a:lnTo>
                    <a:lnTo>
                      <a:pt x="454" y="0"/>
                    </a:lnTo>
                    <a:lnTo>
                      <a:pt x="444" y="0"/>
                    </a:lnTo>
                    <a:lnTo>
                      <a:pt x="444" y="0"/>
                    </a:lnTo>
                    <a:close/>
                    <a:moveTo>
                      <a:pt x="440" y="94"/>
                    </a:moveTo>
                    <a:lnTo>
                      <a:pt x="398" y="94"/>
                    </a:lnTo>
                    <a:lnTo>
                      <a:pt x="398" y="94"/>
                    </a:lnTo>
                    <a:lnTo>
                      <a:pt x="386" y="96"/>
                    </a:lnTo>
                    <a:lnTo>
                      <a:pt x="378" y="98"/>
                    </a:lnTo>
                    <a:lnTo>
                      <a:pt x="370" y="102"/>
                    </a:lnTo>
                    <a:lnTo>
                      <a:pt x="362" y="108"/>
                    </a:lnTo>
                    <a:lnTo>
                      <a:pt x="162" y="308"/>
                    </a:lnTo>
                    <a:lnTo>
                      <a:pt x="162" y="308"/>
                    </a:lnTo>
                    <a:lnTo>
                      <a:pt x="156" y="312"/>
                    </a:lnTo>
                    <a:lnTo>
                      <a:pt x="148" y="316"/>
                    </a:lnTo>
                    <a:lnTo>
                      <a:pt x="140" y="318"/>
                    </a:lnTo>
                    <a:lnTo>
                      <a:pt x="132" y="318"/>
                    </a:lnTo>
                    <a:lnTo>
                      <a:pt x="66" y="318"/>
                    </a:lnTo>
                    <a:lnTo>
                      <a:pt x="66" y="318"/>
                    </a:lnTo>
                    <a:lnTo>
                      <a:pt x="60" y="318"/>
                    </a:lnTo>
                    <a:lnTo>
                      <a:pt x="54" y="316"/>
                    </a:lnTo>
                    <a:lnTo>
                      <a:pt x="44" y="310"/>
                    </a:lnTo>
                    <a:lnTo>
                      <a:pt x="40" y="304"/>
                    </a:lnTo>
                    <a:lnTo>
                      <a:pt x="36" y="298"/>
                    </a:lnTo>
                    <a:lnTo>
                      <a:pt x="34" y="292"/>
                    </a:lnTo>
                    <a:lnTo>
                      <a:pt x="34" y="286"/>
                    </a:lnTo>
                    <a:lnTo>
                      <a:pt x="34" y="286"/>
                    </a:lnTo>
                    <a:lnTo>
                      <a:pt x="34" y="278"/>
                    </a:lnTo>
                    <a:lnTo>
                      <a:pt x="36" y="274"/>
                    </a:lnTo>
                    <a:lnTo>
                      <a:pt x="38" y="268"/>
                    </a:lnTo>
                    <a:lnTo>
                      <a:pt x="42" y="264"/>
                    </a:lnTo>
                    <a:lnTo>
                      <a:pt x="52" y="258"/>
                    </a:lnTo>
                    <a:lnTo>
                      <a:pt x="62" y="256"/>
                    </a:lnTo>
                    <a:lnTo>
                      <a:pt x="108" y="256"/>
                    </a:lnTo>
                    <a:lnTo>
                      <a:pt x="108" y="256"/>
                    </a:lnTo>
                    <a:lnTo>
                      <a:pt x="116" y="256"/>
                    </a:lnTo>
                    <a:lnTo>
                      <a:pt x="124" y="254"/>
                    </a:lnTo>
                    <a:lnTo>
                      <a:pt x="132" y="250"/>
                    </a:lnTo>
                    <a:lnTo>
                      <a:pt x="138" y="244"/>
                    </a:lnTo>
                    <a:lnTo>
                      <a:pt x="340" y="42"/>
                    </a:lnTo>
                    <a:lnTo>
                      <a:pt x="340" y="42"/>
                    </a:lnTo>
                    <a:lnTo>
                      <a:pt x="346" y="36"/>
                    </a:lnTo>
                    <a:lnTo>
                      <a:pt x="354" y="34"/>
                    </a:lnTo>
                    <a:lnTo>
                      <a:pt x="362" y="32"/>
                    </a:lnTo>
                    <a:lnTo>
                      <a:pt x="372" y="32"/>
                    </a:lnTo>
                    <a:lnTo>
                      <a:pt x="440" y="32"/>
                    </a:lnTo>
                    <a:lnTo>
                      <a:pt x="440" y="32"/>
                    </a:lnTo>
                    <a:lnTo>
                      <a:pt x="446" y="34"/>
                    </a:lnTo>
                    <a:lnTo>
                      <a:pt x="452" y="36"/>
                    </a:lnTo>
                    <a:lnTo>
                      <a:pt x="462" y="44"/>
                    </a:lnTo>
                    <a:lnTo>
                      <a:pt x="468" y="52"/>
                    </a:lnTo>
                    <a:lnTo>
                      <a:pt x="470" y="62"/>
                    </a:lnTo>
                    <a:lnTo>
                      <a:pt x="470" y="62"/>
                    </a:lnTo>
                    <a:lnTo>
                      <a:pt x="468" y="72"/>
                    </a:lnTo>
                    <a:lnTo>
                      <a:pt x="462" y="82"/>
                    </a:lnTo>
                    <a:lnTo>
                      <a:pt x="458" y="88"/>
                    </a:lnTo>
                    <a:lnTo>
                      <a:pt x="454" y="92"/>
                    </a:lnTo>
                    <a:lnTo>
                      <a:pt x="448" y="94"/>
                    </a:lnTo>
                    <a:lnTo>
                      <a:pt x="440" y="94"/>
                    </a:lnTo>
                    <a:lnTo>
                      <a:pt x="440" y="9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01" name="Group 48"/>
            <p:cNvGrpSpPr>
              <a:grpSpLocks noChangeAspect="1"/>
            </p:cNvGrpSpPr>
            <p:nvPr/>
          </p:nvGrpSpPr>
          <p:grpSpPr bwMode="auto">
            <a:xfrm>
              <a:off x="5751745" y="1437718"/>
              <a:ext cx="717887" cy="635632"/>
              <a:chOff x="-1883" y="1872"/>
              <a:chExt cx="2243" cy="1986"/>
            </a:xfrm>
            <a:solidFill>
              <a:schemeClr val="bg1"/>
            </a:solidFill>
          </p:grpSpPr>
          <p:sp>
            <p:nvSpPr>
              <p:cNvPr id="104" name="Freeform 50"/>
              <p:cNvSpPr>
                <a:spLocks/>
              </p:cNvSpPr>
              <p:nvPr/>
            </p:nvSpPr>
            <p:spPr bwMode="auto">
              <a:xfrm>
                <a:off x="-229" y="3019"/>
                <a:ext cx="377" cy="527"/>
              </a:xfrm>
              <a:custGeom>
                <a:avLst/>
                <a:gdLst>
                  <a:gd name="T0" fmla="*/ 533 w 754"/>
                  <a:gd name="T1" fmla="*/ 0 h 1055"/>
                  <a:gd name="T2" fmla="*/ 570 w 754"/>
                  <a:gd name="T3" fmla="*/ 36 h 1055"/>
                  <a:gd name="T4" fmla="*/ 611 w 754"/>
                  <a:gd name="T5" fmla="*/ 66 h 1055"/>
                  <a:gd name="T6" fmla="*/ 656 w 754"/>
                  <a:gd name="T7" fmla="*/ 92 h 1055"/>
                  <a:gd name="T8" fmla="*/ 704 w 754"/>
                  <a:gd name="T9" fmla="*/ 113 h 1055"/>
                  <a:gd name="T10" fmla="*/ 754 w 754"/>
                  <a:gd name="T11" fmla="*/ 128 h 1055"/>
                  <a:gd name="T12" fmla="*/ 220 w 754"/>
                  <a:gd name="T13" fmla="*/ 1055 h 1055"/>
                  <a:gd name="T14" fmla="*/ 183 w 754"/>
                  <a:gd name="T15" fmla="*/ 1019 h 1055"/>
                  <a:gd name="T16" fmla="*/ 142 w 754"/>
                  <a:gd name="T17" fmla="*/ 988 h 1055"/>
                  <a:gd name="T18" fmla="*/ 98 w 754"/>
                  <a:gd name="T19" fmla="*/ 961 h 1055"/>
                  <a:gd name="T20" fmla="*/ 51 w 754"/>
                  <a:gd name="T21" fmla="*/ 939 h 1055"/>
                  <a:gd name="T22" fmla="*/ 0 w 754"/>
                  <a:gd name="T23" fmla="*/ 924 h 1055"/>
                  <a:gd name="T24" fmla="*/ 533 w 754"/>
                  <a:gd name="T25" fmla="*/ 0 h 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54" h="1055">
                    <a:moveTo>
                      <a:pt x="533" y="0"/>
                    </a:moveTo>
                    <a:lnTo>
                      <a:pt x="570" y="36"/>
                    </a:lnTo>
                    <a:lnTo>
                      <a:pt x="611" y="66"/>
                    </a:lnTo>
                    <a:lnTo>
                      <a:pt x="656" y="92"/>
                    </a:lnTo>
                    <a:lnTo>
                      <a:pt x="704" y="113"/>
                    </a:lnTo>
                    <a:lnTo>
                      <a:pt x="754" y="128"/>
                    </a:lnTo>
                    <a:lnTo>
                      <a:pt x="220" y="1055"/>
                    </a:lnTo>
                    <a:lnTo>
                      <a:pt x="183" y="1019"/>
                    </a:lnTo>
                    <a:lnTo>
                      <a:pt x="142" y="988"/>
                    </a:lnTo>
                    <a:lnTo>
                      <a:pt x="98" y="961"/>
                    </a:lnTo>
                    <a:lnTo>
                      <a:pt x="51" y="939"/>
                    </a:lnTo>
                    <a:lnTo>
                      <a:pt x="0" y="924"/>
                    </a:lnTo>
                    <a:lnTo>
                      <a:pt x="533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5" name="Freeform 51"/>
              <p:cNvSpPr>
                <a:spLocks/>
              </p:cNvSpPr>
              <p:nvPr/>
            </p:nvSpPr>
            <p:spPr bwMode="auto">
              <a:xfrm>
                <a:off x="-1671" y="2184"/>
                <a:ext cx="377" cy="527"/>
              </a:xfrm>
              <a:custGeom>
                <a:avLst/>
                <a:gdLst>
                  <a:gd name="T0" fmla="*/ 535 w 754"/>
                  <a:gd name="T1" fmla="*/ 0 h 1055"/>
                  <a:gd name="T2" fmla="*/ 571 w 754"/>
                  <a:gd name="T3" fmla="*/ 36 h 1055"/>
                  <a:gd name="T4" fmla="*/ 612 w 754"/>
                  <a:gd name="T5" fmla="*/ 67 h 1055"/>
                  <a:gd name="T6" fmla="*/ 657 w 754"/>
                  <a:gd name="T7" fmla="*/ 94 h 1055"/>
                  <a:gd name="T8" fmla="*/ 705 w 754"/>
                  <a:gd name="T9" fmla="*/ 116 h 1055"/>
                  <a:gd name="T10" fmla="*/ 754 w 754"/>
                  <a:gd name="T11" fmla="*/ 131 h 1055"/>
                  <a:gd name="T12" fmla="*/ 222 w 754"/>
                  <a:gd name="T13" fmla="*/ 1055 h 1055"/>
                  <a:gd name="T14" fmla="*/ 184 w 754"/>
                  <a:gd name="T15" fmla="*/ 1019 h 1055"/>
                  <a:gd name="T16" fmla="*/ 143 w 754"/>
                  <a:gd name="T17" fmla="*/ 989 h 1055"/>
                  <a:gd name="T18" fmla="*/ 98 w 754"/>
                  <a:gd name="T19" fmla="*/ 963 h 1055"/>
                  <a:gd name="T20" fmla="*/ 51 w 754"/>
                  <a:gd name="T21" fmla="*/ 942 h 1055"/>
                  <a:gd name="T22" fmla="*/ 0 w 754"/>
                  <a:gd name="T23" fmla="*/ 927 h 1055"/>
                  <a:gd name="T24" fmla="*/ 535 w 754"/>
                  <a:gd name="T25" fmla="*/ 0 h 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54" h="1055">
                    <a:moveTo>
                      <a:pt x="535" y="0"/>
                    </a:moveTo>
                    <a:lnTo>
                      <a:pt x="571" y="36"/>
                    </a:lnTo>
                    <a:lnTo>
                      <a:pt x="612" y="67"/>
                    </a:lnTo>
                    <a:lnTo>
                      <a:pt x="657" y="94"/>
                    </a:lnTo>
                    <a:lnTo>
                      <a:pt x="705" y="116"/>
                    </a:lnTo>
                    <a:lnTo>
                      <a:pt x="754" y="131"/>
                    </a:lnTo>
                    <a:lnTo>
                      <a:pt x="222" y="1055"/>
                    </a:lnTo>
                    <a:lnTo>
                      <a:pt x="184" y="1019"/>
                    </a:lnTo>
                    <a:lnTo>
                      <a:pt x="143" y="989"/>
                    </a:lnTo>
                    <a:lnTo>
                      <a:pt x="98" y="963"/>
                    </a:lnTo>
                    <a:lnTo>
                      <a:pt x="51" y="942"/>
                    </a:lnTo>
                    <a:lnTo>
                      <a:pt x="0" y="927"/>
                    </a:lnTo>
                    <a:lnTo>
                      <a:pt x="535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6" name="Freeform 52"/>
              <p:cNvSpPr>
                <a:spLocks/>
              </p:cNvSpPr>
              <p:nvPr/>
            </p:nvSpPr>
            <p:spPr bwMode="auto">
              <a:xfrm>
                <a:off x="-229" y="2184"/>
                <a:ext cx="377" cy="527"/>
              </a:xfrm>
              <a:custGeom>
                <a:avLst/>
                <a:gdLst>
                  <a:gd name="T0" fmla="*/ 220 w 754"/>
                  <a:gd name="T1" fmla="*/ 0 h 1055"/>
                  <a:gd name="T2" fmla="*/ 754 w 754"/>
                  <a:gd name="T3" fmla="*/ 927 h 1055"/>
                  <a:gd name="T4" fmla="*/ 704 w 754"/>
                  <a:gd name="T5" fmla="*/ 942 h 1055"/>
                  <a:gd name="T6" fmla="*/ 656 w 754"/>
                  <a:gd name="T7" fmla="*/ 963 h 1055"/>
                  <a:gd name="T8" fmla="*/ 611 w 754"/>
                  <a:gd name="T9" fmla="*/ 989 h 1055"/>
                  <a:gd name="T10" fmla="*/ 570 w 754"/>
                  <a:gd name="T11" fmla="*/ 1019 h 1055"/>
                  <a:gd name="T12" fmla="*/ 533 w 754"/>
                  <a:gd name="T13" fmla="*/ 1055 h 1055"/>
                  <a:gd name="T14" fmla="*/ 0 w 754"/>
                  <a:gd name="T15" fmla="*/ 131 h 1055"/>
                  <a:gd name="T16" fmla="*/ 51 w 754"/>
                  <a:gd name="T17" fmla="*/ 116 h 1055"/>
                  <a:gd name="T18" fmla="*/ 98 w 754"/>
                  <a:gd name="T19" fmla="*/ 94 h 1055"/>
                  <a:gd name="T20" fmla="*/ 142 w 754"/>
                  <a:gd name="T21" fmla="*/ 67 h 1055"/>
                  <a:gd name="T22" fmla="*/ 183 w 754"/>
                  <a:gd name="T23" fmla="*/ 36 h 1055"/>
                  <a:gd name="T24" fmla="*/ 220 w 754"/>
                  <a:gd name="T25" fmla="*/ 0 h 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54" h="1055">
                    <a:moveTo>
                      <a:pt x="220" y="0"/>
                    </a:moveTo>
                    <a:lnTo>
                      <a:pt x="754" y="927"/>
                    </a:lnTo>
                    <a:lnTo>
                      <a:pt x="704" y="942"/>
                    </a:lnTo>
                    <a:lnTo>
                      <a:pt x="656" y="963"/>
                    </a:lnTo>
                    <a:lnTo>
                      <a:pt x="611" y="989"/>
                    </a:lnTo>
                    <a:lnTo>
                      <a:pt x="570" y="1019"/>
                    </a:lnTo>
                    <a:lnTo>
                      <a:pt x="533" y="1055"/>
                    </a:lnTo>
                    <a:lnTo>
                      <a:pt x="0" y="131"/>
                    </a:lnTo>
                    <a:lnTo>
                      <a:pt x="51" y="116"/>
                    </a:lnTo>
                    <a:lnTo>
                      <a:pt x="98" y="94"/>
                    </a:lnTo>
                    <a:lnTo>
                      <a:pt x="142" y="67"/>
                    </a:lnTo>
                    <a:lnTo>
                      <a:pt x="183" y="36"/>
                    </a:lnTo>
                    <a:lnTo>
                      <a:pt x="220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7" name="Freeform 53"/>
              <p:cNvSpPr>
                <a:spLocks/>
              </p:cNvSpPr>
              <p:nvPr/>
            </p:nvSpPr>
            <p:spPr bwMode="auto">
              <a:xfrm>
                <a:off x="-1671" y="3019"/>
                <a:ext cx="377" cy="527"/>
              </a:xfrm>
              <a:custGeom>
                <a:avLst/>
                <a:gdLst>
                  <a:gd name="T0" fmla="*/ 222 w 754"/>
                  <a:gd name="T1" fmla="*/ 0 h 1055"/>
                  <a:gd name="T2" fmla="*/ 754 w 754"/>
                  <a:gd name="T3" fmla="*/ 924 h 1055"/>
                  <a:gd name="T4" fmla="*/ 705 w 754"/>
                  <a:gd name="T5" fmla="*/ 939 h 1055"/>
                  <a:gd name="T6" fmla="*/ 657 w 754"/>
                  <a:gd name="T7" fmla="*/ 961 h 1055"/>
                  <a:gd name="T8" fmla="*/ 612 w 754"/>
                  <a:gd name="T9" fmla="*/ 988 h 1055"/>
                  <a:gd name="T10" fmla="*/ 571 w 754"/>
                  <a:gd name="T11" fmla="*/ 1019 h 1055"/>
                  <a:gd name="T12" fmla="*/ 535 w 754"/>
                  <a:gd name="T13" fmla="*/ 1055 h 1055"/>
                  <a:gd name="T14" fmla="*/ 0 w 754"/>
                  <a:gd name="T15" fmla="*/ 128 h 1055"/>
                  <a:gd name="T16" fmla="*/ 51 w 754"/>
                  <a:gd name="T17" fmla="*/ 113 h 1055"/>
                  <a:gd name="T18" fmla="*/ 98 w 754"/>
                  <a:gd name="T19" fmla="*/ 92 h 1055"/>
                  <a:gd name="T20" fmla="*/ 143 w 754"/>
                  <a:gd name="T21" fmla="*/ 66 h 1055"/>
                  <a:gd name="T22" fmla="*/ 184 w 754"/>
                  <a:gd name="T23" fmla="*/ 36 h 1055"/>
                  <a:gd name="T24" fmla="*/ 222 w 754"/>
                  <a:gd name="T25" fmla="*/ 0 h 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54" h="1055">
                    <a:moveTo>
                      <a:pt x="222" y="0"/>
                    </a:moveTo>
                    <a:lnTo>
                      <a:pt x="754" y="924"/>
                    </a:lnTo>
                    <a:lnTo>
                      <a:pt x="705" y="939"/>
                    </a:lnTo>
                    <a:lnTo>
                      <a:pt x="657" y="961"/>
                    </a:lnTo>
                    <a:lnTo>
                      <a:pt x="612" y="988"/>
                    </a:lnTo>
                    <a:lnTo>
                      <a:pt x="571" y="1019"/>
                    </a:lnTo>
                    <a:lnTo>
                      <a:pt x="535" y="1055"/>
                    </a:lnTo>
                    <a:lnTo>
                      <a:pt x="0" y="128"/>
                    </a:lnTo>
                    <a:lnTo>
                      <a:pt x="51" y="113"/>
                    </a:lnTo>
                    <a:lnTo>
                      <a:pt x="98" y="92"/>
                    </a:lnTo>
                    <a:lnTo>
                      <a:pt x="143" y="66"/>
                    </a:lnTo>
                    <a:lnTo>
                      <a:pt x="184" y="36"/>
                    </a:lnTo>
                    <a:lnTo>
                      <a:pt x="222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8" name="Freeform 54"/>
              <p:cNvSpPr>
                <a:spLocks noEditPoints="1"/>
              </p:cNvSpPr>
              <p:nvPr/>
            </p:nvSpPr>
            <p:spPr bwMode="auto">
              <a:xfrm>
                <a:off x="-1528" y="1968"/>
                <a:ext cx="1534" cy="1794"/>
              </a:xfrm>
              <a:custGeom>
                <a:avLst/>
                <a:gdLst>
                  <a:gd name="T0" fmla="*/ 2006 w 3070"/>
                  <a:gd name="T1" fmla="*/ 3331 h 3588"/>
                  <a:gd name="T2" fmla="*/ 1193 w 3070"/>
                  <a:gd name="T3" fmla="*/ 2571 h 3588"/>
                  <a:gd name="T4" fmla="*/ 1531 w 3070"/>
                  <a:gd name="T5" fmla="*/ 1980 h 3588"/>
                  <a:gd name="T6" fmla="*/ 2910 w 3070"/>
                  <a:gd name="T7" fmla="*/ 1889 h 3588"/>
                  <a:gd name="T8" fmla="*/ 2033 w 3070"/>
                  <a:gd name="T9" fmla="*/ 2464 h 3588"/>
                  <a:gd name="T10" fmla="*/ 1702 w 3070"/>
                  <a:gd name="T11" fmla="*/ 1889 h 3588"/>
                  <a:gd name="T12" fmla="*/ 1032 w 3070"/>
                  <a:gd name="T13" fmla="*/ 2465 h 3588"/>
                  <a:gd name="T14" fmla="*/ 153 w 3070"/>
                  <a:gd name="T15" fmla="*/ 1889 h 3588"/>
                  <a:gd name="T16" fmla="*/ 153 w 3070"/>
                  <a:gd name="T17" fmla="*/ 1889 h 3588"/>
                  <a:gd name="T18" fmla="*/ 2910 w 3070"/>
                  <a:gd name="T19" fmla="*/ 1699 h 3588"/>
                  <a:gd name="T20" fmla="*/ 153 w 3070"/>
                  <a:gd name="T21" fmla="*/ 1699 h 3588"/>
                  <a:gd name="T22" fmla="*/ 1035 w 3070"/>
                  <a:gd name="T23" fmla="*/ 1120 h 3588"/>
                  <a:gd name="T24" fmla="*/ 1369 w 3070"/>
                  <a:gd name="T25" fmla="*/ 1699 h 3588"/>
                  <a:gd name="T26" fmla="*/ 1692 w 3070"/>
                  <a:gd name="T27" fmla="*/ 1699 h 3588"/>
                  <a:gd name="T28" fmla="*/ 2024 w 3070"/>
                  <a:gd name="T29" fmla="*/ 1119 h 3588"/>
                  <a:gd name="T30" fmla="*/ 1530 w 3070"/>
                  <a:gd name="T31" fmla="*/ 1593 h 3588"/>
                  <a:gd name="T32" fmla="*/ 1057 w 3070"/>
                  <a:gd name="T33" fmla="*/ 257 h 3588"/>
                  <a:gd name="T34" fmla="*/ 1057 w 3070"/>
                  <a:gd name="T35" fmla="*/ 257 h 3588"/>
                  <a:gd name="T36" fmla="*/ 2050 w 3070"/>
                  <a:gd name="T37" fmla="*/ 41 h 3588"/>
                  <a:gd name="T38" fmla="*/ 2046 w 3070"/>
                  <a:gd name="T39" fmla="*/ 189 h 3588"/>
                  <a:gd name="T40" fmla="*/ 2103 w 3070"/>
                  <a:gd name="T41" fmla="*/ 354 h 3588"/>
                  <a:gd name="T42" fmla="*/ 1958 w 3070"/>
                  <a:gd name="T43" fmla="*/ 846 h 3588"/>
                  <a:gd name="T44" fmla="*/ 2258 w 3070"/>
                  <a:gd name="T45" fmla="*/ 512 h 3588"/>
                  <a:gd name="T46" fmla="*/ 2119 w 3070"/>
                  <a:gd name="T47" fmla="*/ 951 h 3588"/>
                  <a:gd name="T48" fmla="*/ 2441 w 3070"/>
                  <a:gd name="T49" fmla="*/ 575 h 3588"/>
                  <a:gd name="T50" fmla="*/ 2587 w 3070"/>
                  <a:gd name="T51" fmla="*/ 566 h 3588"/>
                  <a:gd name="T52" fmla="*/ 3044 w 3070"/>
                  <a:gd name="T53" fmla="*/ 1623 h 3588"/>
                  <a:gd name="T54" fmla="*/ 3011 w 3070"/>
                  <a:gd name="T55" fmla="*/ 1794 h 3588"/>
                  <a:gd name="T56" fmla="*/ 3044 w 3070"/>
                  <a:gd name="T57" fmla="*/ 1965 h 3588"/>
                  <a:gd name="T58" fmla="*/ 2587 w 3070"/>
                  <a:gd name="T59" fmla="*/ 3022 h 3588"/>
                  <a:gd name="T60" fmla="*/ 2441 w 3070"/>
                  <a:gd name="T61" fmla="*/ 3013 h 3588"/>
                  <a:gd name="T62" fmla="*/ 2129 w 3070"/>
                  <a:gd name="T63" fmla="*/ 2630 h 3588"/>
                  <a:gd name="T64" fmla="*/ 2271 w 3070"/>
                  <a:gd name="T65" fmla="*/ 3069 h 3588"/>
                  <a:gd name="T66" fmla="*/ 1968 w 3070"/>
                  <a:gd name="T67" fmla="*/ 2735 h 3588"/>
                  <a:gd name="T68" fmla="*/ 2103 w 3070"/>
                  <a:gd name="T69" fmla="*/ 3234 h 3588"/>
                  <a:gd name="T70" fmla="*/ 2046 w 3070"/>
                  <a:gd name="T71" fmla="*/ 3399 h 3588"/>
                  <a:gd name="T72" fmla="*/ 2050 w 3070"/>
                  <a:gd name="T73" fmla="*/ 3547 h 3588"/>
                  <a:gd name="T74" fmla="*/ 1021 w 3070"/>
                  <a:gd name="T75" fmla="*/ 3547 h 3588"/>
                  <a:gd name="T76" fmla="*/ 1026 w 3070"/>
                  <a:gd name="T77" fmla="*/ 3398 h 3588"/>
                  <a:gd name="T78" fmla="*/ 967 w 3070"/>
                  <a:gd name="T79" fmla="*/ 3230 h 3588"/>
                  <a:gd name="T80" fmla="*/ 1098 w 3070"/>
                  <a:gd name="T81" fmla="*/ 2738 h 3588"/>
                  <a:gd name="T82" fmla="*/ 799 w 3070"/>
                  <a:gd name="T83" fmla="*/ 3068 h 3588"/>
                  <a:gd name="T84" fmla="*/ 937 w 3070"/>
                  <a:gd name="T85" fmla="*/ 2633 h 3588"/>
                  <a:gd name="T86" fmla="*/ 625 w 3070"/>
                  <a:gd name="T87" fmla="*/ 3013 h 3588"/>
                  <a:gd name="T88" fmla="*/ 476 w 3070"/>
                  <a:gd name="T89" fmla="*/ 3024 h 3588"/>
                  <a:gd name="T90" fmla="*/ 26 w 3070"/>
                  <a:gd name="T91" fmla="*/ 1969 h 3588"/>
                  <a:gd name="T92" fmla="*/ 61 w 3070"/>
                  <a:gd name="T93" fmla="*/ 1794 h 3588"/>
                  <a:gd name="T94" fmla="*/ 26 w 3070"/>
                  <a:gd name="T95" fmla="*/ 1619 h 3588"/>
                  <a:gd name="T96" fmla="*/ 476 w 3070"/>
                  <a:gd name="T97" fmla="*/ 564 h 3588"/>
                  <a:gd name="T98" fmla="*/ 625 w 3070"/>
                  <a:gd name="T99" fmla="*/ 575 h 3588"/>
                  <a:gd name="T100" fmla="*/ 940 w 3070"/>
                  <a:gd name="T101" fmla="*/ 954 h 3588"/>
                  <a:gd name="T102" fmla="*/ 801 w 3070"/>
                  <a:gd name="T103" fmla="*/ 519 h 3588"/>
                  <a:gd name="T104" fmla="*/ 1101 w 3070"/>
                  <a:gd name="T105" fmla="*/ 847 h 3588"/>
                  <a:gd name="T106" fmla="*/ 967 w 3070"/>
                  <a:gd name="T107" fmla="*/ 358 h 3588"/>
                  <a:gd name="T108" fmla="*/ 1026 w 3070"/>
                  <a:gd name="T109" fmla="*/ 190 h 3588"/>
                  <a:gd name="T110" fmla="*/ 1021 w 3070"/>
                  <a:gd name="T111" fmla="*/ 41 h 3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070" h="3588">
                    <a:moveTo>
                      <a:pt x="1531" y="3022"/>
                    </a:moveTo>
                    <a:lnTo>
                      <a:pt x="1057" y="3331"/>
                    </a:lnTo>
                    <a:lnTo>
                      <a:pt x="2006" y="3331"/>
                    </a:lnTo>
                    <a:lnTo>
                      <a:pt x="1531" y="3022"/>
                    </a:lnTo>
                    <a:close/>
                    <a:moveTo>
                      <a:pt x="1531" y="1980"/>
                    </a:moveTo>
                    <a:lnTo>
                      <a:pt x="1193" y="2571"/>
                    </a:lnTo>
                    <a:lnTo>
                      <a:pt x="1531" y="2792"/>
                    </a:lnTo>
                    <a:lnTo>
                      <a:pt x="1872" y="2569"/>
                    </a:lnTo>
                    <a:lnTo>
                      <a:pt x="1531" y="1980"/>
                    </a:lnTo>
                    <a:close/>
                    <a:moveTo>
                      <a:pt x="2587" y="1889"/>
                    </a:moveTo>
                    <a:lnTo>
                      <a:pt x="2587" y="2102"/>
                    </a:lnTo>
                    <a:lnTo>
                      <a:pt x="2910" y="1889"/>
                    </a:lnTo>
                    <a:lnTo>
                      <a:pt x="2587" y="1889"/>
                    </a:lnTo>
                    <a:close/>
                    <a:moveTo>
                      <a:pt x="1702" y="1889"/>
                    </a:moveTo>
                    <a:lnTo>
                      <a:pt x="2033" y="2464"/>
                    </a:lnTo>
                    <a:lnTo>
                      <a:pt x="2395" y="2228"/>
                    </a:lnTo>
                    <a:lnTo>
                      <a:pt x="2395" y="1889"/>
                    </a:lnTo>
                    <a:lnTo>
                      <a:pt x="1702" y="1889"/>
                    </a:lnTo>
                    <a:close/>
                    <a:moveTo>
                      <a:pt x="668" y="1889"/>
                    </a:moveTo>
                    <a:lnTo>
                      <a:pt x="668" y="2228"/>
                    </a:lnTo>
                    <a:lnTo>
                      <a:pt x="1032" y="2465"/>
                    </a:lnTo>
                    <a:lnTo>
                      <a:pt x="1361" y="1889"/>
                    </a:lnTo>
                    <a:lnTo>
                      <a:pt x="668" y="1889"/>
                    </a:lnTo>
                    <a:close/>
                    <a:moveTo>
                      <a:pt x="153" y="1889"/>
                    </a:moveTo>
                    <a:lnTo>
                      <a:pt x="476" y="2102"/>
                    </a:lnTo>
                    <a:lnTo>
                      <a:pt x="476" y="1889"/>
                    </a:lnTo>
                    <a:lnTo>
                      <a:pt x="153" y="1889"/>
                    </a:lnTo>
                    <a:close/>
                    <a:moveTo>
                      <a:pt x="2587" y="1486"/>
                    </a:moveTo>
                    <a:lnTo>
                      <a:pt x="2587" y="1699"/>
                    </a:lnTo>
                    <a:lnTo>
                      <a:pt x="2910" y="1699"/>
                    </a:lnTo>
                    <a:lnTo>
                      <a:pt x="2587" y="1486"/>
                    </a:lnTo>
                    <a:close/>
                    <a:moveTo>
                      <a:pt x="476" y="1486"/>
                    </a:moveTo>
                    <a:lnTo>
                      <a:pt x="153" y="1699"/>
                    </a:lnTo>
                    <a:lnTo>
                      <a:pt x="476" y="1699"/>
                    </a:lnTo>
                    <a:lnTo>
                      <a:pt x="476" y="1486"/>
                    </a:lnTo>
                    <a:close/>
                    <a:moveTo>
                      <a:pt x="1035" y="1120"/>
                    </a:moveTo>
                    <a:lnTo>
                      <a:pt x="668" y="1360"/>
                    </a:lnTo>
                    <a:lnTo>
                      <a:pt x="668" y="1699"/>
                    </a:lnTo>
                    <a:lnTo>
                      <a:pt x="1369" y="1699"/>
                    </a:lnTo>
                    <a:lnTo>
                      <a:pt x="1035" y="1120"/>
                    </a:lnTo>
                    <a:close/>
                    <a:moveTo>
                      <a:pt x="2024" y="1119"/>
                    </a:moveTo>
                    <a:lnTo>
                      <a:pt x="1692" y="1699"/>
                    </a:lnTo>
                    <a:lnTo>
                      <a:pt x="2395" y="1699"/>
                    </a:lnTo>
                    <a:lnTo>
                      <a:pt x="2395" y="1360"/>
                    </a:lnTo>
                    <a:lnTo>
                      <a:pt x="2024" y="1119"/>
                    </a:lnTo>
                    <a:close/>
                    <a:moveTo>
                      <a:pt x="1531" y="796"/>
                    </a:moveTo>
                    <a:lnTo>
                      <a:pt x="1197" y="1015"/>
                    </a:lnTo>
                    <a:lnTo>
                      <a:pt x="1530" y="1593"/>
                    </a:lnTo>
                    <a:lnTo>
                      <a:pt x="1863" y="1012"/>
                    </a:lnTo>
                    <a:lnTo>
                      <a:pt x="1531" y="796"/>
                    </a:lnTo>
                    <a:close/>
                    <a:moveTo>
                      <a:pt x="1057" y="257"/>
                    </a:moveTo>
                    <a:lnTo>
                      <a:pt x="1531" y="566"/>
                    </a:lnTo>
                    <a:lnTo>
                      <a:pt x="2006" y="257"/>
                    </a:lnTo>
                    <a:lnTo>
                      <a:pt x="1057" y="257"/>
                    </a:lnTo>
                    <a:close/>
                    <a:moveTo>
                      <a:pt x="1011" y="0"/>
                    </a:moveTo>
                    <a:lnTo>
                      <a:pt x="2061" y="0"/>
                    </a:lnTo>
                    <a:lnTo>
                      <a:pt x="2050" y="41"/>
                    </a:lnTo>
                    <a:lnTo>
                      <a:pt x="2044" y="84"/>
                    </a:lnTo>
                    <a:lnTo>
                      <a:pt x="2041" y="129"/>
                    </a:lnTo>
                    <a:lnTo>
                      <a:pt x="2046" y="189"/>
                    </a:lnTo>
                    <a:lnTo>
                      <a:pt x="2058" y="247"/>
                    </a:lnTo>
                    <a:lnTo>
                      <a:pt x="2077" y="302"/>
                    </a:lnTo>
                    <a:lnTo>
                      <a:pt x="2103" y="354"/>
                    </a:lnTo>
                    <a:lnTo>
                      <a:pt x="2134" y="401"/>
                    </a:lnTo>
                    <a:lnTo>
                      <a:pt x="1706" y="681"/>
                    </a:lnTo>
                    <a:lnTo>
                      <a:pt x="1958" y="846"/>
                    </a:lnTo>
                    <a:lnTo>
                      <a:pt x="2182" y="453"/>
                    </a:lnTo>
                    <a:lnTo>
                      <a:pt x="2219" y="485"/>
                    </a:lnTo>
                    <a:lnTo>
                      <a:pt x="2258" y="512"/>
                    </a:lnTo>
                    <a:lnTo>
                      <a:pt x="2302" y="535"/>
                    </a:lnTo>
                    <a:lnTo>
                      <a:pt x="2347" y="553"/>
                    </a:lnTo>
                    <a:lnTo>
                      <a:pt x="2119" y="951"/>
                    </a:lnTo>
                    <a:lnTo>
                      <a:pt x="2395" y="1131"/>
                    </a:lnTo>
                    <a:lnTo>
                      <a:pt x="2395" y="566"/>
                    </a:lnTo>
                    <a:lnTo>
                      <a:pt x="2441" y="575"/>
                    </a:lnTo>
                    <a:lnTo>
                      <a:pt x="2490" y="576"/>
                    </a:lnTo>
                    <a:lnTo>
                      <a:pt x="2539" y="575"/>
                    </a:lnTo>
                    <a:lnTo>
                      <a:pt x="2587" y="566"/>
                    </a:lnTo>
                    <a:lnTo>
                      <a:pt x="2587" y="1257"/>
                    </a:lnTo>
                    <a:lnTo>
                      <a:pt x="3070" y="1573"/>
                    </a:lnTo>
                    <a:lnTo>
                      <a:pt x="3044" y="1623"/>
                    </a:lnTo>
                    <a:lnTo>
                      <a:pt x="3026" y="1678"/>
                    </a:lnTo>
                    <a:lnTo>
                      <a:pt x="3014" y="1734"/>
                    </a:lnTo>
                    <a:lnTo>
                      <a:pt x="3011" y="1794"/>
                    </a:lnTo>
                    <a:lnTo>
                      <a:pt x="3014" y="1854"/>
                    </a:lnTo>
                    <a:lnTo>
                      <a:pt x="3026" y="1910"/>
                    </a:lnTo>
                    <a:lnTo>
                      <a:pt x="3044" y="1965"/>
                    </a:lnTo>
                    <a:lnTo>
                      <a:pt x="3070" y="2015"/>
                    </a:lnTo>
                    <a:lnTo>
                      <a:pt x="2587" y="2331"/>
                    </a:lnTo>
                    <a:lnTo>
                      <a:pt x="2587" y="3022"/>
                    </a:lnTo>
                    <a:lnTo>
                      <a:pt x="2539" y="3013"/>
                    </a:lnTo>
                    <a:lnTo>
                      <a:pt x="2490" y="3012"/>
                    </a:lnTo>
                    <a:lnTo>
                      <a:pt x="2441" y="3013"/>
                    </a:lnTo>
                    <a:lnTo>
                      <a:pt x="2395" y="3022"/>
                    </a:lnTo>
                    <a:lnTo>
                      <a:pt x="2395" y="2457"/>
                    </a:lnTo>
                    <a:lnTo>
                      <a:pt x="2129" y="2630"/>
                    </a:lnTo>
                    <a:lnTo>
                      <a:pt x="2361" y="3031"/>
                    </a:lnTo>
                    <a:lnTo>
                      <a:pt x="2314" y="3048"/>
                    </a:lnTo>
                    <a:lnTo>
                      <a:pt x="2271" y="3069"/>
                    </a:lnTo>
                    <a:lnTo>
                      <a:pt x="2231" y="3095"/>
                    </a:lnTo>
                    <a:lnTo>
                      <a:pt x="2193" y="3125"/>
                    </a:lnTo>
                    <a:lnTo>
                      <a:pt x="1968" y="2735"/>
                    </a:lnTo>
                    <a:lnTo>
                      <a:pt x="1706" y="2907"/>
                    </a:lnTo>
                    <a:lnTo>
                      <a:pt x="2134" y="3187"/>
                    </a:lnTo>
                    <a:lnTo>
                      <a:pt x="2103" y="3234"/>
                    </a:lnTo>
                    <a:lnTo>
                      <a:pt x="2077" y="3286"/>
                    </a:lnTo>
                    <a:lnTo>
                      <a:pt x="2058" y="3341"/>
                    </a:lnTo>
                    <a:lnTo>
                      <a:pt x="2046" y="3399"/>
                    </a:lnTo>
                    <a:lnTo>
                      <a:pt x="2041" y="3459"/>
                    </a:lnTo>
                    <a:lnTo>
                      <a:pt x="2044" y="3504"/>
                    </a:lnTo>
                    <a:lnTo>
                      <a:pt x="2050" y="3547"/>
                    </a:lnTo>
                    <a:lnTo>
                      <a:pt x="2061" y="3588"/>
                    </a:lnTo>
                    <a:lnTo>
                      <a:pt x="1011" y="3588"/>
                    </a:lnTo>
                    <a:lnTo>
                      <a:pt x="1021" y="3547"/>
                    </a:lnTo>
                    <a:lnTo>
                      <a:pt x="1027" y="3504"/>
                    </a:lnTo>
                    <a:lnTo>
                      <a:pt x="1030" y="3459"/>
                    </a:lnTo>
                    <a:lnTo>
                      <a:pt x="1026" y="3398"/>
                    </a:lnTo>
                    <a:lnTo>
                      <a:pt x="1013" y="3339"/>
                    </a:lnTo>
                    <a:lnTo>
                      <a:pt x="993" y="3284"/>
                    </a:lnTo>
                    <a:lnTo>
                      <a:pt x="967" y="3230"/>
                    </a:lnTo>
                    <a:lnTo>
                      <a:pt x="933" y="3183"/>
                    </a:lnTo>
                    <a:lnTo>
                      <a:pt x="1356" y="2907"/>
                    </a:lnTo>
                    <a:lnTo>
                      <a:pt x="1098" y="2738"/>
                    </a:lnTo>
                    <a:lnTo>
                      <a:pt x="877" y="3124"/>
                    </a:lnTo>
                    <a:lnTo>
                      <a:pt x="840" y="3094"/>
                    </a:lnTo>
                    <a:lnTo>
                      <a:pt x="799" y="3068"/>
                    </a:lnTo>
                    <a:lnTo>
                      <a:pt x="756" y="3046"/>
                    </a:lnTo>
                    <a:lnTo>
                      <a:pt x="709" y="3030"/>
                    </a:lnTo>
                    <a:lnTo>
                      <a:pt x="937" y="2633"/>
                    </a:lnTo>
                    <a:lnTo>
                      <a:pt x="668" y="2457"/>
                    </a:lnTo>
                    <a:lnTo>
                      <a:pt x="668" y="3020"/>
                    </a:lnTo>
                    <a:lnTo>
                      <a:pt x="625" y="3013"/>
                    </a:lnTo>
                    <a:lnTo>
                      <a:pt x="581" y="3012"/>
                    </a:lnTo>
                    <a:lnTo>
                      <a:pt x="528" y="3015"/>
                    </a:lnTo>
                    <a:lnTo>
                      <a:pt x="476" y="3024"/>
                    </a:lnTo>
                    <a:lnTo>
                      <a:pt x="476" y="2331"/>
                    </a:lnTo>
                    <a:lnTo>
                      <a:pt x="0" y="2020"/>
                    </a:lnTo>
                    <a:lnTo>
                      <a:pt x="26" y="1969"/>
                    </a:lnTo>
                    <a:lnTo>
                      <a:pt x="45" y="1913"/>
                    </a:lnTo>
                    <a:lnTo>
                      <a:pt x="57" y="1855"/>
                    </a:lnTo>
                    <a:lnTo>
                      <a:pt x="61" y="1794"/>
                    </a:lnTo>
                    <a:lnTo>
                      <a:pt x="57" y="1733"/>
                    </a:lnTo>
                    <a:lnTo>
                      <a:pt x="45" y="1675"/>
                    </a:lnTo>
                    <a:lnTo>
                      <a:pt x="26" y="1619"/>
                    </a:lnTo>
                    <a:lnTo>
                      <a:pt x="0" y="1568"/>
                    </a:lnTo>
                    <a:lnTo>
                      <a:pt x="476" y="1257"/>
                    </a:lnTo>
                    <a:lnTo>
                      <a:pt x="476" y="564"/>
                    </a:lnTo>
                    <a:lnTo>
                      <a:pt x="528" y="573"/>
                    </a:lnTo>
                    <a:lnTo>
                      <a:pt x="581" y="576"/>
                    </a:lnTo>
                    <a:lnTo>
                      <a:pt x="625" y="575"/>
                    </a:lnTo>
                    <a:lnTo>
                      <a:pt x="668" y="568"/>
                    </a:lnTo>
                    <a:lnTo>
                      <a:pt x="668" y="1131"/>
                    </a:lnTo>
                    <a:lnTo>
                      <a:pt x="940" y="954"/>
                    </a:lnTo>
                    <a:lnTo>
                      <a:pt x="711" y="557"/>
                    </a:lnTo>
                    <a:lnTo>
                      <a:pt x="757" y="540"/>
                    </a:lnTo>
                    <a:lnTo>
                      <a:pt x="801" y="519"/>
                    </a:lnTo>
                    <a:lnTo>
                      <a:pt x="841" y="493"/>
                    </a:lnTo>
                    <a:lnTo>
                      <a:pt x="878" y="463"/>
                    </a:lnTo>
                    <a:lnTo>
                      <a:pt x="1101" y="847"/>
                    </a:lnTo>
                    <a:lnTo>
                      <a:pt x="1356" y="681"/>
                    </a:lnTo>
                    <a:lnTo>
                      <a:pt x="933" y="405"/>
                    </a:lnTo>
                    <a:lnTo>
                      <a:pt x="967" y="358"/>
                    </a:lnTo>
                    <a:lnTo>
                      <a:pt x="993" y="305"/>
                    </a:lnTo>
                    <a:lnTo>
                      <a:pt x="1013" y="249"/>
                    </a:lnTo>
                    <a:lnTo>
                      <a:pt x="1026" y="190"/>
                    </a:lnTo>
                    <a:lnTo>
                      <a:pt x="1030" y="129"/>
                    </a:lnTo>
                    <a:lnTo>
                      <a:pt x="1027" y="84"/>
                    </a:lnTo>
                    <a:lnTo>
                      <a:pt x="1021" y="41"/>
                    </a:lnTo>
                    <a:lnTo>
                      <a:pt x="1011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9" name="Freeform 55"/>
              <p:cNvSpPr>
                <a:spLocks/>
              </p:cNvSpPr>
              <p:nvPr/>
            </p:nvSpPr>
            <p:spPr bwMode="auto">
              <a:xfrm>
                <a:off x="-1399" y="1872"/>
                <a:ext cx="321" cy="321"/>
              </a:xfrm>
              <a:custGeom>
                <a:avLst/>
                <a:gdLst>
                  <a:gd name="T0" fmla="*/ 321 w 641"/>
                  <a:gd name="T1" fmla="*/ 0 h 641"/>
                  <a:gd name="T2" fmla="*/ 372 w 641"/>
                  <a:gd name="T3" fmla="*/ 4 h 641"/>
                  <a:gd name="T4" fmla="*/ 422 w 641"/>
                  <a:gd name="T5" fmla="*/ 16 h 641"/>
                  <a:gd name="T6" fmla="*/ 468 w 641"/>
                  <a:gd name="T7" fmla="*/ 35 h 641"/>
                  <a:gd name="T8" fmla="*/ 510 w 641"/>
                  <a:gd name="T9" fmla="*/ 61 h 641"/>
                  <a:gd name="T10" fmla="*/ 547 w 641"/>
                  <a:gd name="T11" fmla="*/ 94 h 641"/>
                  <a:gd name="T12" fmla="*/ 580 w 641"/>
                  <a:gd name="T13" fmla="*/ 131 h 641"/>
                  <a:gd name="T14" fmla="*/ 606 w 641"/>
                  <a:gd name="T15" fmla="*/ 173 h 641"/>
                  <a:gd name="T16" fmla="*/ 625 w 641"/>
                  <a:gd name="T17" fmla="*/ 218 h 641"/>
                  <a:gd name="T18" fmla="*/ 637 w 641"/>
                  <a:gd name="T19" fmla="*/ 269 h 641"/>
                  <a:gd name="T20" fmla="*/ 641 w 641"/>
                  <a:gd name="T21" fmla="*/ 321 h 641"/>
                  <a:gd name="T22" fmla="*/ 637 w 641"/>
                  <a:gd name="T23" fmla="*/ 372 h 641"/>
                  <a:gd name="T24" fmla="*/ 625 w 641"/>
                  <a:gd name="T25" fmla="*/ 421 h 641"/>
                  <a:gd name="T26" fmla="*/ 606 w 641"/>
                  <a:gd name="T27" fmla="*/ 468 h 641"/>
                  <a:gd name="T28" fmla="*/ 580 w 641"/>
                  <a:gd name="T29" fmla="*/ 509 h 641"/>
                  <a:gd name="T30" fmla="*/ 547 w 641"/>
                  <a:gd name="T31" fmla="*/ 547 h 641"/>
                  <a:gd name="T32" fmla="*/ 510 w 641"/>
                  <a:gd name="T33" fmla="*/ 578 h 641"/>
                  <a:gd name="T34" fmla="*/ 468 w 641"/>
                  <a:gd name="T35" fmla="*/ 604 h 641"/>
                  <a:gd name="T36" fmla="*/ 422 w 641"/>
                  <a:gd name="T37" fmla="*/ 625 h 641"/>
                  <a:gd name="T38" fmla="*/ 372 w 641"/>
                  <a:gd name="T39" fmla="*/ 636 h 641"/>
                  <a:gd name="T40" fmla="*/ 321 w 641"/>
                  <a:gd name="T41" fmla="*/ 641 h 641"/>
                  <a:gd name="T42" fmla="*/ 269 w 641"/>
                  <a:gd name="T43" fmla="*/ 636 h 641"/>
                  <a:gd name="T44" fmla="*/ 220 w 641"/>
                  <a:gd name="T45" fmla="*/ 625 h 641"/>
                  <a:gd name="T46" fmla="*/ 173 w 641"/>
                  <a:gd name="T47" fmla="*/ 604 h 641"/>
                  <a:gd name="T48" fmla="*/ 132 w 641"/>
                  <a:gd name="T49" fmla="*/ 578 h 641"/>
                  <a:gd name="T50" fmla="*/ 94 w 641"/>
                  <a:gd name="T51" fmla="*/ 547 h 641"/>
                  <a:gd name="T52" fmla="*/ 63 w 641"/>
                  <a:gd name="T53" fmla="*/ 509 h 641"/>
                  <a:gd name="T54" fmla="*/ 37 w 641"/>
                  <a:gd name="T55" fmla="*/ 468 h 641"/>
                  <a:gd name="T56" fmla="*/ 17 w 641"/>
                  <a:gd name="T57" fmla="*/ 421 h 641"/>
                  <a:gd name="T58" fmla="*/ 4 w 641"/>
                  <a:gd name="T59" fmla="*/ 372 h 641"/>
                  <a:gd name="T60" fmla="*/ 0 w 641"/>
                  <a:gd name="T61" fmla="*/ 321 h 641"/>
                  <a:gd name="T62" fmla="*/ 4 w 641"/>
                  <a:gd name="T63" fmla="*/ 269 h 641"/>
                  <a:gd name="T64" fmla="*/ 17 w 641"/>
                  <a:gd name="T65" fmla="*/ 218 h 641"/>
                  <a:gd name="T66" fmla="*/ 37 w 641"/>
                  <a:gd name="T67" fmla="*/ 173 h 641"/>
                  <a:gd name="T68" fmla="*/ 63 w 641"/>
                  <a:gd name="T69" fmla="*/ 131 h 641"/>
                  <a:gd name="T70" fmla="*/ 94 w 641"/>
                  <a:gd name="T71" fmla="*/ 94 h 641"/>
                  <a:gd name="T72" fmla="*/ 132 w 641"/>
                  <a:gd name="T73" fmla="*/ 61 h 641"/>
                  <a:gd name="T74" fmla="*/ 173 w 641"/>
                  <a:gd name="T75" fmla="*/ 35 h 641"/>
                  <a:gd name="T76" fmla="*/ 220 w 641"/>
                  <a:gd name="T77" fmla="*/ 16 h 641"/>
                  <a:gd name="T78" fmla="*/ 269 w 641"/>
                  <a:gd name="T79" fmla="*/ 4 h 641"/>
                  <a:gd name="T80" fmla="*/ 321 w 641"/>
                  <a:gd name="T81" fmla="*/ 0 h 641"/>
                  <a:gd name="T82" fmla="*/ 321 w 641"/>
                  <a:gd name="T83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41" h="641">
                    <a:moveTo>
                      <a:pt x="321" y="0"/>
                    </a:moveTo>
                    <a:lnTo>
                      <a:pt x="372" y="4"/>
                    </a:lnTo>
                    <a:lnTo>
                      <a:pt x="422" y="16"/>
                    </a:lnTo>
                    <a:lnTo>
                      <a:pt x="468" y="35"/>
                    </a:lnTo>
                    <a:lnTo>
                      <a:pt x="510" y="61"/>
                    </a:lnTo>
                    <a:lnTo>
                      <a:pt x="547" y="94"/>
                    </a:lnTo>
                    <a:lnTo>
                      <a:pt x="580" y="131"/>
                    </a:lnTo>
                    <a:lnTo>
                      <a:pt x="606" y="173"/>
                    </a:lnTo>
                    <a:lnTo>
                      <a:pt x="625" y="218"/>
                    </a:lnTo>
                    <a:lnTo>
                      <a:pt x="637" y="269"/>
                    </a:lnTo>
                    <a:lnTo>
                      <a:pt x="641" y="321"/>
                    </a:lnTo>
                    <a:lnTo>
                      <a:pt x="637" y="372"/>
                    </a:lnTo>
                    <a:lnTo>
                      <a:pt x="625" y="421"/>
                    </a:lnTo>
                    <a:lnTo>
                      <a:pt x="606" y="468"/>
                    </a:lnTo>
                    <a:lnTo>
                      <a:pt x="580" y="509"/>
                    </a:lnTo>
                    <a:lnTo>
                      <a:pt x="547" y="547"/>
                    </a:lnTo>
                    <a:lnTo>
                      <a:pt x="510" y="578"/>
                    </a:lnTo>
                    <a:lnTo>
                      <a:pt x="468" y="604"/>
                    </a:lnTo>
                    <a:lnTo>
                      <a:pt x="422" y="625"/>
                    </a:lnTo>
                    <a:lnTo>
                      <a:pt x="372" y="636"/>
                    </a:lnTo>
                    <a:lnTo>
                      <a:pt x="321" y="641"/>
                    </a:lnTo>
                    <a:lnTo>
                      <a:pt x="269" y="636"/>
                    </a:lnTo>
                    <a:lnTo>
                      <a:pt x="220" y="625"/>
                    </a:lnTo>
                    <a:lnTo>
                      <a:pt x="173" y="604"/>
                    </a:lnTo>
                    <a:lnTo>
                      <a:pt x="132" y="578"/>
                    </a:lnTo>
                    <a:lnTo>
                      <a:pt x="94" y="547"/>
                    </a:lnTo>
                    <a:lnTo>
                      <a:pt x="63" y="509"/>
                    </a:lnTo>
                    <a:lnTo>
                      <a:pt x="37" y="468"/>
                    </a:lnTo>
                    <a:lnTo>
                      <a:pt x="17" y="421"/>
                    </a:lnTo>
                    <a:lnTo>
                      <a:pt x="4" y="372"/>
                    </a:lnTo>
                    <a:lnTo>
                      <a:pt x="0" y="321"/>
                    </a:lnTo>
                    <a:lnTo>
                      <a:pt x="4" y="269"/>
                    </a:lnTo>
                    <a:lnTo>
                      <a:pt x="17" y="218"/>
                    </a:lnTo>
                    <a:lnTo>
                      <a:pt x="37" y="173"/>
                    </a:lnTo>
                    <a:lnTo>
                      <a:pt x="63" y="131"/>
                    </a:lnTo>
                    <a:lnTo>
                      <a:pt x="94" y="94"/>
                    </a:lnTo>
                    <a:lnTo>
                      <a:pt x="132" y="61"/>
                    </a:lnTo>
                    <a:lnTo>
                      <a:pt x="173" y="35"/>
                    </a:lnTo>
                    <a:lnTo>
                      <a:pt x="220" y="16"/>
                    </a:lnTo>
                    <a:lnTo>
                      <a:pt x="269" y="4"/>
                    </a:lnTo>
                    <a:lnTo>
                      <a:pt x="321" y="0"/>
                    </a:lnTo>
                    <a:lnTo>
                      <a:pt x="321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0" name="Freeform 56"/>
              <p:cNvSpPr>
                <a:spLocks/>
              </p:cNvSpPr>
              <p:nvPr/>
            </p:nvSpPr>
            <p:spPr bwMode="auto">
              <a:xfrm>
                <a:off x="-444" y="1872"/>
                <a:ext cx="320" cy="321"/>
              </a:xfrm>
              <a:custGeom>
                <a:avLst/>
                <a:gdLst>
                  <a:gd name="T0" fmla="*/ 321 w 641"/>
                  <a:gd name="T1" fmla="*/ 0 h 641"/>
                  <a:gd name="T2" fmla="*/ 373 w 641"/>
                  <a:gd name="T3" fmla="*/ 4 h 641"/>
                  <a:gd name="T4" fmla="*/ 422 w 641"/>
                  <a:gd name="T5" fmla="*/ 16 h 641"/>
                  <a:gd name="T6" fmla="*/ 468 w 641"/>
                  <a:gd name="T7" fmla="*/ 35 h 641"/>
                  <a:gd name="T8" fmla="*/ 510 w 641"/>
                  <a:gd name="T9" fmla="*/ 61 h 641"/>
                  <a:gd name="T10" fmla="*/ 547 w 641"/>
                  <a:gd name="T11" fmla="*/ 94 h 641"/>
                  <a:gd name="T12" fmla="*/ 580 w 641"/>
                  <a:gd name="T13" fmla="*/ 131 h 641"/>
                  <a:gd name="T14" fmla="*/ 606 w 641"/>
                  <a:gd name="T15" fmla="*/ 173 h 641"/>
                  <a:gd name="T16" fmla="*/ 625 w 641"/>
                  <a:gd name="T17" fmla="*/ 218 h 641"/>
                  <a:gd name="T18" fmla="*/ 637 w 641"/>
                  <a:gd name="T19" fmla="*/ 269 h 641"/>
                  <a:gd name="T20" fmla="*/ 641 w 641"/>
                  <a:gd name="T21" fmla="*/ 321 h 641"/>
                  <a:gd name="T22" fmla="*/ 637 w 641"/>
                  <a:gd name="T23" fmla="*/ 372 h 641"/>
                  <a:gd name="T24" fmla="*/ 625 w 641"/>
                  <a:gd name="T25" fmla="*/ 421 h 641"/>
                  <a:gd name="T26" fmla="*/ 606 w 641"/>
                  <a:gd name="T27" fmla="*/ 468 h 641"/>
                  <a:gd name="T28" fmla="*/ 580 w 641"/>
                  <a:gd name="T29" fmla="*/ 509 h 641"/>
                  <a:gd name="T30" fmla="*/ 547 w 641"/>
                  <a:gd name="T31" fmla="*/ 547 h 641"/>
                  <a:gd name="T32" fmla="*/ 510 w 641"/>
                  <a:gd name="T33" fmla="*/ 578 h 641"/>
                  <a:gd name="T34" fmla="*/ 468 w 641"/>
                  <a:gd name="T35" fmla="*/ 604 h 641"/>
                  <a:gd name="T36" fmla="*/ 422 w 641"/>
                  <a:gd name="T37" fmla="*/ 625 h 641"/>
                  <a:gd name="T38" fmla="*/ 373 w 641"/>
                  <a:gd name="T39" fmla="*/ 636 h 641"/>
                  <a:gd name="T40" fmla="*/ 321 w 641"/>
                  <a:gd name="T41" fmla="*/ 641 h 641"/>
                  <a:gd name="T42" fmla="*/ 269 w 641"/>
                  <a:gd name="T43" fmla="*/ 636 h 641"/>
                  <a:gd name="T44" fmla="*/ 220 w 641"/>
                  <a:gd name="T45" fmla="*/ 625 h 641"/>
                  <a:gd name="T46" fmla="*/ 173 w 641"/>
                  <a:gd name="T47" fmla="*/ 604 h 641"/>
                  <a:gd name="T48" fmla="*/ 131 w 641"/>
                  <a:gd name="T49" fmla="*/ 578 h 641"/>
                  <a:gd name="T50" fmla="*/ 94 w 641"/>
                  <a:gd name="T51" fmla="*/ 547 h 641"/>
                  <a:gd name="T52" fmla="*/ 63 w 641"/>
                  <a:gd name="T53" fmla="*/ 509 h 641"/>
                  <a:gd name="T54" fmla="*/ 36 w 641"/>
                  <a:gd name="T55" fmla="*/ 468 h 641"/>
                  <a:gd name="T56" fmla="*/ 17 w 641"/>
                  <a:gd name="T57" fmla="*/ 421 h 641"/>
                  <a:gd name="T58" fmla="*/ 4 w 641"/>
                  <a:gd name="T59" fmla="*/ 372 h 641"/>
                  <a:gd name="T60" fmla="*/ 0 w 641"/>
                  <a:gd name="T61" fmla="*/ 321 h 641"/>
                  <a:gd name="T62" fmla="*/ 4 w 641"/>
                  <a:gd name="T63" fmla="*/ 269 h 641"/>
                  <a:gd name="T64" fmla="*/ 17 w 641"/>
                  <a:gd name="T65" fmla="*/ 218 h 641"/>
                  <a:gd name="T66" fmla="*/ 36 w 641"/>
                  <a:gd name="T67" fmla="*/ 173 h 641"/>
                  <a:gd name="T68" fmla="*/ 63 w 641"/>
                  <a:gd name="T69" fmla="*/ 131 h 641"/>
                  <a:gd name="T70" fmla="*/ 94 w 641"/>
                  <a:gd name="T71" fmla="*/ 94 h 641"/>
                  <a:gd name="T72" fmla="*/ 131 w 641"/>
                  <a:gd name="T73" fmla="*/ 61 h 641"/>
                  <a:gd name="T74" fmla="*/ 173 w 641"/>
                  <a:gd name="T75" fmla="*/ 35 h 641"/>
                  <a:gd name="T76" fmla="*/ 220 w 641"/>
                  <a:gd name="T77" fmla="*/ 16 h 641"/>
                  <a:gd name="T78" fmla="*/ 269 w 641"/>
                  <a:gd name="T79" fmla="*/ 4 h 641"/>
                  <a:gd name="T80" fmla="*/ 321 w 641"/>
                  <a:gd name="T81" fmla="*/ 0 h 641"/>
                  <a:gd name="T82" fmla="*/ 321 w 641"/>
                  <a:gd name="T83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41" h="641">
                    <a:moveTo>
                      <a:pt x="321" y="0"/>
                    </a:moveTo>
                    <a:lnTo>
                      <a:pt x="373" y="4"/>
                    </a:lnTo>
                    <a:lnTo>
                      <a:pt x="422" y="16"/>
                    </a:lnTo>
                    <a:lnTo>
                      <a:pt x="468" y="35"/>
                    </a:lnTo>
                    <a:lnTo>
                      <a:pt x="510" y="61"/>
                    </a:lnTo>
                    <a:lnTo>
                      <a:pt x="547" y="94"/>
                    </a:lnTo>
                    <a:lnTo>
                      <a:pt x="580" y="131"/>
                    </a:lnTo>
                    <a:lnTo>
                      <a:pt x="606" y="173"/>
                    </a:lnTo>
                    <a:lnTo>
                      <a:pt x="625" y="218"/>
                    </a:lnTo>
                    <a:lnTo>
                      <a:pt x="637" y="269"/>
                    </a:lnTo>
                    <a:lnTo>
                      <a:pt x="641" y="321"/>
                    </a:lnTo>
                    <a:lnTo>
                      <a:pt x="637" y="372"/>
                    </a:lnTo>
                    <a:lnTo>
                      <a:pt x="625" y="421"/>
                    </a:lnTo>
                    <a:lnTo>
                      <a:pt x="606" y="468"/>
                    </a:lnTo>
                    <a:lnTo>
                      <a:pt x="580" y="509"/>
                    </a:lnTo>
                    <a:lnTo>
                      <a:pt x="547" y="547"/>
                    </a:lnTo>
                    <a:lnTo>
                      <a:pt x="510" y="578"/>
                    </a:lnTo>
                    <a:lnTo>
                      <a:pt x="468" y="604"/>
                    </a:lnTo>
                    <a:lnTo>
                      <a:pt x="422" y="625"/>
                    </a:lnTo>
                    <a:lnTo>
                      <a:pt x="373" y="636"/>
                    </a:lnTo>
                    <a:lnTo>
                      <a:pt x="321" y="641"/>
                    </a:lnTo>
                    <a:lnTo>
                      <a:pt x="269" y="636"/>
                    </a:lnTo>
                    <a:lnTo>
                      <a:pt x="220" y="625"/>
                    </a:lnTo>
                    <a:lnTo>
                      <a:pt x="173" y="604"/>
                    </a:lnTo>
                    <a:lnTo>
                      <a:pt x="131" y="578"/>
                    </a:lnTo>
                    <a:lnTo>
                      <a:pt x="94" y="547"/>
                    </a:lnTo>
                    <a:lnTo>
                      <a:pt x="63" y="509"/>
                    </a:lnTo>
                    <a:lnTo>
                      <a:pt x="36" y="468"/>
                    </a:lnTo>
                    <a:lnTo>
                      <a:pt x="17" y="421"/>
                    </a:lnTo>
                    <a:lnTo>
                      <a:pt x="4" y="372"/>
                    </a:lnTo>
                    <a:lnTo>
                      <a:pt x="0" y="321"/>
                    </a:lnTo>
                    <a:lnTo>
                      <a:pt x="4" y="269"/>
                    </a:lnTo>
                    <a:lnTo>
                      <a:pt x="17" y="218"/>
                    </a:lnTo>
                    <a:lnTo>
                      <a:pt x="36" y="173"/>
                    </a:lnTo>
                    <a:lnTo>
                      <a:pt x="63" y="131"/>
                    </a:lnTo>
                    <a:lnTo>
                      <a:pt x="94" y="94"/>
                    </a:lnTo>
                    <a:lnTo>
                      <a:pt x="131" y="61"/>
                    </a:lnTo>
                    <a:lnTo>
                      <a:pt x="173" y="35"/>
                    </a:lnTo>
                    <a:lnTo>
                      <a:pt x="220" y="16"/>
                    </a:lnTo>
                    <a:lnTo>
                      <a:pt x="269" y="4"/>
                    </a:lnTo>
                    <a:lnTo>
                      <a:pt x="321" y="0"/>
                    </a:lnTo>
                    <a:lnTo>
                      <a:pt x="321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1" name="Freeform 57"/>
              <p:cNvSpPr>
                <a:spLocks/>
              </p:cNvSpPr>
              <p:nvPr/>
            </p:nvSpPr>
            <p:spPr bwMode="auto">
              <a:xfrm>
                <a:off x="-1399" y="3537"/>
                <a:ext cx="321" cy="321"/>
              </a:xfrm>
              <a:custGeom>
                <a:avLst/>
                <a:gdLst>
                  <a:gd name="T0" fmla="*/ 321 w 641"/>
                  <a:gd name="T1" fmla="*/ 0 h 641"/>
                  <a:gd name="T2" fmla="*/ 372 w 641"/>
                  <a:gd name="T3" fmla="*/ 5 h 641"/>
                  <a:gd name="T4" fmla="*/ 422 w 641"/>
                  <a:gd name="T5" fmla="*/ 16 h 641"/>
                  <a:gd name="T6" fmla="*/ 468 w 641"/>
                  <a:gd name="T7" fmla="*/ 37 h 641"/>
                  <a:gd name="T8" fmla="*/ 510 w 641"/>
                  <a:gd name="T9" fmla="*/ 63 h 641"/>
                  <a:gd name="T10" fmla="*/ 547 w 641"/>
                  <a:gd name="T11" fmla="*/ 94 h 641"/>
                  <a:gd name="T12" fmla="*/ 580 w 641"/>
                  <a:gd name="T13" fmla="*/ 132 h 641"/>
                  <a:gd name="T14" fmla="*/ 606 w 641"/>
                  <a:gd name="T15" fmla="*/ 173 h 641"/>
                  <a:gd name="T16" fmla="*/ 625 w 641"/>
                  <a:gd name="T17" fmla="*/ 220 h 641"/>
                  <a:gd name="T18" fmla="*/ 637 w 641"/>
                  <a:gd name="T19" fmla="*/ 269 h 641"/>
                  <a:gd name="T20" fmla="*/ 641 w 641"/>
                  <a:gd name="T21" fmla="*/ 320 h 641"/>
                  <a:gd name="T22" fmla="*/ 637 w 641"/>
                  <a:gd name="T23" fmla="*/ 372 h 641"/>
                  <a:gd name="T24" fmla="*/ 625 w 641"/>
                  <a:gd name="T25" fmla="*/ 423 h 641"/>
                  <a:gd name="T26" fmla="*/ 606 w 641"/>
                  <a:gd name="T27" fmla="*/ 468 h 641"/>
                  <a:gd name="T28" fmla="*/ 580 w 641"/>
                  <a:gd name="T29" fmla="*/ 510 h 641"/>
                  <a:gd name="T30" fmla="*/ 547 w 641"/>
                  <a:gd name="T31" fmla="*/ 547 h 641"/>
                  <a:gd name="T32" fmla="*/ 510 w 641"/>
                  <a:gd name="T33" fmla="*/ 580 h 641"/>
                  <a:gd name="T34" fmla="*/ 468 w 641"/>
                  <a:gd name="T35" fmla="*/ 606 h 641"/>
                  <a:gd name="T36" fmla="*/ 422 w 641"/>
                  <a:gd name="T37" fmla="*/ 625 h 641"/>
                  <a:gd name="T38" fmla="*/ 372 w 641"/>
                  <a:gd name="T39" fmla="*/ 637 h 641"/>
                  <a:gd name="T40" fmla="*/ 321 w 641"/>
                  <a:gd name="T41" fmla="*/ 641 h 641"/>
                  <a:gd name="T42" fmla="*/ 269 w 641"/>
                  <a:gd name="T43" fmla="*/ 637 h 641"/>
                  <a:gd name="T44" fmla="*/ 220 w 641"/>
                  <a:gd name="T45" fmla="*/ 625 h 641"/>
                  <a:gd name="T46" fmla="*/ 173 w 641"/>
                  <a:gd name="T47" fmla="*/ 606 h 641"/>
                  <a:gd name="T48" fmla="*/ 132 w 641"/>
                  <a:gd name="T49" fmla="*/ 580 h 641"/>
                  <a:gd name="T50" fmla="*/ 94 w 641"/>
                  <a:gd name="T51" fmla="*/ 547 h 641"/>
                  <a:gd name="T52" fmla="*/ 63 w 641"/>
                  <a:gd name="T53" fmla="*/ 510 h 641"/>
                  <a:gd name="T54" fmla="*/ 37 w 641"/>
                  <a:gd name="T55" fmla="*/ 468 h 641"/>
                  <a:gd name="T56" fmla="*/ 17 w 641"/>
                  <a:gd name="T57" fmla="*/ 423 h 641"/>
                  <a:gd name="T58" fmla="*/ 4 w 641"/>
                  <a:gd name="T59" fmla="*/ 372 h 641"/>
                  <a:gd name="T60" fmla="*/ 0 w 641"/>
                  <a:gd name="T61" fmla="*/ 320 h 641"/>
                  <a:gd name="T62" fmla="*/ 4 w 641"/>
                  <a:gd name="T63" fmla="*/ 269 h 641"/>
                  <a:gd name="T64" fmla="*/ 17 w 641"/>
                  <a:gd name="T65" fmla="*/ 220 h 641"/>
                  <a:gd name="T66" fmla="*/ 37 w 641"/>
                  <a:gd name="T67" fmla="*/ 173 h 641"/>
                  <a:gd name="T68" fmla="*/ 63 w 641"/>
                  <a:gd name="T69" fmla="*/ 132 h 641"/>
                  <a:gd name="T70" fmla="*/ 94 w 641"/>
                  <a:gd name="T71" fmla="*/ 94 h 641"/>
                  <a:gd name="T72" fmla="*/ 132 w 641"/>
                  <a:gd name="T73" fmla="*/ 63 h 641"/>
                  <a:gd name="T74" fmla="*/ 173 w 641"/>
                  <a:gd name="T75" fmla="*/ 37 h 641"/>
                  <a:gd name="T76" fmla="*/ 220 w 641"/>
                  <a:gd name="T77" fmla="*/ 16 h 641"/>
                  <a:gd name="T78" fmla="*/ 269 w 641"/>
                  <a:gd name="T79" fmla="*/ 5 h 641"/>
                  <a:gd name="T80" fmla="*/ 321 w 641"/>
                  <a:gd name="T81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41" h="641">
                    <a:moveTo>
                      <a:pt x="321" y="0"/>
                    </a:moveTo>
                    <a:lnTo>
                      <a:pt x="372" y="5"/>
                    </a:lnTo>
                    <a:lnTo>
                      <a:pt x="422" y="16"/>
                    </a:lnTo>
                    <a:lnTo>
                      <a:pt x="468" y="37"/>
                    </a:lnTo>
                    <a:lnTo>
                      <a:pt x="510" y="63"/>
                    </a:lnTo>
                    <a:lnTo>
                      <a:pt x="547" y="94"/>
                    </a:lnTo>
                    <a:lnTo>
                      <a:pt x="580" y="132"/>
                    </a:lnTo>
                    <a:lnTo>
                      <a:pt x="606" y="173"/>
                    </a:lnTo>
                    <a:lnTo>
                      <a:pt x="625" y="220"/>
                    </a:lnTo>
                    <a:lnTo>
                      <a:pt x="637" y="269"/>
                    </a:lnTo>
                    <a:lnTo>
                      <a:pt x="641" y="320"/>
                    </a:lnTo>
                    <a:lnTo>
                      <a:pt x="637" y="372"/>
                    </a:lnTo>
                    <a:lnTo>
                      <a:pt x="625" y="423"/>
                    </a:lnTo>
                    <a:lnTo>
                      <a:pt x="606" y="468"/>
                    </a:lnTo>
                    <a:lnTo>
                      <a:pt x="580" y="510"/>
                    </a:lnTo>
                    <a:lnTo>
                      <a:pt x="547" y="547"/>
                    </a:lnTo>
                    <a:lnTo>
                      <a:pt x="510" y="580"/>
                    </a:lnTo>
                    <a:lnTo>
                      <a:pt x="468" y="606"/>
                    </a:lnTo>
                    <a:lnTo>
                      <a:pt x="422" y="625"/>
                    </a:lnTo>
                    <a:lnTo>
                      <a:pt x="372" y="637"/>
                    </a:lnTo>
                    <a:lnTo>
                      <a:pt x="321" y="641"/>
                    </a:lnTo>
                    <a:lnTo>
                      <a:pt x="269" y="637"/>
                    </a:lnTo>
                    <a:lnTo>
                      <a:pt x="220" y="625"/>
                    </a:lnTo>
                    <a:lnTo>
                      <a:pt x="173" y="606"/>
                    </a:lnTo>
                    <a:lnTo>
                      <a:pt x="132" y="580"/>
                    </a:lnTo>
                    <a:lnTo>
                      <a:pt x="94" y="547"/>
                    </a:lnTo>
                    <a:lnTo>
                      <a:pt x="63" y="510"/>
                    </a:lnTo>
                    <a:lnTo>
                      <a:pt x="37" y="468"/>
                    </a:lnTo>
                    <a:lnTo>
                      <a:pt x="17" y="423"/>
                    </a:lnTo>
                    <a:lnTo>
                      <a:pt x="4" y="372"/>
                    </a:lnTo>
                    <a:lnTo>
                      <a:pt x="0" y="320"/>
                    </a:lnTo>
                    <a:lnTo>
                      <a:pt x="4" y="269"/>
                    </a:lnTo>
                    <a:lnTo>
                      <a:pt x="17" y="220"/>
                    </a:lnTo>
                    <a:lnTo>
                      <a:pt x="37" y="173"/>
                    </a:lnTo>
                    <a:lnTo>
                      <a:pt x="63" y="132"/>
                    </a:lnTo>
                    <a:lnTo>
                      <a:pt x="94" y="94"/>
                    </a:lnTo>
                    <a:lnTo>
                      <a:pt x="132" y="63"/>
                    </a:lnTo>
                    <a:lnTo>
                      <a:pt x="173" y="37"/>
                    </a:lnTo>
                    <a:lnTo>
                      <a:pt x="220" y="16"/>
                    </a:lnTo>
                    <a:lnTo>
                      <a:pt x="269" y="5"/>
                    </a:lnTo>
                    <a:lnTo>
                      <a:pt x="321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2" name="Freeform 58"/>
              <p:cNvSpPr>
                <a:spLocks/>
              </p:cNvSpPr>
              <p:nvPr/>
            </p:nvSpPr>
            <p:spPr bwMode="auto">
              <a:xfrm>
                <a:off x="-444" y="3537"/>
                <a:ext cx="320" cy="321"/>
              </a:xfrm>
              <a:custGeom>
                <a:avLst/>
                <a:gdLst>
                  <a:gd name="T0" fmla="*/ 321 w 641"/>
                  <a:gd name="T1" fmla="*/ 0 h 641"/>
                  <a:gd name="T2" fmla="*/ 373 w 641"/>
                  <a:gd name="T3" fmla="*/ 5 h 641"/>
                  <a:gd name="T4" fmla="*/ 422 w 641"/>
                  <a:gd name="T5" fmla="*/ 16 h 641"/>
                  <a:gd name="T6" fmla="*/ 468 w 641"/>
                  <a:gd name="T7" fmla="*/ 37 h 641"/>
                  <a:gd name="T8" fmla="*/ 510 w 641"/>
                  <a:gd name="T9" fmla="*/ 63 h 641"/>
                  <a:gd name="T10" fmla="*/ 547 w 641"/>
                  <a:gd name="T11" fmla="*/ 94 h 641"/>
                  <a:gd name="T12" fmla="*/ 580 w 641"/>
                  <a:gd name="T13" fmla="*/ 132 h 641"/>
                  <a:gd name="T14" fmla="*/ 606 w 641"/>
                  <a:gd name="T15" fmla="*/ 173 h 641"/>
                  <a:gd name="T16" fmla="*/ 625 w 641"/>
                  <a:gd name="T17" fmla="*/ 220 h 641"/>
                  <a:gd name="T18" fmla="*/ 637 w 641"/>
                  <a:gd name="T19" fmla="*/ 269 h 641"/>
                  <a:gd name="T20" fmla="*/ 641 w 641"/>
                  <a:gd name="T21" fmla="*/ 320 h 641"/>
                  <a:gd name="T22" fmla="*/ 637 w 641"/>
                  <a:gd name="T23" fmla="*/ 372 h 641"/>
                  <a:gd name="T24" fmla="*/ 625 w 641"/>
                  <a:gd name="T25" fmla="*/ 423 h 641"/>
                  <a:gd name="T26" fmla="*/ 606 w 641"/>
                  <a:gd name="T27" fmla="*/ 468 h 641"/>
                  <a:gd name="T28" fmla="*/ 580 w 641"/>
                  <a:gd name="T29" fmla="*/ 510 h 641"/>
                  <a:gd name="T30" fmla="*/ 547 w 641"/>
                  <a:gd name="T31" fmla="*/ 547 h 641"/>
                  <a:gd name="T32" fmla="*/ 510 w 641"/>
                  <a:gd name="T33" fmla="*/ 580 h 641"/>
                  <a:gd name="T34" fmla="*/ 468 w 641"/>
                  <a:gd name="T35" fmla="*/ 606 h 641"/>
                  <a:gd name="T36" fmla="*/ 422 w 641"/>
                  <a:gd name="T37" fmla="*/ 625 h 641"/>
                  <a:gd name="T38" fmla="*/ 373 w 641"/>
                  <a:gd name="T39" fmla="*/ 637 h 641"/>
                  <a:gd name="T40" fmla="*/ 321 w 641"/>
                  <a:gd name="T41" fmla="*/ 641 h 641"/>
                  <a:gd name="T42" fmla="*/ 269 w 641"/>
                  <a:gd name="T43" fmla="*/ 637 h 641"/>
                  <a:gd name="T44" fmla="*/ 220 w 641"/>
                  <a:gd name="T45" fmla="*/ 625 h 641"/>
                  <a:gd name="T46" fmla="*/ 173 w 641"/>
                  <a:gd name="T47" fmla="*/ 606 h 641"/>
                  <a:gd name="T48" fmla="*/ 131 w 641"/>
                  <a:gd name="T49" fmla="*/ 580 h 641"/>
                  <a:gd name="T50" fmla="*/ 94 w 641"/>
                  <a:gd name="T51" fmla="*/ 547 h 641"/>
                  <a:gd name="T52" fmla="*/ 63 w 641"/>
                  <a:gd name="T53" fmla="*/ 510 h 641"/>
                  <a:gd name="T54" fmla="*/ 36 w 641"/>
                  <a:gd name="T55" fmla="*/ 468 h 641"/>
                  <a:gd name="T56" fmla="*/ 17 w 641"/>
                  <a:gd name="T57" fmla="*/ 423 h 641"/>
                  <a:gd name="T58" fmla="*/ 4 w 641"/>
                  <a:gd name="T59" fmla="*/ 372 h 641"/>
                  <a:gd name="T60" fmla="*/ 0 w 641"/>
                  <a:gd name="T61" fmla="*/ 320 h 641"/>
                  <a:gd name="T62" fmla="*/ 4 w 641"/>
                  <a:gd name="T63" fmla="*/ 269 h 641"/>
                  <a:gd name="T64" fmla="*/ 17 w 641"/>
                  <a:gd name="T65" fmla="*/ 220 h 641"/>
                  <a:gd name="T66" fmla="*/ 36 w 641"/>
                  <a:gd name="T67" fmla="*/ 173 h 641"/>
                  <a:gd name="T68" fmla="*/ 63 w 641"/>
                  <a:gd name="T69" fmla="*/ 132 h 641"/>
                  <a:gd name="T70" fmla="*/ 94 w 641"/>
                  <a:gd name="T71" fmla="*/ 94 h 641"/>
                  <a:gd name="T72" fmla="*/ 131 w 641"/>
                  <a:gd name="T73" fmla="*/ 63 h 641"/>
                  <a:gd name="T74" fmla="*/ 173 w 641"/>
                  <a:gd name="T75" fmla="*/ 37 h 641"/>
                  <a:gd name="T76" fmla="*/ 220 w 641"/>
                  <a:gd name="T77" fmla="*/ 16 h 641"/>
                  <a:gd name="T78" fmla="*/ 269 w 641"/>
                  <a:gd name="T79" fmla="*/ 5 h 641"/>
                  <a:gd name="T80" fmla="*/ 321 w 641"/>
                  <a:gd name="T81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41" h="641">
                    <a:moveTo>
                      <a:pt x="321" y="0"/>
                    </a:moveTo>
                    <a:lnTo>
                      <a:pt x="373" y="5"/>
                    </a:lnTo>
                    <a:lnTo>
                      <a:pt x="422" y="16"/>
                    </a:lnTo>
                    <a:lnTo>
                      <a:pt x="468" y="37"/>
                    </a:lnTo>
                    <a:lnTo>
                      <a:pt x="510" y="63"/>
                    </a:lnTo>
                    <a:lnTo>
                      <a:pt x="547" y="94"/>
                    </a:lnTo>
                    <a:lnTo>
                      <a:pt x="580" y="132"/>
                    </a:lnTo>
                    <a:lnTo>
                      <a:pt x="606" y="173"/>
                    </a:lnTo>
                    <a:lnTo>
                      <a:pt x="625" y="220"/>
                    </a:lnTo>
                    <a:lnTo>
                      <a:pt x="637" y="269"/>
                    </a:lnTo>
                    <a:lnTo>
                      <a:pt x="641" y="320"/>
                    </a:lnTo>
                    <a:lnTo>
                      <a:pt x="637" y="372"/>
                    </a:lnTo>
                    <a:lnTo>
                      <a:pt x="625" y="423"/>
                    </a:lnTo>
                    <a:lnTo>
                      <a:pt x="606" y="468"/>
                    </a:lnTo>
                    <a:lnTo>
                      <a:pt x="580" y="510"/>
                    </a:lnTo>
                    <a:lnTo>
                      <a:pt x="547" y="547"/>
                    </a:lnTo>
                    <a:lnTo>
                      <a:pt x="510" y="580"/>
                    </a:lnTo>
                    <a:lnTo>
                      <a:pt x="468" y="606"/>
                    </a:lnTo>
                    <a:lnTo>
                      <a:pt x="422" y="625"/>
                    </a:lnTo>
                    <a:lnTo>
                      <a:pt x="373" y="637"/>
                    </a:lnTo>
                    <a:lnTo>
                      <a:pt x="321" y="641"/>
                    </a:lnTo>
                    <a:lnTo>
                      <a:pt x="269" y="637"/>
                    </a:lnTo>
                    <a:lnTo>
                      <a:pt x="220" y="625"/>
                    </a:lnTo>
                    <a:lnTo>
                      <a:pt x="173" y="606"/>
                    </a:lnTo>
                    <a:lnTo>
                      <a:pt x="131" y="580"/>
                    </a:lnTo>
                    <a:lnTo>
                      <a:pt x="94" y="547"/>
                    </a:lnTo>
                    <a:lnTo>
                      <a:pt x="63" y="510"/>
                    </a:lnTo>
                    <a:lnTo>
                      <a:pt x="36" y="468"/>
                    </a:lnTo>
                    <a:lnTo>
                      <a:pt x="17" y="423"/>
                    </a:lnTo>
                    <a:lnTo>
                      <a:pt x="4" y="372"/>
                    </a:lnTo>
                    <a:lnTo>
                      <a:pt x="0" y="320"/>
                    </a:lnTo>
                    <a:lnTo>
                      <a:pt x="4" y="269"/>
                    </a:lnTo>
                    <a:lnTo>
                      <a:pt x="17" y="220"/>
                    </a:lnTo>
                    <a:lnTo>
                      <a:pt x="36" y="173"/>
                    </a:lnTo>
                    <a:lnTo>
                      <a:pt x="63" y="132"/>
                    </a:lnTo>
                    <a:lnTo>
                      <a:pt x="94" y="94"/>
                    </a:lnTo>
                    <a:lnTo>
                      <a:pt x="131" y="63"/>
                    </a:lnTo>
                    <a:lnTo>
                      <a:pt x="173" y="37"/>
                    </a:lnTo>
                    <a:lnTo>
                      <a:pt x="220" y="16"/>
                    </a:lnTo>
                    <a:lnTo>
                      <a:pt x="269" y="5"/>
                    </a:lnTo>
                    <a:lnTo>
                      <a:pt x="321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3" name="Freeform 59"/>
              <p:cNvSpPr>
                <a:spLocks/>
              </p:cNvSpPr>
              <p:nvPr/>
            </p:nvSpPr>
            <p:spPr bwMode="auto">
              <a:xfrm>
                <a:off x="-1883" y="2705"/>
                <a:ext cx="320" cy="320"/>
              </a:xfrm>
              <a:custGeom>
                <a:avLst/>
                <a:gdLst>
                  <a:gd name="T0" fmla="*/ 320 w 641"/>
                  <a:gd name="T1" fmla="*/ 0 h 642"/>
                  <a:gd name="T2" fmla="*/ 372 w 641"/>
                  <a:gd name="T3" fmla="*/ 5 h 642"/>
                  <a:gd name="T4" fmla="*/ 421 w 641"/>
                  <a:gd name="T5" fmla="*/ 17 h 642"/>
                  <a:gd name="T6" fmla="*/ 468 w 641"/>
                  <a:gd name="T7" fmla="*/ 36 h 642"/>
                  <a:gd name="T8" fmla="*/ 510 w 641"/>
                  <a:gd name="T9" fmla="*/ 62 h 642"/>
                  <a:gd name="T10" fmla="*/ 547 w 641"/>
                  <a:gd name="T11" fmla="*/ 95 h 642"/>
                  <a:gd name="T12" fmla="*/ 578 w 641"/>
                  <a:gd name="T13" fmla="*/ 131 h 642"/>
                  <a:gd name="T14" fmla="*/ 605 w 641"/>
                  <a:gd name="T15" fmla="*/ 174 h 642"/>
                  <a:gd name="T16" fmla="*/ 625 w 641"/>
                  <a:gd name="T17" fmla="*/ 220 h 642"/>
                  <a:gd name="T18" fmla="*/ 637 w 641"/>
                  <a:gd name="T19" fmla="*/ 269 h 642"/>
                  <a:gd name="T20" fmla="*/ 641 w 641"/>
                  <a:gd name="T21" fmla="*/ 321 h 642"/>
                  <a:gd name="T22" fmla="*/ 637 w 641"/>
                  <a:gd name="T23" fmla="*/ 373 h 642"/>
                  <a:gd name="T24" fmla="*/ 625 w 641"/>
                  <a:gd name="T25" fmla="*/ 422 h 642"/>
                  <a:gd name="T26" fmla="*/ 605 w 641"/>
                  <a:gd name="T27" fmla="*/ 468 h 642"/>
                  <a:gd name="T28" fmla="*/ 578 w 641"/>
                  <a:gd name="T29" fmla="*/ 511 h 642"/>
                  <a:gd name="T30" fmla="*/ 547 w 641"/>
                  <a:gd name="T31" fmla="*/ 547 h 642"/>
                  <a:gd name="T32" fmla="*/ 510 w 641"/>
                  <a:gd name="T33" fmla="*/ 580 h 642"/>
                  <a:gd name="T34" fmla="*/ 468 w 641"/>
                  <a:gd name="T35" fmla="*/ 606 h 642"/>
                  <a:gd name="T36" fmla="*/ 421 w 641"/>
                  <a:gd name="T37" fmla="*/ 625 h 642"/>
                  <a:gd name="T38" fmla="*/ 372 w 641"/>
                  <a:gd name="T39" fmla="*/ 637 h 642"/>
                  <a:gd name="T40" fmla="*/ 320 w 641"/>
                  <a:gd name="T41" fmla="*/ 642 h 642"/>
                  <a:gd name="T42" fmla="*/ 269 w 641"/>
                  <a:gd name="T43" fmla="*/ 637 h 642"/>
                  <a:gd name="T44" fmla="*/ 220 w 641"/>
                  <a:gd name="T45" fmla="*/ 625 h 642"/>
                  <a:gd name="T46" fmla="*/ 173 w 641"/>
                  <a:gd name="T47" fmla="*/ 606 h 642"/>
                  <a:gd name="T48" fmla="*/ 131 w 641"/>
                  <a:gd name="T49" fmla="*/ 580 h 642"/>
                  <a:gd name="T50" fmla="*/ 94 w 641"/>
                  <a:gd name="T51" fmla="*/ 547 h 642"/>
                  <a:gd name="T52" fmla="*/ 61 w 641"/>
                  <a:gd name="T53" fmla="*/ 511 h 642"/>
                  <a:gd name="T54" fmla="*/ 35 w 641"/>
                  <a:gd name="T55" fmla="*/ 468 h 642"/>
                  <a:gd name="T56" fmla="*/ 16 w 641"/>
                  <a:gd name="T57" fmla="*/ 422 h 642"/>
                  <a:gd name="T58" fmla="*/ 4 w 641"/>
                  <a:gd name="T59" fmla="*/ 373 h 642"/>
                  <a:gd name="T60" fmla="*/ 0 w 641"/>
                  <a:gd name="T61" fmla="*/ 321 h 642"/>
                  <a:gd name="T62" fmla="*/ 4 w 641"/>
                  <a:gd name="T63" fmla="*/ 269 h 642"/>
                  <a:gd name="T64" fmla="*/ 16 w 641"/>
                  <a:gd name="T65" fmla="*/ 220 h 642"/>
                  <a:gd name="T66" fmla="*/ 35 w 641"/>
                  <a:gd name="T67" fmla="*/ 174 h 642"/>
                  <a:gd name="T68" fmla="*/ 61 w 641"/>
                  <a:gd name="T69" fmla="*/ 131 h 642"/>
                  <a:gd name="T70" fmla="*/ 94 w 641"/>
                  <a:gd name="T71" fmla="*/ 95 h 642"/>
                  <a:gd name="T72" fmla="*/ 131 w 641"/>
                  <a:gd name="T73" fmla="*/ 62 h 642"/>
                  <a:gd name="T74" fmla="*/ 173 w 641"/>
                  <a:gd name="T75" fmla="*/ 36 h 642"/>
                  <a:gd name="T76" fmla="*/ 220 w 641"/>
                  <a:gd name="T77" fmla="*/ 17 h 642"/>
                  <a:gd name="T78" fmla="*/ 269 w 641"/>
                  <a:gd name="T79" fmla="*/ 5 h 642"/>
                  <a:gd name="T80" fmla="*/ 320 w 641"/>
                  <a:gd name="T8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41" h="642">
                    <a:moveTo>
                      <a:pt x="320" y="0"/>
                    </a:moveTo>
                    <a:lnTo>
                      <a:pt x="372" y="5"/>
                    </a:lnTo>
                    <a:lnTo>
                      <a:pt x="421" y="17"/>
                    </a:lnTo>
                    <a:lnTo>
                      <a:pt x="468" y="36"/>
                    </a:lnTo>
                    <a:lnTo>
                      <a:pt x="510" y="62"/>
                    </a:lnTo>
                    <a:lnTo>
                      <a:pt x="547" y="95"/>
                    </a:lnTo>
                    <a:lnTo>
                      <a:pt x="578" y="131"/>
                    </a:lnTo>
                    <a:lnTo>
                      <a:pt x="605" y="174"/>
                    </a:lnTo>
                    <a:lnTo>
                      <a:pt x="625" y="220"/>
                    </a:lnTo>
                    <a:lnTo>
                      <a:pt x="637" y="269"/>
                    </a:lnTo>
                    <a:lnTo>
                      <a:pt x="641" y="321"/>
                    </a:lnTo>
                    <a:lnTo>
                      <a:pt x="637" y="373"/>
                    </a:lnTo>
                    <a:lnTo>
                      <a:pt x="625" y="422"/>
                    </a:lnTo>
                    <a:lnTo>
                      <a:pt x="605" y="468"/>
                    </a:lnTo>
                    <a:lnTo>
                      <a:pt x="578" y="511"/>
                    </a:lnTo>
                    <a:lnTo>
                      <a:pt x="547" y="547"/>
                    </a:lnTo>
                    <a:lnTo>
                      <a:pt x="510" y="580"/>
                    </a:lnTo>
                    <a:lnTo>
                      <a:pt x="468" y="606"/>
                    </a:lnTo>
                    <a:lnTo>
                      <a:pt x="421" y="625"/>
                    </a:lnTo>
                    <a:lnTo>
                      <a:pt x="372" y="637"/>
                    </a:lnTo>
                    <a:lnTo>
                      <a:pt x="320" y="642"/>
                    </a:lnTo>
                    <a:lnTo>
                      <a:pt x="269" y="637"/>
                    </a:lnTo>
                    <a:lnTo>
                      <a:pt x="220" y="625"/>
                    </a:lnTo>
                    <a:lnTo>
                      <a:pt x="173" y="606"/>
                    </a:lnTo>
                    <a:lnTo>
                      <a:pt x="131" y="580"/>
                    </a:lnTo>
                    <a:lnTo>
                      <a:pt x="94" y="547"/>
                    </a:lnTo>
                    <a:lnTo>
                      <a:pt x="61" y="511"/>
                    </a:lnTo>
                    <a:lnTo>
                      <a:pt x="35" y="468"/>
                    </a:lnTo>
                    <a:lnTo>
                      <a:pt x="16" y="422"/>
                    </a:lnTo>
                    <a:lnTo>
                      <a:pt x="4" y="373"/>
                    </a:lnTo>
                    <a:lnTo>
                      <a:pt x="0" y="321"/>
                    </a:lnTo>
                    <a:lnTo>
                      <a:pt x="4" y="269"/>
                    </a:lnTo>
                    <a:lnTo>
                      <a:pt x="16" y="220"/>
                    </a:lnTo>
                    <a:lnTo>
                      <a:pt x="35" y="174"/>
                    </a:lnTo>
                    <a:lnTo>
                      <a:pt x="61" y="131"/>
                    </a:lnTo>
                    <a:lnTo>
                      <a:pt x="94" y="95"/>
                    </a:lnTo>
                    <a:lnTo>
                      <a:pt x="131" y="62"/>
                    </a:lnTo>
                    <a:lnTo>
                      <a:pt x="173" y="36"/>
                    </a:lnTo>
                    <a:lnTo>
                      <a:pt x="220" y="17"/>
                    </a:lnTo>
                    <a:lnTo>
                      <a:pt x="269" y="5"/>
                    </a:lnTo>
                    <a:lnTo>
                      <a:pt x="320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5" name="Freeform 60"/>
              <p:cNvSpPr>
                <a:spLocks/>
              </p:cNvSpPr>
              <p:nvPr/>
            </p:nvSpPr>
            <p:spPr bwMode="auto">
              <a:xfrm>
                <a:off x="40" y="2705"/>
                <a:ext cx="320" cy="320"/>
              </a:xfrm>
              <a:custGeom>
                <a:avLst/>
                <a:gdLst>
                  <a:gd name="T0" fmla="*/ 319 w 639"/>
                  <a:gd name="T1" fmla="*/ 0 h 642"/>
                  <a:gd name="T2" fmla="*/ 372 w 639"/>
                  <a:gd name="T3" fmla="*/ 5 h 642"/>
                  <a:gd name="T4" fmla="*/ 421 w 639"/>
                  <a:gd name="T5" fmla="*/ 17 h 642"/>
                  <a:gd name="T6" fmla="*/ 466 w 639"/>
                  <a:gd name="T7" fmla="*/ 36 h 642"/>
                  <a:gd name="T8" fmla="*/ 508 w 639"/>
                  <a:gd name="T9" fmla="*/ 62 h 642"/>
                  <a:gd name="T10" fmla="*/ 547 w 639"/>
                  <a:gd name="T11" fmla="*/ 95 h 642"/>
                  <a:gd name="T12" fmla="*/ 578 w 639"/>
                  <a:gd name="T13" fmla="*/ 131 h 642"/>
                  <a:gd name="T14" fmla="*/ 604 w 639"/>
                  <a:gd name="T15" fmla="*/ 174 h 642"/>
                  <a:gd name="T16" fmla="*/ 623 w 639"/>
                  <a:gd name="T17" fmla="*/ 220 h 642"/>
                  <a:gd name="T18" fmla="*/ 635 w 639"/>
                  <a:gd name="T19" fmla="*/ 269 h 642"/>
                  <a:gd name="T20" fmla="*/ 639 w 639"/>
                  <a:gd name="T21" fmla="*/ 321 h 642"/>
                  <a:gd name="T22" fmla="*/ 635 w 639"/>
                  <a:gd name="T23" fmla="*/ 373 h 642"/>
                  <a:gd name="T24" fmla="*/ 623 w 639"/>
                  <a:gd name="T25" fmla="*/ 422 h 642"/>
                  <a:gd name="T26" fmla="*/ 604 w 639"/>
                  <a:gd name="T27" fmla="*/ 468 h 642"/>
                  <a:gd name="T28" fmla="*/ 578 w 639"/>
                  <a:gd name="T29" fmla="*/ 511 h 642"/>
                  <a:gd name="T30" fmla="*/ 547 w 639"/>
                  <a:gd name="T31" fmla="*/ 547 h 642"/>
                  <a:gd name="T32" fmla="*/ 508 w 639"/>
                  <a:gd name="T33" fmla="*/ 580 h 642"/>
                  <a:gd name="T34" fmla="*/ 466 w 639"/>
                  <a:gd name="T35" fmla="*/ 606 h 642"/>
                  <a:gd name="T36" fmla="*/ 421 w 639"/>
                  <a:gd name="T37" fmla="*/ 625 h 642"/>
                  <a:gd name="T38" fmla="*/ 372 w 639"/>
                  <a:gd name="T39" fmla="*/ 637 h 642"/>
                  <a:gd name="T40" fmla="*/ 319 w 639"/>
                  <a:gd name="T41" fmla="*/ 642 h 642"/>
                  <a:gd name="T42" fmla="*/ 267 w 639"/>
                  <a:gd name="T43" fmla="*/ 637 h 642"/>
                  <a:gd name="T44" fmla="*/ 218 w 639"/>
                  <a:gd name="T45" fmla="*/ 625 h 642"/>
                  <a:gd name="T46" fmla="*/ 173 w 639"/>
                  <a:gd name="T47" fmla="*/ 606 h 642"/>
                  <a:gd name="T48" fmla="*/ 131 w 639"/>
                  <a:gd name="T49" fmla="*/ 580 h 642"/>
                  <a:gd name="T50" fmla="*/ 93 w 639"/>
                  <a:gd name="T51" fmla="*/ 547 h 642"/>
                  <a:gd name="T52" fmla="*/ 61 w 639"/>
                  <a:gd name="T53" fmla="*/ 511 h 642"/>
                  <a:gd name="T54" fmla="*/ 35 w 639"/>
                  <a:gd name="T55" fmla="*/ 468 h 642"/>
                  <a:gd name="T56" fmla="*/ 16 w 639"/>
                  <a:gd name="T57" fmla="*/ 422 h 642"/>
                  <a:gd name="T58" fmla="*/ 4 w 639"/>
                  <a:gd name="T59" fmla="*/ 373 h 642"/>
                  <a:gd name="T60" fmla="*/ 0 w 639"/>
                  <a:gd name="T61" fmla="*/ 321 h 642"/>
                  <a:gd name="T62" fmla="*/ 4 w 639"/>
                  <a:gd name="T63" fmla="*/ 269 h 642"/>
                  <a:gd name="T64" fmla="*/ 16 w 639"/>
                  <a:gd name="T65" fmla="*/ 220 h 642"/>
                  <a:gd name="T66" fmla="*/ 35 w 639"/>
                  <a:gd name="T67" fmla="*/ 174 h 642"/>
                  <a:gd name="T68" fmla="*/ 61 w 639"/>
                  <a:gd name="T69" fmla="*/ 131 h 642"/>
                  <a:gd name="T70" fmla="*/ 93 w 639"/>
                  <a:gd name="T71" fmla="*/ 95 h 642"/>
                  <a:gd name="T72" fmla="*/ 131 w 639"/>
                  <a:gd name="T73" fmla="*/ 62 h 642"/>
                  <a:gd name="T74" fmla="*/ 173 w 639"/>
                  <a:gd name="T75" fmla="*/ 36 h 642"/>
                  <a:gd name="T76" fmla="*/ 218 w 639"/>
                  <a:gd name="T77" fmla="*/ 17 h 642"/>
                  <a:gd name="T78" fmla="*/ 267 w 639"/>
                  <a:gd name="T79" fmla="*/ 5 h 642"/>
                  <a:gd name="T80" fmla="*/ 319 w 639"/>
                  <a:gd name="T8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39" h="642">
                    <a:moveTo>
                      <a:pt x="319" y="0"/>
                    </a:moveTo>
                    <a:lnTo>
                      <a:pt x="372" y="5"/>
                    </a:lnTo>
                    <a:lnTo>
                      <a:pt x="421" y="17"/>
                    </a:lnTo>
                    <a:lnTo>
                      <a:pt x="466" y="36"/>
                    </a:lnTo>
                    <a:lnTo>
                      <a:pt x="508" y="62"/>
                    </a:lnTo>
                    <a:lnTo>
                      <a:pt x="547" y="95"/>
                    </a:lnTo>
                    <a:lnTo>
                      <a:pt x="578" y="131"/>
                    </a:lnTo>
                    <a:lnTo>
                      <a:pt x="604" y="174"/>
                    </a:lnTo>
                    <a:lnTo>
                      <a:pt x="623" y="220"/>
                    </a:lnTo>
                    <a:lnTo>
                      <a:pt x="635" y="269"/>
                    </a:lnTo>
                    <a:lnTo>
                      <a:pt x="639" y="321"/>
                    </a:lnTo>
                    <a:lnTo>
                      <a:pt x="635" y="373"/>
                    </a:lnTo>
                    <a:lnTo>
                      <a:pt x="623" y="422"/>
                    </a:lnTo>
                    <a:lnTo>
                      <a:pt x="604" y="468"/>
                    </a:lnTo>
                    <a:lnTo>
                      <a:pt x="578" y="511"/>
                    </a:lnTo>
                    <a:lnTo>
                      <a:pt x="547" y="547"/>
                    </a:lnTo>
                    <a:lnTo>
                      <a:pt x="508" y="580"/>
                    </a:lnTo>
                    <a:lnTo>
                      <a:pt x="466" y="606"/>
                    </a:lnTo>
                    <a:lnTo>
                      <a:pt x="421" y="625"/>
                    </a:lnTo>
                    <a:lnTo>
                      <a:pt x="372" y="637"/>
                    </a:lnTo>
                    <a:lnTo>
                      <a:pt x="319" y="642"/>
                    </a:lnTo>
                    <a:lnTo>
                      <a:pt x="267" y="637"/>
                    </a:lnTo>
                    <a:lnTo>
                      <a:pt x="218" y="625"/>
                    </a:lnTo>
                    <a:lnTo>
                      <a:pt x="173" y="606"/>
                    </a:lnTo>
                    <a:lnTo>
                      <a:pt x="131" y="580"/>
                    </a:lnTo>
                    <a:lnTo>
                      <a:pt x="93" y="547"/>
                    </a:lnTo>
                    <a:lnTo>
                      <a:pt x="61" y="511"/>
                    </a:lnTo>
                    <a:lnTo>
                      <a:pt x="35" y="468"/>
                    </a:lnTo>
                    <a:lnTo>
                      <a:pt x="16" y="422"/>
                    </a:lnTo>
                    <a:lnTo>
                      <a:pt x="4" y="373"/>
                    </a:lnTo>
                    <a:lnTo>
                      <a:pt x="0" y="321"/>
                    </a:lnTo>
                    <a:lnTo>
                      <a:pt x="4" y="269"/>
                    </a:lnTo>
                    <a:lnTo>
                      <a:pt x="16" y="220"/>
                    </a:lnTo>
                    <a:lnTo>
                      <a:pt x="35" y="174"/>
                    </a:lnTo>
                    <a:lnTo>
                      <a:pt x="61" y="131"/>
                    </a:lnTo>
                    <a:lnTo>
                      <a:pt x="93" y="95"/>
                    </a:lnTo>
                    <a:lnTo>
                      <a:pt x="131" y="62"/>
                    </a:lnTo>
                    <a:lnTo>
                      <a:pt x="173" y="36"/>
                    </a:lnTo>
                    <a:lnTo>
                      <a:pt x="218" y="17"/>
                    </a:lnTo>
                    <a:lnTo>
                      <a:pt x="267" y="5"/>
                    </a:lnTo>
                    <a:lnTo>
                      <a:pt x="319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sp>
          <p:nvSpPr>
            <p:cNvPr id="116" name="TextBox 115"/>
            <p:cNvSpPr txBox="1"/>
            <p:nvPr/>
          </p:nvSpPr>
          <p:spPr>
            <a:xfrm>
              <a:off x="3725312" y="2215587"/>
              <a:ext cx="1354647" cy="3682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-RU" sz="1100" dirty="0" smtClean="0">
                  <a:solidFill>
                    <a:schemeClr val="bg1"/>
                  </a:solidFill>
                  <a:latin typeface="+mj-lt"/>
                </a:rPr>
                <a:t>Оптимизация трансфера до/из аэропорта</a:t>
              </a: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5297298" y="2215587"/>
              <a:ext cx="1626781" cy="3682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-RU" sz="1200" dirty="0" smtClean="0">
                  <a:solidFill>
                    <a:schemeClr val="bg1"/>
                  </a:solidFill>
                  <a:latin typeface="+mj-lt"/>
                </a:rPr>
                <a:t>Сеть общественного транспорта</a:t>
              </a: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7185543" y="2215587"/>
              <a:ext cx="1155879" cy="3682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-RU" sz="1200" dirty="0" smtClean="0">
                  <a:solidFill>
                    <a:schemeClr val="bg1"/>
                  </a:solidFill>
                  <a:latin typeface="+mj-lt"/>
                </a:rPr>
                <a:t>Торговый центр</a:t>
              </a:r>
            </a:p>
          </p:txBody>
        </p:sp>
      </p:grpSp>
      <p:sp>
        <p:nvSpPr>
          <p:cNvPr id="92" name="TextBox 91"/>
          <p:cNvSpPr txBox="1"/>
          <p:nvPr/>
        </p:nvSpPr>
        <p:spPr>
          <a:xfrm>
            <a:off x="5933590" y="5306281"/>
            <a:ext cx="267701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ru-RU" sz="2000" i="1" dirty="0" smtClean="0">
                <a:solidFill>
                  <a:schemeClr val="bg1"/>
                </a:solidFill>
                <a:latin typeface="+mj-lt"/>
              </a:rPr>
              <a:t>... и на рынке</a:t>
            </a:r>
            <a:endParaRPr lang="ru-RU" sz="20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1" name="Rectangle 220"/>
          <p:cNvSpPr/>
          <p:nvPr/>
        </p:nvSpPr>
        <p:spPr>
          <a:xfrm>
            <a:off x="3725312" y="5792594"/>
            <a:ext cx="2068816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indent="-274320" algn="ctr">
              <a:spcAft>
                <a:spcPts val="900"/>
              </a:spcAft>
            </a:pP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Маркетинговые мероприятия</a:t>
            </a:r>
            <a:endParaRPr lang="ru-RU" sz="14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22" name="Group 221"/>
          <p:cNvGrpSpPr/>
          <p:nvPr/>
        </p:nvGrpSpPr>
        <p:grpSpPr>
          <a:xfrm>
            <a:off x="4259520" y="4806256"/>
            <a:ext cx="1000400" cy="783172"/>
            <a:chOff x="4152748" y="3389167"/>
            <a:chExt cx="467743" cy="366177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223" name="Freeform 363"/>
            <p:cNvSpPr>
              <a:spLocks noEditPoints="1"/>
            </p:cNvSpPr>
            <p:nvPr/>
          </p:nvSpPr>
          <p:spPr bwMode="auto">
            <a:xfrm>
              <a:off x="4203260" y="3474514"/>
              <a:ext cx="332724" cy="261442"/>
            </a:xfrm>
            <a:custGeom>
              <a:avLst/>
              <a:gdLst>
                <a:gd name="T0" fmla="*/ 1544 w 2922"/>
                <a:gd name="T1" fmla="*/ 468 h 2296"/>
                <a:gd name="T2" fmla="*/ 1544 w 2922"/>
                <a:gd name="T3" fmla="*/ 652 h 2296"/>
                <a:gd name="T4" fmla="*/ 2922 w 2922"/>
                <a:gd name="T5" fmla="*/ 412 h 2296"/>
                <a:gd name="T6" fmla="*/ 2922 w 2922"/>
                <a:gd name="T7" fmla="*/ 0 h 2296"/>
                <a:gd name="T8" fmla="*/ 1544 w 2922"/>
                <a:gd name="T9" fmla="*/ 468 h 2296"/>
                <a:gd name="T10" fmla="*/ 1544 w 2922"/>
                <a:gd name="T11" fmla="*/ 468 h 2296"/>
                <a:gd name="T12" fmla="*/ 664 w 2922"/>
                <a:gd name="T13" fmla="*/ 1576 h 2296"/>
                <a:gd name="T14" fmla="*/ 596 w 2922"/>
                <a:gd name="T15" fmla="*/ 1710 h 2296"/>
                <a:gd name="T16" fmla="*/ 892 w 2922"/>
                <a:gd name="T17" fmla="*/ 2296 h 2296"/>
                <a:gd name="T18" fmla="*/ 1008 w 2922"/>
                <a:gd name="T19" fmla="*/ 2296 h 2296"/>
                <a:gd name="T20" fmla="*/ 664 w 2922"/>
                <a:gd name="T21" fmla="*/ 1576 h 2296"/>
                <a:gd name="T22" fmla="*/ 664 w 2922"/>
                <a:gd name="T23" fmla="*/ 1576 h 2296"/>
                <a:gd name="T24" fmla="*/ 0 w 2922"/>
                <a:gd name="T25" fmla="*/ 400 h 2296"/>
                <a:gd name="T26" fmla="*/ 972 w 2922"/>
                <a:gd name="T27" fmla="*/ 400 h 2296"/>
                <a:gd name="T28" fmla="*/ 972 w 2922"/>
                <a:gd name="T29" fmla="*/ 608 h 2296"/>
                <a:gd name="T30" fmla="*/ 0 w 2922"/>
                <a:gd name="T31" fmla="*/ 608 h 2296"/>
                <a:gd name="T32" fmla="*/ 0 w 2922"/>
                <a:gd name="T33" fmla="*/ 400 h 2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22" h="2296">
                  <a:moveTo>
                    <a:pt x="1544" y="468"/>
                  </a:moveTo>
                  <a:lnTo>
                    <a:pt x="1544" y="652"/>
                  </a:lnTo>
                  <a:lnTo>
                    <a:pt x="2922" y="412"/>
                  </a:lnTo>
                  <a:lnTo>
                    <a:pt x="2922" y="0"/>
                  </a:lnTo>
                  <a:lnTo>
                    <a:pt x="1544" y="468"/>
                  </a:lnTo>
                  <a:lnTo>
                    <a:pt x="1544" y="468"/>
                  </a:lnTo>
                  <a:close/>
                  <a:moveTo>
                    <a:pt x="664" y="1576"/>
                  </a:moveTo>
                  <a:lnTo>
                    <a:pt x="596" y="1710"/>
                  </a:lnTo>
                  <a:lnTo>
                    <a:pt x="892" y="2296"/>
                  </a:lnTo>
                  <a:lnTo>
                    <a:pt x="1008" y="2296"/>
                  </a:lnTo>
                  <a:lnTo>
                    <a:pt x="664" y="1576"/>
                  </a:lnTo>
                  <a:lnTo>
                    <a:pt x="664" y="1576"/>
                  </a:lnTo>
                  <a:close/>
                  <a:moveTo>
                    <a:pt x="0" y="400"/>
                  </a:moveTo>
                  <a:lnTo>
                    <a:pt x="972" y="400"/>
                  </a:lnTo>
                  <a:lnTo>
                    <a:pt x="972" y="608"/>
                  </a:lnTo>
                  <a:lnTo>
                    <a:pt x="0" y="608"/>
                  </a:lnTo>
                  <a:lnTo>
                    <a:pt x="0" y="4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224" name="Group 223"/>
            <p:cNvGrpSpPr/>
            <p:nvPr/>
          </p:nvGrpSpPr>
          <p:grpSpPr>
            <a:xfrm>
              <a:off x="4152748" y="3389167"/>
              <a:ext cx="467743" cy="366177"/>
              <a:chOff x="10459268" y="1786752"/>
              <a:chExt cx="6594475" cy="5162550"/>
            </a:xfrm>
            <a:grpFill/>
          </p:grpSpPr>
          <p:sp>
            <p:nvSpPr>
              <p:cNvPr id="225" name="Rectangle 6"/>
              <p:cNvSpPr>
                <a:spLocks noChangeArrowheads="1"/>
              </p:cNvSpPr>
              <p:nvPr/>
            </p:nvSpPr>
            <p:spPr bwMode="auto">
              <a:xfrm>
                <a:off x="11145068" y="3459977"/>
                <a:ext cx="1558925" cy="33655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26" name="Freeform 7"/>
              <p:cNvSpPr>
                <a:spLocks/>
              </p:cNvSpPr>
              <p:nvPr/>
            </p:nvSpPr>
            <p:spPr bwMode="auto">
              <a:xfrm>
                <a:off x="16685443" y="2799577"/>
                <a:ext cx="368300" cy="2336800"/>
              </a:xfrm>
              <a:custGeom>
                <a:avLst/>
                <a:gdLst>
                  <a:gd name="T0" fmla="*/ 0 w 232"/>
                  <a:gd name="T1" fmla="*/ 0 h 1472"/>
                  <a:gd name="T2" fmla="*/ 0 w 232"/>
                  <a:gd name="T3" fmla="*/ 1472 h 1472"/>
                  <a:gd name="T4" fmla="*/ 0 w 232"/>
                  <a:gd name="T5" fmla="*/ 1472 h 1472"/>
                  <a:gd name="T6" fmla="*/ 24 w 232"/>
                  <a:gd name="T7" fmla="*/ 1472 h 1472"/>
                  <a:gd name="T8" fmla="*/ 46 w 232"/>
                  <a:gd name="T9" fmla="*/ 1468 h 1472"/>
                  <a:gd name="T10" fmla="*/ 68 w 232"/>
                  <a:gd name="T11" fmla="*/ 1462 h 1472"/>
                  <a:gd name="T12" fmla="*/ 90 w 232"/>
                  <a:gd name="T13" fmla="*/ 1454 h 1472"/>
                  <a:gd name="T14" fmla="*/ 110 w 232"/>
                  <a:gd name="T15" fmla="*/ 1444 h 1472"/>
                  <a:gd name="T16" fmla="*/ 130 w 232"/>
                  <a:gd name="T17" fmla="*/ 1434 h 1472"/>
                  <a:gd name="T18" fmla="*/ 148 w 232"/>
                  <a:gd name="T19" fmla="*/ 1420 h 1472"/>
                  <a:gd name="T20" fmla="*/ 164 w 232"/>
                  <a:gd name="T21" fmla="*/ 1404 h 1472"/>
                  <a:gd name="T22" fmla="*/ 178 w 232"/>
                  <a:gd name="T23" fmla="*/ 1388 h 1472"/>
                  <a:gd name="T24" fmla="*/ 192 w 232"/>
                  <a:gd name="T25" fmla="*/ 1370 h 1472"/>
                  <a:gd name="T26" fmla="*/ 204 w 232"/>
                  <a:gd name="T27" fmla="*/ 1352 h 1472"/>
                  <a:gd name="T28" fmla="*/ 214 w 232"/>
                  <a:gd name="T29" fmla="*/ 1332 h 1472"/>
                  <a:gd name="T30" fmla="*/ 222 w 232"/>
                  <a:gd name="T31" fmla="*/ 1310 h 1472"/>
                  <a:gd name="T32" fmla="*/ 226 w 232"/>
                  <a:gd name="T33" fmla="*/ 1288 h 1472"/>
                  <a:gd name="T34" fmla="*/ 230 w 232"/>
                  <a:gd name="T35" fmla="*/ 1264 h 1472"/>
                  <a:gd name="T36" fmla="*/ 232 w 232"/>
                  <a:gd name="T37" fmla="*/ 1242 h 1472"/>
                  <a:gd name="T38" fmla="*/ 232 w 232"/>
                  <a:gd name="T39" fmla="*/ 230 h 1472"/>
                  <a:gd name="T40" fmla="*/ 232 w 232"/>
                  <a:gd name="T41" fmla="*/ 230 h 1472"/>
                  <a:gd name="T42" fmla="*/ 230 w 232"/>
                  <a:gd name="T43" fmla="*/ 208 h 1472"/>
                  <a:gd name="T44" fmla="*/ 226 w 232"/>
                  <a:gd name="T45" fmla="*/ 184 h 1472"/>
                  <a:gd name="T46" fmla="*/ 222 w 232"/>
                  <a:gd name="T47" fmla="*/ 162 h 1472"/>
                  <a:gd name="T48" fmla="*/ 214 w 232"/>
                  <a:gd name="T49" fmla="*/ 140 h 1472"/>
                  <a:gd name="T50" fmla="*/ 204 w 232"/>
                  <a:gd name="T51" fmla="*/ 120 h 1472"/>
                  <a:gd name="T52" fmla="*/ 192 w 232"/>
                  <a:gd name="T53" fmla="*/ 102 h 1472"/>
                  <a:gd name="T54" fmla="*/ 178 w 232"/>
                  <a:gd name="T55" fmla="*/ 84 h 1472"/>
                  <a:gd name="T56" fmla="*/ 164 w 232"/>
                  <a:gd name="T57" fmla="*/ 68 h 1472"/>
                  <a:gd name="T58" fmla="*/ 148 w 232"/>
                  <a:gd name="T59" fmla="*/ 52 h 1472"/>
                  <a:gd name="T60" fmla="*/ 130 w 232"/>
                  <a:gd name="T61" fmla="*/ 38 h 1472"/>
                  <a:gd name="T62" fmla="*/ 110 w 232"/>
                  <a:gd name="T63" fmla="*/ 28 h 1472"/>
                  <a:gd name="T64" fmla="*/ 90 w 232"/>
                  <a:gd name="T65" fmla="*/ 18 h 1472"/>
                  <a:gd name="T66" fmla="*/ 68 w 232"/>
                  <a:gd name="T67" fmla="*/ 10 h 1472"/>
                  <a:gd name="T68" fmla="*/ 46 w 232"/>
                  <a:gd name="T69" fmla="*/ 4 h 1472"/>
                  <a:gd name="T70" fmla="*/ 24 w 232"/>
                  <a:gd name="T71" fmla="*/ 0 h 1472"/>
                  <a:gd name="T72" fmla="*/ 0 w 232"/>
                  <a:gd name="T73" fmla="*/ 0 h 1472"/>
                  <a:gd name="T74" fmla="*/ 0 w 232"/>
                  <a:gd name="T75" fmla="*/ 0 h 14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32" h="1472">
                    <a:moveTo>
                      <a:pt x="0" y="0"/>
                    </a:moveTo>
                    <a:lnTo>
                      <a:pt x="0" y="1472"/>
                    </a:lnTo>
                    <a:lnTo>
                      <a:pt x="0" y="1472"/>
                    </a:lnTo>
                    <a:lnTo>
                      <a:pt x="24" y="1472"/>
                    </a:lnTo>
                    <a:lnTo>
                      <a:pt x="46" y="1468"/>
                    </a:lnTo>
                    <a:lnTo>
                      <a:pt x="68" y="1462"/>
                    </a:lnTo>
                    <a:lnTo>
                      <a:pt x="90" y="1454"/>
                    </a:lnTo>
                    <a:lnTo>
                      <a:pt x="110" y="1444"/>
                    </a:lnTo>
                    <a:lnTo>
                      <a:pt x="130" y="1434"/>
                    </a:lnTo>
                    <a:lnTo>
                      <a:pt x="148" y="1420"/>
                    </a:lnTo>
                    <a:lnTo>
                      <a:pt x="164" y="1404"/>
                    </a:lnTo>
                    <a:lnTo>
                      <a:pt x="178" y="1388"/>
                    </a:lnTo>
                    <a:lnTo>
                      <a:pt x="192" y="1370"/>
                    </a:lnTo>
                    <a:lnTo>
                      <a:pt x="204" y="1352"/>
                    </a:lnTo>
                    <a:lnTo>
                      <a:pt x="214" y="1332"/>
                    </a:lnTo>
                    <a:lnTo>
                      <a:pt x="222" y="1310"/>
                    </a:lnTo>
                    <a:lnTo>
                      <a:pt x="226" y="1288"/>
                    </a:lnTo>
                    <a:lnTo>
                      <a:pt x="230" y="1264"/>
                    </a:lnTo>
                    <a:lnTo>
                      <a:pt x="232" y="1242"/>
                    </a:lnTo>
                    <a:lnTo>
                      <a:pt x="232" y="230"/>
                    </a:lnTo>
                    <a:lnTo>
                      <a:pt x="232" y="230"/>
                    </a:lnTo>
                    <a:lnTo>
                      <a:pt x="230" y="208"/>
                    </a:lnTo>
                    <a:lnTo>
                      <a:pt x="226" y="184"/>
                    </a:lnTo>
                    <a:lnTo>
                      <a:pt x="222" y="162"/>
                    </a:lnTo>
                    <a:lnTo>
                      <a:pt x="214" y="140"/>
                    </a:lnTo>
                    <a:lnTo>
                      <a:pt x="204" y="120"/>
                    </a:lnTo>
                    <a:lnTo>
                      <a:pt x="192" y="102"/>
                    </a:lnTo>
                    <a:lnTo>
                      <a:pt x="178" y="84"/>
                    </a:lnTo>
                    <a:lnTo>
                      <a:pt x="164" y="68"/>
                    </a:lnTo>
                    <a:lnTo>
                      <a:pt x="148" y="52"/>
                    </a:lnTo>
                    <a:lnTo>
                      <a:pt x="130" y="38"/>
                    </a:lnTo>
                    <a:lnTo>
                      <a:pt x="110" y="28"/>
                    </a:lnTo>
                    <a:lnTo>
                      <a:pt x="90" y="18"/>
                    </a:lnTo>
                    <a:lnTo>
                      <a:pt x="68" y="10"/>
                    </a:lnTo>
                    <a:lnTo>
                      <a:pt x="46" y="4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27" name="Freeform 8"/>
              <p:cNvSpPr>
                <a:spLocks noEditPoints="1"/>
              </p:cNvSpPr>
              <p:nvPr/>
            </p:nvSpPr>
            <p:spPr bwMode="auto">
              <a:xfrm>
                <a:off x="10459268" y="1786752"/>
                <a:ext cx="6013450" cy="5162550"/>
              </a:xfrm>
              <a:custGeom>
                <a:avLst/>
                <a:gdLst>
                  <a:gd name="T0" fmla="*/ 3758 w 3788"/>
                  <a:gd name="T1" fmla="*/ 52 h 3252"/>
                  <a:gd name="T2" fmla="*/ 3704 w 3788"/>
                  <a:gd name="T3" fmla="*/ 12 h 3252"/>
                  <a:gd name="T4" fmla="*/ 3638 w 3788"/>
                  <a:gd name="T5" fmla="*/ 0 h 3252"/>
                  <a:gd name="T6" fmla="*/ 1722 w 3788"/>
                  <a:gd name="T7" fmla="*/ 748 h 3252"/>
                  <a:gd name="T8" fmla="*/ 1560 w 3788"/>
                  <a:gd name="T9" fmla="*/ 662 h 3252"/>
                  <a:gd name="T10" fmla="*/ 426 w 3788"/>
                  <a:gd name="T11" fmla="*/ 646 h 3252"/>
                  <a:gd name="T12" fmla="*/ 224 w 3788"/>
                  <a:gd name="T13" fmla="*/ 698 h 3252"/>
                  <a:gd name="T14" fmla="*/ 126 w 3788"/>
                  <a:gd name="T15" fmla="*/ 772 h 3252"/>
                  <a:gd name="T16" fmla="*/ 34 w 3788"/>
                  <a:gd name="T17" fmla="*/ 908 h 3252"/>
                  <a:gd name="T18" fmla="*/ 0 w 3788"/>
                  <a:gd name="T19" fmla="*/ 1670 h 3252"/>
                  <a:gd name="T20" fmla="*/ 34 w 3788"/>
                  <a:gd name="T21" fmla="*/ 1836 h 3252"/>
                  <a:gd name="T22" fmla="*/ 126 w 3788"/>
                  <a:gd name="T23" fmla="*/ 1972 h 3252"/>
                  <a:gd name="T24" fmla="*/ 292 w 3788"/>
                  <a:gd name="T25" fmla="*/ 2074 h 3252"/>
                  <a:gd name="T26" fmla="*/ 922 w 3788"/>
                  <a:gd name="T27" fmla="*/ 3160 h 3252"/>
                  <a:gd name="T28" fmla="*/ 990 w 3788"/>
                  <a:gd name="T29" fmla="*/ 3238 h 3252"/>
                  <a:gd name="T30" fmla="*/ 1676 w 3788"/>
                  <a:gd name="T31" fmla="*/ 3252 h 3252"/>
                  <a:gd name="T32" fmla="*/ 1736 w 3788"/>
                  <a:gd name="T33" fmla="*/ 3238 h 3252"/>
                  <a:gd name="T34" fmla="*/ 1780 w 3788"/>
                  <a:gd name="T35" fmla="*/ 3204 h 3252"/>
                  <a:gd name="T36" fmla="*/ 1812 w 3788"/>
                  <a:gd name="T37" fmla="*/ 3146 h 3252"/>
                  <a:gd name="T38" fmla="*/ 1812 w 3788"/>
                  <a:gd name="T39" fmla="*/ 3078 h 3252"/>
                  <a:gd name="T40" fmla="*/ 1446 w 3788"/>
                  <a:gd name="T41" fmla="*/ 2096 h 3252"/>
                  <a:gd name="T42" fmla="*/ 1606 w 3788"/>
                  <a:gd name="T43" fmla="*/ 2064 h 3252"/>
                  <a:gd name="T44" fmla="*/ 3588 w 3788"/>
                  <a:gd name="T45" fmla="*/ 2766 h 3252"/>
                  <a:gd name="T46" fmla="*/ 3648 w 3788"/>
                  <a:gd name="T47" fmla="*/ 2778 h 3252"/>
                  <a:gd name="T48" fmla="*/ 3714 w 3788"/>
                  <a:gd name="T49" fmla="*/ 2762 h 3252"/>
                  <a:gd name="T50" fmla="*/ 3764 w 3788"/>
                  <a:gd name="T51" fmla="*/ 2716 h 3252"/>
                  <a:gd name="T52" fmla="*/ 3788 w 3788"/>
                  <a:gd name="T53" fmla="*/ 2652 h 3252"/>
                  <a:gd name="T54" fmla="*/ 3788 w 3788"/>
                  <a:gd name="T55" fmla="*/ 128 h 3252"/>
                  <a:gd name="T56" fmla="*/ 1452 w 3788"/>
                  <a:gd name="T57" fmla="*/ 2970 h 3252"/>
                  <a:gd name="T58" fmla="*/ 1592 w 3788"/>
                  <a:gd name="T59" fmla="*/ 1070 h 3252"/>
                  <a:gd name="T60" fmla="*/ 1592 w 3788"/>
                  <a:gd name="T61" fmla="*/ 1670 h 3252"/>
                  <a:gd name="T62" fmla="*/ 1592 w 3788"/>
                  <a:gd name="T63" fmla="*/ 1672 h 3252"/>
                  <a:gd name="T64" fmla="*/ 1592 w 3788"/>
                  <a:gd name="T65" fmla="*/ 1676 h 3252"/>
                  <a:gd name="T66" fmla="*/ 1586 w 3788"/>
                  <a:gd name="T67" fmla="*/ 1704 h 3252"/>
                  <a:gd name="T68" fmla="*/ 1548 w 3788"/>
                  <a:gd name="T69" fmla="*/ 1772 h 3252"/>
                  <a:gd name="T70" fmla="*/ 1486 w 3788"/>
                  <a:gd name="T71" fmla="*/ 1808 h 3252"/>
                  <a:gd name="T72" fmla="*/ 500 w 3788"/>
                  <a:gd name="T73" fmla="*/ 1814 h 3252"/>
                  <a:gd name="T74" fmla="*/ 384 w 3788"/>
                  <a:gd name="T75" fmla="*/ 1808 h 3252"/>
                  <a:gd name="T76" fmla="*/ 324 w 3788"/>
                  <a:gd name="T77" fmla="*/ 1772 h 3252"/>
                  <a:gd name="T78" fmla="*/ 294 w 3788"/>
                  <a:gd name="T79" fmla="*/ 1726 h 3252"/>
                  <a:gd name="T80" fmla="*/ 282 w 3788"/>
                  <a:gd name="T81" fmla="*/ 1072 h 3252"/>
                  <a:gd name="T82" fmla="*/ 294 w 3788"/>
                  <a:gd name="T83" fmla="*/ 1016 h 3252"/>
                  <a:gd name="T84" fmla="*/ 324 w 3788"/>
                  <a:gd name="T85" fmla="*/ 970 h 3252"/>
                  <a:gd name="T86" fmla="*/ 370 w 3788"/>
                  <a:gd name="T87" fmla="*/ 940 h 3252"/>
                  <a:gd name="T88" fmla="*/ 1446 w 3788"/>
                  <a:gd name="T89" fmla="*/ 928 h 3252"/>
                  <a:gd name="T90" fmla="*/ 1502 w 3788"/>
                  <a:gd name="T91" fmla="*/ 940 h 3252"/>
                  <a:gd name="T92" fmla="*/ 1548 w 3788"/>
                  <a:gd name="T93" fmla="*/ 970 h 3252"/>
                  <a:gd name="T94" fmla="*/ 1584 w 3788"/>
                  <a:gd name="T95" fmla="*/ 1028 h 3252"/>
                  <a:gd name="T96" fmla="*/ 1592 w 3788"/>
                  <a:gd name="T97" fmla="*/ 1070 h 3252"/>
                  <a:gd name="T98" fmla="*/ 1868 w 3788"/>
                  <a:gd name="T99" fmla="*/ 1738 h 3252"/>
                  <a:gd name="T100" fmla="*/ 1872 w 3788"/>
                  <a:gd name="T101" fmla="*/ 1688 h 3252"/>
                  <a:gd name="T102" fmla="*/ 1872 w 3788"/>
                  <a:gd name="T103" fmla="*/ 1682 h 3252"/>
                  <a:gd name="T104" fmla="*/ 1872 w 3788"/>
                  <a:gd name="T105" fmla="*/ 1676 h 3252"/>
                  <a:gd name="T106" fmla="*/ 1874 w 3788"/>
                  <a:gd name="T107" fmla="*/ 1072 h 3252"/>
                  <a:gd name="T108" fmla="*/ 1872 w 3788"/>
                  <a:gd name="T109" fmla="*/ 1066 h 3252"/>
                  <a:gd name="T110" fmla="*/ 1872 w 3788"/>
                  <a:gd name="T111" fmla="*/ 1062 h 3252"/>
                  <a:gd name="T112" fmla="*/ 1870 w 3788"/>
                  <a:gd name="T113" fmla="*/ 1024 h 3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788" h="3252">
                    <a:moveTo>
                      <a:pt x="3778" y="90"/>
                    </a:moveTo>
                    <a:lnTo>
                      <a:pt x="3778" y="90"/>
                    </a:lnTo>
                    <a:lnTo>
                      <a:pt x="3772" y="76"/>
                    </a:lnTo>
                    <a:lnTo>
                      <a:pt x="3766" y="64"/>
                    </a:lnTo>
                    <a:lnTo>
                      <a:pt x="3758" y="52"/>
                    </a:lnTo>
                    <a:lnTo>
                      <a:pt x="3748" y="42"/>
                    </a:lnTo>
                    <a:lnTo>
                      <a:pt x="3738" y="32"/>
                    </a:lnTo>
                    <a:lnTo>
                      <a:pt x="3728" y="24"/>
                    </a:lnTo>
                    <a:lnTo>
                      <a:pt x="3716" y="18"/>
                    </a:lnTo>
                    <a:lnTo>
                      <a:pt x="3704" y="12"/>
                    </a:lnTo>
                    <a:lnTo>
                      <a:pt x="3692" y="6"/>
                    </a:lnTo>
                    <a:lnTo>
                      <a:pt x="3678" y="4"/>
                    </a:lnTo>
                    <a:lnTo>
                      <a:pt x="3664" y="0"/>
                    </a:lnTo>
                    <a:lnTo>
                      <a:pt x="3652" y="0"/>
                    </a:lnTo>
                    <a:lnTo>
                      <a:pt x="3638" y="0"/>
                    </a:lnTo>
                    <a:lnTo>
                      <a:pt x="3624" y="2"/>
                    </a:lnTo>
                    <a:lnTo>
                      <a:pt x="3610" y="4"/>
                    </a:lnTo>
                    <a:lnTo>
                      <a:pt x="3596" y="10"/>
                    </a:lnTo>
                    <a:lnTo>
                      <a:pt x="1722" y="748"/>
                    </a:lnTo>
                    <a:lnTo>
                      <a:pt x="1722" y="748"/>
                    </a:lnTo>
                    <a:lnTo>
                      <a:pt x="1692" y="726"/>
                    </a:lnTo>
                    <a:lnTo>
                      <a:pt x="1662" y="706"/>
                    </a:lnTo>
                    <a:lnTo>
                      <a:pt x="1630" y="688"/>
                    </a:lnTo>
                    <a:lnTo>
                      <a:pt x="1596" y="674"/>
                    </a:lnTo>
                    <a:lnTo>
                      <a:pt x="1560" y="662"/>
                    </a:lnTo>
                    <a:lnTo>
                      <a:pt x="1524" y="652"/>
                    </a:lnTo>
                    <a:lnTo>
                      <a:pt x="1486" y="648"/>
                    </a:lnTo>
                    <a:lnTo>
                      <a:pt x="1446" y="646"/>
                    </a:lnTo>
                    <a:lnTo>
                      <a:pt x="426" y="646"/>
                    </a:lnTo>
                    <a:lnTo>
                      <a:pt x="426" y="646"/>
                    </a:lnTo>
                    <a:lnTo>
                      <a:pt x="384" y="648"/>
                    </a:lnTo>
                    <a:lnTo>
                      <a:pt x="342" y="654"/>
                    </a:lnTo>
                    <a:lnTo>
                      <a:pt x="300" y="666"/>
                    </a:lnTo>
                    <a:lnTo>
                      <a:pt x="260" y="680"/>
                    </a:lnTo>
                    <a:lnTo>
                      <a:pt x="224" y="698"/>
                    </a:lnTo>
                    <a:lnTo>
                      <a:pt x="188" y="720"/>
                    </a:lnTo>
                    <a:lnTo>
                      <a:pt x="156" y="744"/>
                    </a:lnTo>
                    <a:lnTo>
                      <a:pt x="126" y="772"/>
                    </a:lnTo>
                    <a:lnTo>
                      <a:pt x="126" y="772"/>
                    </a:lnTo>
                    <a:lnTo>
                      <a:pt x="126" y="772"/>
                    </a:lnTo>
                    <a:lnTo>
                      <a:pt x="126" y="772"/>
                    </a:lnTo>
                    <a:lnTo>
                      <a:pt x="98" y="802"/>
                    </a:lnTo>
                    <a:lnTo>
                      <a:pt x="74" y="834"/>
                    </a:lnTo>
                    <a:lnTo>
                      <a:pt x="52" y="870"/>
                    </a:lnTo>
                    <a:lnTo>
                      <a:pt x="34" y="908"/>
                    </a:lnTo>
                    <a:lnTo>
                      <a:pt x="20" y="946"/>
                    </a:lnTo>
                    <a:lnTo>
                      <a:pt x="8" y="988"/>
                    </a:lnTo>
                    <a:lnTo>
                      <a:pt x="2" y="1030"/>
                    </a:lnTo>
                    <a:lnTo>
                      <a:pt x="0" y="1072"/>
                    </a:lnTo>
                    <a:lnTo>
                      <a:pt x="0" y="1670"/>
                    </a:lnTo>
                    <a:lnTo>
                      <a:pt x="0" y="1670"/>
                    </a:lnTo>
                    <a:lnTo>
                      <a:pt x="2" y="1714"/>
                    </a:lnTo>
                    <a:lnTo>
                      <a:pt x="8" y="1756"/>
                    </a:lnTo>
                    <a:lnTo>
                      <a:pt x="20" y="1796"/>
                    </a:lnTo>
                    <a:lnTo>
                      <a:pt x="34" y="1836"/>
                    </a:lnTo>
                    <a:lnTo>
                      <a:pt x="52" y="1872"/>
                    </a:lnTo>
                    <a:lnTo>
                      <a:pt x="74" y="1908"/>
                    </a:lnTo>
                    <a:lnTo>
                      <a:pt x="98" y="1940"/>
                    </a:lnTo>
                    <a:lnTo>
                      <a:pt x="126" y="1972"/>
                    </a:lnTo>
                    <a:lnTo>
                      <a:pt x="126" y="1972"/>
                    </a:lnTo>
                    <a:lnTo>
                      <a:pt x="154" y="1998"/>
                    </a:lnTo>
                    <a:lnTo>
                      <a:pt x="186" y="2022"/>
                    </a:lnTo>
                    <a:lnTo>
                      <a:pt x="220" y="2042"/>
                    </a:lnTo>
                    <a:lnTo>
                      <a:pt x="254" y="2060"/>
                    </a:lnTo>
                    <a:lnTo>
                      <a:pt x="292" y="2074"/>
                    </a:lnTo>
                    <a:lnTo>
                      <a:pt x="330" y="2086"/>
                    </a:lnTo>
                    <a:lnTo>
                      <a:pt x="370" y="2092"/>
                    </a:lnTo>
                    <a:lnTo>
                      <a:pt x="412" y="2096"/>
                    </a:lnTo>
                    <a:lnTo>
                      <a:pt x="922" y="3160"/>
                    </a:lnTo>
                    <a:lnTo>
                      <a:pt x="922" y="3160"/>
                    </a:lnTo>
                    <a:lnTo>
                      <a:pt x="930" y="3180"/>
                    </a:lnTo>
                    <a:lnTo>
                      <a:pt x="942" y="3198"/>
                    </a:lnTo>
                    <a:lnTo>
                      <a:pt x="956" y="3212"/>
                    </a:lnTo>
                    <a:lnTo>
                      <a:pt x="972" y="3226"/>
                    </a:lnTo>
                    <a:lnTo>
                      <a:pt x="990" y="3238"/>
                    </a:lnTo>
                    <a:lnTo>
                      <a:pt x="1010" y="3246"/>
                    </a:lnTo>
                    <a:lnTo>
                      <a:pt x="1032" y="3250"/>
                    </a:lnTo>
                    <a:lnTo>
                      <a:pt x="1054" y="3252"/>
                    </a:lnTo>
                    <a:lnTo>
                      <a:pt x="1676" y="3252"/>
                    </a:lnTo>
                    <a:lnTo>
                      <a:pt x="1676" y="3252"/>
                    </a:lnTo>
                    <a:lnTo>
                      <a:pt x="1676" y="3252"/>
                    </a:lnTo>
                    <a:lnTo>
                      <a:pt x="1690" y="3250"/>
                    </a:lnTo>
                    <a:lnTo>
                      <a:pt x="1706" y="3248"/>
                    </a:lnTo>
                    <a:lnTo>
                      <a:pt x="1720" y="3244"/>
                    </a:lnTo>
                    <a:lnTo>
                      <a:pt x="1736" y="3238"/>
                    </a:lnTo>
                    <a:lnTo>
                      <a:pt x="1736" y="3238"/>
                    </a:lnTo>
                    <a:lnTo>
                      <a:pt x="1748" y="3232"/>
                    </a:lnTo>
                    <a:lnTo>
                      <a:pt x="1760" y="3224"/>
                    </a:lnTo>
                    <a:lnTo>
                      <a:pt x="1770" y="3214"/>
                    </a:lnTo>
                    <a:lnTo>
                      <a:pt x="1780" y="3204"/>
                    </a:lnTo>
                    <a:lnTo>
                      <a:pt x="1788" y="3194"/>
                    </a:lnTo>
                    <a:lnTo>
                      <a:pt x="1796" y="3182"/>
                    </a:lnTo>
                    <a:lnTo>
                      <a:pt x="1802" y="3170"/>
                    </a:lnTo>
                    <a:lnTo>
                      <a:pt x="1808" y="3158"/>
                    </a:lnTo>
                    <a:lnTo>
                      <a:pt x="1812" y="3146"/>
                    </a:lnTo>
                    <a:lnTo>
                      <a:pt x="1814" y="3132"/>
                    </a:lnTo>
                    <a:lnTo>
                      <a:pt x="1816" y="3118"/>
                    </a:lnTo>
                    <a:lnTo>
                      <a:pt x="1816" y="3104"/>
                    </a:lnTo>
                    <a:lnTo>
                      <a:pt x="1814" y="3092"/>
                    </a:lnTo>
                    <a:lnTo>
                      <a:pt x="1812" y="3078"/>
                    </a:lnTo>
                    <a:lnTo>
                      <a:pt x="1808" y="3064"/>
                    </a:lnTo>
                    <a:lnTo>
                      <a:pt x="1802" y="3050"/>
                    </a:lnTo>
                    <a:lnTo>
                      <a:pt x="1344" y="2096"/>
                    </a:lnTo>
                    <a:lnTo>
                      <a:pt x="1446" y="2096"/>
                    </a:lnTo>
                    <a:lnTo>
                      <a:pt x="1446" y="2096"/>
                    </a:lnTo>
                    <a:lnTo>
                      <a:pt x="1480" y="2094"/>
                    </a:lnTo>
                    <a:lnTo>
                      <a:pt x="1512" y="2092"/>
                    </a:lnTo>
                    <a:lnTo>
                      <a:pt x="1544" y="2084"/>
                    </a:lnTo>
                    <a:lnTo>
                      <a:pt x="1576" y="2076"/>
                    </a:lnTo>
                    <a:lnTo>
                      <a:pt x="1606" y="2064"/>
                    </a:lnTo>
                    <a:lnTo>
                      <a:pt x="1636" y="2052"/>
                    </a:lnTo>
                    <a:lnTo>
                      <a:pt x="1664" y="2036"/>
                    </a:lnTo>
                    <a:lnTo>
                      <a:pt x="1690" y="2020"/>
                    </a:lnTo>
                    <a:lnTo>
                      <a:pt x="3588" y="2766"/>
                    </a:lnTo>
                    <a:lnTo>
                      <a:pt x="3588" y="2766"/>
                    </a:lnTo>
                    <a:lnTo>
                      <a:pt x="3602" y="2772"/>
                    </a:lnTo>
                    <a:lnTo>
                      <a:pt x="3616" y="2776"/>
                    </a:lnTo>
                    <a:lnTo>
                      <a:pt x="3632" y="2778"/>
                    </a:lnTo>
                    <a:lnTo>
                      <a:pt x="3648" y="2778"/>
                    </a:lnTo>
                    <a:lnTo>
                      <a:pt x="3648" y="2778"/>
                    </a:lnTo>
                    <a:lnTo>
                      <a:pt x="3662" y="2778"/>
                    </a:lnTo>
                    <a:lnTo>
                      <a:pt x="3676" y="2776"/>
                    </a:lnTo>
                    <a:lnTo>
                      <a:pt x="3690" y="2772"/>
                    </a:lnTo>
                    <a:lnTo>
                      <a:pt x="3702" y="2768"/>
                    </a:lnTo>
                    <a:lnTo>
                      <a:pt x="3714" y="2762"/>
                    </a:lnTo>
                    <a:lnTo>
                      <a:pt x="3726" y="2754"/>
                    </a:lnTo>
                    <a:lnTo>
                      <a:pt x="3738" y="2746"/>
                    </a:lnTo>
                    <a:lnTo>
                      <a:pt x="3748" y="2738"/>
                    </a:lnTo>
                    <a:lnTo>
                      <a:pt x="3756" y="2728"/>
                    </a:lnTo>
                    <a:lnTo>
                      <a:pt x="3764" y="2716"/>
                    </a:lnTo>
                    <a:lnTo>
                      <a:pt x="3772" y="2706"/>
                    </a:lnTo>
                    <a:lnTo>
                      <a:pt x="3778" y="2692"/>
                    </a:lnTo>
                    <a:lnTo>
                      <a:pt x="3782" y="2680"/>
                    </a:lnTo>
                    <a:lnTo>
                      <a:pt x="3786" y="2666"/>
                    </a:lnTo>
                    <a:lnTo>
                      <a:pt x="3788" y="2652"/>
                    </a:lnTo>
                    <a:lnTo>
                      <a:pt x="3788" y="2638"/>
                    </a:lnTo>
                    <a:lnTo>
                      <a:pt x="3788" y="140"/>
                    </a:lnTo>
                    <a:lnTo>
                      <a:pt x="3788" y="140"/>
                    </a:lnTo>
                    <a:lnTo>
                      <a:pt x="3788" y="140"/>
                    </a:lnTo>
                    <a:lnTo>
                      <a:pt x="3788" y="128"/>
                    </a:lnTo>
                    <a:lnTo>
                      <a:pt x="3786" y="114"/>
                    </a:lnTo>
                    <a:lnTo>
                      <a:pt x="3782" y="102"/>
                    </a:lnTo>
                    <a:lnTo>
                      <a:pt x="3778" y="90"/>
                    </a:lnTo>
                    <a:lnTo>
                      <a:pt x="3778" y="90"/>
                    </a:lnTo>
                    <a:close/>
                    <a:moveTo>
                      <a:pt x="1452" y="2970"/>
                    </a:moveTo>
                    <a:lnTo>
                      <a:pt x="1334" y="2970"/>
                    </a:lnTo>
                    <a:lnTo>
                      <a:pt x="1036" y="2378"/>
                    </a:lnTo>
                    <a:lnTo>
                      <a:pt x="1104" y="2244"/>
                    </a:lnTo>
                    <a:lnTo>
                      <a:pt x="1452" y="2970"/>
                    </a:lnTo>
                    <a:close/>
                    <a:moveTo>
                      <a:pt x="1592" y="1070"/>
                    </a:moveTo>
                    <a:lnTo>
                      <a:pt x="1592" y="1070"/>
                    </a:lnTo>
                    <a:lnTo>
                      <a:pt x="1592" y="1072"/>
                    </a:lnTo>
                    <a:lnTo>
                      <a:pt x="1592" y="1072"/>
                    </a:lnTo>
                    <a:lnTo>
                      <a:pt x="1592" y="1072"/>
                    </a:lnTo>
                    <a:lnTo>
                      <a:pt x="1592" y="1670"/>
                    </a:lnTo>
                    <a:lnTo>
                      <a:pt x="1592" y="1670"/>
                    </a:lnTo>
                    <a:lnTo>
                      <a:pt x="1592" y="1672"/>
                    </a:lnTo>
                    <a:lnTo>
                      <a:pt x="1592" y="1672"/>
                    </a:lnTo>
                    <a:lnTo>
                      <a:pt x="1592" y="1672"/>
                    </a:lnTo>
                    <a:lnTo>
                      <a:pt x="1592" y="1672"/>
                    </a:lnTo>
                    <a:lnTo>
                      <a:pt x="1592" y="1674"/>
                    </a:lnTo>
                    <a:lnTo>
                      <a:pt x="1592" y="1674"/>
                    </a:lnTo>
                    <a:lnTo>
                      <a:pt x="1592" y="1676"/>
                    </a:lnTo>
                    <a:lnTo>
                      <a:pt x="1592" y="1676"/>
                    </a:lnTo>
                    <a:lnTo>
                      <a:pt x="1592" y="1676"/>
                    </a:lnTo>
                    <a:lnTo>
                      <a:pt x="1590" y="1676"/>
                    </a:lnTo>
                    <a:lnTo>
                      <a:pt x="1590" y="1678"/>
                    </a:lnTo>
                    <a:lnTo>
                      <a:pt x="1590" y="1678"/>
                    </a:lnTo>
                    <a:lnTo>
                      <a:pt x="1590" y="1690"/>
                    </a:lnTo>
                    <a:lnTo>
                      <a:pt x="1586" y="1704"/>
                    </a:lnTo>
                    <a:lnTo>
                      <a:pt x="1584" y="1716"/>
                    </a:lnTo>
                    <a:lnTo>
                      <a:pt x="1578" y="1730"/>
                    </a:lnTo>
                    <a:lnTo>
                      <a:pt x="1566" y="1752"/>
                    </a:lnTo>
                    <a:lnTo>
                      <a:pt x="1548" y="1772"/>
                    </a:lnTo>
                    <a:lnTo>
                      <a:pt x="1548" y="1772"/>
                    </a:lnTo>
                    <a:lnTo>
                      <a:pt x="1544" y="1776"/>
                    </a:lnTo>
                    <a:lnTo>
                      <a:pt x="1544" y="1776"/>
                    </a:lnTo>
                    <a:lnTo>
                      <a:pt x="1522" y="1792"/>
                    </a:lnTo>
                    <a:lnTo>
                      <a:pt x="1500" y="1804"/>
                    </a:lnTo>
                    <a:lnTo>
                      <a:pt x="1486" y="1808"/>
                    </a:lnTo>
                    <a:lnTo>
                      <a:pt x="1474" y="1812"/>
                    </a:lnTo>
                    <a:lnTo>
                      <a:pt x="1460" y="1814"/>
                    </a:lnTo>
                    <a:lnTo>
                      <a:pt x="1446" y="1814"/>
                    </a:lnTo>
                    <a:lnTo>
                      <a:pt x="1122" y="1814"/>
                    </a:lnTo>
                    <a:lnTo>
                      <a:pt x="500" y="1814"/>
                    </a:lnTo>
                    <a:lnTo>
                      <a:pt x="426" y="1814"/>
                    </a:lnTo>
                    <a:lnTo>
                      <a:pt x="426" y="1814"/>
                    </a:lnTo>
                    <a:lnTo>
                      <a:pt x="412" y="1814"/>
                    </a:lnTo>
                    <a:lnTo>
                      <a:pt x="398" y="1812"/>
                    </a:lnTo>
                    <a:lnTo>
                      <a:pt x="384" y="1808"/>
                    </a:lnTo>
                    <a:lnTo>
                      <a:pt x="370" y="1802"/>
                    </a:lnTo>
                    <a:lnTo>
                      <a:pt x="358" y="1796"/>
                    </a:lnTo>
                    <a:lnTo>
                      <a:pt x="346" y="1790"/>
                    </a:lnTo>
                    <a:lnTo>
                      <a:pt x="334" y="1782"/>
                    </a:lnTo>
                    <a:lnTo>
                      <a:pt x="324" y="1772"/>
                    </a:lnTo>
                    <a:lnTo>
                      <a:pt x="324" y="1772"/>
                    </a:lnTo>
                    <a:lnTo>
                      <a:pt x="316" y="1762"/>
                    </a:lnTo>
                    <a:lnTo>
                      <a:pt x="306" y="1750"/>
                    </a:lnTo>
                    <a:lnTo>
                      <a:pt x="300" y="1738"/>
                    </a:lnTo>
                    <a:lnTo>
                      <a:pt x="294" y="1726"/>
                    </a:lnTo>
                    <a:lnTo>
                      <a:pt x="288" y="1712"/>
                    </a:lnTo>
                    <a:lnTo>
                      <a:pt x="284" y="1698"/>
                    </a:lnTo>
                    <a:lnTo>
                      <a:pt x="282" y="1684"/>
                    </a:lnTo>
                    <a:lnTo>
                      <a:pt x="282" y="1670"/>
                    </a:lnTo>
                    <a:lnTo>
                      <a:pt x="282" y="1072"/>
                    </a:lnTo>
                    <a:lnTo>
                      <a:pt x="282" y="1072"/>
                    </a:lnTo>
                    <a:lnTo>
                      <a:pt x="282" y="1058"/>
                    </a:lnTo>
                    <a:lnTo>
                      <a:pt x="284" y="1044"/>
                    </a:lnTo>
                    <a:lnTo>
                      <a:pt x="288" y="1030"/>
                    </a:lnTo>
                    <a:lnTo>
                      <a:pt x="294" y="1016"/>
                    </a:lnTo>
                    <a:lnTo>
                      <a:pt x="300" y="1004"/>
                    </a:lnTo>
                    <a:lnTo>
                      <a:pt x="306" y="992"/>
                    </a:lnTo>
                    <a:lnTo>
                      <a:pt x="316" y="980"/>
                    </a:lnTo>
                    <a:lnTo>
                      <a:pt x="324" y="970"/>
                    </a:lnTo>
                    <a:lnTo>
                      <a:pt x="324" y="970"/>
                    </a:lnTo>
                    <a:lnTo>
                      <a:pt x="324" y="970"/>
                    </a:lnTo>
                    <a:lnTo>
                      <a:pt x="334" y="962"/>
                    </a:lnTo>
                    <a:lnTo>
                      <a:pt x="346" y="952"/>
                    </a:lnTo>
                    <a:lnTo>
                      <a:pt x="358" y="946"/>
                    </a:lnTo>
                    <a:lnTo>
                      <a:pt x="370" y="940"/>
                    </a:lnTo>
                    <a:lnTo>
                      <a:pt x="384" y="934"/>
                    </a:lnTo>
                    <a:lnTo>
                      <a:pt x="398" y="930"/>
                    </a:lnTo>
                    <a:lnTo>
                      <a:pt x="412" y="928"/>
                    </a:lnTo>
                    <a:lnTo>
                      <a:pt x="426" y="928"/>
                    </a:lnTo>
                    <a:lnTo>
                      <a:pt x="1446" y="928"/>
                    </a:lnTo>
                    <a:lnTo>
                      <a:pt x="1446" y="928"/>
                    </a:lnTo>
                    <a:lnTo>
                      <a:pt x="1462" y="928"/>
                    </a:lnTo>
                    <a:lnTo>
                      <a:pt x="1476" y="930"/>
                    </a:lnTo>
                    <a:lnTo>
                      <a:pt x="1490" y="934"/>
                    </a:lnTo>
                    <a:lnTo>
                      <a:pt x="1502" y="940"/>
                    </a:lnTo>
                    <a:lnTo>
                      <a:pt x="1516" y="946"/>
                    </a:lnTo>
                    <a:lnTo>
                      <a:pt x="1528" y="952"/>
                    </a:lnTo>
                    <a:lnTo>
                      <a:pt x="1538" y="960"/>
                    </a:lnTo>
                    <a:lnTo>
                      <a:pt x="1548" y="970"/>
                    </a:lnTo>
                    <a:lnTo>
                      <a:pt x="1548" y="970"/>
                    </a:lnTo>
                    <a:lnTo>
                      <a:pt x="1558" y="980"/>
                    </a:lnTo>
                    <a:lnTo>
                      <a:pt x="1566" y="992"/>
                    </a:lnTo>
                    <a:lnTo>
                      <a:pt x="1572" y="1002"/>
                    </a:lnTo>
                    <a:lnTo>
                      <a:pt x="1580" y="1014"/>
                    </a:lnTo>
                    <a:lnTo>
                      <a:pt x="1584" y="1028"/>
                    </a:lnTo>
                    <a:lnTo>
                      <a:pt x="1588" y="1040"/>
                    </a:lnTo>
                    <a:lnTo>
                      <a:pt x="1590" y="1054"/>
                    </a:lnTo>
                    <a:lnTo>
                      <a:pt x="1592" y="1070"/>
                    </a:lnTo>
                    <a:lnTo>
                      <a:pt x="1592" y="1070"/>
                    </a:lnTo>
                    <a:lnTo>
                      <a:pt x="1592" y="1070"/>
                    </a:lnTo>
                    <a:close/>
                    <a:moveTo>
                      <a:pt x="3506" y="2432"/>
                    </a:moveTo>
                    <a:lnTo>
                      <a:pt x="1858" y="1782"/>
                    </a:lnTo>
                    <a:lnTo>
                      <a:pt x="1858" y="1782"/>
                    </a:lnTo>
                    <a:lnTo>
                      <a:pt x="1864" y="1760"/>
                    </a:lnTo>
                    <a:lnTo>
                      <a:pt x="1868" y="1738"/>
                    </a:lnTo>
                    <a:lnTo>
                      <a:pt x="1870" y="1714"/>
                    </a:lnTo>
                    <a:lnTo>
                      <a:pt x="1872" y="1692"/>
                    </a:lnTo>
                    <a:lnTo>
                      <a:pt x="1872" y="1692"/>
                    </a:lnTo>
                    <a:lnTo>
                      <a:pt x="1872" y="1690"/>
                    </a:lnTo>
                    <a:lnTo>
                      <a:pt x="1872" y="1688"/>
                    </a:lnTo>
                    <a:lnTo>
                      <a:pt x="1872" y="1686"/>
                    </a:lnTo>
                    <a:lnTo>
                      <a:pt x="1872" y="1686"/>
                    </a:lnTo>
                    <a:lnTo>
                      <a:pt x="1872" y="1684"/>
                    </a:lnTo>
                    <a:lnTo>
                      <a:pt x="1872" y="1682"/>
                    </a:lnTo>
                    <a:lnTo>
                      <a:pt x="1872" y="1682"/>
                    </a:lnTo>
                    <a:lnTo>
                      <a:pt x="1872" y="1678"/>
                    </a:lnTo>
                    <a:lnTo>
                      <a:pt x="1872" y="1678"/>
                    </a:lnTo>
                    <a:lnTo>
                      <a:pt x="1872" y="1676"/>
                    </a:lnTo>
                    <a:lnTo>
                      <a:pt x="1872" y="1676"/>
                    </a:lnTo>
                    <a:lnTo>
                      <a:pt x="1872" y="1676"/>
                    </a:lnTo>
                    <a:lnTo>
                      <a:pt x="1874" y="1674"/>
                    </a:lnTo>
                    <a:lnTo>
                      <a:pt x="1874" y="1672"/>
                    </a:lnTo>
                    <a:lnTo>
                      <a:pt x="1874" y="1670"/>
                    </a:lnTo>
                    <a:lnTo>
                      <a:pt x="1874" y="1072"/>
                    </a:lnTo>
                    <a:lnTo>
                      <a:pt x="1874" y="1072"/>
                    </a:lnTo>
                    <a:lnTo>
                      <a:pt x="1874" y="1070"/>
                    </a:lnTo>
                    <a:lnTo>
                      <a:pt x="1874" y="1070"/>
                    </a:lnTo>
                    <a:lnTo>
                      <a:pt x="1872" y="1068"/>
                    </a:lnTo>
                    <a:lnTo>
                      <a:pt x="1872" y="1068"/>
                    </a:lnTo>
                    <a:lnTo>
                      <a:pt x="1872" y="1066"/>
                    </a:lnTo>
                    <a:lnTo>
                      <a:pt x="1872" y="1066"/>
                    </a:lnTo>
                    <a:lnTo>
                      <a:pt x="1872" y="1064"/>
                    </a:lnTo>
                    <a:lnTo>
                      <a:pt x="1872" y="1062"/>
                    </a:lnTo>
                    <a:lnTo>
                      <a:pt x="1872" y="1062"/>
                    </a:lnTo>
                    <a:lnTo>
                      <a:pt x="1872" y="1062"/>
                    </a:lnTo>
                    <a:lnTo>
                      <a:pt x="1872" y="1060"/>
                    </a:lnTo>
                    <a:lnTo>
                      <a:pt x="1872" y="1056"/>
                    </a:lnTo>
                    <a:lnTo>
                      <a:pt x="1872" y="1054"/>
                    </a:lnTo>
                    <a:lnTo>
                      <a:pt x="1872" y="1054"/>
                    </a:lnTo>
                    <a:lnTo>
                      <a:pt x="1870" y="1024"/>
                    </a:lnTo>
                    <a:lnTo>
                      <a:pt x="1866" y="994"/>
                    </a:lnTo>
                    <a:lnTo>
                      <a:pt x="3506" y="348"/>
                    </a:lnTo>
                    <a:lnTo>
                      <a:pt x="3506" y="243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28" name="Freeform 9"/>
              <p:cNvSpPr>
                <a:spLocks/>
              </p:cNvSpPr>
              <p:nvPr/>
            </p:nvSpPr>
            <p:spPr bwMode="auto">
              <a:xfrm>
                <a:off x="13621568" y="2818627"/>
                <a:ext cx="2212975" cy="1047750"/>
              </a:xfrm>
              <a:custGeom>
                <a:avLst/>
                <a:gdLst>
                  <a:gd name="T0" fmla="*/ 1394 w 1394"/>
                  <a:gd name="T1" fmla="*/ 0 h 660"/>
                  <a:gd name="T2" fmla="*/ 0 w 1394"/>
                  <a:gd name="T3" fmla="*/ 472 h 660"/>
                  <a:gd name="T4" fmla="*/ 0 w 1394"/>
                  <a:gd name="T5" fmla="*/ 660 h 660"/>
                  <a:gd name="T6" fmla="*/ 1394 w 1394"/>
                  <a:gd name="T7" fmla="*/ 416 h 660"/>
                  <a:gd name="T8" fmla="*/ 1394 w 1394"/>
                  <a:gd name="T9" fmla="*/ 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94" h="660">
                    <a:moveTo>
                      <a:pt x="1394" y="0"/>
                    </a:moveTo>
                    <a:lnTo>
                      <a:pt x="0" y="472"/>
                    </a:lnTo>
                    <a:lnTo>
                      <a:pt x="0" y="660"/>
                    </a:lnTo>
                    <a:lnTo>
                      <a:pt x="1394" y="416"/>
                    </a:lnTo>
                    <a:lnTo>
                      <a:pt x="1394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220" name="Rectangle 219"/>
          <p:cNvSpPr/>
          <p:nvPr/>
        </p:nvSpPr>
        <p:spPr>
          <a:xfrm>
            <a:off x="1517034" y="5792594"/>
            <a:ext cx="2068816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indent="-274320" algn="ctr">
              <a:spcAft>
                <a:spcPts val="900"/>
              </a:spcAft>
            </a:pP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Оптимальный ассортимент продукции</a:t>
            </a:r>
            <a:endParaRPr lang="ru-RU" sz="14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35" name="Group 43"/>
          <p:cNvGrpSpPr>
            <a:grpSpLocks noChangeAspect="1"/>
          </p:cNvGrpSpPr>
          <p:nvPr/>
        </p:nvGrpSpPr>
        <p:grpSpPr bwMode="auto">
          <a:xfrm>
            <a:off x="2118053" y="4711872"/>
            <a:ext cx="866779" cy="867510"/>
            <a:chOff x="6084" y="769"/>
            <a:chExt cx="2371" cy="2373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238" name="Freeform 45"/>
            <p:cNvSpPr>
              <a:spLocks noEditPoints="1"/>
            </p:cNvSpPr>
            <p:nvPr/>
          </p:nvSpPr>
          <p:spPr bwMode="auto">
            <a:xfrm>
              <a:off x="6515" y="769"/>
              <a:ext cx="1940" cy="1099"/>
            </a:xfrm>
            <a:custGeom>
              <a:avLst/>
              <a:gdLst>
                <a:gd name="T0" fmla="*/ 3249 w 3881"/>
                <a:gd name="T1" fmla="*/ 1819 h 2197"/>
                <a:gd name="T2" fmla="*/ 3408 w 3881"/>
                <a:gd name="T3" fmla="*/ 1728 h 2197"/>
                <a:gd name="T4" fmla="*/ 3148 w 3881"/>
                <a:gd name="T5" fmla="*/ 1218 h 2197"/>
                <a:gd name="T6" fmla="*/ 2896 w 3881"/>
                <a:gd name="T7" fmla="*/ 1819 h 2197"/>
                <a:gd name="T8" fmla="*/ 3188 w 3881"/>
                <a:gd name="T9" fmla="*/ 1278 h 2197"/>
                <a:gd name="T10" fmla="*/ 2806 w 3881"/>
                <a:gd name="T11" fmla="*/ 849 h 2197"/>
                <a:gd name="T12" fmla="*/ 2397 w 3881"/>
                <a:gd name="T13" fmla="*/ 1819 h 2197"/>
                <a:gd name="T14" fmla="*/ 2866 w 3881"/>
                <a:gd name="T15" fmla="*/ 902 h 2197"/>
                <a:gd name="T16" fmla="*/ 2391 w 3881"/>
                <a:gd name="T17" fmla="*/ 579 h 2197"/>
                <a:gd name="T18" fmla="*/ 1746 w 3881"/>
                <a:gd name="T19" fmla="*/ 1819 h 2197"/>
                <a:gd name="T20" fmla="*/ 2571 w 3881"/>
                <a:gd name="T21" fmla="*/ 677 h 2197"/>
                <a:gd name="T22" fmla="*/ 2391 w 3881"/>
                <a:gd name="T23" fmla="*/ 579 h 2197"/>
                <a:gd name="T24" fmla="*/ 828 w 3881"/>
                <a:gd name="T25" fmla="*/ 499 h 2197"/>
                <a:gd name="T26" fmla="*/ 641 w 3881"/>
                <a:gd name="T27" fmla="*/ 579 h 2197"/>
                <a:gd name="T28" fmla="*/ 689 w 3881"/>
                <a:gd name="T29" fmla="*/ 762 h 2197"/>
                <a:gd name="T30" fmla="*/ 1901 w 3881"/>
                <a:gd name="T31" fmla="*/ 416 h 2197"/>
                <a:gd name="T32" fmla="*/ 1428 w 3881"/>
                <a:gd name="T33" fmla="*/ 1501 h 2197"/>
                <a:gd name="T34" fmla="*/ 2008 w 3881"/>
                <a:gd name="T35" fmla="*/ 439 h 2197"/>
                <a:gd name="T36" fmla="*/ 1518 w 3881"/>
                <a:gd name="T37" fmla="*/ 378 h 2197"/>
                <a:gd name="T38" fmla="*/ 1306 w 3881"/>
                <a:gd name="T39" fmla="*/ 390 h 2197"/>
                <a:gd name="T40" fmla="*/ 1063 w 3881"/>
                <a:gd name="T41" fmla="*/ 1137 h 2197"/>
                <a:gd name="T42" fmla="*/ 1518 w 3881"/>
                <a:gd name="T43" fmla="*/ 378 h 2197"/>
                <a:gd name="T44" fmla="*/ 1653 w 3881"/>
                <a:gd name="T45" fmla="*/ 3 h 2197"/>
                <a:gd name="T46" fmla="*/ 1921 w 3881"/>
                <a:gd name="T47" fmla="*/ 33 h 2197"/>
                <a:gd name="T48" fmla="*/ 2181 w 3881"/>
                <a:gd name="T49" fmla="*/ 92 h 2197"/>
                <a:gd name="T50" fmla="*/ 2433 w 3881"/>
                <a:gd name="T51" fmla="*/ 180 h 2197"/>
                <a:gd name="T52" fmla="*/ 2673 w 3881"/>
                <a:gd name="T53" fmla="*/ 296 h 2197"/>
                <a:gd name="T54" fmla="*/ 2899 w 3881"/>
                <a:gd name="T55" fmla="*/ 437 h 2197"/>
                <a:gd name="T56" fmla="*/ 3109 w 3881"/>
                <a:gd name="T57" fmla="*/ 605 h 2197"/>
                <a:gd name="T58" fmla="*/ 3298 w 3881"/>
                <a:gd name="T59" fmla="*/ 795 h 2197"/>
                <a:gd name="T60" fmla="*/ 3463 w 3881"/>
                <a:gd name="T61" fmla="*/ 1003 h 2197"/>
                <a:gd name="T62" fmla="*/ 3603 w 3881"/>
                <a:gd name="T63" fmla="*/ 1228 h 2197"/>
                <a:gd name="T64" fmla="*/ 3718 w 3881"/>
                <a:gd name="T65" fmla="*/ 1470 h 2197"/>
                <a:gd name="T66" fmla="*/ 3804 w 3881"/>
                <a:gd name="T67" fmla="*/ 1721 h 2197"/>
                <a:gd name="T68" fmla="*/ 3862 w 3881"/>
                <a:gd name="T69" fmla="*/ 1983 h 2197"/>
                <a:gd name="T70" fmla="*/ 3880 w 3881"/>
                <a:gd name="T71" fmla="*/ 2138 h 2197"/>
                <a:gd name="T72" fmla="*/ 3862 w 3881"/>
                <a:gd name="T73" fmla="*/ 2174 h 2197"/>
                <a:gd name="T74" fmla="*/ 3827 w 3881"/>
                <a:gd name="T75" fmla="*/ 2194 h 2197"/>
                <a:gd name="T76" fmla="*/ 1620 w 3881"/>
                <a:gd name="T77" fmla="*/ 2197 h 2197"/>
                <a:gd name="T78" fmla="*/ 1583 w 3881"/>
                <a:gd name="T79" fmla="*/ 2188 h 2197"/>
                <a:gd name="T80" fmla="*/ 20 w 3881"/>
                <a:gd name="T81" fmla="*/ 632 h 2197"/>
                <a:gd name="T82" fmla="*/ 2 w 3881"/>
                <a:gd name="T83" fmla="*/ 598 h 2197"/>
                <a:gd name="T84" fmla="*/ 3 w 3881"/>
                <a:gd name="T85" fmla="*/ 557 h 2197"/>
                <a:gd name="T86" fmla="*/ 26 w 3881"/>
                <a:gd name="T87" fmla="*/ 524 h 2197"/>
                <a:gd name="T88" fmla="*/ 246 w 3881"/>
                <a:gd name="T89" fmla="*/ 368 h 2197"/>
                <a:gd name="T90" fmla="*/ 480 w 3881"/>
                <a:gd name="T91" fmla="*/ 238 h 2197"/>
                <a:gd name="T92" fmla="*/ 726 w 3881"/>
                <a:gd name="T93" fmla="*/ 136 h 2197"/>
                <a:gd name="T94" fmla="*/ 984 w 3881"/>
                <a:gd name="T95" fmla="*/ 61 h 2197"/>
                <a:gd name="T96" fmla="*/ 1248 w 3881"/>
                <a:gd name="T97" fmla="*/ 14 h 2197"/>
                <a:gd name="T98" fmla="*/ 1518 w 3881"/>
                <a:gd name="T99" fmla="*/ 0 h 2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81" h="2197">
                  <a:moveTo>
                    <a:pt x="3375" y="1637"/>
                  </a:moveTo>
                  <a:lnTo>
                    <a:pt x="3249" y="1819"/>
                  </a:lnTo>
                  <a:lnTo>
                    <a:pt x="3437" y="1819"/>
                  </a:lnTo>
                  <a:lnTo>
                    <a:pt x="3408" y="1728"/>
                  </a:lnTo>
                  <a:lnTo>
                    <a:pt x="3375" y="1637"/>
                  </a:lnTo>
                  <a:close/>
                  <a:moveTo>
                    <a:pt x="3148" y="1218"/>
                  </a:moveTo>
                  <a:lnTo>
                    <a:pt x="2747" y="1819"/>
                  </a:lnTo>
                  <a:lnTo>
                    <a:pt x="2896" y="1819"/>
                  </a:lnTo>
                  <a:lnTo>
                    <a:pt x="3226" y="1338"/>
                  </a:lnTo>
                  <a:lnTo>
                    <a:pt x="3188" y="1278"/>
                  </a:lnTo>
                  <a:lnTo>
                    <a:pt x="3148" y="1218"/>
                  </a:lnTo>
                  <a:close/>
                  <a:moveTo>
                    <a:pt x="2806" y="849"/>
                  </a:moveTo>
                  <a:lnTo>
                    <a:pt x="2160" y="1819"/>
                  </a:lnTo>
                  <a:lnTo>
                    <a:pt x="2397" y="1819"/>
                  </a:lnTo>
                  <a:lnTo>
                    <a:pt x="2952" y="986"/>
                  </a:lnTo>
                  <a:lnTo>
                    <a:pt x="2866" y="902"/>
                  </a:lnTo>
                  <a:lnTo>
                    <a:pt x="2806" y="849"/>
                  </a:lnTo>
                  <a:close/>
                  <a:moveTo>
                    <a:pt x="2391" y="579"/>
                  </a:moveTo>
                  <a:lnTo>
                    <a:pt x="1638" y="1711"/>
                  </a:lnTo>
                  <a:lnTo>
                    <a:pt x="1746" y="1819"/>
                  </a:lnTo>
                  <a:lnTo>
                    <a:pt x="1810" y="1819"/>
                  </a:lnTo>
                  <a:lnTo>
                    <a:pt x="2571" y="677"/>
                  </a:lnTo>
                  <a:lnTo>
                    <a:pt x="2482" y="626"/>
                  </a:lnTo>
                  <a:lnTo>
                    <a:pt x="2391" y="579"/>
                  </a:lnTo>
                  <a:close/>
                  <a:moveTo>
                    <a:pt x="887" y="479"/>
                  </a:moveTo>
                  <a:lnTo>
                    <a:pt x="828" y="499"/>
                  </a:lnTo>
                  <a:lnTo>
                    <a:pt x="734" y="537"/>
                  </a:lnTo>
                  <a:lnTo>
                    <a:pt x="641" y="579"/>
                  </a:lnTo>
                  <a:lnTo>
                    <a:pt x="551" y="626"/>
                  </a:lnTo>
                  <a:lnTo>
                    <a:pt x="689" y="762"/>
                  </a:lnTo>
                  <a:lnTo>
                    <a:pt x="887" y="479"/>
                  </a:lnTo>
                  <a:close/>
                  <a:moveTo>
                    <a:pt x="1901" y="416"/>
                  </a:moveTo>
                  <a:lnTo>
                    <a:pt x="1273" y="1347"/>
                  </a:lnTo>
                  <a:lnTo>
                    <a:pt x="1428" y="1501"/>
                  </a:lnTo>
                  <a:lnTo>
                    <a:pt x="2115" y="469"/>
                  </a:lnTo>
                  <a:lnTo>
                    <a:pt x="2008" y="439"/>
                  </a:lnTo>
                  <a:lnTo>
                    <a:pt x="1901" y="416"/>
                  </a:lnTo>
                  <a:close/>
                  <a:moveTo>
                    <a:pt x="1518" y="378"/>
                  </a:moveTo>
                  <a:lnTo>
                    <a:pt x="1412" y="381"/>
                  </a:lnTo>
                  <a:lnTo>
                    <a:pt x="1306" y="390"/>
                  </a:lnTo>
                  <a:lnTo>
                    <a:pt x="897" y="971"/>
                  </a:lnTo>
                  <a:lnTo>
                    <a:pt x="1063" y="1137"/>
                  </a:lnTo>
                  <a:lnTo>
                    <a:pt x="1574" y="380"/>
                  </a:lnTo>
                  <a:lnTo>
                    <a:pt x="1518" y="378"/>
                  </a:lnTo>
                  <a:close/>
                  <a:moveTo>
                    <a:pt x="1518" y="0"/>
                  </a:moveTo>
                  <a:lnTo>
                    <a:pt x="1653" y="3"/>
                  </a:lnTo>
                  <a:lnTo>
                    <a:pt x="1788" y="14"/>
                  </a:lnTo>
                  <a:lnTo>
                    <a:pt x="1921" y="33"/>
                  </a:lnTo>
                  <a:lnTo>
                    <a:pt x="2053" y="59"/>
                  </a:lnTo>
                  <a:lnTo>
                    <a:pt x="2181" y="92"/>
                  </a:lnTo>
                  <a:lnTo>
                    <a:pt x="2309" y="133"/>
                  </a:lnTo>
                  <a:lnTo>
                    <a:pt x="2433" y="180"/>
                  </a:lnTo>
                  <a:lnTo>
                    <a:pt x="2555" y="235"/>
                  </a:lnTo>
                  <a:lnTo>
                    <a:pt x="2673" y="296"/>
                  </a:lnTo>
                  <a:lnTo>
                    <a:pt x="2789" y="364"/>
                  </a:lnTo>
                  <a:lnTo>
                    <a:pt x="2899" y="437"/>
                  </a:lnTo>
                  <a:lnTo>
                    <a:pt x="3006" y="518"/>
                  </a:lnTo>
                  <a:lnTo>
                    <a:pt x="3109" y="605"/>
                  </a:lnTo>
                  <a:lnTo>
                    <a:pt x="3207" y="697"/>
                  </a:lnTo>
                  <a:lnTo>
                    <a:pt x="3298" y="795"/>
                  </a:lnTo>
                  <a:lnTo>
                    <a:pt x="3383" y="898"/>
                  </a:lnTo>
                  <a:lnTo>
                    <a:pt x="3463" y="1003"/>
                  </a:lnTo>
                  <a:lnTo>
                    <a:pt x="3537" y="1114"/>
                  </a:lnTo>
                  <a:lnTo>
                    <a:pt x="3603" y="1228"/>
                  </a:lnTo>
                  <a:lnTo>
                    <a:pt x="3664" y="1347"/>
                  </a:lnTo>
                  <a:lnTo>
                    <a:pt x="3718" y="1470"/>
                  </a:lnTo>
                  <a:lnTo>
                    <a:pt x="3764" y="1594"/>
                  </a:lnTo>
                  <a:lnTo>
                    <a:pt x="3804" y="1721"/>
                  </a:lnTo>
                  <a:lnTo>
                    <a:pt x="3836" y="1851"/>
                  </a:lnTo>
                  <a:lnTo>
                    <a:pt x="3862" y="1983"/>
                  </a:lnTo>
                  <a:lnTo>
                    <a:pt x="3881" y="2118"/>
                  </a:lnTo>
                  <a:lnTo>
                    <a:pt x="3880" y="2138"/>
                  </a:lnTo>
                  <a:lnTo>
                    <a:pt x="3874" y="2157"/>
                  </a:lnTo>
                  <a:lnTo>
                    <a:pt x="3862" y="2174"/>
                  </a:lnTo>
                  <a:lnTo>
                    <a:pt x="3846" y="2187"/>
                  </a:lnTo>
                  <a:lnTo>
                    <a:pt x="3827" y="2194"/>
                  </a:lnTo>
                  <a:lnTo>
                    <a:pt x="3809" y="2197"/>
                  </a:lnTo>
                  <a:lnTo>
                    <a:pt x="1620" y="2197"/>
                  </a:lnTo>
                  <a:lnTo>
                    <a:pt x="1601" y="2196"/>
                  </a:lnTo>
                  <a:lnTo>
                    <a:pt x="1583" y="2188"/>
                  </a:lnTo>
                  <a:lnTo>
                    <a:pt x="1568" y="2177"/>
                  </a:lnTo>
                  <a:lnTo>
                    <a:pt x="20" y="632"/>
                  </a:lnTo>
                  <a:lnTo>
                    <a:pt x="9" y="616"/>
                  </a:lnTo>
                  <a:lnTo>
                    <a:pt x="2" y="598"/>
                  </a:lnTo>
                  <a:lnTo>
                    <a:pt x="0" y="577"/>
                  </a:lnTo>
                  <a:lnTo>
                    <a:pt x="3" y="557"/>
                  </a:lnTo>
                  <a:lnTo>
                    <a:pt x="13" y="538"/>
                  </a:lnTo>
                  <a:lnTo>
                    <a:pt x="26" y="524"/>
                  </a:lnTo>
                  <a:lnTo>
                    <a:pt x="133" y="443"/>
                  </a:lnTo>
                  <a:lnTo>
                    <a:pt x="246" y="368"/>
                  </a:lnTo>
                  <a:lnTo>
                    <a:pt x="360" y="299"/>
                  </a:lnTo>
                  <a:lnTo>
                    <a:pt x="480" y="238"/>
                  </a:lnTo>
                  <a:lnTo>
                    <a:pt x="602" y="183"/>
                  </a:lnTo>
                  <a:lnTo>
                    <a:pt x="726" y="136"/>
                  </a:lnTo>
                  <a:lnTo>
                    <a:pt x="854" y="94"/>
                  </a:lnTo>
                  <a:lnTo>
                    <a:pt x="984" y="61"/>
                  </a:lnTo>
                  <a:lnTo>
                    <a:pt x="1115" y="35"/>
                  </a:lnTo>
                  <a:lnTo>
                    <a:pt x="1248" y="14"/>
                  </a:lnTo>
                  <a:lnTo>
                    <a:pt x="1382" y="4"/>
                  </a:lnTo>
                  <a:lnTo>
                    <a:pt x="15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5" name="Freeform 46"/>
            <p:cNvSpPr>
              <a:spLocks noEditPoints="1"/>
            </p:cNvSpPr>
            <p:nvPr/>
          </p:nvSpPr>
          <p:spPr bwMode="auto">
            <a:xfrm>
              <a:off x="6084" y="1198"/>
              <a:ext cx="1068" cy="1703"/>
            </a:xfrm>
            <a:custGeom>
              <a:avLst/>
              <a:gdLst>
                <a:gd name="T0" fmla="*/ 581 w 2136"/>
                <a:gd name="T1" fmla="*/ 641 h 3406"/>
                <a:gd name="T2" fmla="*/ 501 w 2136"/>
                <a:gd name="T3" fmla="*/ 828 h 3406"/>
                <a:gd name="T4" fmla="*/ 433 w 2136"/>
                <a:gd name="T5" fmla="*/ 1051 h 3406"/>
                <a:gd name="T6" fmla="*/ 393 w 2136"/>
                <a:gd name="T7" fmla="*/ 1281 h 3406"/>
                <a:gd name="T8" fmla="*/ 379 w 2136"/>
                <a:gd name="T9" fmla="*/ 1515 h 3406"/>
                <a:gd name="T10" fmla="*/ 397 w 2136"/>
                <a:gd name="T11" fmla="*/ 1785 h 3406"/>
                <a:gd name="T12" fmla="*/ 449 w 2136"/>
                <a:gd name="T13" fmla="*/ 2046 h 3406"/>
                <a:gd name="T14" fmla="*/ 538 w 2136"/>
                <a:gd name="T15" fmla="*/ 2297 h 3406"/>
                <a:gd name="T16" fmla="*/ 646 w 2136"/>
                <a:gd name="T17" fmla="*/ 2512 h 3406"/>
                <a:gd name="T18" fmla="*/ 763 w 2136"/>
                <a:gd name="T19" fmla="*/ 2691 h 3406"/>
                <a:gd name="T20" fmla="*/ 899 w 2136"/>
                <a:gd name="T21" fmla="*/ 2857 h 3406"/>
                <a:gd name="T22" fmla="*/ 627 w 2136"/>
                <a:gd name="T23" fmla="*/ 552 h 3406"/>
                <a:gd name="T24" fmla="*/ 598 w 2136"/>
                <a:gd name="T25" fmla="*/ 2 h 3406"/>
                <a:gd name="T26" fmla="*/ 633 w 2136"/>
                <a:gd name="T27" fmla="*/ 22 h 3406"/>
                <a:gd name="T28" fmla="*/ 2127 w 2136"/>
                <a:gd name="T29" fmla="*/ 1516 h 3406"/>
                <a:gd name="T30" fmla="*/ 2136 w 2136"/>
                <a:gd name="T31" fmla="*/ 1554 h 3406"/>
                <a:gd name="T32" fmla="*/ 2126 w 2136"/>
                <a:gd name="T33" fmla="*/ 1590 h 3406"/>
                <a:gd name="T34" fmla="*/ 1015 w 2136"/>
                <a:gd name="T35" fmla="*/ 3387 h 3406"/>
                <a:gd name="T36" fmla="*/ 979 w 2136"/>
                <a:gd name="T37" fmla="*/ 3405 h 3406"/>
                <a:gd name="T38" fmla="*/ 943 w 2136"/>
                <a:gd name="T39" fmla="*/ 3402 h 3406"/>
                <a:gd name="T40" fmla="*/ 814 w 2136"/>
                <a:gd name="T41" fmla="*/ 3303 h 3406"/>
                <a:gd name="T42" fmla="*/ 619 w 2136"/>
                <a:gd name="T43" fmla="*/ 3113 h 3406"/>
                <a:gd name="T44" fmla="*/ 448 w 2136"/>
                <a:gd name="T45" fmla="*/ 2904 h 3406"/>
                <a:gd name="T46" fmla="*/ 303 w 2136"/>
                <a:gd name="T47" fmla="*/ 2678 h 3406"/>
                <a:gd name="T48" fmla="*/ 185 w 2136"/>
                <a:gd name="T49" fmla="*/ 2439 h 3406"/>
                <a:gd name="T50" fmla="*/ 95 w 2136"/>
                <a:gd name="T51" fmla="*/ 2186 h 3406"/>
                <a:gd name="T52" fmla="*/ 34 w 2136"/>
                <a:gd name="T53" fmla="*/ 1923 h 3406"/>
                <a:gd name="T54" fmla="*/ 4 w 2136"/>
                <a:gd name="T55" fmla="*/ 1653 h 3406"/>
                <a:gd name="T56" fmla="*/ 4 w 2136"/>
                <a:gd name="T57" fmla="*/ 1381 h 3406"/>
                <a:gd name="T58" fmla="*/ 34 w 2136"/>
                <a:gd name="T59" fmla="*/ 1115 h 3406"/>
                <a:gd name="T60" fmla="*/ 95 w 2136"/>
                <a:gd name="T61" fmla="*/ 854 h 3406"/>
                <a:gd name="T62" fmla="*/ 183 w 2136"/>
                <a:gd name="T63" fmla="*/ 602 h 3406"/>
                <a:gd name="T64" fmla="*/ 300 w 2136"/>
                <a:gd name="T65" fmla="*/ 361 h 3406"/>
                <a:gd name="T66" fmla="*/ 444 w 2136"/>
                <a:gd name="T67" fmla="*/ 135 h 3406"/>
                <a:gd name="T68" fmla="*/ 539 w 2136"/>
                <a:gd name="T69" fmla="*/ 13 h 3406"/>
                <a:gd name="T70" fmla="*/ 578 w 2136"/>
                <a:gd name="T71" fmla="*/ 0 h 3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36" h="3406">
                  <a:moveTo>
                    <a:pt x="627" y="552"/>
                  </a:moveTo>
                  <a:lnTo>
                    <a:pt x="581" y="641"/>
                  </a:lnTo>
                  <a:lnTo>
                    <a:pt x="538" y="734"/>
                  </a:lnTo>
                  <a:lnTo>
                    <a:pt x="501" y="828"/>
                  </a:lnTo>
                  <a:lnTo>
                    <a:pt x="464" y="939"/>
                  </a:lnTo>
                  <a:lnTo>
                    <a:pt x="433" y="1051"/>
                  </a:lnTo>
                  <a:lnTo>
                    <a:pt x="409" y="1165"/>
                  </a:lnTo>
                  <a:lnTo>
                    <a:pt x="393" y="1281"/>
                  </a:lnTo>
                  <a:lnTo>
                    <a:pt x="383" y="1398"/>
                  </a:lnTo>
                  <a:lnTo>
                    <a:pt x="379" y="1515"/>
                  </a:lnTo>
                  <a:lnTo>
                    <a:pt x="383" y="1650"/>
                  </a:lnTo>
                  <a:lnTo>
                    <a:pt x="397" y="1785"/>
                  </a:lnTo>
                  <a:lnTo>
                    <a:pt x="419" y="1916"/>
                  </a:lnTo>
                  <a:lnTo>
                    <a:pt x="449" y="2046"/>
                  </a:lnTo>
                  <a:lnTo>
                    <a:pt x="490" y="2173"/>
                  </a:lnTo>
                  <a:lnTo>
                    <a:pt x="538" y="2297"/>
                  </a:lnTo>
                  <a:lnTo>
                    <a:pt x="595" y="2420"/>
                  </a:lnTo>
                  <a:lnTo>
                    <a:pt x="646" y="2512"/>
                  </a:lnTo>
                  <a:lnTo>
                    <a:pt x="703" y="2603"/>
                  </a:lnTo>
                  <a:lnTo>
                    <a:pt x="763" y="2691"/>
                  </a:lnTo>
                  <a:lnTo>
                    <a:pt x="828" y="2777"/>
                  </a:lnTo>
                  <a:lnTo>
                    <a:pt x="899" y="2857"/>
                  </a:lnTo>
                  <a:lnTo>
                    <a:pt x="1676" y="1597"/>
                  </a:lnTo>
                  <a:lnTo>
                    <a:pt x="627" y="552"/>
                  </a:lnTo>
                  <a:close/>
                  <a:moveTo>
                    <a:pt x="578" y="0"/>
                  </a:moveTo>
                  <a:lnTo>
                    <a:pt x="598" y="2"/>
                  </a:lnTo>
                  <a:lnTo>
                    <a:pt x="617" y="9"/>
                  </a:lnTo>
                  <a:lnTo>
                    <a:pt x="633" y="22"/>
                  </a:lnTo>
                  <a:lnTo>
                    <a:pt x="2114" y="1500"/>
                  </a:lnTo>
                  <a:lnTo>
                    <a:pt x="2127" y="1516"/>
                  </a:lnTo>
                  <a:lnTo>
                    <a:pt x="2135" y="1534"/>
                  </a:lnTo>
                  <a:lnTo>
                    <a:pt x="2136" y="1554"/>
                  </a:lnTo>
                  <a:lnTo>
                    <a:pt x="2133" y="1573"/>
                  </a:lnTo>
                  <a:lnTo>
                    <a:pt x="2126" y="1590"/>
                  </a:lnTo>
                  <a:lnTo>
                    <a:pt x="1028" y="3371"/>
                  </a:lnTo>
                  <a:lnTo>
                    <a:pt x="1015" y="3387"/>
                  </a:lnTo>
                  <a:lnTo>
                    <a:pt x="998" y="3399"/>
                  </a:lnTo>
                  <a:lnTo>
                    <a:pt x="979" y="3405"/>
                  </a:lnTo>
                  <a:lnTo>
                    <a:pt x="966" y="3406"/>
                  </a:lnTo>
                  <a:lnTo>
                    <a:pt x="943" y="3402"/>
                  </a:lnTo>
                  <a:lnTo>
                    <a:pt x="921" y="3392"/>
                  </a:lnTo>
                  <a:lnTo>
                    <a:pt x="814" y="3303"/>
                  </a:lnTo>
                  <a:lnTo>
                    <a:pt x="713" y="3211"/>
                  </a:lnTo>
                  <a:lnTo>
                    <a:pt x="619" y="3113"/>
                  </a:lnTo>
                  <a:lnTo>
                    <a:pt x="530" y="3010"/>
                  </a:lnTo>
                  <a:lnTo>
                    <a:pt x="448" y="2904"/>
                  </a:lnTo>
                  <a:lnTo>
                    <a:pt x="373" y="2794"/>
                  </a:lnTo>
                  <a:lnTo>
                    <a:pt x="303" y="2678"/>
                  </a:lnTo>
                  <a:lnTo>
                    <a:pt x="241" y="2560"/>
                  </a:lnTo>
                  <a:lnTo>
                    <a:pt x="185" y="2439"/>
                  </a:lnTo>
                  <a:lnTo>
                    <a:pt x="137" y="2315"/>
                  </a:lnTo>
                  <a:lnTo>
                    <a:pt x="95" y="2186"/>
                  </a:lnTo>
                  <a:lnTo>
                    <a:pt x="62" y="2056"/>
                  </a:lnTo>
                  <a:lnTo>
                    <a:pt x="34" y="1923"/>
                  </a:lnTo>
                  <a:lnTo>
                    <a:pt x="15" y="1789"/>
                  </a:lnTo>
                  <a:lnTo>
                    <a:pt x="4" y="1653"/>
                  </a:lnTo>
                  <a:lnTo>
                    <a:pt x="0" y="1515"/>
                  </a:lnTo>
                  <a:lnTo>
                    <a:pt x="4" y="1381"/>
                  </a:lnTo>
                  <a:lnTo>
                    <a:pt x="15" y="1246"/>
                  </a:lnTo>
                  <a:lnTo>
                    <a:pt x="34" y="1115"/>
                  </a:lnTo>
                  <a:lnTo>
                    <a:pt x="60" y="984"/>
                  </a:lnTo>
                  <a:lnTo>
                    <a:pt x="95" y="854"/>
                  </a:lnTo>
                  <a:lnTo>
                    <a:pt x="136" y="727"/>
                  </a:lnTo>
                  <a:lnTo>
                    <a:pt x="183" y="602"/>
                  </a:lnTo>
                  <a:lnTo>
                    <a:pt x="238" y="480"/>
                  </a:lnTo>
                  <a:lnTo>
                    <a:pt x="300" y="361"/>
                  </a:lnTo>
                  <a:lnTo>
                    <a:pt x="368" y="246"/>
                  </a:lnTo>
                  <a:lnTo>
                    <a:pt x="444" y="135"/>
                  </a:lnTo>
                  <a:lnTo>
                    <a:pt x="525" y="28"/>
                  </a:lnTo>
                  <a:lnTo>
                    <a:pt x="539" y="13"/>
                  </a:lnTo>
                  <a:lnTo>
                    <a:pt x="558" y="5"/>
                  </a:lnTo>
                  <a:lnTo>
                    <a:pt x="57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6" name="Freeform 47"/>
            <p:cNvSpPr>
              <a:spLocks/>
            </p:cNvSpPr>
            <p:nvPr/>
          </p:nvSpPr>
          <p:spPr bwMode="auto">
            <a:xfrm>
              <a:off x="6742" y="2043"/>
              <a:ext cx="1713" cy="1099"/>
            </a:xfrm>
            <a:custGeom>
              <a:avLst/>
              <a:gdLst>
                <a:gd name="T0" fmla="*/ 1201 w 3427"/>
                <a:gd name="T1" fmla="*/ 0 h 2199"/>
                <a:gd name="T2" fmla="*/ 3355 w 3427"/>
                <a:gd name="T3" fmla="*/ 0 h 2199"/>
                <a:gd name="T4" fmla="*/ 3373 w 3427"/>
                <a:gd name="T5" fmla="*/ 3 h 2199"/>
                <a:gd name="T6" fmla="*/ 3392 w 3427"/>
                <a:gd name="T7" fmla="*/ 12 h 2199"/>
                <a:gd name="T8" fmla="*/ 3408 w 3427"/>
                <a:gd name="T9" fmla="*/ 25 h 2199"/>
                <a:gd name="T10" fmla="*/ 3420 w 3427"/>
                <a:gd name="T11" fmla="*/ 42 h 2199"/>
                <a:gd name="T12" fmla="*/ 3426 w 3427"/>
                <a:gd name="T13" fmla="*/ 61 h 2199"/>
                <a:gd name="T14" fmla="*/ 3427 w 3427"/>
                <a:gd name="T15" fmla="*/ 81 h 2199"/>
                <a:gd name="T16" fmla="*/ 3408 w 3427"/>
                <a:gd name="T17" fmla="*/ 216 h 2199"/>
                <a:gd name="T18" fmla="*/ 3382 w 3427"/>
                <a:gd name="T19" fmla="*/ 348 h 2199"/>
                <a:gd name="T20" fmla="*/ 3350 w 3427"/>
                <a:gd name="T21" fmla="*/ 478 h 2199"/>
                <a:gd name="T22" fmla="*/ 3310 w 3427"/>
                <a:gd name="T23" fmla="*/ 605 h 2199"/>
                <a:gd name="T24" fmla="*/ 3264 w 3427"/>
                <a:gd name="T25" fmla="*/ 729 h 2199"/>
                <a:gd name="T26" fmla="*/ 3210 w 3427"/>
                <a:gd name="T27" fmla="*/ 851 h 2199"/>
                <a:gd name="T28" fmla="*/ 3149 w 3427"/>
                <a:gd name="T29" fmla="*/ 969 h 2199"/>
                <a:gd name="T30" fmla="*/ 3083 w 3427"/>
                <a:gd name="T31" fmla="*/ 1085 h 2199"/>
                <a:gd name="T32" fmla="*/ 3009 w 3427"/>
                <a:gd name="T33" fmla="*/ 1194 h 2199"/>
                <a:gd name="T34" fmla="*/ 2929 w 3427"/>
                <a:gd name="T35" fmla="*/ 1301 h 2199"/>
                <a:gd name="T36" fmla="*/ 2844 w 3427"/>
                <a:gd name="T37" fmla="*/ 1404 h 2199"/>
                <a:gd name="T38" fmla="*/ 2753 w 3427"/>
                <a:gd name="T39" fmla="*/ 1502 h 2199"/>
                <a:gd name="T40" fmla="*/ 2655 w 3427"/>
                <a:gd name="T41" fmla="*/ 1594 h 2199"/>
                <a:gd name="T42" fmla="*/ 2552 w 3427"/>
                <a:gd name="T43" fmla="*/ 1681 h 2199"/>
                <a:gd name="T44" fmla="*/ 2445 w 3427"/>
                <a:gd name="T45" fmla="*/ 1762 h 2199"/>
                <a:gd name="T46" fmla="*/ 2335 w 3427"/>
                <a:gd name="T47" fmla="*/ 1835 h 2199"/>
                <a:gd name="T48" fmla="*/ 2219 w 3427"/>
                <a:gd name="T49" fmla="*/ 1903 h 2199"/>
                <a:gd name="T50" fmla="*/ 2101 w 3427"/>
                <a:gd name="T51" fmla="*/ 1964 h 2199"/>
                <a:gd name="T52" fmla="*/ 1979 w 3427"/>
                <a:gd name="T53" fmla="*/ 2019 h 2199"/>
                <a:gd name="T54" fmla="*/ 1855 w 3427"/>
                <a:gd name="T55" fmla="*/ 2065 h 2199"/>
                <a:gd name="T56" fmla="*/ 1727 w 3427"/>
                <a:gd name="T57" fmla="*/ 2105 h 2199"/>
                <a:gd name="T58" fmla="*/ 1599 w 3427"/>
                <a:gd name="T59" fmla="*/ 2138 h 2199"/>
                <a:gd name="T60" fmla="*/ 1467 w 3427"/>
                <a:gd name="T61" fmla="*/ 2164 h 2199"/>
                <a:gd name="T62" fmla="*/ 1334 w 3427"/>
                <a:gd name="T63" fmla="*/ 2183 h 2199"/>
                <a:gd name="T64" fmla="*/ 1199 w 3427"/>
                <a:gd name="T65" fmla="*/ 2195 h 2199"/>
                <a:gd name="T66" fmla="*/ 1064 w 3427"/>
                <a:gd name="T67" fmla="*/ 2199 h 2199"/>
                <a:gd name="T68" fmla="*/ 929 w 3427"/>
                <a:gd name="T69" fmla="*/ 2195 h 2199"/>
                <a:gd name="T70" fmla="*/ 797 w 3427"/>
                <a:gd name="T71" fmla="*/ 2185 h 2199"/>
                <a:gd name="T72" fmla="*/ 667 w 3427"/>
                <a:gd name="T73" fmla="*/ 2166 h 2199"/>
                <a:gd name="T74" fmla="*/ 538 w 3427"/>
                <a:gd name="T75" fmla="*/ 2141 h 2199"/>
                <a:gd name="T76" fmla="*/ 411 w 3427"/>
                <a:gd name="T77" fmla="*/ 2110 h 2199"/>
                <a:gd name="T78" fmla="*/ 287 w 3427"/>
                <a:gd name="T79" fmla="*/ 2069 h 2199"/>
                <a:gd name="T80" fmla="*/ 164 w 3427"/>
                <a:gd name="T81" fmla="*/ 2023 h 2199"/>
                <a:gd name="T82" fmla="*/ 42 w 3427"/>
                <a:gd name="T83" fmla="*/ 1970 h 2199"/>
                <a:gd name="T84" fmla="*/ 25 w 3427"/>
                <a:gd name="T85" fmla="*/ 1958 h 2199"/>
                <a:gd name="T86" fmla="*/ 12 w 3427"/>
                <a:gd name="T87" fmla="*/ 1944 h 2199"/>
                <a:gd name="T88" fmla="*/ 3 w 3427"/>
                <a:gd name="T89" fmla="*/ 1925 h 2199"/>
                <a:gd name="T90" fmla="*/ 0 w 3427"/>
                <a:gd name="T91" fmla="*/ 1905 h 2199"/>
                <a:gd name="T92" fmla="*/ 3 w 3427"/>
                <a:gd name="T93" fmla="*/ 1884 h 2199"/>
                <a:gd name="T94" fmla="*/ 12 w 3427"/>
                <a:gd name="T95" fmla="*/ 1866 h 2199"/>
                <a:gd name="T96" fmla="*/ 1139 w 3427"/>
                <a:gd name="T97" fmla="*/ 35 h 2199"/>
                <a:gd name="T98" fmla="*/ 1152 w 3427"/>
                <a:gd name="T99" fmla="*/ 21 h 2199"/>
                <a:gd name="T100" fmla="*/ 1166 w 3427"/>
                <a:gd name="T101" fmla="*/ 11 h 2199"/>
                <a:gd name="T102" fmla="*/ 1184 w 3427"/>
                <a:gd name="T103" fmla="*/ 3 h 2199"/>
                <a:gd name="T104" fmla="*/ 1201 w 3427"/>
                <a:gd name="T105" fmla="*/ 0 h 2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427" h="2199">
                  <a:moveTo>
                    <a:pt x="1201" y="0"/>
                  </a:moveTo>
                  <a:lnTo>
                    <a:pt x="3355" y="0"/>
                  </a:lnTo>
                  <a:lnTo>
                    <a:pt x="3373" y="3"/>
                  </a:lnTo>
                  <a:lnTo>
                    <a:pt x="3392" y="12"/>
                  </a:lnTo>
                  <a:lnTo>
                    <a:pt x="3408" y="25"/>
                  </a:lnTo>
                  <a:lnTo>
                    <a:pt x="3420" y="42"/>
                  </a:lnTo>
                  <a:lnTo>
                    <a:pt x="3426" y="61"/>
                  </a:lnTo>
                  <a:lnTo>
                    <a:pt x="3427" y="81"/>
                  </a:lnTo>
                  <a:lnTo>
                    <a:pt x="3408" y="216"/>
                  </a:lnTo>
                  <a:lnTo>
                    <a:pt x="3382" y="348"/>
                  </a:lnTo>
                  <a:lnTo>
                    <a:pt x="3350" y="478"/>
                  </a:lnTo>
                  <a:lnTo>
                    <a:pt x="3310" y="605"/>
                  </a:lnTo>
                  <a:lnTo>
                    <a:pt x="3264" y="729"/>
                  </a:lnTo>
                  <a:lnTo>
                    <a:pt x="3210" y="851"/>
                  </a:lnTo>
                  <a:lnTo>
                    <a:pt x="3149" y="969"/>
                  </a:lnTo>
                  <a:lnTo>
                    <a:pt x="3083" y="1085"/>
                  </a:lnTo>
                  <a:lnTo>
                    <a:pt x="3009" y="1194"/>
                  </a:lnTo>
                  <a:lnTo>
                    <a:pt x="2929" y="1301"/>
                  </a:lnTo>
                  <a:lnTo>
                    <a:pt x="2844" y="1404"/>
                  </a:lnTo>
                  <a:lnTo>
                    <a:pt x="2753" y="1502"/>
                  </a:lnTo>
                  <a:lnTo>
                    <a:pt x="2655" y="1594"/>
                  </a:lnTo>
                  <a:lnTo>
                    <a:pt x="2552" y="1681"/>
                  </a:lnTo>
                  <a:lnTo>
                    <a:pt x="2445" y="1762"/>
                  </a:lnTo>
                  <a:lnTo>
                    <a:pt x="2335" y="1835"/>
                  </a:lnTo>
                  <a:lnTo>
                    <a:pt x="2219" y="1903"/>
                  </a:lnTo>
                  <a:lnTo>
                    <a:pt x="2101" y="1964"/>
                  </a:lnTo>
                  <a:lnTo>
                    <a:pt x="1979" y="2019"/>
                  </a:lnTo>
                  <a:lnTo>
                    <a:pt x="1855" y="2065"/>
                  </a:lnTo>
                  <a:lnTo>
                    <a:pt x="1727" y="2105"/>
                  </a:lnTo>
                  <a:lnTo>
                    <a:pt x="1599" y="2138"/>
                  </a:lnTo>
                  <a:lnTo>
                    <a:pt x="1467" y="2164"/>
                  </a:lnTo>
                  <a:lnTo>
                    <a:pt x="1334" y="2183"/>
                  </a:lnTo>
                  <a:lnTo>
                    <a:pt x="1199" y="2195"/>
                  </a:lnTo>
                  <a:lnTo>
                    <a:pt x="1064" y="2199"/>
                  </a:lnTo>
                  <a:lnTo>
                    <a:pt x="929" y="2195"/>
                  </a:lnTo>
                  <a:lnTo>
                    <a:pt x="797" y="2185"/>
                  </a:lnTo>
                  <a:lnTo>
                    <a:pt x="667" y="2166"/>
                  </a:lnTo>
                  <a:lnTo>
                    <a:pt x="538" y="2141"/>
                  </a:lnTo>
                  <a:lnTo>
                    <a:pt x="411" y="2110"/>
                  </a:lnTo>
                  <a:lnTo>
                    <a:pt x="287" y="2069"/>
                  </a:lnTo>
                  <a:lnTo>
                    <a:pt x="164" y="2023"/>
                  </a:lnTo>
                  <a:lnTo>
                    <a:pt x="42" y="1970"/>
                  </a:lnTo>
                  <a:lnTo>
                    <a:pt x="25" y="1958"/>
                  </a:lnTo>
                  <a:lnTo>
                    <a:pt x="12" y="1944"/>
                  </a:lnTo>
                  <a:lnTo>
                    <a:pt x="3" y="1925"/>
                  </a:lnTo>
                  <a:lnTo>
                    <a:pt x="0" y="1905"/>
                  </a:lnTo>
                  <a:lnTo>
                    <a:pt x="3" y="1884"/>
                  </a:lnTo>
                  <a:lnTo>
                    <a:pt x="12" y="1866"/>
                  </a:lnTo>
                  <a:lnTo>
                    <a:pt x="1139" y="35"/>
                  </a:lnTo>
                  <a:lnTo>
                    <a:pt x="1152" y="21"/>
                  </a:lnTo>
                  <a:lnTo>
                    <a:pt x="1166" y="11"/>
                  </a:lnTo>
                  <a:lnTo>
                    <a:pt x="1184" y="3"/>
                  </a:lnTo>
                  <a:lnTo>
                    <a:pt x="12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00" name="Rectangle 99"/>
          <p:cNvSpPr/>
          <p:nvPr/>
        </p:nvSpPr>
        <p:spPr>
          <a:xfrm rot="18713314">
            <a:off x="7939174" y="3546650"/>
            <a:ext cx="639143" cy="12311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sz="800" i="1" dirty="0" smtClean="0">
                <a:solidFill>
                  <a:schemeClr val="bg1"/>
                </a:solidFill>
                <a:latin typeface="+mj-lt"/>
              </a:rPr>
              <a:t>сигнал</a:t>
            </a:r>
            <a:endParaRPr lang="ru-RU" sz="800" i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20" name="Picture 1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55" y="2365970"/>
            <a:ext cx="525752" cy="38159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28" y="2088896"/>
            <a:ext cx="774807" cy="232744"/>
          </a:xfrm>
          <a:prstGeom prst="rect">
            <a:avLst/>
          </a:prstGeom>
        </p:spPr>
      </p:pic>
      <p:sp>
        <p:nvSpPr>
          <p:cNvPr id="18" name="Title 17"/>
          <p:cNvSpPr>
            <a:spLocks noGrp="1"/>
          </p:cNvSpPr>
          <p:nvPr>
            <p:ph type="title"/>
          </p:nvPr>
        </p:nvSpPr>
        <p:spPr>
          <a:xfrm>
            <a:off x="1401990" y="438688"/>
            <a:ext cx="7137706" cy="404857"/>
          </a:xfrm>
        </p:spPr>
        <p:txBody>
          <a:bodyPr/>
          <a:lstStyle/>
          <a:p>
            <a:r>
              <a:rPr lang="ru-RU" dirty="0" smtClean="0"/>
              <a:t>Моделирование поведения потребителей...</a:t>
            </a:r>
            <a:r>
              <a:rPr dirty="0"/>
              <a:t/>
            </a:r>
            <a:br>
              <a:rPr dirty="0"/>
            </a:br>
            <a:endParaRPr lang="ru-RU" dirty="0"/>
          </a:p>
        </p:txBody>
      </p:sp>
      <p:sp>
        <p:nvSpPr>
          <p:cNvPr id="119" name="TextBox 118"/>
          <p:cNvSpPr txBox="1"/>
          <p:nvPr/>
        </p:nvSpPr>
        <p:spPr>
          <a:xfrm>
            <a:off x="141984" y="1356790"/>
            <a:ext cx="73989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Text mining</a:t>
            </a:r>
            <a:endParaRPr lang="ru-RU" sz="8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141984" y="1597603"/>
            <a:ext cx="73989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Анализ социальных медиа</a:t>
            </a:r>
            <a:endParaRPr lang="ru-RU" sz="8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47993" y="5125101"/>
            <a:ext cx="727877" cy="515892"/>
            <a:chOff x="1249818" y="5235335"/>
            <a:chExt cx="727877" cy="515892"/>
          </a:xfrm>
        </p:grpSpPr>
        <p:sp>
          <p:nvSpPr>
            <p:cNvPr id="131" name="Freeform 4831"/>
            <p:cNvSpPr>
              <a:spLocks noEditPoints="1"/>
            </p:cNvSpPr>
            <p:nvPr/>
          </p:nvSpPr>
          <p:spPr bwMode="auto">
            <a:xfrm>
              <a:off x="1470864" y="5235335"/>
              <a:ext cx="273263" cy="147454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7" name="Rectangle 17"/>
            <p:cNvSpPr>
              <a:spLocks/>
            </p:cNvSpPr>
            <p:nvPr/>
          </p:nvSpPr>
          <p:spPr bwMode="auto">
            <a:xfrm>
              <a:off x="1249818" y="5474228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Бизнес-партнеры</a:t>
              </a:r>
            </a:p>
          </p:txBody>
        </p:sp>
      </p:grpSp>
      <p:grpSp>
        <p:nvGrpSpPr>
          <p:cNvPr id="151" name="Group 150"/>
          <p:cNvGrpSpPr/>
          <p:nvPr/>
        </p:nvGrpSpPr>
        <p:grpSpPr>
          <a:xfrm>
            <a:off x="148422" y="3636980"/>
            <a:ext cx="727019" cy="533587"/>
            <a:chOff x="148422" y="3578812"/>
            <a:chExt cx="727019" cy="533587"/>
          </a:xfrm>
        </p:grpSpPr>
        <p:sp>
          <p:nvSpPr>
            <p:cNvPr id="152" name="Rectangle 17"/>
            <p:cNvSpPr>
              <a:spLocks/>
            </p:cNvSpPr>
            <p:nvPr/>
          </p:nvSpPr>
          <p:spPr bwMode="auto">
            <a:xfrm>
              <a:off x="148422" y="3835400"/>
              <a:ext cx="7270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Социальные сети</a:t>
              </a:r>
            </a:p>
          </p:txBody>
        </p:sp>
        <p:grpSp>
          <p:nvGrpSpPr>
            <p:cNvPr id="153" name="Group 16"/>
            <p:cNvGrpSpPr>
              <a:grpSpLocks noChangeAspect="1"/>
            </p:cNvGrpSpPr>
            <p:nvPr/>
          </p:nvGrpSpPr>
          <p:grpSpPr bwMode="auto">
            <a:xfrm>
              <a:off x="389395" y="3578812"/>
              <a:ext cx="259829" cy="259829"/>
              <a:chOff x="-783" y="2303"/>
              <a:chExt cx="491" cy="491"/>
            </a:xfrm>
            <a:solidFill>
              <a:schemeClr val="bg1"/>
            </a:solidFill>
          </p:grpSpPr>
          <p:sp>
            <p:nvSpPr>
              <p:cNvPr id="154" name="Freeform 18"/>
              <p:cNvSpPr>
                <a:spLocks/>
              </p:cNvSpPr>
              <p:nvPr/>
            </p:nvSpPr>
            <p:spPr bwMode="auto">
              <a:xfrm>
                <a:off x="-415" y="2395"/>
                <a:ext cx="36" cy="29"/>
              </a:xfrm>
              <a:custGeom>
                <a:avLst/>
                <a:gdLst>
                  <a:gd name="T0" fmla="*/ 131 w 252"/>
                  <a:gd name="T1" fmla="*/ 0 h 201"/>
                  <a:gd name="T2" fmla="*/ 146 w 252"/>
                  <a:gd name="T3" fmla="*/ 2 h 201"/>
                  <a:gd name="T4" fmla="*/ 160 w 252"/>
                  <a:gd name="T5" fmla="*/ 5 h 201"/>
                  <a:gd name="T6" fmla="*/ 173 w 252"/>
                  <a:gd name="T7" fmla="*/ 9 h 201"/>
                  <a:gd name="T8" fmla="*/ 181 w 252"/>
                  <a:gd name="T9" fmla="*/ 10 h 201"/>
                  <a:gd name="T10" fmla="*/ 199 w 252"/>
                  <a:gd name="T11" fmla="*/ 22 h 201"/>
                  <a:gd name="T12" fmla="*/ 217 w 252"/>
                  <a:gd name="T13" fmla="*/ 35 h 201"/>
                  <a:gd name="T14" fmla="*/ 232 w 252"/>
                  <a:gd name="T15" fmla="*/ 48 h 201"/>
                  <a:gd name="T16" fmla="*/ 244 w 252"/>
                  <a:gd name="T17" fmla="*/ 63 h 201"/>
                  <a:gd name="T18" fmla="*/ 252 w 252"/>
                  <a:gd name="T19" fmla="*/ 80 h 201"/>
                  <a:gd name="T20" fmla="*/ 252 w 252"/>
                  <a:gd name="T21" fmla="*/ 101 h 201"/>
                  <a:gd name="T22" fmla="*/ 251 w 252"/>
                  <a:gd name="T23" fmla="*/ 120 h 201"/>
                  <a:gd name="T24" fmla="*/ 247 w 252"/>
                  <a:gd name="T25" fmla="*/ 137 h 201"/>
                  <a:gd name="T26" fmla="*/ 240 w 252"/>
                  <a:gd name="T27" fmla="*/ 153 h 201"/>
                  <a:gd name="T28" fmla="*/ 231 w 252"/>
                  <a:gd name="T29" fmla="*/ 167 h 201"/>
                  <a:gd name="T30" fmla="*/ 217 w 252"/>
                  <a:gd name="T31" fmla="*/ 179 h 201"/>
                  <a:gd name="T32" fmla="*/ 199 w 252"/>
                  <a:gd name="T33" fmla="*/ 188 h 201"/>
                  <a:gd name="T34" fmla="*/ 178 w 252"/>
                  <a:gd name="T35" fmla="*/ 195 h 201"/>
                  <a:gd name="T36" fmla="*/ 152 w 252"/>
                  <a:gd name="T37" fmla="*/ 199 h 201"/>
                  <a:gd name="T38" fmla="*/ 121 w 252"/>
                  <a:gd name="T39" fmla="*/ 201 h 201"/>
                  <a:gd name="T40" fmla="*/ 95 w 252"/>
                  <a:gd name="T41" fmla="*/ 199 h 201"/>
                  <a:gd name="T42" fmla="*/ 73 w 252"/>
                  <a:gd name="T43" fmla="*/ 192 h 201"/>
                  <a:gd name="T44" fmla="*/ 51 w 252"/>
                  <a:gd name="T45" fmla="*/ 182 h 201"/>
                  <a:gd name="T46" fmla="*/ 34 w 252"/>
                  <a:gd name="T47" fmla="*/ 169 h 201"/>
                  <a:gd name="T48" fmla="*/ 19 w 252"/>
                  <a:gd name="T49" fmla="*/ 154 h 201"/>
                  <a:gd name="T50" fmla="*/ 9 w 252"/>
                  <a:gd name="T51" fmla="*/ 137 h 201"/>
                  <a:gd name="T52" fmla="*/ 2 w 252"/>
                  <a:gd name="T53" fmla="*/ 119 h 201"/>
                  <a:gd name="T54" fmla="*/ 0 w 252"/>
                  <a:gd name="T55" fmla="*/ 101 h 201"/>
                  <a:gd name="T56" fmla="*/ 3 w 252"/>
                  <a:gd name="T57" fmla="*/ 79 h 201"/>
                  <a:gd name="T58" fmla="*/ 11 w 252"/>
                  <a:gd name="T59" fmla="*/ 60 h 201"/>
                  <a:gd name="T60" fmla="*/ 22 w 252"/>
                  <a:gd name="T61" fmla="*/ 43 h 201"/>
                  <a:gd name="T62" fmla="*/ 40 w 252"/>
                  <a:gd name="T63" fmla="*/ 28 h 201"/>
                  <a:gd name="T64" fmla="*/ 59 w 252"/>
                  <a:gd name="T65" fmla="*/ 16 h 201"/>
                  <a:gd name="T66" fmla="*/ 80 w 252"/>
                  <a:gd name="T67" fmla="*/ 7 h 201"/>
                  <a:gd name="T68" fmla="*/ 105 w 252"/>
                  <a:gd name="T69" fmla="*/ 2 h 201"/>
                  <a:gd name="T70" fmla="*/ 131 w 252"/>
                  <a:gd name="T71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52" h="201">
                    <a:moveTo>
                      <a:pt x="131" y="0"/>
                    </a:moveTo>
                    <a:lnTo>
                      <a:pt x="146" y="2"/>
                    </a:lnTo>
                    <a:lnTo>
                      <a:pt x="160" y="5"/>
                    </a:lnTo>
                    <a:lnTo>
                      <a:pt x="173" y="9"/>
                    </a:lnTo>
                    <a:lnTo>
                      <a:pt x="181" y="10"/>
                    </a:lnTo>
                    <a:lnTo>
                      <a:pt x="199" y="22"/>
                    </a:lnTo>
                    <a:lnTo>
                      <a:pt x="217" y="35"/>
                    </a:lnTo>
                    <a:lnTo>
                      <a:pt x="232" y="48"/>
                    </a:lnTo>
                    <a:lnTo>
                      <a:pt x="244" y="63"/>
                    </a:lnTo>
                    <a:lnTo>
                      <a:pt x="252" y="80"/>
                    </a:lnTo>
                    <a:lnTo>
                      <a:pt x="252" y="101"/>
                    </a:lnTo>
                    <a:lnTo>
                      <a:pt x="251" y="120"/>
                    </a:lnTo>
                    <a:lnTo>
                      <a:pt x="247" y="137"/>
                    </a:lnTo>
                    <a:lnTo>
                      <a:pt x="240" y="153"/>
                    </a:lnTo>
                    <a:lnTo>
                      <a:pt x="231" y="167"/>
                    </a:lnTo>
                    <a:lnTo>
                      <a:pt x="217" y="179"/>
                    </a:lnTo>
                    <a:lnTo>
                      <a:pt x="199" y="188"/>
                    </a:lnTo>
                    <a:lnTo>
                      <a:pt x="178" y="195"/>
                    </a:lnTo>
                    <a:lnTo>
                      <a:pt x="152" y="199"/>
                    </a:lnTo>
                    <a:lnTo>
                      <a:pt x="121" y="201"/>
                    </a:lnTo>
                    <a:lnTo>
                      <a:pt x="95" y="199"/>
                    </a:lnTo>
                    <a:lnTo>
                      <a:pt x="73" y="192"/>
                    </a:lnTo>
                    <a:lnTo>
                      <a:pt x="51" y="182"/>
                    </a:lnTo>
                    <a:lnTo>
                      <a:pt x="34" y="169"/>
                    </a:lnTo>
                    <a:lnTo>
                      <a:pt x="19" y="154"/>
                    </a:lnTo>
                    <a:lnTo>
                      <a:pt x="9" y="137"/>
                    </a:lnTo>
                    <a:lnTo>
                      <a:pt x="2" y="119"/>
                    </a:lnTo>
                    <a:lnTo>
                      <a:pt x="0" y="101"/>
                    </a:lnTo>
                    <a:lnTo>
                      <a:pt x="3" y="79"/>
                    </a:lnTo>
                    <a:lnTo>
                      <a:pt x="11" y="60"/>
                    </a:lnTo>
                    <a:lnTo>
                      <a:pt x="22" y="43"/>
                    </a:lnTo>
                    <a:lnTo>
                      <a:pt x="40" y="28"/>
                    </a:lnTo>
                    <a:lnTo>
                      <a:pt x="59" y="16"/>
                    </a:lnTo>
                    <a:lnTo>
                      <a:pt x="80" y="7"/>
                    </a:lnTo>
                    <a:lnTo>
                      <a:pt x="105" y="2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5" name="Freeform 19"/>
              <p:cNvSpPr>
                <a:spLocks/>
              </p:cNvSpPr>
              <p:nvPr/>
            </p:nvSpPr>
            <p:spPr bwMode="auto">
              <a:xfrm>
                <a:off x="-409" y="2347"/>
                <a:ext cx="25" cy="31"/>
              </a:xfrm>
              <a:custGeom>
                <a:avLst/>
                <a:gdLst>
                  <a:gd name="T0" fmla="*/ 73 w 175"/>
                  <a:gd name="T1" fmla="*/ 0 h 220"/>
                  <a:gd name="T2" fmla="*/ 94 w 175"/>
                  <a:gd name="T3" fmla="*/ 3 h 220"/>
                  <a:gd name="T4" fmla="*/ 113 w 175"/>
                  <a:gd name="T5" fmla="*/ 11 h 220"/>
                  <a:gd name="T6" fmla="*/ 130 w 175"/>
                  <a:gd name="T7" fmla="*/ 25 h 220"/>
                  <a:gd name="T8" fmla="*/ 145 w 175"/>
                  <a:gd name="T9" fmla="*/ 42 h 220"/>
                  <a:gd name="T10" fmla="*/ 158 w 175"/>
                  <a:gd name="T11" fmla="*/ 62 h 220"/>
                  <a:gd name="T12" fmla="*/ 168 w 175"/>
                  <a:gd name="T13" fmla="*/ 85 h 220"/>
                  <a:gd name="T14" fmla="*/ 173 w 175"/>
                  <a:gd name="T15" fmla="*/ 110 h 220"/>
                  <a:gd name="T16" fmla="*/ 175 w 175"/>
                  <a:gd name="T17" fmla="*/ 136 h 220"/>
                  <a:gd name="T18" fmla="*/ 171 w 175"/>
                  <a:gd name="T19" fmla="*/ 158 h 220"/>
                  <a:gd name="T20" fmla="*/ 163 w 175"/>
                  <a:gd name="T21" fmla="*/ 179 h 220"/>
                  <a:gd name="T22" fmla="*/ 151 w 175"/>
                  <a:gd name="T23" fmla="*/ 196 h 220"/>
                  <a:gd name="T24" fmla="*/ 137 w 175"/>
                  <a:gd name="T25" fmla="*/ 210 h 220"/>
                  <a:gd name="T26" fmla="*/ 121 w 175"/>
                  <a:gd name="T27" fmla="*/ 218 h 220"/>
                  <a:gd name="T28" fmla="*/ 104 w 175"/>
                  <a:gd name="T29" fmla="*/ 220 h 220"/>
                  <a:gd name="T30" fmla="*/ 82 w 175"/>
                  <a:gd name="T31" fmla="*/ 218 h 220"/>
                  <a:gd name="T32" fmla="*/ 63 w 175"/>
                  <a:gd name="T33" fmla="*/ 210 h 220"/>
                  <a:gd name="T34" fmla="*/ 46 w 175"/>
                  <a:gd name="T35" fmla="*/ 196 h 220"/>
                  <a:gd name="T36" fmla="*/ 31 w 175"/>
                  <a:gd name="T37" fmla="*/ 179 h 220"/>
                  <a:gd name="T38" fmla="*/ 18 w 175"/>
                  <a:gd name="T39" fmla="*/ 158 h 220"/>
                  <a:gd name="T40" fmla="*/ 9 w 175"/>
                  <a:gd name="T41" fmla="*/ 136 h 220"/>
                  <a:gd name="T42" fmla="*/ 3 w 175"/>
                  <a:gd name="T43" fmla="*/ 110 h 220"/>
                  <a:gd name="T44" fmla="*/ 0 w 175"/>
                  <a:gd name="T45" fmla="*/ 89 h 220"/>
                  <a:gd name="T46" fmla="*/ 2 w 175"/>
                  <a:gd name="T47" fmla="*/ 67 h 220"/>
                  <a:gd name="T48" fmla="*/ 7 w 175"/>
                  <a:gd name="T49" fmla="*/ 49 h 220"/>
                  <a:gd name="T50" fmla="*/ 14 w 175"/>
                  <a:gd name="T51" fmla="*/ 32 h 220"/>
                  <a:gd name="T52" fmla="*/ 26 w 175"/>
                  <a:gd name="T53" fmla="*/ 19 h 220"/>
                  <a:gd name="T54" fmla="*/ 39 w 175"/>
                  <a:gd name="T55" fmla="*/ 9 h 220"/>
                  <a:gd name="T56" fmla="*/ 55 w 175"/>
                  <a:gd name="T57" fmla="*/ 2 h 220"/>
                  <a:gd name="T58" fmla="*/ 73 w 175"/>
                  <a:gd name="T59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75" h="220">
                    <a:moveTo>
                      <a:pt x="73" y="0"/>
                    </a:moveTo>
                    <a:lnTo>
                      <a:pt x="94" y="3"/>
                    </a:lnTo>
                    <a:lnTo>
                      <a:pt x="113" y="11"/>
                    </a:lnTo>
                    <a:lnTo>
                      <a:pt x="130" y="25"/>
                    </a:lnTo>
                    <a:lnTo>
                      <a:pt x="145" y="42"/>
                    </a:lnTo>
                    <a:lnTo>
                      <a:pt x="158" y="62"/>
                    </a:lnTo>
                    <a:lnTo>
                      <a:pt x="168" y="85"/>
                    </a:lnTo>
                    <a:lnTo>
                      <a:pt x="173" y="110"/>
                    </a:lnTo>
                    <a:lnTo>
                      <a:pt x="175" y="136"/>
                    </a:lnTo>
                    <a:lnTo>
                      <a:pt x="171" y="158"/>
                    </a:lnTo>
                    <a:lnTo>
                      <a:pt x="163" y="179"/>
                    </a:lnTo>
                    <a:lnTo>
                      <a:pt x="151" y="196"/>
                    </a:lnTo>
                    <a:lnTo>
                      <a:pt x="137" y="210"/>
                    </a:lnTo>
                    <a:lnTo>
                      <a:pt x="121" y="218"/>
                    </a:lnTo>
                    <a:lnTo>
                      <a:pt x="104" y="220"/>
                    </a:lnTo>
                    <a:lnTo>
                      <a:pt x="82" y="218"/>
                    </a:lnTo>
                    <a:lnTo>
                      <a:pt x="63" y="210"/>
                    </a:lnTo>
                    <a:lnTo>
                      <a:pt x="46" y="196"/>
                    </a:lnTo>
                    <a:lnTo>
                      <a:pt x="31" y="179"/>
                    </a:lnTo>
                    <a:lnTo>
                      <a:pt x="18" y="158"/>
                    </a:lnTo>
                    <a:lnTo>
                      <a:pt x="9" y="136"/>
                    </a:lnTo>
                    <a:lnTo>
                      <a:pt x="3" y="110"/>
                    </a:lnTo>
                    <a:lnTo>
                      <a:pt x="0" y="89"/>
                    </a:lnTo>
                    <a:lnTo>
                      <a:pt x="2" y="67"/>
                    </a:lnTo>
                    <a:lnTo>
                      <a:pt x="7" y="49"/>
                    </a:lnTo>
                    <a:lnTo>
                      <a:pt x="14" y="32"/>
                    </a:lnTo>
                    <a:lnTo>
                      <a:pt x="26" y="19"/>
                    </a:lnTo>
                    <a:lnTo>
                      <a:pt x="39" y="9"/>
                    </a:lnTo>
                    <a:lnTo>
                      <a:pt x="55" y="2"/>
                    </a:lnTo>
                    <a:lnTo>
                      <a:pt x="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6" name="Freeform 20"/>
              <p:cNvSpPr>
                <a:spLocks noEditPoints="1"/>
              </p:cNvSpPr>
              <p:nvPr/>
            </p:nvSpPr>
            <p:spPr bwMode="auto">
              <a:xfrm>
                <a:off x="-461" y="2303"/>
                <a:ext cx="167" cy="167"/>
              </a:xfrm>
              <a:custGeom>
                <a:avLst/>
                <a:gdLst>
                  <a:gd name="T0" fmla="*/ 394 w 1169"/>
                  <a:gd name="T1" fmla="*/ 292 h 1165"/>
                  <a:gd name="T2" fmla="*/ 322 w 1169"/>
                  <a:gd name="T3" fmla="*/ 340 h 1165"/>
                  <a:gd name="T4" fmla="*/ 292 w 1169"/>
                  <a:gd name="T5" fmla="*/ 412 h 1165"/>
                  <a:gd name="T6" fmla="*/ 315 w 1169"/>
                  <a:gd name="T7" fmla="*/ 485 h 1165"/>
                  <a:gd name="T8" fmla="*/ 377 w 1169"/>
                  <a:gd name="T9" fmla="*/ 532 h 1165"/>
                  <a:gd name="T10" fmla="*/ 453 w 1169"/>
                  <a:gd name="T11" fmla="*/ 543 h 1165"/>
                  <a:gd name="T12" fmla="*/ 443 w 1169"/>
                  <a:gd name="T13" fmla="*/ 572 h 1165"/>
                  <a:gd name="T14" fmla="*/ 452 w 1169"/>
                  <a:gd name="T15" fmla="*/ 623 h 1165"/>
                  <a:gd name="T16" fmla="*/ 386 w 1169"/>
                  <a:gd name="T17" fmla="*/ 646 h 1165"/>
                  <a:gd name="T18" fmla="*/ 294 w 1169"/>
                  <a:gd name="T19" fmla="*/ 681 h 1165"/>
                  <a:gd name="T20" fmla="*/ 245 w 1169"/>
                  <a:gd name="T21" fmla="*/ 748 h 1165"/>
                  <a:gd name="T22" fmla="*/ 252 w 1169"/>
                  <a:gd name="T23" fmla="*/ 812 h 1165"/>
                  <a:gd name="T24" fmla="*/ 299 w 1169"/>
                  <a:gd name="T25" fmla="*/ 855 h 1165"/>
                  <a:gd name="T26" fmla="*/ 374 w 1169"/>
                  <a:gd name="T27" fmla="*/ 879 h 1165"/>
                  <a:gd name="T28" fmla="*/ 468 w 1169"/>
                  <a:gd name="T29" fmla="*/ 882 h 1165"/>
                  <a:gd name="T30" fmla="*/ 549 w 1169"/>
                  <a:gd name="T31" fmla="*/ 858 h 1165"/>
                  <a:gd name="T32" fmla="*/ 598 w 1169"/>
                  <a:gd name="T33" fmla="*/ 813 h 1165"/>
                  <a:gd name="T34" fmla="*/ 614 w 1169"/>
                  <a:gd name="T35" fmla="*/ 753 h 1165"/>
                  <a:gd name="T36" fmla="*/ 603 w 1169"/>
                  <a:gd name="T37" fmla="*/ 686 h 1165"/>
                  <a:gd name="T38" fmla="*/ 554 w 1169"/>
                  <a:gd name="T39" fmla="*/ 633 h 1165"/>
                  <a:gd name="T40" fmla="*/ 521 w 1169"/>
                  <a:gd name="T41" fmla="*/ 607 h 1165"/>
                  <a:gd name="T42" fmla="*/ 503 w 1169"/>
                  <a:gd name="T43" fmla="*/ 572 h 1165"/>
                  <a:gd name="T44" fmla="*/ 516 w 1169"/>
                  <a:gd name="T45" fmla="*/ 544 h 1165"/>
                  <a:gd name="T46" fmla="*/ 560 w 1169"/>
                  <a:gd name="T47" fmla="*/ 504 h 1165"/>
                  <a:gd name="T48" fmla="*/ 592 w 1169"/>
                  <a:gd name="T49" fmla="*/ 445 h 1165"/>
                  <a:gd name="T50" fmla="*/ 589 w 1169"/>
                  <a:gd name="T51" fmla="*/ 380 h 1165"/>
                  <a:gd name="T52" fmla="*/ 563 w 1169"/>
                  <a:gd name="T53" fmla="*/ 330 h 1165"/>
                  <a:gd name="T54" fmla="*/ 594 w 1169"/>
                  <a:gd name="T55" fmla="*/ 312 h 1165"/>
                  <a:gd name="T56" fmla="*/ 806 w 1169"/>
                  <a:gd name="T57" fmla="*/ 272 h 1165"/>
                  <a:gd name="T58" fmla="*/ 694 w 1169"/>
                  <a:gd name="T59" fmla="*/ 423 h 1165"/>
                  <a:gd name="T60" fmla="*/ 846 w 1169"/>
                  <a:gd name="T61" fmla="*/ 533 h 1165"/>
                  <a:gd name="T62" fmla="*/ 956 w 1169"/>
                  <a:gd name="T63" fmla="*/ 382 h 1165"/>
                  <a:gd name="T64" fmla="*/ 806 w 1169"/>
                  <a:gd name="T65" fmla="*/ 272 h 1165"/>
                  <a:gd name="T66" fmla="*/ 725 w 1169"/>
                  <a:gd name="T67" fmla="*/ 13 h 1165"/>
                  <a:gd name="T68" fmla="*/ 890 w 1169"/>
                  <a:gd name="T69" fmla="*/ 77 h 1165"/>
                  <a:gd name="T70" fmla="*/ 1024 w 1169"/>
                  <a:gd name="T71" fmla="*/ 185 h 1165"/>
                  <a:gd name="T72" fmla="*/ 1118 w 1169"/>
                  <a:gd name="T73" fmla="*/ 331 h 1165"/>
                  <a:gd name="T74" fmla="*/ 1166 w 1169"/>
                  <a:gd name="T75" fmla="*/ 502 h 1165"/>
                  <a:gd name="T76" fmla="*/ 1156 w 1169"/>
                  <a:gd name="T77" fmla="*/ 684 h 1165"/>
                  <a:gd name="T78" fmla="*/ 1092 w 1169"/>
                  <a:gd name="T79" fmla="*/ 847 h 1165"/>
                  <a:gd name="T80" fmla="*/ 983 w 1169"/>
                  <a:gd name="T81" fmla="*/ 980 h 1165"/>
                  <a:gd name="T82" fmla="*/ 837 w 1169"/>
                  <a:gd name="T83" fmla="*/ 1075 h 1165"/>
                  <a:gd name="T84" fmla="*/ 666 w 1169"/>
                  <a:gd name="T85" fmla="*/ 1122 h 1165"/>
                  <a:gd name="T86" fmla="*/ 495 w 1169"/>
                  <a:gd name="T87" fmla="*/ 1113 h 1165"/>
                  <a:gd name="T88" fmla="*/ 342 w 1169"/>
                  <a:gd name="T89" fmla="*/ 1055 h 1165"/>
                  <a:gd name="T90" fmla="*/ 80 w 1169"/>
                  <a:gd name="T91" fmla="*/ 1165 h 1165"/>
                  <a:gd name="T92" fmla="*/ 22 w 1169"/>
                  <a:gd name="T93" fmla="*/ 1107 h 1165"/>
                  <a:gd name="T94" fmla="*/ 143 w 1169"/>
                  <a:gd name="T95" fmla="*/ 879 h 1165"/>
                  <a:gd name="T96" fmla="*/ 75 w 1169"/>
                  <a:gd name="T97" fmla="*/ 757 h 1165"/>
                  <a:gd name="T98" fmla="*/ 43 w 1169"/>
                  <a:gd name="T99" fmla="*/ 614 h 1165"/>
                  <a:gd name="T100" fmla="*/ 53 w 1169"/>
                  <a:gd name="T101" fmla="*/ 442 h 1165"/>
                  <a:gd name="T102" fmla="*/ 117 w 1169"/>
                  <a:gd name="T103" fmla="*/ 278 h 1165"/>
                  <a:gd name="T104" fmla="*/ 226 w 1169"/>
                  <a:gd name="T105" fmla="*/ 145 h 1165"/>
                  <a:gd name="T106" fmla="*/ 371 w 1169"/>
                  <a:gd name="T107" fmla="*/ 51 h 1165"/>
                  <a:gd name="T108" fmla="*/ 543 w 1169"/>
                  <a:gd name="T109" fmla="*/ 4 h 1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69" h="1165">
                    <a:moveTo>
                      <a:pt x="453" y="282"/>
                    </a:moveTo>
                    <a:lnTo>
                      <a:pt x="423" y="285"/>
                    </a:lnTo>
                    <a:lnTo>
                      <a:pt x="394" y="292"/>
                    </a:lnTo>
                    <a:lnTo>
                      <a:pt x="367" y="304"/>
                    </a:lnTo>
                    <a:lnTo>
                      <a:pt x="342" y="320"/>
                    </a:lnTo>
                    <a:lnTo>
                      <a:pt x="322" y="340"/>
                    </a:lnTo>
                    <a:lnTo>
                      <a:pt x="306" y="362"/>
                    </a:lnTo>
                    <a:lnTo>
                      <a:pt x="296" y="386"/>
                    </a:lnTo>
                    <a:lnTo>
                      <a:pt x="292" y="412"/>
                    </a:lnTo>
                    <a:lnTo>
                      <a:pt x="295" y="438"/>
                    </a:lnTo>
                    <a:lnTo>
                      <a:pt x="302" y="462"/>
                    </a:lnTo>
                    <a:lnTo>
                      <a:pt x="315" y="485"/>
                    </a:lnTo>
                    <a:lnTo>
                      <a:pt x="333" y="504"/>
                    </a:lnTo>
                    <a:lnTo>
                      <a:pt x="353" y="520"/>
                    </a:lnTo>
                    <a:lnTo>
                      <a:pt x="377" y="532"/>
                    </a:lnTo>
                    <a:lnTo>
                      <a:pt x="403" y="540"/>
                    </a:lnTo>
                    <a:lnTo>
                      <a:pt x="433" y="543"/>
                    </a:lnTo>
                    <a:lnTo>
                      <a:pt x="453" y="543"/>
                    </a:lnTo>
                    <a:lnTo>
                      <a:pt x="446" y="553"/>
                    </a:lnTo>
                    <a:lnTo>
                      <a:pt x="443" y="563"/>
                    </a:lnTo>
                    <a:lnTo>
                      <a:pt x="443" y="572"/>
                    </a:lnTo>
                    <a:lnTo>
                      <a:pt x="444" y="588"/>
                    </a:lnTo>
                    <a:lnTo>
                      <a:pt x="448" y="605"/>
                    </a:lnTo>
                    <a:lnTo>
                      <a:pt x="452" y="623"/>
                    </a:lnTo>
                    <a:lnTo>
                      <a:pt x="453" y="643"/>
                    </a:lnTo>
                    <a:lnTo>
                      <a:pt x="423" y="643"/>
                    </a:lnTo>
                    <a:lnTo>
                      <a:pt x="386" y="646"/>
                    </a:lnTo>
                    <a:lnTo>
                      <a:pt x="352" y="654"/>
                    </a:lnTo>
                    <a:lnTo>
                      <a:pt x="321" y="665"/>
                    </a:lnTo>
                    <a:lnTo>
                      <a:pt x="294" y="681"/>
                    </a:lnTo>
                    <a:lnTo>
                      <a:pt x="272" y="702"/>
                    </a:lnTo>
                    <a:lnTo>
                      <a:pt x="255" y="723"/>
                    </a:lnTo>
                    <a:lnTo>
                      <a:pt x="245" y="748"/>
                    </a:lnTo>
                    <a:lnTo>
                      <a:pt x="241" y="773"/>
                    </a:lnTo>
                    <a:lnTo>
                      <a:pt x="245" y="794"/>
                    </a:lnTo>
                    <a:lnTo>
                      <a:pt x="252" y="812"/>
                    </a:lnTo>
                    <a:lnTo>
                      <a:pt x="264" y="828"/>
                    </a:lnTo>
                    <a:lnTo>
                      <a:pt x="280" y="843"/>
                    </a:lnTo>
                    <a:lnTo>
                      <a:pt x="299" y="855"/>
                    </a:lnTo>
                    <a:lnTo>
                      <a:pt x="322" y="865"/>
                    </a:lnTo>
                    <a:lnTo>
                      <a:pt x="348" y="873"/>
                    </a:lnTo>
                    <a:lnTo>
                      <a:pt x="374" y="879"/>
                    </a:lnTo>
                    <a:lnTo>
                      <a:pt x="403" y="882"/>
                    </a:lnTo>
                    <a:lnTo>
                      <a:pt x="433" y="884"/>
                    </a:lnTo>
                    <a:lnTo>
                      <a:pt x="468" y="882"/>
                    </a:lnTo>
                    <a:lnTo>
                      <a:pt x="498" y="877"/>
                    </a:lnTo>
                    <a:lnTo>
                      <a:pt x="526" y="869"/>
                    </a:lnTo>
                    <a:lnTo>
                      <a:pt x="549" y="858"/>
                    </a:lnTo>
                    <a:lnTo>
                      <a:pt x="569" y="845"/>
                    </a:lnTo>
                    <a:lnTo>
                      <a:pt x="585" y="830"/>
                    </a:lnTo>
                    <a:lnTo>
                      <a:pt x="598" y="813"/>
                    </a:lnTo>
                    <a:lnTo>
                      <a:pt x="607" y="794"/>
                    </a:lnTo>
                    <a:lnTo>
                      <a:pt x="613" y="775"/>
                    </a:lnTo>
                    <a:lnTo>
                      <a:pt x="614" y="753"/>
                    </a:lnTo>
                    <a:lnTo>
                      <a:pt x="613" y="730"/>
                    </a:lnTo>
                    <a:lnTo>
                      <a:pt x="610" y="706"/>
                    </a:lnTo>
                    <a:lnTo>
                      <a:pt x="603" y="686"/>
                    </a:lnTo>
                    <a:lnTo>
                      <a:pt x="591" y="667"/>
                    </a:lnTo>
                    <a:lnTo>
                      <a:pt x="575" y="649"/>
                    </a:lnTo>
                    <a:lnTo>
                      <a:pt x="554" y="633"/>
                    </a:lnTo>
                    <a:lnTo>
                      <a:pt x="543" y="626"/>
                    </a:lnTo>
                    <a:lnTo>
                      <a:pt x="532" y="617"/>
                    </a:lnTo>
                    <a:lnTo>
                      <a:pt x="521" y="607"/>
                    </a:lnTo>
                    <a:lnTo>
                      <a:pt x="512" y="595"/>
                    </a:lnTo>
                    <a:lnTo>
                      <a:pt x="505" y="583"/>
                    </a:lnTo>
                    <a:lnTo>
                      <a:pt x="503" y="572"/>
                    </a:lnTo>
                    <a:lnTo>
                      <a:pt x="504" y="562"/>
                    </a:lnTo>
                    <a:lnTo>
                      <a:pt x="509" y="552"/>
                    </a:lnTo>
                    <a:lnTo>
                      <a:pt x="516" y="544"/>
                    </a:lnTo>
                    <a:lnTo>
                      <a:pt x="528" y="534"/>
                    </a:lnTo>
                    <a:lnTo>
                      <a:pt x="544" y="522"/>
                    </a:lnTo>
                    <a:lnTo>
                      <a:pt x="560" y="504"/>
                    </a:lnTo>
                    <a:lnTo>
                      <a:pt x="574" y="486"/>
                    </a:lnTo>
                    <a:lnTo>
                      <a:pt x="585" y="467"/>
                    </a:lnTo>
                    <a:lnTo>
                      <a:pt x="592" y="445"/>
                    </a:lnTo>
                    <a:lnTo>
                      <a:pt x="594" y="423"/>
                    </a:lnTo>
                    <a:lnTo>
                      <a:pt x="593" y="401"/>
                    </a:lnTo>
                    <a:lnTo>
                      <a:pt x="589" y="380"/>
                    </a:lnTo>
                    <a:lnTo>
                      <a:pt x="583" y="361"/>
                    </a:lnTo>
                    <a:lnTo>
                      <a:pt x="574" y="344"/>
                    </a:lnTo>
                    <a:lnTo>
                      <a:pt x="563" y="330"/>
                    </a:lnTo>
                    <a:lnTo>
                      <a:pt x="549" y="318"/>
                    </a:lnTo>
                    <a:lnTo>
                      <a:pt x="533" y="312"/>
                    </a:lnTo>
                    <a:lnTo>
                      <a:pt x="594" y="312"/>
                    </a:lnTo>
                    <a:lnTo>
                      <a:pt x="634" y="282"/>
                    </a:lnTo>
                    <a:lnTo>
                      <a:pt x="453" y="282"/>
                    </a:lnTo>
                    <a:close/>
                    <a:moveTo>
                      <a:pt x="806" y="272"/>
                    </a:moveTo>
                    <a:lnTo>
                      <a:pt x="806" y="382"/>
                    </a:lnTo>
                    <a:lnTo>
                      <a:pt x="694" y="382"/>
                    </a:lnTo>
                    <a:lnTo>
                      <a:pt x="694" y="423"/>
                    </a:lnTo>
                    <a:lnTo>
                      <a:pt x="806" y="423"/>
                    </a:lnTo>
                    <a:lnTo>
                      <a:pt x="806" y="533"/>
                    </a:lnTo>
                    <a:lnTo>
                      <a:pt x="846" y="533"/>
                    </a:lnTo>
                    <a:lnTo>
                      <a:pt x="846" y="423"/>
                    </a:lnTo>
                    <a:lnTo>
                      <a:pt x="956" y="423"/>
                    </a:lnTo>
                    <a:lnTo>
                      <a:pt x="956" y="382"/>
                    </a:lnTo>
                    <a:lnTo>
                      <a:pt x="846" y="382"/>
                    </a:lnTo>
                    <a:lnTo>
                      <a:pt x="846" y="272"/>
                    </a:lnTo>
                    <a:lnTo>
                      <a:pt x="806" y="272"/>
                    </a:lnTo>
                    <a:close/>
                    <a:moveTo>
                      <a:pt x="604" y="0"/>
                    </a:moveTo>
                    <a:lnTo>
                      <a:pt x="666" y="4"/>
                    </a:lnTo>
                    <a:lnTo>
                      <a:pt x="725" y="13"/>
                    </a:lnTo>
                    <a:lnTo>
                      <a:pt x="783" y="29"/>
                    </a:lnTo>
                    <a:lnTo>
                      <a:pt x="837" y="51"/>
                    </a:lnTo>
                    <a:lnTo>
                      <a:pt x="890" y="77"/>
                    </a:lnTo>
                    <a:lnTo>
                      <a:pt x="938" y="110"/>
                    </a:lnTo>
                    <a:lnTo>
                      <a:pt x="983" y="145"/>
                    </a:lnTo>
                    <a:lnTo>
                      <a:pt x="1024" y="185"/>
                    </a:lnTo>
                    <a:lnTo>
                      <a:pt x="1060" y="230"/>
                    </a:lnTo>
                    <a:lnTo>
                      <a:pt x="1092" y="278"/>
                    </a:lnTo>
                    <a:lnTo>
                      <a:pt x="1118" y="331"/>
                    </a:lnTo>
                    <a:lnTo>
                      <a:pt x="1140" y="385"/>
                    </a:lnTo>
                    <a:lnTo>
                      <a:pt x="1156" y="442"/>
                    </a:lnTo>
                    <a:lnTo>
                      <a:pt x="1166" y="502"/>
                    </a:lnTo>
                    <a:lnTo>
                      <a:pt x="1169" y="563"/>
                    </a:lnTo>
                    <a:lnTo>
                      <a:pt x="1166" y="624"/>
                    </a:lnTo>
                    <a:lnTo>
                      <a:pt x="1156" y="684"/>
                    </a:lnTo>
                    <a:lnTo>
                      <a:pt x="1140" y="740"/>
                    </a:lnTo>
                    <a:lnTo>
                      <a:pt x="1118" y="795"/>
                    </a:lnTo>
                    <a:lnTo>
                      <a:pt x="1092" y="847"/>
                    </a:lnTo>
                    <a:lnTo>
                      <a:pt x="1060" y="895"/>
                    </a:lnTo>
                    <a:lnTo>
                      <a:pt x="1024" y="939"/>
                    </a:lnTo>
                    <a:lnTo>
                      <a:pt x="983" y="980"/>
                    </a:lnTo>
                    <a:lnTo>
                      <a:pt x="938" y="1016"/>
                    </a:lnTo>
                    <a:lnTo>
                      <a:pt x="890" y="1048"/>
                    </a:lnTo>
                    <a:lnTo>
                      <a:pt x="837" y="1075"/>
                    </a:lnTo>
                    <a:lnTo>
                      <a:pt x="783" y="1096"/>
                    </a:lnTo>
                    <a:lnTo>
                      <a:pt x="725" y="1111"/>
                    </a:lnTo>
                    <a:lnTo>
                      <a:pt x="666" y="1122"/>
                    </a:lnTo>
                    <a:lnTo>
                      <a:pt x="604" y="1125"/>
                    </a:lnTo>
                    <a:lnTo>
                      <a:pt x="548" y="1122"/>
                    </a:lnTo>
                    <a:lnTo>
                      <a:pt x="495" y="1113"/>
                    </a:lnTo>
                    <a:lnTo>
                      <a:pt x="442" y="1098"/>
                    </a:lnTo>
                    <a:lnTo>
                      <a:pt x="392" y="1079"/>
                    </a:lnTo>
                    <a:lnTo>
                      <a:pt x="342" y="1055"/>
                    </a:lnTo>
                    <a:lnTo>
                      <a:pt x="296" y="1027"/>
                    </a:lnTo>
                    <a:lnTo>
                      <a:pt x="251" y="994"/>
                    </a:lnTo>
                    <a:lnTo>
                      <a:pt x="80" y="1165"/>
                    </a:lnTo>
                    <a:lnTo>
                      <a:pt x="63" y="1148"/>
                    </a:lnTo>
                    <a:lnTo>
                      <a:pt x="44" y="1128"/>
                    </a:lnTo>
                    <a:lnTo>
                      <a:pt x="22" y="1107"/>
                    </a:lnTo>
                    <a:lnTo>
                      <a:pt x="0" y="1085"/>
                    </a:lnTo>
                    <a:lnTo>
                      <a:pt x="170" y="915"/>
                    </a:lnTo>
                    <a:lnTo>
                      <a:pt x="143" y="879"/>
                    </a:lnTo>
                    <a:lnTo>
                      <a:pt x="117" y="841"/>
                    </a:lnTo>
                    <a:lnTo>
                      <a:pt x="94" y="800"/>
                    </a:lnTo>
                    <a:lnTo>
                      <a:pt x="75" y="757"/>
                    </a:lnTo>
                    <a:lnTo>
                      <a:pt x="60" y="711"/>
                    </a:lnTo>
                    <a:lnTo>
                      <a:pt x="49" y="664"/>
                    </a:lnTo>
                    <a:lnTo>
                      <a:pt x="43" y="614"/>
                    </a:lnTo>
                    <a:lnTo>
                      <a:pt x="39" y="563"/>
                    </a:lnTo>
                    <a:lnTo>
                      <a:pt x="44" y="502"/>
                    </a:lnTo>
                    <a:lnTo>
                      <a:pt x="53" y="442"/>
                    </a:lnTo>
                    <a:lnTo>
                      <a:pt x="68" y="385"/>
                    </a:lnTo>
                    <a:lnTo>
                      <a:pt x="90" y="331"/>
                    </a:lnTo>
                    <a:lnTo>
                      <a:pt x="117" y="278"/>
                    </a:lnTo>
                    <a:lnTo>
                      <a:pt x="149" y="230"/>
                    </a:lnTo>
                    <a:lnTo>
                      <a:pt x="185" y="185"/>
                    </a:lnTo>
                    <a:lnTo>
                      <a:pt x="226" y="145"/>
                    </a:lnTo>
                    <a:lnTo>
                      <a:pt x="270" y="110"/>
                    </a:lnTo>
                    <a:lnTo>
                      <a:pt x="320" y="77"/>
                    </a:lnTo>
                    <a:lnTo>
                      <a:pt x="371" y="51"/>
                    </a:lnTo>
                    <a:lnTo>
                      <a:pt x="426" y="29"/>
                    </a:lnTo>
                    <a:lnTo>
                      <a:pt x="483" y="13"/>
                    </a:lnTo>
                    <a:lnTo>
                      <a:pt x="543" y="4"/>
                    </a:lnTo>
                    <a:lnTo>
                      <a:pt x="60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7" name="Freeform 21"/>
              <p:cNvSpPr>
                <a:spLocks noEditPoints="1"/>
              </p:cNvSpPr>
              <p:nvPr/>
            </p:nvSpPr>
            <p:spPr bwMode="auto">
              <a:xfrm>
                <a:off x="-459" y="2628"/>
                <a:ext cx="167" cy="164"/>
              </a:xfrm>
              <a:custGeom>
                <a:avLst/>
                <a:gdLst>
                  <a:gd name="T0" fmla="*/ 434 w 1170"/>
                  <a:gd name="T1" fmla="*/ 852 h 1154"/>
                  <a:gd name="T2" fmla="*/ 747 w 1170"/>
                  <a:gd name="T3" fmla="*/ 492 h 1154"/>
                  <a:gd name="T4" fmla="*/ 680 w 1170"/>
                  <a:gd name="T5" fmla="*/ 509 h 1154"/>
                  <a:gd name="T6" fmla="*/ 641 w 1170"/>
                  <a:gd name="T7" fmla="*/ 542 h 1154"/>
                  <a:gd name="T8" fmla="*/ 515 w 1170"/>
                  <a:gd name="T9" fmla="*/ 502 h 1154"/>
                  <a:gd name="T10" fmla="*/ 636 w 1170"/>
                  <a:gd name="T11" fmla="*/ 632 h 1154"/>
                  <a:gd name="T12" fmla="*/ 665 w 1170"/>
                  <a:gd name="T13" fmla="*/ 600 h 1154"/>
                  <a:gd name="T14" fmla="*/ 714 w 1170"/>
                  <a:gd name="T15" fmla="*/ 595 h 1154"/>
                  <a:gd name="T16" fmla="*/ 750 w 1170"/>
                  <a:gd name="T17" fmla="*/ 629 h 1154"/>
                  <a:gd name="T18" fmla="*/ 756 w 1170"/>
                  <a:gd name="T19" fmla="*/ 852 h 1154"/>
                  <a:gd name="T20" fmla="*/ 886 w 1170"/>
                  <a:gd name="T21" fmla="*/ 621 h 1154"/>
                  <a:gd name="T22" fmla="*/ 861 w 1170"/>
                  <a:gd name="T23" fmla="*/ 547 h 1154"/>
                  <a:gd name="T24" fmla="*/ 812 w 1170"/>
                  <a:gd name="T25" fmla="*/ 506 h 1154"/>
                  <a:gd name="T26" fmla="*/ 747 w 1170"/>
                  <a:gd name="T27" fmla="*/ 492 h 1154"/>
                  <a:gd name="T28" fmla="*/ 347 w 1170"/>
                  <a:gd name="T29" fmla="*/ 340 h 1154"/>
                  <a:gd name="T30" fmla="*/ 315 w 1170"/>
                  <a:gd name="T31" fmla="*/ 376 h 1154"/>
                  <a:gd name="T32" fmla="*/ 322 w 1170"/>
                  <a:gd name="T33" fmla="*/ 420 h 1154"/>
                  <a:gd name="T34" fmla="*/ 364 w 1170"/>
                  <a:gd name="T35" fmla="*/ 449 h 1154"/>
                  <a:gd name="T36" fmla="*/ 418 w 1170"/>
                  <a:gd name="T37" fmla="*/ 445 h 1154"/>
                  <a:gd name="T38" fmla="*/ 448 w 1170"/>
                  <a:gd name="T39" fmla="*/ 410 h 1154"/>
                  <a:gd name="T40" fmla="*/ 445 w 1170"/>
                  <a:gd name="T41" fmla="*/ 363 h 1154"/>
                  <a:gd name="T42" fmla="*/ 403 w 1170"/>
                  <a:gd name="T43" fmla="*/ 334 h 1154"/>
                  <a:gd name="T44" fmla="*/ 242 w 1170"/>
                  <a:gd name="T45" fmla="*/ 170 h 1154"/>
                  <a:gd name="T46" fmla="*/ 359 w 1170"/>
                  <a:gd name="T47" fmla="*/ 94 h 1154"/>
                  <a:gd name="T48" fmla="*/ 497 w 1170"/>
                  <a:gd name="T49" fmla="*/ 49 h 1154"/>
                  <a:gd name="T50" fmla="*/ 657 w 1170"/>
                  <a:gd name="T51" fmla="*/ 43 h 1154"/>
                  <a:gd name="T52" fmla="*/ 829 w 1170"/>
                  <a:gd name="T53" fmla="*/ 88 h 1154"/>
                  <a:gd name="T54" fmla="*/ 975 w 1170"/>
                  <a:gd name="T55" fmla="*/ 180 h 1154"/>
                  <a:gd name="T56" fmla="*/ 1086 w 1170"/>
                  <a:gd name="T57" fmla="*/ 310 h 1154"/>
                  <a:gd name="T58" fmla="*/ 1153 w 1170"/>
                  <a:gd name="T59" fmla="*/ 472 h 1154"/>
                  <a:gd name="T60" fmla="*/ 1166 w 1170"/>
                  <a:gd name="T61" fmla="*/ 653 h 1154"/>
                  <a:gd name="T62" fmla="*/ 1119 w 1170"/>
                  <a:gd name="T63" fmla="*/ 824 h 1154"/>
                  <a:gd name="T64" fmla="*/ 1025 w 1170"/>
                  <a:gd name="T65" fmla="*/ 969 h 1154"/>
                  <a:gd name="T66" fmla="*/ 890 w 1170"/>
                  <a:gd name="T67" fmla="*/ 1077 h 1154"/>
                  <a:gd name="T68" fmla="*/ 726 w 1170"/>
                  <a:gd name="T69" fmla="*/ 1141 h 1154"/>
                  <a:gd name="T70" fmla="*/ 544 w 1170"/>
                  <a:gd name="T71" fmla="*/ 1150 h 1154"/>
                  <a:gd name="T72" fmla="*/ 372 w 1170"/>
                  <a:gd name="T73" fmla="*/ 1103 h 1154"/>
                  <a:gd name="T74" fmla="*/ 227 w 1170"/>
                  <a:gd name="T75" fmla="*/ 1009 h 1154"/>
                  <a:gd name="T76" fmla="*/ 117 w 1170"/>
                  <a:gd name="T77" fmla="*/ 876 h 1154"/>
                  <a:gd name="T78" fmla="*/ 54 w 1170"/>
                  <a:gd name="T79" fmla="*/ 712 h 1154"/>
                  <a:gd name="T80" fmla="*/ 44 w 1170"/>
                  <a:gd name="T81" fmla="*/ 537 h 1154"/>
                  <a:gd name="T82" fmla="*/ 86 w 1170"/>
                  <a:gd name="T83" fmla="*/ 380 h 1154"/>
                  <a:gd name="T84" fmla="*/ 172 w 1170"/>
                  <a:gd name="T85" fmla="*/ 241 h 1154"/>
                  <a:gd name="T86" fmla="*/ 36 w 1170"/>
                  <a:gd name="T87" fmla="*/ 39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70" h="1154">
                    <a:moveTo>
                      <a:pt x="324" y="502"/>
                    </a:moveTo>
                    <a:lnTo>
                      <a:pt x="324" y="852"/>
                    </a:lnTo>
                    <a:lnTo>
                      <a:pt x="434" y="852"/>
                    </a:lnTo>
                    <a:lnTo>
                      <a:pt x="434" y="502"/>
                    </a:lnTo>
                    <a:lnTo>
                      <a:pt x="324" y="502"/>
                    </a:lnTo>
                    <a:close/>
                    <a:moveTo>
                      <a:pt x="747" y="492"/>
                    </a:moveTo>
                    <a:lnTo>
                      <a:pt x="722" y="494"/>
                    </a:lnTo>
                    <a:lnTo>
                      <a:pt x="699" y="500"/>
                    </a:lnTo>
                    <a:lnTo>
                      <a:pt x="680" y="509"/>
                    </a:lnTo>
                    <a:lnTo>
                      <a:pt x="664" y="520"/>
                    </a:lnTo>
                    <a:lnTo>
                      <a:pt x="651" y="531"/>
                    </a:lnTo>
                    <a:lnTo>
                      <a:pt x="641" y="542"/>
                    </a:lnTo>
                    <a:lnTo>
                      <a:pt x="636" y="552"/>
                    </a:lnTo>
                    <a:lnTo>
                      <a:pt x="636" y="502"/>
                    </a:lnTo>
                    <a:lnTo>
                      <a:pt x="515" y="502"/>
                    </a:lnTo>
                    <a:lnTo>
                      <a:pt x="515" y="853"/>
                    </a:lnTo>
                    <a:lnTo>
                      <a:pt x="636" y="853"/>
                    </a:lnTo>
                    <a:lnTo>
                      <a:pt x="636" y="632"/>
                    </a:lnTo>
                    <a:lnTo>
                      <a:pt x="642" y="620"/>
                    </a:lnTo>
                    <a:lnTo>
                      <a:pt x="652" y="609"/>
                    </a:lnTo>
                    <a:lnTo>
                      <a:pt x="665" y="600"/>
                    </a:lnTo>
                    <a:lnTo>
                      <a:pt x="679" y="595"/>
                    </a:lnTo>
                    <a:lnTo>
                      <a:pt x="696" y="592"/>
                    </a:lnTo>
                    <a:lnTo>
                      <a:pt x="714" y="595"/>
                    </a:lnTo>
                    <a:lnTo>
                      <a:pt x="729" y="602"/>
                    </a:lnTo>
                    <a:lnTo>
                      <a:pt x="741" y="613"/>
                    </a:lnTo>
                    <a:lnTo>
                      <a:pt x="750" y="629"/>
                    </a:lnTo>
                    <a:lnTo>
                      <a:pt x="755" y="649"/>
                    </a:lnTo>
                    <a:lnTo>
                      <a:pt x="756" y="673"/>
                    </a:lnTo>
                    <a:lnTo>
                      <a:pt x="756" y="852"/>
                    </a:lnTo>
                    <a:lnTo>
                      <a:pt x="887" y="852"/>
                    </a:lnTo>
                    <a:lnTo>
                      <a:pt x="887" y="652"/>
                    </a:lnTo>
                    <a:lnTo>
                      <a:pt x="886" y="621"/>
                    </a:lnTo>
                    <a:lnTo>
                      <a:pt x="881" y="593"/>
                    </a:lnTo>
                    <a:lnTo>
                      <a:pt x="872" y="569"/>
                    </a:lnTo>
                    <a:lnTo>
                      <a:pt x="861" y="547"/>
                    </a:lnTo>
                    <a:lnTo>
                      <a:pt x="847" y="530"/>
                    </a:lnTo>
                    <a:lnTo>
                      <a:pt x="830" y="516"/>
                    </a:lnTo>
                    <a:lnTo>
                      <a:pt x="812" y="506"/>
                    </a:lnTo>
                    <a:lnTo>
                      <a:pt x="792" y="497"/>
                    </a:lnTo>
                    <a:lnTo>
                      <a:pt x="770" y="493"/>
                    </a:lnTo>
                    <a:lnTo>
                      <a:pt x="747" y="492"/>
                    </a:lnTo>
                    <a:close/>
                    <a:moveTo>
                      <a:pt x="384" y="330"/>
                    </a:moveTo>
                    <a:lnTo>
                      <a:pt x="364" y="334"/>
                    </a:lnTo>
                    <a:lnTo>
                      <a:pt x="347" y="340"/>
                    </a:lnTo>
                    <a:lnTo>
                      <a:pt x="333" y="350"/>
                    </a:lnTo>
                    <a:lnTo>
                      <a:pt x="322" y="363"/>
                    </a:lnTo>
                    <a:lnTo>
                      <a:pt x="315" y="376"/>
                    </a:lnTo>
                    <a:lnTo>
                      <a:pt x="313" y="391"/>
                    </a:lnTo>
                    <a:lnTo>
                      <a:pt x="315" y="406"/>
                    </a:lnTo>
                    <a:lnTo>
                      <a:pt x="322" y="420"/>
                    </a:lnTo>
                    <a:lnTo>
                      <a:pt x="333" y="432"/>
                    </a:lnTo>
                    <a:lnTo>
                      <a:pt x="347" y="443"/>
                    </a:lnTo>
                    <a:lnTo>
                      <a:pt x="364" y="449"/>
                    </a:lnTo>
                    <a:lnTo>
                      <a:pt x="384" y="451"/>
                    </a:lnTo>
                    <a:lnTo>
                      <a:pt x="402" y="449"/>
                    </a:lnTo>
                    <a:lnTo>
                      <a:pt x="418" y="445"/>
                    </a:lnTo>
                    <a:lnTo>
                      <a:pt x="430" y="436"/>
                    </a:lnTo>
                    <a:lnTo>
                      <a:pt x="441" y="425"/>
                    </a:lnTo>
                    <a:lnTo>
                      <a:pt x="448" y="410"/>
                    </a:lnTo>
                    <a:lnTo>
                      <a:pt x="455" y="391"/>
                    </a:lnTo>
                    <a:lnTo>
                      <a:pt x="451" y="376"/>
                    </a:lnTo>
                    <a:lnTo>
                      <a:pt x="445" y="363"/>
                    </a:lnTo>
                    <a:lnTo>
                      <a:pt x="434" y="350"/>
                    </a:lnTo>
                    <a:lnTo>
                      <a:pt x="420" y="340"/>
                    </a:lnTo>
                    <a:lnTo>
                      <a:pt x="403" y="334"/>
                    </a:lnTo>
                    <a:lnTo>
                      <a:pt x="384" y="330"/>
                    </a:lnTo>
                    <a:close/>
                    <a:moveTo>
                      <a:pt x="71" y="0"/>
                    </a:moveTo>
                    <a:lnTo>
                      <a:pt x="242" y="170"/>
                    </a:lnTo>
                    <a:lnTo>
                      <a:pt x="278" y="141"/>
                    </a:lnTo>
                    <a:lnTo>
                      <a:pt x="317" y="116"/>
                    </a:lnTo>
                    <a:lnTo>
                      <a:pt x="359" y="94"/>
                    </a:lnTo>
                    <a:lnTo>
                      <a:pt x="404" y="75"/>
                    </a:lnTo>
                    <a:lnTo>
                      <a:pt x="450" y="60"/>
                    </a:lnTo>
                    <a:lnTo>
                      <a:pt x="497" y="49"/>
                    </a:lnTo>
                    <a:lnTo>
                      <a:pt x="546" y="42"/>
                    </a:lnTo>
                    <a:lnTo>
                      <a:pt x="595" y="40"/>
                    </a:lnTo>
                    <a:lnTo>
                      <a:pt x="657" y="43"/>
                    </a:lnTo>
                    <a:lnTo>
                      <a:pt x="716" y="52"/>
                    </a:lnTo>
                    <a:lnTo>
                      <a:pt x="774" y="67"/>
                    </a:lnTo>
                    <a:lnTo>
                      <a:pt x="829" y="88"/>
                    </a:lnTo>
                    <a:lnTo>
                      <a:pt x="881" y="113"/>
                    </a:lnTo>
                    <a:lnTo>
                      <a:pt x="929" y="144"/>
                    </a:lnTo>
                    <a:lnTo>
                      <a:pt x="975" y="180"/>
                    </a:lnTo>
                    <a:lnTo>
                      <a:pt x="1016" y="219"/>
                    </a:lnTo>
                    <a:lnTo>
                      <a:pt x="1054" y="263"/>
                    </a:lnTo>
                    <a:lnTo>
                      <a:pt x="1086" y="310"/>
                    </a:lnTo>
                    <a:lnTo>
                      <a:pt x="1114" y="361"/>
                    </a:lnTo>
                    <a:lnTo>
                      <a:pt x="1136" y="415"/>
                    </a:lnTo>
                    <a:lnTo>
                      <a:pt x="1153" y="472"/>
                    </a:lnTo>
                    <a:lnTo>
                      <a:pt x="1164" y="530"/>
                    </a:lnTo>
                    <a:lnTo>
                      <a:pt x="1170" y="591"/>
                    </a:lnTo>
                    <a:lnTo>
                      <a:pt x="1166" y="653"/>
                    </a:lnTo>
                    <a:lnTo>
                      <a:pt x="1157" y="712"/>
                    </a:lnTo>
                    <a:lnTo>
                      <a:pt x="1141" y="770"/>
                    </a:lnTo>
                    <a:lnTo>
                      <a:pt x="1119" y="824"/>
                    </a:lnTo>
                    <a:lnTo>
                      <a:pt x="1093" y="876"/>
                    </a:lnTo>
                    <a:lnTo>
                      <a:pt x="1061" y="924"/>
                    </a:lnTo>
                    <a:lnTo>
                      <a:pt x="1025" y="969"/>
                    </a:lnTo>
                    <a:lnTo>
                      <a:pt x="984" y="1009"/>
                    </a:lnTo>
                    <a:lnTo>
                      <a:pt x="939" y="1046"/>
                    </a:lnTo>
                    <a:lnTo>
                      <a:pt x="890" y="1077"/>
                    </a:lnTo>
                    <a:lnTo>
                      <a:pt x="839" y="1103"/>
                    </a:lnTo>
                    <a:lnTo>
                      <a:pt x="784" y="1125"/>
                    </a:lnTo>
                    <a:lnTo>
                      <a:pt x="726" y="1141"/>
                    </a:lnTo>
                    <a:lnTo>
                      <a:pt x="667" y="1150"/>
                    </a:lnTo>
                    <a:lnTo>
                      <a:pt x="605" y="1154"/>
                    </a:lnTo>
                    <a:lnTo>
                      <a:pt x="544" y="1150"/>
                    </a:lnTo>
                    <a:lnTo>
                      <a:pt x="485" y="1141"/>
                    </a:lnTo>
                    <a:lnTo>
                      <a:pt x="427" y="1125"/>
                    </a:lnTo>
                    <a:lnTo>
                      <a:pt x="372" y="1103"/>
                    </a:lnTo>
                    <a:lnTo>
                      <a:pt x="320" y="1077"/>
                    </a:lnTo>
                    <a:lnTo>
                      <a:pt x="272" y="1046"/>
                    </a:lnTo>
                    <a:lnTo>
                      <a:pt x="227" y="1009"/>
                    </a:lnTo>
                    <a:lnTo>
                      <a:pt x="186" y="969"/>
                    </a:lnTo>
                    <a:lnTo>
                      <a:pt x="150" y="924"/>
                    </a:lnTo>
                    <a:lnTo>
                      <a:pt x="117" y="876"/>
                    </a:lnTo>
                    <a:lnTo>
                      <a:pt x="92" y="824"/>
                    </a:lnTo>
                    <a:lnTo>
                      <a:pt x="70" y="770"/>
                    </a:lnTo>
                    <a:lnTo>
                      <a:pt x="54" y="712"/>
                    </a:lnTo>
                    <a:lnTo>
                      <a:pt x="44" y="653"/>
                    </a:lnTo>
                    <a:lnTo>
                      <a:pt x="41" y="591"/>
                    </a:lnTo>
                    <a:lnTo>
                      <a:pt x="44" y="537"/>
                    </a:lnTo>
                    <a:lnTo>
                      <a:pt x="53" y="482"/>
                    </a:lnTo>
                    <a:lnTo>
                      <a:pt x="67" y="430"/>
                    </a:lnTo>
                    <a:lnTo>
                      <a:pt x="86" y="380"/>
                    </a:lnTo>
                    <a:lnTo>
                      <a:pt x="111" y="332"/>
                    </a:lnTo>
                    <a:lnTo>
                      <a:pt x="139" y="284"/>
                    </a:lnTo>
                    <a:lnTo>
                      <a:pt x="172" y="241"/>
                    </a:lnTo>
                    <a:lnTo>
                      <a:pt x="0" y="70"/>
                    </a:lnTo>
                    <a:lnTo>
                      <a:pt x="18" y="55"/>
                    </a:lnTo>
                    <a:lnTo>
                      <a:pt x="36" y="39"/>
                    </a:lnTo>
                    <a:lnTo>
                      <a:pt x="54" y="20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8" name="Freeform 22"/>
              <p:cNvSpPr>
                <a:spLocks noEditPoints="1"/>
              </p:cNvSpPr>
              <p:nvPr/>
            </p:nvSpPr>
            <p:spPr bwMode="auto">
              <a:xfrm>
                <a:off x="-783" y="2628"/>
                <a:ext cx="167" cy="166"/>
              </a:xfrm>
              <a:custGeom>
                <a:avLst/>
                <a:gdLst>
                  <a:gd name="T0" fmla="*/ 636 w 1169"/>
                  <a:gd name="T1" fmla="*/ 391 h 1164"/>
                  <a:gd name="T2" fmla="*/ 578 w 1169"/>
                  <a:gd name="T3" fmla="*/ 439 h 1164"/>
                  <a:gd name="T4" fmla="*/ 554 w 1169"/>
                  <a:gd name="T5" fmla="*/ 511 h 1164"/>
                  <a:gd name="T6" fmla="*/ 476 w 1169"/>
                  <a:gd name="T7" fmla="*/ 533 h 1164"/>
                  <a:gd name="T8" fmla="*/ 372 w 1169"/>
                  <a:gd name="T9" fmla="*/ 488 h 1164"/>
                  <a:gd name="T10" fmla="*/ 293 w 1169"/>
                  <a:gd name="T11" fmla="*/ 411 h 1164"/>
                  <a:gd name="T12" fmla="*/ 273 w 1169"/>
                  <a:gd name="T13" fmla="*/ 472 h 1164"/>
                  <a:gd name="T14" fmla="*/ 298 w 1169"/>
                  <a:gd name="T15" fmla="*/ 539 h 1164"/>
                  <a:gd name="T16" fmla="*/ 312 w 1169"/>
                  <a:gd name="T17" fmla="*/ 569 h 1164"/>
                  <a:gd name="T18" fmla="*/ 275 w 1169"/>
                  <a:gd name="T19" fmla="*/ 576 h 1164"/>
                  <a:gd name="T20" fmla="*/ 308 w 1169"/>
                  <a:gd name="T21" fmla="*/ 639 h 1164"/>
                  <a:gd name="T22" fmla="*/ 374 w 1169"/>
                  <a:gd name="T23" fmla="*/ 673 h 1164"/>
                  <a:gd name="T24" fmla="*/ 352 w 1169"/>
                  <a:gd name="T25" fmla="*/ 717 h 1164"/>
                  <a:gd name="T26" fmla="*/ 419 w 1169"/>
                  <a:gd name="T27" fmla="*/ 759 h 1164"/>
                  <a:gd name="T28" fmla="*/ 382 w 1169"/>
                  <a:gd name="T29" fmla="*/ 793 h 1164"/>
                  <a:gd name="T30" fmla="*/ 282 w 1169"/>
                  <a:gd name="T31" fmla="*/ 813 h 1164"/>
                  <a:gd name="T32" fmla="*/ 308 w 1169"/>
                  <a:gd name="T33" fmla="*/ 846 h 1164"/>
                  <a:gd name="T34" fmla="*/ 409 w 1169"/>
                  <a:gd name="T35" fmla="*/ 871 h 1164"/>
                  <a:gd name="T36" fmla="*/ 531 w 1169"/>
                  <a:gd name="T37" fmla="*/ 863 h 1164"/>
                  <a:gd name="T38" fmla="*/ 641 w 1169"/>
                  <a:gd name="T39" fmla="*/ 817 h 1164"/>
                  <a:gd name="T40" fmla="*/ 724 w 1169"/>
                  <a:gd name="T41" fmla="*/ 742 h 1164"/>
                  <a:gd name="T42" fmla="*/ 779 w 1169"/>
                  <a:gd name="T43" fmla="*/ 648 h 1164"/>
                  <a:gd name="T44" fmla="*/ 805 w 1169"/>
                  <a:gd name="T45" fmla="*/ 545 h 1164"/>
                  <a:gd name="T46" fmla="*/ 806 w 1169"/>
                  <a:gd name="T47" fmla="*/ 502 h 1164"/>
                  <a:gd name="T48" fmla="*/ 827 w 1169"/>
                  <a:gd name="T49" fmla="*/ 488 h 1164"/>
                  <a:gd name="T50" fmla="*/ 851 w 1169"/>
                  <a:gd name="T51" fmla="*/ 448 h 1164"/>
                  <a:gd name="T52" fmla="*/ 797 w 1169"/>
                  <a:gd name="T53" fmla="*/ 461 h 1164"/>
                  <a:gd name="T54" fmla="*/ 847 w 1169"/>
                  <a:gd name="T55" fmla="*/ 412 h 1164"/>
                  <a:gd name="T56" fmla="*/ 806 w 1169"/>
                  <a:gd name="T57" fmla="*/ 411 h 1164"/>
                  <a:gd name="T58" fmla="*/ 747 w 1169"/>
                  <a:gd name="T59" fmla="*/ 398 h 1164"/>
                  <a:gd name="T60" fmla="*/ 686 w 1169"/>
                  <a:gd name="T61" fmla="*/ 381 h 1164"/>
                  <a:gd name="T62" fmla="*/ 1125 w 1169"/>
                  <a:gd name="T63" fmla="*/ 36 h 1164"/>
                  <a:gd name="T64" fmla="*/ 998 w 1169"/>
                  <a:gd name="T65" fmla="*/ 250 h 1164"/>
                  <a:gd name="T66" fmla="*/ 1075 w 1169"/>
                  <a:gd name="T67" fmla="*/ 367 h 1164"/>
                  <a:gd name="T68" fmla="*/ 1120 w 1169"/>
                  <a:gd name="T69" fmla="*/ 505 h 1164"/>
                  <a:gd name="T70" fmla="*/ 1125 w 1169"/>
                  <a:gd name="T71" fmla="*/ 663 h 1164"/>
                  <a:gd name="T72" fmla="*/ 1079 w 1169"/>
                  <a:gd name="T73" fmla="*/ 834 h 1164"/>
                  <a:gd name="T74" fmla="*/ 983 w 1169"/>
                  <a:gd name="T75" fmla="*/ 978 h 1164"/>
                  <a:gd name="T76" fmla="*/ 849 w 1169"/>
                  <a:gd name="T77" fmla="*/ 1087 h 1164"/>
                  <a:gd name="T78" fmla="*/ 686 w 1169"/>
                  <a:gd name="T79" fmla="*/ 1152 h 1164"/>
                  <a:gd name="T80" fmla="*/ 502 w 1169"/>
                  <a:gd name="T81" fmla="*/ 1161 h 1164"/>
                  <a:gd name="T82" fmla="*/ 331 w 1169"/>
                  <a:gd name="T83" fmla="*/ 1114 h 1164"/>
                  <a:gd name="T84" fmla="*/ 186 w 1169"/>
                  <a:gd name="T85" fmla="*/ 1019 h 1164"/>
                  <a:gd name="T86" fmla="*/ 77 w 1169"/>
                  <a:gd name="T87" fmla="*/ 886 h 1164"/>
                  <a:gd name="T88" fmla="*/ 13 w 1169"/>
                  <a:gd name="T89" fmla="*/ 723 h 1164"/>
                  <a:gd name="T90" fmla="*/ 3 w 1169"/>
                  <a:gd name="T91" fmla="*/ 541 h 1164"/>
                  <a:gd name="T92" fmla="*/ 50 w 1169"/>
                  <a:gd name="T93" fmla="*/ 370 h 1164"/>
                  <a:gd name="T94" fmla="*/ 145 w 1169"/>
                  <a:gd name="T95" fmla="*/ 226 h 1164"/>
                  <a:gd name="T96" fmla="*/ 279 w 1169"/>
                  <a:gd name="T97" fmla="*/ 117 h 1164"/>
                  <a:gd name="T98" fmla="*/ 443 w 1169"/>
                  <a:gd name="T99" fmla="*/ 52 h 1164"/>
                  <a:gd name="T100" fmla="*/ 620 w 1169"/>
                  <a:gd name="T101" fmla="*/ 43 h 1164"/>
                  <a:gd name="T102" fmla="*/ 777 w 1169"/>
                  <a:gd name="T103" fmla="*/ 86 h 1164"/>
                  <a:gd name="T104" fmla="*/ 917 w 1169"/>
                  <a:gd name="T105" fmla="*/ 170 h 1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69" h="1164">
                    <a:moveTo>
                      <a:pt x="686" y="381"/>
                    </a:moveTo>
                    <a:lnTo>
                      <a:pt x="659" y="384"/>
                    </a:lnTo>
                    <a:lnTo>
                      <a:pt x="636" y="391"/>
                    </a:lnTo>
                    <a:lnTo>
                      <a:pt x="613" y="404"/>
                    </a:lnTo>
                    <a:lnTo>
                      <a:pt x="594" y="420"/>
                    </a:lnTo>
                    <a:lnTo>
                      <a:pt x="578" y="439"/>
                    </a:lnTo>
                    <a:lnTo>
                      <a:pt x="565" y="462"/>
                    </a:lnTo>
                    <a:lnTo>
                      <a:pt x="557" y="485"/>
                    </a:lnTo>
                    <a:lnTo>
                      <a:pt x="554" y="511"/>
                    </a:lnTo>
                    <a:lnTo>
                      <a:pt x="554" y="541"/>
                    </a:lnTo>
                    <a:lnTo>
                      <a:pt x="514" y="539"/>
                    </a:lnTo>
                    <a:lnTo>
                      <a:pt x="476" y="533"/>
                    </a:lnTo>
                    <a:lnTo>
                      <a:pt x="439" y="522"/>
                    </a:lnTo>
                    <a:lnTo>
                      <a:pt x="405" y="507"/>
                    </a:lnTo>
                    <a:lnTo>
                      <a:pt x="372" y="488"/>
                    </a:lnTo>
                    <a:lnTo>
                      <a:pt x="343" y="465"/>
                    </a:lnTo>
                    <a:lnTo>
                      <a:pt x="317" y="439"/>
                    </a:lnTo>
                    <a:lnTo>
                      <a:pt x="293" y="411"/>
                    </a:lnTo>
                    <a:lnTo>
                      <a:pt x="282" y="431"/>
                    </a:lnTo>
                    <a:lnTo>
                      <a:pt x="276" y="451"/>
                    </a:lnTo>
                    <a:lnTo>
                      <a:pt x="273" y="472"/>
                    </a:lnTo>
                    <a:lnTo>
                      <a:pt x="276" y="495"/>
                    </a:lnTo>
                    <a:lnTo>
                      <a:pt x="284" y="519"/>
                    </a:lnTo>
                    <a:lnTo>
                      <a:pt x="298" y="539"/>
                    </a:lnTo>
                    <a:lnTo>
                      <a:pt x="314" y="557"/>
                    </a:lnTo>
                    <a:lnTo>
                      <a:pt x="333" y="572"/>
                    </a:lnTo>
                    <a:lnTo>
                      <a:pt x="312" y="569"/>
                    </a:lnTo>
                    <a:lnTo>
                      <a:pt x="292" y="561"/>
                    </a:lnTo>
                    <a:lnTo>
                      <a:pt x="273" y="552"/>
                    </a:lnTo>
                    <a:lnTo>
                      <a:pt x="275" y="576"/>
                    </a:lnTo>
                    <a:lnTo>
                      <a:pt x="281" y="600"/>
                    </a:lnTo>
                    <a:lnTo>
                      <a:pt x="293" y="621"/>
                    </a:lnTo>
                    <a:lnTo>
                      <a:pt x="308" y="639"/>
                    </a:lnTo>
                    <a:lnTo>
                      <a:pt x="326" y="654"/>
                    </a:lnTo>
                    <a:lnTo>
                      <a:pt x="349" y="665"/>
                    </a:lnTo>
                    <a:lnTo>
                      <a:pt x="374" y="673"/>
                    </a:lnTo>
                    <a:lnTo>
                      <a:pt x="323" y="673"/>
                    </a:lnTo>
                    <a:lnTo>
                      <a:pt x="335" y="696"/>
                    </a:lnTo>
                    <a:lnTo>
                      <a:pt x="352" y="717"/>
                    </a:lnTo>
                    <a:lnTo>
                      <a:pt x="371" y="736"/>
                    </a:lnTo>
                    <a:lnTo>
                      <a:pt x="394" y="750"/>
                    </a:lnTo>
                    <a:lnTo>
                      <a:pt x="419" y="759"/>
                    </a:lnTo>
                    <a:lnTo>
                      <a:pt x="443" y="762"/>
                    </a:lnTo>
                    <a:lnTo>
                      <a:pt x="413" y="779"/>
                    </a:lnTo>
                    <a:lnTo>
                      <a:pt x="382" y="793"/>
                    </a:lnTo>
                    <a:lnTo>
                      <a:pt x="351" y="804"/>
                    </a:lnTo>
                    <a:lnTo>
                      <a:pt x="318" y="810"/>
                    </a:lnTo>
                    <a:lnTo>
                      <a:pt x="282" y="813"/>
                    </a:lnTo>
                    <a:lnTo>
                      <a:pt x="252" y="813"/>
                    </a:lnTo>
                    <a:lnTo>
                      <a:pt x="279" y="831"/>
                    </a:lnTo>
                    <a:lnTo>
                      <a:pt x="308" y="846"/>
                    </a:lnTo>
                    <a:lnTo>
                      <a:pt x="340" y="858"/>
                    </a:lnTo>
                    <a:lnTo>
                      <a:pt x="374" y="866"/>
                    </a:lnTo>
                    <a:lnTo>
                      <a:pt x="409" y="871"/>
                    </a:lnTo>
                    <a:lnTo>
                      <a:pt x="443" y="872"/>
                    </a:lnTo>
                    <a:lnTo>
                      <a:pt x="488" y="870"/>
                    </a:lnTo>
                    <a:lnTo>
                      <a:pt x="531" y="863"/>
                    </a:lnTo>
                    <a:lnTo>
                      <a:pt x="570" y="852"/>
                    </a:lnTo>
                    <a:lnTo>
                      <a:pt x="607" y="836"/>
                    </a:lnTo>
                    <a:lnTo>
                      <a:pt x="641" y="817"/>
                    </a:lnTo>
                    <a:lnTo>
                      <a:pt x="671" y="794"/>
                    </a:lnTo>
                    <a:lnTo>
                      <a:pt x="699" y="770"/>
                    </a:lnTo>
                    <a:lnTo>
                      <a:pt x="724" y="742"/>
                    </a:lnTo>
                    <a:lnTo>
                      <a:pt x="745" y="712"/>
                    </a:lnTo>
                    <a:lnTo>
                      <a:pt x="764" y="681"/>
                    </a:lnTo>
                    <a:lnTo>
                      <a:pt x="779" y="648"/>
                    </a:lnTo>
                    <a:lnTo>
                      <a:pt x="791" y="615"/>
                    </a:lnTo>
                    <a:lnTo>
                      <a:pt x="800" y="581"/>
                    </a:lnTo>
                    <a:lnTo>
                      <a:pt x="805" y="545"/>
                    </a:lnTo>
                    <a:lnTo>
                      <a:pt x="806" y="511"/>
                    </a:lnTo>
                    <a:lnTo>
                      <a:pt x="806" y="503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27" y="488"/>
                    </a:lnTo>
                    <a:lnTo>
                      <a:pt x="847" y="468"/>
                    </a:lnTo>
                    <a:lnTo>
                      <a:pt x="866" y="441"/>
                    </a:lnTo>
                    <a:lnTo>
                      <a:pt x="851" y="448"/>
                    </a:lnTo>
                    <a:lnTo>
                      <a:pt x="835" y="454"/>
                    </a:lnTo>
                    <a:lnTo>
                      <a:pt x="817" y="460"/>
                    </a:lnTo>
                    <a:lnTo>
                      <a:pt x="797" y="461"/>
                    </a:lnTo>
                    <a:lnTo>
                      <a:pt x="817" y="446"/>
                    </a:lnTo>
                    <a:lnTo>
                      <a:pt x="834" y="430"/>
                    </a:lnTo>
                    <a:lnTo>
                      <a:pt x="847" y="412"/>
                    </a:lnTo>
                    <a:lnTo>
                      <a:pt x="857" y="391"/>
                    </a:lnTo>
                    <a:lnTo>
                      <a:pt x="834" y="401"/>
                    </a:lnTo>
                    <a:lnTo>
                      <a:pt x="806" y="411"/>
                    </a:lnTo>
                    <a:lnTo>
                      <a:pt x="776" y="421"/>
                    </a:lnTo>
                    <a:lnTo>
                      <a:pt x="763" y="410"/>
                    </a:lnTo>
                    <a:lnTo>
                      <a:pt x="747" y="398"/>
                    </a:lnTo>
                    <a:lnTo>
                      <a:pt x="729" y="389"/>
                    </a:lnTo>
                    <a:lnTo>
                      <a:pt x="709" y="383"/>
                    </a:lnTo>
                    <a:lnTo>
                      <a:pt x="686" y="381"/>
                    </a:lnTo>
                    <a:close/>
                    <a:moveTo>
                      <a:pt x="1089" y="0"/>
                    </a:moveTo>
                    <a:lnTo>
                      <a:pt x="1106" y="16"/>
                    </a:lnTo>
                    <a:lnTo>
                      <a:pt x="1125" y="36"/>
                    </a:lnTo>
                    <a:lnTo>
                      <a:pt x="1147" y="58"/>
                    </a:lnTo>
                    <a:lnTo>
                      <a:pt x="1169" y="80"/>
                    </a:lnTo>
                    <a:lnTo>
                      <a:pt x="998" y="250"/>
                    </a:lnTo>
                    <a:lnTo>
                      <a:pt x="1026" y="287"/>
                    </a:lnTo>
                    <a:lnTo>
                      <a:pt x="1052" y="325"/>
                    </a:lnTo>
                    <a:lnTo>
                      <a:pt x="1075" y="367"/>
                    </a:lnTo>
                    <a:lnTo>
                      <a:pt x="1094" y="412"/>
                    </a:lnTo>
                    <a:lnTo>
                      <a:pt x="1109" y="458"/>
                    </a:lnTo>
                    <a:lnTo>
                      <a:pt x="1120" y="505"/>
                    </a:lnTo>
                    <a:lnTo>
                      <a:pt x="1126" y="553"/>
                    </a:lnTo>
                    <a:lnTo>
                      <a:pt x="1128" y="602"/>
                    </a:lnTo>
                    <a:lnTo>
                      <a:pt x="1125" y="663"/>
                    </a:lnTo>
                    <a:lnTo>
                      <a:pt x="1115" y="723"/>
                    </a:lnTo>
                    <a:lnTo>
                      <a:pt x="1100" y="779"/>
                    </a:lnTo>
                    <a:lnTo>
                      <a:pt x="1079" y="834"/>
                    </a:lnTo>
                    <a:lnTo>
                      <a:pt x="1052" y="886"/>
                    </a:lnTo>
                    <a:lnTo>
                      <a:pt x="1020" y="934"/>
                    </a:lnTo>
                    <a:lnTo>
                      <a:pt x="983" y="978"/>
                    </a:lnTo>
                    <a:lnTo>
                      <a:pt x="943" y="1019"/>
                    </a:lnTo>
                    <a:lnTo>
                      <a:pt x="899" y="1055"/>
                    </a:lnTo>
                    <a:lnTo>
                      <a:pt x="849" y="1087"/>
                    </a:lnTo>
                    <a:lnTo>
                      <a:pt x="798" y="1114"/>
                    </a:lnTo>
                    <a:lnTo>
                      <a:pt x="743" y="1135"/>
                    </a:lnTo>
                    <a:lnTo>
                      <a:pt x="686" y="1152"/>
                    </a:lnTo>
                    <a:lnTo>
                      <a:pt x="626" y="1161"/>
                    </a:lnTo>
                    <a:lnTo>
                      <a:pt x="565" y="1164"/>
                    </a:lnTo>
                    <a:lnTo>
                      <a:pt x="502" y="1161"/>
                    </a:lnTo>
                    <a:lnTo>
                      <a:pt x="443" y="1152"/>
                    </a:lnTo>
                    <a:lnTo>
                      <a:pt x="385" y="1135"/>
                    </a:lnTo>
                    <a:lnTo>
                      <a:pt x="331" y="1114"/>
                    </a:lnTo>
                    <a:lnTo>
                      <a:pt x="279" y="1087"/>
                    </a:lnTo>
                    <a:lnTo>
                      <a:pt x="231" y="1055"/>
                    </a:lnTo>
                    <a:lnTo>
                      <a:pt x="186" y="1019"/>
                    </a:lnTo>
                    <a:lnTo>
                      <a:pt x="145" y="978"/>
                    </a:lnTo>
                    <a:lnTo>
                      <a:pt x="108" y="934"/>
                    </a:lnTo>
                    <a:lnTo>
                      <a:pt x="77" y="886"/>
                    </a:lnTo>
                    <a:lnTo>
                      <a:pt x="50" y="834"/>
                    </a:lnTo>
                    <a:lnTo>
                      <a:pt x="29" y="779"/>
                    </a:lnTo>
                    <a:lnTo>
                      <a:pt x="13" y="723"/>
                    </a:lnTo>
                    <a:lnTo>
                      <a:pt x="3" y="663"/>
                    </a:lnTo>
                    <a:lnTo>
                      <a:pt x="0" y="602"/>
                    </a:lnTo>
                    <a:lnTo>
                      <a:pt x="3" y="541"/>
                    </a:lnTo>
                    <a:lnTo>
                      <a:pt x="13" y="481"/>
                    </a:lnTo>
                    <a:lnTo>
                      <a:pt x="29" y="425"/>
                    </a:lnTo>
                    <a:lnTo>
                      <a:pt x="50" y="370"/>
                    </a:lnTo>
                    <a:lnTo>
                      <a:pt x="77" y="318"/>
                    </a:lnTo>
                    <a:lnTo>
                      <a:pt x="108" y="270"/>
                    </a:lnTo>
                    <a:lnTo>
                      <a:pt x="145" y="226"/>
                    </a:lnTo>
                    <a:lnTo>
                      <a:pt x="186" y="185"/>
                    </a:lnTo>
                    <a:lnTo>
                      <a:pt x="231" y="149"/>
                    </a:lnTo>
                    <a:lnTo>
                      <a:pt x="279" y="117"/>
                    </a:lnTo>
                    <a:lnTo>
                      <a:pt x="331" y="90"/>
                    </a:lnTo>
                    <a:lnTo>
                      <a:pt x="385" y="69"/>
                    </a:lnTo>
                    <a:lnTo>
                      <a:pt x="443" y="52"/>
                    </a:lnTo>
                    <a:lnTo>
                      <a:pt x="502" y="43"/>
                    </a:lnTo>
                    <a:lnTo>
                      <a:pt x="565" y="40"/>
                    </a:lnTo>
                    <a:lnTo>
                      <a:pt x="620" y="43"/>
                    </a:lnTo>
                    <a:lnTo>
                      <a:pt x="674" y="51"/>
                    </a:lnTo>
                    <a:lnTo>
                      <a:pt x="727" y="66"/>
                    </a:lnTo>
                    <a:lnTo>
                      <a:pt x="777" y="86"/>
                    </a:lnTo>
                    <a:lnTo>
                      <a:pt x="827" y="109"/>
                    </a:lnTo>
                    <a:lnTo>
                      <a:pt x="873" y="138"/>
                    </a:lnTo>
                    <a:lnTo>
                      <a:pt x="917" y="170"/>
                    </a:lnTo>
                    <a:lnTo>
                      <a:pt x="108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9" name="Freeform 23"/>
              <p:cNvSpPr>
                <a:spLocks noEditPoints="1"/>
              </p:cNvSpPr>
              <p:nvPr/>
            </p:nvSpPr>
            <p:spPr bwMode="auto">
              <a:xfrm>
                <a:off x="-783" y="2305"/>
                <a:ext cx="165" cy="165"/>
              </a:xfrm>
              <a:custGeom>
                <a:avLst/>
                <a:gdLst>
                  <a:gd name="T0" fmla="*/ 597 w 1159"/>
                  <a:gd name="T1" fmla="*/ 272 h 1154"/>
                  <a:gd name="T2" fmla="*/ 552 w 1159"/>
                  <a:gd name="T3" fmla="*/ 283 h 1154"/>
                  <a:gd name="T4" fmla="*/ 522 w 1159"/>
                  <a:gd name="T5" fmla="*/ 306 h 1154"/>
                  <a:gd name="T6" fmla="*/ 503 w 1159"/>
                  <a:gd name="T7" fmla="*/ 338 h 1154"/>
                  <a:gd name="T8" fmla="*/ 495 w 1159"/>
                  <a:gd name="T9" fmla="*/ 379 h 1154"/>
                  <a:gd name="T10" fmla="*/ 494 w 1159"/>
                  <a:gd name="T11" fmla="*/ 461 h 1154"/>
                  <a:gd name="T12" fmla="*/ 423 w 1159"/>
                  <a:gd name="T13" fmla="*/ 561 h 1154"/>
                  <a:gd name="T14" fmla="*/ 484 w 1159"/>
                  <a:gd name="T15" fmla="*/ 843 h 1154"/>
                  <a:gd name="T16" fmla="*/ 604 w 1159"/>
                  <a:gd name="T17" fmla="*/ 561 h 1154"/>
                  <a:gd name="T18" fmla="*/ 705 w 1159"/>
                  <a:gd name="T19" fmla="*/ 461 h 1154"/>
                  <a:gd name="T20" fmla="*/ 615 w 1159"/>
                  <a:gd name="T21" fmla="*/ 412 h 1154"/>
                  <a:gd name="T22" fmla="*/ 616 w 1159"/>
                  <a:gd name="T23" fmla="*/ 387 h 1154"/>
                  <a:gd name="T24" fmla="*/ 627 w 1159"/>
                  <a:gd name="T25" fmla="*/ 374 h 1154"/>
                  <a:gd name="T26" fmla="*/ 655 w 1159"/>
                  <a:gd name="T27" fmla="*/ 371 h 1154"/>
                  <a:gd name="T28" fmla="*/ 705 w 1159"/>
                  <a:gd name="T29" fmla="*/ 271 h 1154"/>
                  <a:gd name="T30" fmla="*/ 554 w 1159"/>
                  <a:gd name="T31" fmla="*/ 0 h 1154"/>
                  <a:gd name="T32" fmla="*/ 675 w 1159"/>
                  <a:gd name="T33" fmla="*/ 13 h 1154"/>
                  <a:gd name="T34" fmla="*/ 788 w 1159"/>
                  <a:gd name="T35" fmla="*/ 49 h 1154"/>
                  <a:gd name="T36" fmla="*/ 888 w 1159"/>
                  <a:gd name="T37" fmla="*/ 108 h 1154"/>
                  <a:gd name="T38" fmla="*/ 974 w 1159"/>
                  <a:gd name="T39" fmla="*/ 185 h 1154"/>
                  <a:gd name="T40" fmla="*/ 1041 w 1159"/>
                  <a:gd name="T41" fmla="*/ 278 h 1154"/>
                  <a:gd name="T42" fmla="*/ 1090 w 1159"/>
                  <a:gd name="T43" fmla="*/ 384 h 1154"/>
                  <a:gd name="T44" fmla="*/ 1115 w 1159"/>
                  <a:gd name="T45" fmla="*/ 501 h 1154"/>
                  <a:gd name="T46" fmla="*/ 1115 w 1159"/>
                  <a:gd name="T47" fmla="*/ 617 h 1154"/>
                  <a:gd name="T48" fmla="*/ 1093 w 1159"/>
                  <a:gd name="T49" fmla="*/ 723 h 1154"/>
                  <a:gd name="T50" fmla="*/ 1049 w 1159"/>
                  <a:gd name="T51" fmla="*/ 822 h 1154"/>
                  <a:gd name="T52" fmla="*/ 988 w 1159"/>
                  <a:gd name="T53" fmla="*/ 913 h 1154"/>
                  <a:gd name="T54" fmla="*/ 1142 w 1159"/>
                  <a:gd name="T55" fmla="*/ 1099 h 1154"/>
                  <a:gd name="T56" fmla="*/ 1106 w 1159"/>
                  <a:gd name="T57" fmla="*/ 1133 h 1154"/>
                  <a:gd name="T58" fmla="*/ 917 w 1159"/>
                  <a:gd name="T59" fmla="*/ 984 h 1154"/>
                  <a:gd name="T60" fmla="*/ 843 w 1159"/>
                  <a:gd name="T61" fmla="*/ 1037 h 1154"/>
                  <a:gd name="T62" fmla="*/ 756 w 1159"/>
                  <a:gd name="T63" fmla="*/ 1079 h 1154"/>
                  <a:gd name="T64" fmla="*/ 662 w 1159"/>
                  <a:gd name="T65" fmla="*/ 1105 h 1154"/>
                  <a:gd name="T66" fmla="*/ 565 w 1159"/>
                  <a:gd name="T67" fmla="*/ 1114 h 1154"/>
                  <a:gd name="T68" fmla="*/ 443 w 1159"/>
                  <a:gd name="T69" fmla="*/ 1101 h 1154"/>
                  <a:gd name="T70" fmla="*/ 331 w 1159"/>
                  <a:gd name="T71" fmla="*/ 1064 h 1154"/>
                  <a:gd name="T72" fmla="*/ 231 w 1159"/>
                  <a:gd name="T73" fmla="*/ 1006 h 1154"/>
                  <a:gd name="T74" fmla="*/ 145 w 1159"/>
                  <a:gd name="T75" fmla="*/ 930 h 1154"/>
                  <a:gd name="T76" fmla="*/ 77 w 1159"/>
                  <a:gd name="T77" fmla="*/ 838 h 1154"/>
                  <a:gd name="T78" fmla="*/ 29 w 1159"/>
                  <a:gd name="T79" fmla="*/ 735 h 1154"/>
                  <a:gd name="T80" fmla="*/ 3 w 1159"/>
                  <a:gd name="T81" fmla="*/ 621 h 1154"/>
                  <a:gd name="T82" fmla="*/ 3 w 1159"/>
                  <a:gd name="T83" fmla="*/ 505 h 1154"/>
                  <a:gd name="T84" fmla="*/ 25 w 1159"/>
                  <a:gd name="T85" fmla="*/ 395 h 1154"/>
                  <a:gd name="T86" fmla="*/ 65 w 1159"/>
                  <a:gd name="T87" fmla="*/ 294 h 1154"/>
                  <a:gd name="T88" fmla="*/ 124 w 1159"/>
                  <a:gd name="T89" fmla="*/ 204 h 1154"/>
                  <a:gd name="T90" fmla="*/ 200 w 1159"/>
                  <a:gd name="T91" fmla="*/ 128 h 1154"/>
                  <a:gd name="T92" fmla="*/ 288 w 1159"/>
                  <a:gd name="T93" fmla="*/ 68 h 1154"/>
                  <a:gd name="T94" fmla="*/ 387 w 1159"/>
                  <a:gd name="T95" fmla="*/ 25 h 1154"/>
                  <a:gd name="T96" fmla="*/ 497 w 1159"/>
                  <a:gd name="T97" fmla="*/ 2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59" h="1154">
                    <a:moveTo>
                      <a:pt x="625" y="271"/>
                    </a:moveTo>
                    <a:lnTo>
                      <a:pt x="597" y="272"/>
                    </a:lnTo>
                    <a:lnTo>
                      <a:pt x="572" y="277"/>
                    </a:lnTo>
                    <a:lnTo>
                      <a:pt x="552" y="283"/>
                    </a:lnTo>
                    <a:lnTo>
                      <a:pt x="536" y="293"/>
                    </a:lnTo>
                    <a:lnTo>
                      <a:pt x="522" y="306"/>
                    </a:lnTo>
                    <a:lnTo>
                      <a:pt x="511" y="321"/>
                    </a:lnTo>
                    <a:lnTo>
                      <a:pt x="503" y="338"/>
                    </a:lnTo>
                    <a:lnTo>
                      <a:pt x="498" y="357"/>
                    </a:lnTo>
                    <a:lnTo>
                      <a:pt x="495" y="379"/>
                    </a:lnTo>
                    <a:lnTo>
                      <a:pt x="494" y="401"/>
                    </a:lnTo>
                    <a:lnTo>
                      <a:pt x="494" y="461"/>
                    </a:lnTo>
                    <a:lnTo>
                      <a:pt x="423" y="461"/>
                    </a:lnTo>
                    <a:lnTo>
                      <a:pt x="423" y="561"/>
                    </a:lnTo>
                    <a:lnTo>
                      <a:pt x="484" y="561"/>
                    </a:lnTo>
                    <a:lnTo>
                      <a:pt x="484" y="843"/>
                    </a:lnTo>
                    <a:lnTo>
                      <a:pt x="604" y="843"/>
                    </a:lnTo>
                    <a:lnTo>
                      <a:pt x="604" y="561"/>
                    </a:lnTo>
                    <a:lnTo>
                      <a:pt x="696" y="561"/>
                    </a:lnTo>
                    <a:lnTo>
                      <a:pt x="705" y="461"/>
                    </a:lnTo>
                    <a:lnTo>
                      <a:pt x="615" y="461"/>
                    </a:lnTo>
                    <a:lnTo>
                      <a:pt x="615" y="412"/>
                    </a:lnTo>
                    <a:lnTo>
                      <a:pt x="615" y="398"/>
                    </a:lnTo>
                    <a:lnTo>
                      <a:pt x="616" y="387"/>
                    </a:lnTo>
                    <a:lnTo>
                      <a:pt x="619" y="380"/>
                    </a:lnTo>
                    <a:lnTo>
                      <a:pt x="627" y="374"/>
                    </a:lnTo>
                    <a:lnTo>
                      <a:pt x="638" y="372"/>
                    </a:lnTo>
                    <a:lnTo>
                      <a:pt x="655" y="371"/>
                    </a:lnTo>
                    <a:lnTo>
                      <a:pt x="705" y="371"/>
                    </a:lnTo>
                    <a:lnTo>
                      <a:pt x="705" y="271"/>
                    </a:lnTo>
                    <a:lnTo>
                      <a:pt x="625" y="271"/>
                    </a:lnTo>
                    <a:close/>
                    <a:moveTo>
                      <a:pt x="554" y="0"/>
                    </a:moveTo>
                    <a:lnTo>
                      <a:pt x="616" y="3"/>
                    </a:lnTo>
                    <a:lnTo>
                      <a:pt x="675" y="13"/>
                    </a:lnTo>
                    <a:lnTo>
                      <a:pt x="733" y="28"/>
                    </a:lnTo>
                    <a:lnTo>
                      <a:pt x="788" y="49"/>
                    </a:lnTo>
                    <a:lnTo>
                      <a:pt x="839" y="76"/>
                    </a:lnTo>
                    <a:lnTo>
                      <a:pt x="888" y="108"/>
                    </a:lnTo>
                    <a:lnTo>
                      <a:pt x="933" y="145"/>
                    </a:lnTo>
                    <a:lnTo>
                      <a:pt x="974" y="185"/>
                    </a:lnTo>
                    <a:lnTo>
                      <a:pt x="1010" y="230"/>
                    </a:lnTo>
                    <a:lnTo>
                      <a:pt x="1041" y="278"/>
                    </a:lnTo>
                    <a:lnTo>
                      <a:pt x="1068" y="329"/>
                    </a:lnTo>
                    <a:lnTo>
                      <a:pt x="1090" y="384"/>
                    </a:lnTo>
                    <a:lnTo>
                      <a:pt x="1106" y="441"/>
                    </a:lnTo>
                    <a:lnTo>
                      <a:pt x="1115" y="501"/>
                    </a:lnTo>
                    <a:lnTo>
                      <a:pt x="1119" y="561"/>
                    </a:lnTo>
                    <a:lnTo>
                      <a:pt x="1115" y="617"/>
                    </a:lnTo>
                    <a:lnTo>
                      <a:pt x="1107" y="670"/>
                    </a:lnTo>
                    <a:lnTo>
                      <a:pt x="1093" y="723"/>
                    </a:lnTo>
                    <a:lnTo>
                      <a:pt x="1074" y="774"/>
                    </a:lnTo>
                    <a:lnTo>
                      <a:pt x="1049" y="822"/>
                    </a:lnTo>
                    <a:lnTo>
                      <a:pt x="1021" y="869"/>
                    </a:lnTo>
                    <a:lnTo>
                      <a:pt x="988" y="913"/>
                    </a:lnTo>
                    <a:lnTo>
                      <a:pt x="1159" y="1084"/>
                    </a:lnTo>
                    <a:lnTo>
                      <a:pt x="1142" y="1099"/>
                    </a:lnTo>
                    <a:lnTo>
                      <a:pt x="1124" y="1115"/>
                    </a:lnTo>
                    <a:lnTo>
                      <a:pt x="1106" y="1133"/>
                    </a:lnTo>
                    <a:lnTo>
                      <a:pt x="1089" y="1154"/>
                    </a:lnTo>
                    <a:lnTo>
                      <a:pt x="917" y="984"/>
                    </a:lnTo>
                    <a:lnTo>
                      <a:pt x="881" y="1012"/>
                    </a:lnTo>
                    <a:lnTo>
                      <a:pt x="843" y="1037"/>
                    </a:lnTo>
                    <a:lnTo>
                      <a:pt x="801" y="1060"/>
                    </a:lnTo>
                    <a:lnTo>
                      <a:pt x="756" y="1079"/>
                    </a:lnTo>
                    <a:lnTo>
                      <a:pt x="710" y="1094"/>
                    </a:lnTo>
                    <a:lnTo>
                      <a:pt x="662" y="1105"/>
                    </a:lnTo>
                    <a:lnTo>
                      <a:pt x="614" y="1111"/>
                    </a:lnTo>
                    <a:lnTo>
                      <a:pt x="565" y="1114"/>
                    </a:lnTo>
                    <a:lnTo>
                      <a:pt x="502" y="1111"/>
                    </a:lnTo>
                    <a:lnTo>
                      <a:pt x="443" y="1101"/>
                    </a:lnTo>
                    <a:lnTo>
                      <a:pt x="385" y="1085"/>
                    </a:lnTo>
                    <a:lnTo>
                      <a:pt x="331" y="1064"/>
                    </a:lnTo>
                    <a:lnTo>
                      <a:pt x="279" y="1037"/>
                    </a:lnTo>
                    <a:lnTo>
                      <a:pt x="231" y="1006"/>
                    </a:lnTo>
                    <a:lnTo>
                      <a:pt x="186" y="970"/>
                    </a:lnTo>
                    <a:lnTo>
                      <a:pt x="145" y="930"/>
                    </a:lnTo>
                    <a:lnTo>
                      <a:pt x="108" y="886"/>
                    </a:lnTo>
                    <a:lnTo>
                      <a:pt x="77" y="838"/>
                    </a:lnTo>
                    <a:lnTo>
                      <a:pt x="50" y="788"/>
                    </a:lnTo>
                    <a:lnTo>
                      <a:pt x="29" y="735"/>
                    </a:lnTo>
                    <a:lnTo>
                      <a:pt x="13" y="679"/>
                    </a:lnTo>
                    <a:lnTo>
                      <a:pt x="3" y="621"/>
                    </a:lnTo>
                    <a:lnTo>
                      <a:pt x="0" y="561"/>
                    </a:lnTo>
                    <a:lnTo>
                      <a:pt x="3" y="505"/>
                    </a:lnTo>
                    <a:lnTo>
                      <a:pt x="11" y="448"/>
                    </a:lnTo>
                    <a:lnTo>
                      <a:pt x="25" y="395"/>
                    </a:lnTo>
                    <a:lnTo>
                      <a:pt x="43" y="342"/>
                    </a:lnTo>
                    <a:lnTo>
                      <a:pt x="65" y="294"/>
                    </a:lnTo>
                    <a:lnTo>
                      <a:pt x="93" y="247"/>
                    </a:lnTo>
                    <a:lnTo>
                      <a:pt x="124" y="204"/>
                    </a:lnTo>
                    <a:lnTo>
                      <a:pt x="160" y="164"/>
                    </a:lnTo>
                    <a:lnTo>
                      <a:pt x="200" y="128"/>
                    </a:lnTo>
                    <a:lnTo>
                      <a:pt x="241" y="95"/>
                    </a:lnTo>
                    <a:lnTo>
                      <a:pt x="288" y="68"/>
                    </a:lnTo>
                    <a:lnTo>
                      <a:pt x="336" y="44"/>
                    </a:lnTo>
                    <a:lnTo>
                      <a:pt x="387" y="25"/>
                    </a:lnTo>
                    <a:lnTo>
                      <a:pt x="441" y="11"/>
                    </a:lnTo>
                    <a:lnTo>
                      <a:pt x="497" y="2"/>
                    </a:lnTo>
                    <a:lnTo>
                      <a:pt x="5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0" name="Freeform 24"/>
              <p:cNvSpPr>
                <a:spLocks/>
              </p:cNvSpPr>
              <p:nvPr/>
            </p:nvSpPr>
            <p:spPr bwMode="auto">
              <a:xfrm>
                <a:off x="-618" y="2470"/>
                <a:ext cx="160" cy="159"/>
              </a:xfrm>
              <a:custGeom>
                <a:avLst/>
                <a:gdLst>
                  <a:gd name="T0" fmla="*/ 659 w 1119"/>
                  <a:gd name="T1" fmla="*/ 9 h 1114"/>
                  <a:gd name="T2" fmla="*/ 638 w 1119"/>
                  <a:gd name="T3" fmla="*/ 40 h 1114"/>
                  <a:gd name="T4" fmla="*/ 667 w 1119"/>
                  <a:gd name="T5" fmla="*/ 61 h 1114"/>
                  <a:gd name="T6" fmla="*/ 718 w 1119"/>
                  <a:gd name="T7" fmla="*/ 97 h 1114"/>
                  <a:gd name="T8" fmla="*/ 746 w 1119"/>
                  <a:gd name="T9" fmla="*/ 160 h 1114"/>
                  <a:gd name="T10" fmla="*/ 748 w 1119"/>
                  <a:gd name="T11" fmla="*/ 304 h 1114"/>
                  <a:gd name="T12" fmla="*/ 770 w 1119"/>
                  <a:gd name="T13" fmla="*/ 310 h 1114"/>
                  <a:gd name="T14" fmla="*/ 766 w 1119"/>
                  <a:gd name="T15" fmla="*/ 351 h 1114"/>
                  <a:gd name="T16" fmla="*/ 761 w 1119"/>
                  <a:gd name="T17" fmla="*/ 391 h 1114"/>
                  <a:gd name="T18" fmla="*/ 753 w 1119"/>
                  <a:gd name="T19" fmla="*/ 409 h 1114"/>
                  <a:gd name="T20" fmla="*/ 747 w 1119"/>
                  <a:gd name="T21" fmla="*/ 411 h 1114"/>
                  <a:gd name="T22" fmla="*/ 737 w 1119"/>
                  <a:gd name="T23" fmla="*/ 464 h 1114"/>
                  <a:gd name="T24" fmla="*/ 704 w 1119"/>
                  <a:gd name="T25" fmla="*/ 537 h 1114"/>
                  <a:gd name="T26" fmla="*/ 695 w 1119"/>
                  <a:gd name="T27" fmla="*/ 559 h 1114"/>
                  <a:gd name="T28" fmla="*/ 706 w 1119"/>
                  <a:gd name="T29" fmla="*/ 622 h 1114"/>
                  <a:gd name="T30" fmla="*/ 710 w 1119"/>
                  <a:gd name="T31" fmla="*/ 629 h 1114"/>
                  <a:gd name="T32" fmla="*/ 711 w 1119"/>
                  <a:gd name="T33" fmla="*/ 632 h 1114"/>
                  <a:gd name="T34" fmla="*/ 732 w 1119"/>
                  <a:gd name="T35" fmla="*/ 637 h 1114"/>
                  <a:gd name="T36" fmla="*/ 737 w 1119"/>
                  <a:gd name="T37" fmla="*/ 681 h 1114"/>
                  <a:gd name="T38" fmla="*/ 761 w 1119"/>
                  <a:gd name="T39" fmla="*/ 720 h 1114"/>
                  <a:gd name="T40" fmla="*/ 961 w 1119"/>
                  <a:gd name="T41" fmla="*/ 781 h 1114"/>
                  <a:gd name="T42" fmla="*/ 1059 w 1119"/>
                  <a:gd name="T43" fmla="*/ 820 h 1114"/>
                  <a:gd name="T44" fmla="*/ 1041 w 1119"/>
                  <a:gd name="T45" fmla="*/ 965 h 1114"/>
                  <a:gd name="T46" fmla="*/ 870 w 1119"/>
                  <a:gd name="T47" fmla="*/ 1032 h 1114"/>
                  <a:gd name="T48" fmla="*/ 671 w 1119"/>
                  <a:gd name="T49" fmla="*/ 1103 h 1114"/>
                  <a:gd name="T50" fmla="*/ 423 w 1119"/>
                  <a:gd name="T51" fmla="*/ 1090 h 1114"/>
                  <a:gd name="T52" fmla="*/ 271 w 1119"/>
                  <a:gd name="T53" fmla="*/ 1027 h 1114"/>
                  <a:gd name="T54" fmla="*/ 126 w 1119"/>
                  <a:gd name="T55" fmla="*/ 970 h 1114"/>
                  <a:gd name="T56" fmla="*/ 51 w 1119"/>
                  <a:gd name="T57" fmla="*/ 833 h 1114"/>
                  <a:gd name="T58" fmla="*/ 100 w 1119"/>
                  <a:gd name="T59" fmla="*/ 803 h 1114"/>
                  <a:gd name="T60" fmla="*/ 197 w 1119"/>
                  <a:gd name="T61" fmla="*/ 776 h 1114"/>
                  <a:gd name="T62" fmla="*/ 312 w 1119"/>
                  <a:gd name="T63" fmla="*/ 737 h 1114"/>
                  <a:gd name="T64" fmla="*/ 365 w 1119"/>
                  <a:gd name="T65" fmla="*/ 714 h 1114"/>
                  <a:gd name="T66" fmla="*/ 383 w 1119"/>
                  <a:gd name="T67" fmla="*/ 663 h 1114"/>
                  <a:gd name="T68" fmla="*/ 393 w 1119"/>
                  <a:gd name="T69" fmla="*/ 634 h 1114"/>
                  <a:gd name="T70" fmla="*/ 411 w 1119"/>
                  <a:gd name="T71" fmla="*/ 629 h 1114"/>
                  <a:gd name="T72" fmla="*/ 414 w 1119"/>
                  <a:gd name="T73" fmla="*/ 623 h 1114"/>
                  <a:gd name="T74" fmla="*/ 423 w 1119"/>
                  <a:gd name="T75" fmla="*/ 568 h 1114"/>
                  <a:gd name="T76" fmla="*/ 415 w 1119"/>
                  <a:gd name="T77" fmla="*/ 533 h 1114"/>
                  <a:gd name="T78" fmla="*/ 389 w 1119"/>
                  <a:gd name="T79" fmla="*/ 472 h 1114"/>
                  <a:gd name="T80" fmla="*/ 373 w 1119"/>
                  <a:gd name="T81" fmla="*/ 411 h 1114"/>
                  <a:gd name="T82" fmla="*/ 367 w 1119"/>
                  <a:gd name="T83" fmla="*/ 409 h 1114"/>
                  <a:gd name="T84" fmla="*/ 356 w 1119"/>
                  <a:gd name="T85" fmla="*/ 388 h 1114"/>
                  <a:gd name="T86" fmla="*/ 342 w 1119"/>
                  <a:gd name="T87" fmla="*/ 346 h 1114"/>
                  <a:gd name="T88" fmla="*/ 336 w 1119"/>
                  <a:gd name="T89" fmla="*/ 314 h 1114"/>
                  <a:gd name="T90" fmla="*/ 356 w 1119"/>
                  <a:gd name="T91" fmla="*/ 303 h 1114"/>
                  <a:gd name="T92" fmla="*/ 361 w 1119"/>
                  <a:gd name="T93" fmla="*/ 303 h 1114"/>
                  <a:gd name="T94" fmla="*/ 363 w 1119"/>
                  <a:gd name="T95" fmla="*/ 294 h 1114"/>
                  <a:gd name="T96" fmla="*/ 372 w 1119"/>
                  <a:gd name="T97" fmla="*/ 127 h 1114"/>
                  <a:gd name="T98" fmla="*/ 445 w 1119"/>
                  <a:gd name="T99" fmla="*/ 60 h 1114"/>
                  <a:gd name="T100" fmla="*/ 569 w 1119"/>
                  <a:gd name="T101" fmla="*/ 16 h 1114"/>
                  <a:gd name="T102" fmla="*/ 636 w 1119"/>
                  <a:gd name="T103" fmla="*/ 2 h 1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19" h="1114">
                    <a:moveTo>
                      <a:pt x="655" y="0"/>
                    </a:moveTo>
                    <a:lnTo>
                      <a:pt x="665" y="0"/>
                    </a:lnTo>
                    <a:lnTo>
                      <a:pt x="664" y="6"/>
                    </a:lnTo>
                    <a:lnTo>
                      <a:pt x="659" y="9"/>
                    </a:lnTo>
                    <a:lnTo>
                      <a:pt x="652" y="14"/>
                    </a:lnTo>
                    <a:lnTo>
                      <a:pt x="645" y="20"/>
                    </a:lnTo>
                    <a:lnTo>
                      <a:pt x="638" y="30"/>
                    </a:lnTo>
                    <a:lnTo>
                      <a:pt x="638" y="40"/>
                    </a:lnTo>
                    <a:lnTo>
                      <a:pt x="645" y="50"/>
                    </a:lnTo>
                    <a:lnTo>
                      <a:pt x="651" y="51"/>
                    </a:lnTo>
                    <a:lnTo>
                      <a:pt x="659" y="55"/>
                    </a:lnTo>
                    <a:lnTo>
                      <a:pt x="667" y="61"/>
                    </a:lnTo>
                    <a:lnTo>
                      <a:pt x="680" y="69"/>
                    </a:lnTo>
                    <a:lnTo>
                      <a:pt x="695" y="80"/>
                    </a:lnTo>
                    <a:lnTo>
                      <a:pt x="706" y="86"/>
                    </a:lnTo>
                    <a:lnTo>
                      <a:pt x="718" y="97"/>
                    </a:lnTo>
                    <a:lnTo>
                      <a:pt x="728" y="109"/>
                    </a:lnTo>
                    <a:lnTo>
                      <a:pt x="737" y="124"/>
                    </a:lnTo>
                    <a:lnTo>
                      <a:pt x="743" y="141"/>
                    </a:lnTo>
                    <a:lnTo>
                      <a:pt x="746" y="160"/>
                    </a:lnTo>
                    <a:lnTo>
                      <a:pt x="746" y="281"/>
                    </a:lnTo>
                    <a:lnTo>
                      <a:pt x="746" y="292"/>
                    </a:lnTo>
                    <a:lnTo>
                      <a:pt x="747" y="299"/>
                    </a:lnTo>
                    <a:lnTo>
                      <a:pt x="748" y="304"/>
                    </a:lnTo>
                    <a:lnTo>
                      <a:pt x="751" y="304"/>
                    </a:lnTo>
                    <a:lnTo>
                      <a:pt x="756" y="301"/>
                    </a:lnTo>
                    <a:lnTo>
                      <a:pt x="765" y="303"/>
                    </a:lnTo>
                    <a:lnTo>
                      <a:pt x="770" y="310"/>
                    </a:lnTo>
                    <a:lnTo>
                      <a:pt x="772" y="318"/>
                    </a:lnTo>
                    <a:lnTo>
                      <a:pt x="772" y="329"/>
                    </a:lnTo>
                    <a:lnTo>
                      <a:pt x="770" y="341"/>
                    </a:lnTo>
                    <a:lnTo>
                      <a:pt x="766" y="351"/>
                    </a:lnTo>
                    <a:lnTo>
                      <a:pt x="766" y="365"/>
                    </a:lnTo>
                    <a:lnTo>
                      <a:pt x="766" y="376"/>
                    </a:lnTo>
                    <a:lnTo>
                      <a:pt x="764" y="384"/>
                    </a:lnTo>
                    <a:lnTo>
                      <a:pt x="761" y="391"/>
                    </a:lnTo>
                    <a:lnTo>
                      <a:pt x="756" y="402"/>
                    </a:lnTo>
                    <a:lnTo>
                      <a:pt x="755" y="405"/>
                    </a:lnTo>
                    <a:lnTo>
                      <a:pt x="754" y="407"/>
                    </a:lnTo>
                    <a:lnTo>
                      <a:pt x="753" y="409"/>
                    </a:lnTo>
                    <a:lnTo>
                      <a:pt x="751" y="410"/>
                    </a:lnTo>
                    <a:lnTo>
                      <a:pt x="749" y="410"/>
                    </a:lnTo>
                    <a:lnTo>
                      <a:pt x="748" y="411"/>
                    </a:lnTo>
                    <a:lnTo>
                      <a:pt x="747" y="411"/>
                    </a:lnTo>
                    <a:lnTo>
                      <a:pt x="746" y="411"/>
                    </a:lnTo>
                    <a:lnTo>
                      <a:pt x="746" y="424"/>
                    </a:lnTo>
                    <a:lnTo>
                      <a:pt x="742" y="442"/>
                    </a:lnTo>
                    <a:lnTo>
                      <a:pt x="737" y="464"/>
                    </a:lnTo>
                    <a:lnTo>
                      <a:pt x="729" y="487"/>
                    </a:lnTo>
                    <a:lnTo>
                      <a:pt x="719" y="511"/>
                    </a:lnTo>
                    <a:lnTo>
                      <a:pt x="706" y="532"/>
                    </a:lnTo>
                    <a:lnTo>
                      <a:pt x="704" y="537"/>
                    </a:lnTo>
                    <a:lnTo>
                      <a:pt x="700" y="542"/>
                    </a:lnTo>
                    <a:lnTo>
                      <a:pt x="697" y="546"/>
                    </a:lnTo>
                    <a:lnTo>
                      <a:pt x="695" y="551"/>
                    </a:lnTo>
                    <a:lnTo>
                      <a:pt x="695" y="559"/>
                    </a:lnTo>
                    <a:lnTo>
                      <a:pt x="696" y="570"/>
                    </a:lnTo>
                    <a:lnTo>
                      <a:pt x="697" y="582"/>
                    </a:lnTo>
                    <a:lnTo>
                      <a:pt x="700" y="601"/>
                    </a:lnTo>
                    <a:lnTo>
                      <a:pt x="706" y="622"/>
                    </a:lnTo>
                    <a:lnTo>
                      <a:pt x="708" y="625"/>
                    </a:lnTo>
                    <a:lnTo>
                      <a:pt x="709" y="627"/>
                    </a:lnTo>
                    <a:lnTo>
                      <a:pt x="710" y="628"/>
                    </a:lnTo>
                    <a:lnTo>
                      <a:pt x="710" y="629"/>
                    </a:lnTo>
                    <a:lnTo>
                      <a:pt x="710" y="630"/>
                    </a:lnTo>
                    <a:lnTo>
                      <a:pt x="710" y="632"/>
                    </a:lnTo>
                    <a:lnTo>
                      <a:pt x="711" y="632"/>
                    </a:lnTo>
                    <a:lnTo>
                      <a:pt x="711" y="632"/>
                    </a:lnTo>
                    <a:lnTo>
                      <a:pt x="713" y="632"/>
                    </a:lnTo>
                    <a:lnTo>
                      <a:pt x="715" y="632"/>
                    </a:lnTo>
                    <a:lnTo>
                      <a:pt x="725" y="633"/>
                    </a:lnTo>
                    <a:lnTo>
                      <a:pt x="732" y="637"/>
                    </a:lnTo>
                    <a:lnTo>
                      <a:pt x="735" y="643"/>
                    </a:lnTo>
                    <a:lnTo>
                      <a:pt x="736" y="651"/>
                    </a:lnTo>
                    <a:lnTo>
                      <a:pt x="736" y="663"/>
                    </a:lnTo>
                    <a:lnTo>
                      <a:pt x="737" y="681"/>
                    </a:lnTo>
                    <a:lnTo>
                      <a:pt x="741" y="696"/>
                    </a:lnTo>
                    <a:lnTo>
                      <a:pt x="748" y="707"/>
                    </a:lnTo>
                    <a:lnTo>
                      <a:pt x="754" y="716"/>
                    </a:lnTo>
                    <a:lnTo>
                      <a:pt x="761" y="720"/>
                    </a:lnTo>
                    <a:lnTo>
                      <a:pt x="766" y="722"/>
                    </a:lnTo>
                    <a:lnTo>
                      <a:pt x="832" y="744"/>
                    </a:lnTo>
                    <a:lnTo>
                      <a:pt x="897" y="763"/>
                    </a:lnTo>
                    <a:lnTo>
                      <a:pt x="961" y="781"/>
                    </a:lnTo>
                    <a:lnTo>
                      <a:pt x="1028" y="803"/>
                    </a:lnTo>
                    <a:lnTo>
                      <a:pt x="1038" y="805"/>
                    </a:lnTo>
                    <a:lnTo>
                      <a:pt x="1048" y="810"/>
                    </a:lnTo>
                    <a:lnTo>
                      <a:pt x="1059" y="820"/>
                    </a:lnTo>
                    <a:lnTo>
                      <a:pt x="1069" y="833"/>
                    </a:lnTo>
                    <a:lnTo>
                      <a:pt x="1119" y="953"/>
                    </a:lnTo>
                    <a:lnTo>
                      <a:pt x="1079" y="957"/>
                    </a:lnTo>
                    <a:lnTo>
                      <a:pt x="1041" y="965"/>
                    </a:lnTo>
                    <a:lnTo>
                      <a:pt x="1000" y="978"/>
                    </a:lnTo>
                    <a:lnTo>
                      <a:pt x="958" y="994"/>
                    </a:lnTo>
                    <a:lnTo>
                      <a:pt x="915" y="1012"/>
                    </a:lnTo>
                    <a:lnTo>
                      <a:pt x="870" y="1032"/>
                    </a:lnTo>
                    <a:lnTo>
                      <a:pt x="824" y="1053"/>
                    </a:lnTo>
                    <a:lnTo>
                      <a:pt x="776" y="1072"/>
                    </a:lnTo>
                    <a:lnTo>
                      <a:pt x="724" y="1089"/>
                    </a:lnTo>
                    <a:lnTo>
                      <a:pt x="671" y="1103"/>
                    </a:lnTo>
                    <a:lnTo>
                      <a:pt x="615" y="1114"/>
                    </a:lnTo>
                    <a:lnTo>
                      <a:pt x="514" y="1114"/>
                    </a:lnTo>
                    <a:lnTo>
                      <a:pt x="467" y="1103"/>
                    </a:lnTo>
                    <a:lnTo>
                      <a:pt x="423" y="1090"/>
                    </a:lnTo>
                    <a:lnTo>
                      <a:pt x="383" y="1076"/>
                    </a:lnTo>
                    <a:lnTo>
                      <a:pt x="344" y="1060"/>
                    </a:lnTo>
                    <a:lnTo>
                      <a:pt x="307" y="1043"/>
                    </a:lnTo>
                    <a:lnTo>
                      <a:pt x="271" y="1027"/>
                    </a:lnTo>
                    <a:lnTo>
                      <a:pt x="236" y="1011"/>
                    </a:lnTo>
                    <a:lnTo>
                      <a:pt x="200" y="995"/>
                    </a:lnTo>
                    <a:lnTo>
                      <a:pt x="164" y="981"/>
                    </a:lnTo>
                    <a:lnTo>
                      <a:pt x="126" y="970"/>
                    </a:lnTo>
                    <a:lnTo>
                      <a:pt x="86" y="961"/>
                    </a:lnTo>
                    <a:lnTo>
                      <a:pt x="44" y="955"/>
                    </a:lnTo>
                    <a:lnTo>
                      <a:pt x="0" y="953"/>
                    </a:lnTo>
                    <a:lnTo>
                      <a:pt x="51" y="833"/>
                    </a:lnTo>
                    <a:lnTo>
                      <a:pt x="58" y="825"/>
                    </a:lnTo>
                    <a:lnTo>
                      <a:pt x="68" y="818"/>
                    </a:lnTo>
                    <a:lnTo>
                      <a:pt x="82" y="810"/>
                    </a:lnTo>
                    <a:lnTo>
                      <a:pt x="100" y="803"/>
                    </a:lnTo>
                    <a:lnTo>
                      <a:pt x="119" y="798"/>
                    </a:lnTo>
                    <a:lnTo>
                      <a:pt x="141" y="793"/>
                    </a:lnTo>
                    <a:lnTo>
                      <a:pt x="168" y="784"/>
                    </a:lnTo>
                    <a:lnTo>
                      <a:pt x="197" y="776"/>
                    </a:lnTo>
                    <a:lnTo>
                      <a:pt x="227" y="766"/>
                    </a:lnTo>
                    <a:lnTo>
                      <a:pt x="257" y="757"/>
                    </a:lnTo>
                    <a:lnTo>
                      <a:pt x="286" y="747"/>
                    </a:lnTo>
                    <a:lnTo>
                      <a:pt x="312" y="737"/>
                    </a:lnTo>
                    <a:lnTo>
                      <a:pt x="334" y="729"/>
                    </a:lnTo>
                    <a:lnTo>
                      <a:pt x="353" y="722"/>
                    </a:lnTo>
                    <a:lnTo>
                      <a:pt x="359" y="720"/>
                    </a:lnTo>
                    <a:lnTo>
                      <a:pt x="365" y="714"/>
                    </a:lnTo>
                    <a:lnTo>
                      <a:pt x="372" y="704"/>
                    </a:lnTo>
                    <a:lnTo>
                      <a:pt x="377" y="691"/>
                    </a:lnTo>
                    <a:lnTo>
                      <a:pt x="382" y="678"/>
                    </a:lnTo>
                    <a:lnTo>
                      <a:pt x="383" y="663"/>
                    </a:lnTo>
                    <a:lnTo>
                      <a:pt x="384" y="652"/>
                    </a:lnTo>
                    <a:lnTo>
                      <a:pt x="385" y="643"/>
                    </a:lnTo>
                    <a:lnTo>
                      <a:pt x="387" y="637"/>
                    </a:lnTo>
                    <a:lnTo>
                      <a:pt x="393" y="634"/>
                    </a:lnTo>
                    <a:lnTo>
                      <a:pt x="403" y="633"/>
                    </a:lnTo>
                    <a:lnTo>
                      <a:pt x="406" y="632"/>
                    </a:lnTo>
                    <a:lnTo>
                      <a:pt x="409" y="630"/>
                    </a:lnTo>
                    <a:lnTo>
                      <a:pt x="411" y="629"/>
                    </a:lnTo>
                    <a:lnTo>
                      <a:pt x="412" y="627"/>
                    </a:lnTo>
                    <a:lnTo>
                      <a:pt x="413" y="625"/>
                    </a:lnTo>
                    <a:lnTo>
                      <a:pt x="413" y="624"/>
                    </a:lnTo>
                    <a:lnTo>
                      <a:pt x="414" y="623"/>
                    </a:lnTo>
                    <a:lnTo>
                      <a:pt x="414" y="622"/>
                    </a:lnTo>
                    <a:lnTo>
                      <a:pt x="419" y="606"/>
                    </a:lnTo>
                    <a:lnTo>
                      <a:pt x="422" y="587"/>
                    </a:lnTo>
                    <a:lnTo>
                      <a:pt x="423" y="568"/>
                    </a:lnTo>
                    <a:lnTo>
                      <a:pt x="423" y="552"/>
                    </a:lnTo>
                    <a:lnTo>
                      <a:pt x="422" y="545"/>
                    </a:lnTo>
                    <a:lnTo>
                      <a:pt x="418" y="539"/>
                    </a:lnTo>
                    <a:lnTo>
                      <a:pt x="415" y="533"/>
                    </a:lnTo>
                    <a:lnTo>
                      <a:pt x="414" y="532"/>
                    </a:lnTo>
                    <a:lnTo>
                      <a:pt x="404" y="515"/>
                    </a:lnTo>
                    <a:lnTo>
                      <a:pt x="397" y="494"/>
                    </a:lnTo>
                    <a:lnTo>
                      <a:pt x="389" y="472"/>
                    </a:lnTo>
                    <a:lnTo>
                      <a:pt x="384" y="450"/>
                    </a:lnTo>
                    <a:lnTo>
                      <a:pt x="378" y="428"/>
                    </a:lnTo>
                    <a:lnTo>
                      <a:pt x="373" y="411"/>
                    </a:lnTo>
                    <a:lnTo>
                      <a:pt x="373" y="411"/>
                    </a:lnTo>
                    <a:lnTo>
                      <a:pt x="371" y="411"/>
                    </a:lnTo>
                    <a:lnTo>
                      <a:pt x="370" y="411"/>
                    </a:lnTo>
                    <a:lnTo>
                      <a:pt x="368" y="410"/>
                    </a:lnTo>
                    <a:lnTo>
                      <a:pt x="367" y="409"/>
                    </a:lnTo>
                    <a:lnTo>
                      <a:pt x="364" y="407"/>
                    </a:lnTo>
                    <a:lnTo>
                      <a:pt x="363" y="405"/>
                    </a:lnTo>
                    <a:lnTo>
                      <a:pt x="363" y="402"/>
                    </a:lnTo>
                    <a:lnTo>
                      <a:pt x="356" y="388"/>
                    </a:lnTo>
                    <a:lnTo>
                      <a:pt x="349" y="376"/>
                    </a:lnTo>
                    <a:lnTo>
                      <a:pt x="344" y="364"/>
                    </a:lnTo>
                    <a:lnTo>
                      <a:pt x="343" y="351"/>
                    </a:lnTo>
                    <a:lnTo>
                      <a:pt x="342" y="346"/>
                    </a:lnTo>
                    <a:lnTo>
                      <a:pt x="340" y="339"/>
                    </a:lnTo>
                    <a:lnTo>
                      <a:pt x="338" y="331"/>
                    </a:lnTo>
                    <a:lnTo>
                      <a:pt x="336" y="323"/>
                    </a:lnTo>
                    <a:lnTo>
                      <a:pt x="336" y="314"/>
                    </a:lnTo>
                    <a:lnTo>
                      <a:pt x="339" y="308"/>
                    </a:lnTo>
                    <a:lnTo>
                      <a:pt x="344" y="302"/>
                    </a:lnTo>
                    <a:lnTo>
                      <a:pt x="353" y="301"/>
                    </a:lnTo>
                    <a:lnTo>
                      <a:pt x="356" y="303"/>
                    </a:lnTo>
                    <a:lnTo>
                      <a:pt x="358" y="304"/>
                    </a:lnTo>
                    <a:lnTo>
                      <a:pt x="359" y="305"/>
                    </a:lnTo>
                    <a:lnTo>
                      <a:pt x="361" y="304"/>
                    </a:lnTo>
                    <a:lnTo>
                      <a:pt x="361" y="303"/>
                    </a:lnTo>
                    <a:lnTo>
                      <a:pt x="362" y="301"/>
                    </a:lnTo>
                    <a:lnTo>
                      <a:pt x="362" y="299"/>
                    </a:lnTo>
                    <a:lnTo>
                      <a:pt x="362" y="297"/>
                    </a:lnTo>
                    <a:lnTo>
                      <a:pt x="363" y="294"/>
                    </a:lnTo>
                    <a:lnTo>
                      <a:pt x="363" y="291"/>
                    </a:lnTo>
                    <a:lnTo>
                      <a:pt x="363" y="171"/>
                    </a:lnTo>
                    <a:lnTo>
                      <a:pt x="365" y="147"/>
                    </a:lnTo>
                    <a:lnTo>
                      <a:pt x="372" y="127"/>
                    </a:lnTo>
                    <a:lnTo>
                      <a:pt x="383" y="109"/>
                    </a:lnTo>
                    <a:lnTo>
                      <a:pt x="397" y="94"/>
                    </a:lnTo>
                    <a:lnTo>
                      <a:pt x="414" y="80"/>
                    </a:lnTo>
                    <a:lnTo>
                      <a:pt x="445" y="60"/>
                    </a:lnTo>
                    <a:lnTo>
                      <a:pt x="480" y="42"/>
                    </a:lnTo>
                    <a:lnTo>
                      <a:pt x="517" y="30"/>
                    </a:lnTo>
                    <a:lnTo>
                      <a:pt x="554" y="20"/>
                    </a:lnTo>
                    <a:lnTo>
                      <a:pt x="569" y="16"/>
                    </a:lnTo>
                    <a:lnTo>
                      <a:pt x="586" y="11"/>
                    </a:lnTo>
                    <a:lnTo>
                      <a:pt x="604" y="8"/>
                    </a:lnTo>
                    <a:lnTo>
                      <a:pt x="621" y="5"/>
                    </a:lnTo>
                    <a:lnTo>
                      <a:pt x="636" y="2"/>
                    </a:lnTo>
                    <a:lnTo>
                      <a:pt x="648" y="1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61" name="Group 160"/>
          <p:cNvGrpSpPr/>
          <p:nvPr/>
        </p:nvGrpSpPr>
        <p:grpSpPr>
          <a:xfrm>
            <a:off x="147993" y="5867981"/>
            <a:ext cx="727877" cy="786718"/>
            <a:chOff x="147993" y="5867981"/>
            <a:chExt cx="727877" cy="786718"/>
          </a:xfrm>
        </p:grpSpPr>
        <p:sp>
          <p:nvSpPr>
            <p:cNvPr id="162" name="Rectangle 17"/>
            <p:cNvSpPr>
              <a:spLocks/>
            </p:cNvSpPr>
            <p:nvPr/>
          </p:nvSpPr>
          <p:spPr bwMode="auto">
            <a:xfrm>
              <a:off x="147993" y="6100701"/>
              <a:ext cx="727877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еб-ресурсы, продукт, датчики, приложения</a:t>
              </a:r>
            </a:p>
          </p:txBody>
        </p:sp>
        <p:grpSp>
          <p:nvGrpSpPr>
            <p:cNvPr id="163" name="Group 157"/>
            <p:cNvGrpSpPr>
              <a:grpSpLocks noChangeAspect="1"/>
            </p:cNvGrpSpPr>
            <p:nvPr/>
          </p:nvGrpSpPr>
          <p:grpSpPr bwMode="auto">
            <a:xfrm>
              <a:off x="384100" y="5867981"/>
              <a:ext cx="254721" cy="240654"/>
              <a:chOff x="3815" y="1810"/>
              <a:chExt cx="2354" cy="2224"/>
            </a:xfrm>
            <a:solidFill>
              <a:schemeClr val="bg1"/>
            </a:solidFill>
          </p:grpSpPr>
          <p:sp>
            <p:nvSpPr>
              <p:cNvPr id="164" name="Freeform 159"/>
              <p:cNvSpPr>
                <a:spLocks noEditPoints="1"/>
              </p:cNvSpPr>
              <p:nvPr/>
            </p:nvSpPr>
            <p:spPr bwMode="auto">
              <a:xfrm>
                <a:off x="3815" y="1810"/>
                <a:ext cx="2021" cy="1982"/>
              </a:xfrm>
              <a:custGeom>
                <a:avLst/>
                <a:gdLst>
                  <a:gd name="T0" fmla="*/ 3423 w 4043"/>
                  <a:gd name="T1" fmla="*/ 409 h 3965"/>
                  <a:gd name="T2" fmla="*/ 3363 w 4043"/>
                  <a:gd name="T3" fmla="*/ 435 h 3965"/>
                  <a:gd name="T4" fmla="*/ 3317 w 4043"/>
                  <a:gd name="T5" fmla="*/ 481 h 3965"/>
                  <a:gd name="T6" fmla="*/ 3291 w 4043"/>
                  <a:gd name="T7" fmla="*/ 542 h 3965"/>
                  <a:gd name="T8" fmla="*/ 3291 w 4043"/>
                  <a:gd name="T9" fmla="*/ 611 h 3965"/>
                  <a:gd name="T10" fmla="*/ 3317 w 4043"/>
                  <a:gd name="T11" fmla="*/ 671 h 3965"/>
                  <a:gd name="T12" fmla="*/ 3363 w 4043"/>
                  <a:gd name="T13" fmla="*/ 716 h 3965"/>
                  <a:gd name="T14" fmla="*/ 3423 w 4043"/>
                  <a:gd name="T15" fmla="*/ 742 h 3965"/>
                  <a:gd name="T16" fmla="*/ 3491 w 4043"/>
                  <a:gd name="T17" fmla="*/ 742 h 3965"/>
                  <a:gd name="T18" fmla="*/ 3553 w 4043"/>
                  <a:gd name="T19" fmla="*/ 716 h 3965"/>
                  <a:gd name="T20" fmla="*/ 3598 w 4043"/>
                  <a:gd name="T21" fmla="*/ 671 h 3965"/>
                  <a:gd name="T22" fmla="*/ 3624 w 4043"/>
                  <a:gd name="T23" fmla="*/ 611 h 3965"/>
                  <a:gd name="T24" fmla="*/ 3624 w 4043"/>
                  <a:gd name="T25" fmla="*/ 542 h 3965"/>
                  <a:gd name="T26" fmla="*/ 3598 w 4043"/>
                  <a:gd name="T27" fmla="*/ 481 h 3965"/>
                  <a:gd name="T28" fmla="*/ 3553 w 4043"/>
                  <a:gd name="T29" fmla="*/ 435 h 3965"/>
                  <a:gd name="T30" fmla="*/ 3491 w 4043"/>
                  <a:gd name="T31" fmla="*/ 409 h 3965"/>
                  <a:gd name="T32" fmla="*/ 2924 w 4043"/>
                  <a:gd name="T33" fmla="*/ 406 h 3965"/>
                  <a:gd name="T34" fmla="*/ 2858 w 4043"/>
                  <a:gd name="T35" fmla="*/ 419 h 3965"/>
                  <a:gd name="T36" fmla="*/ 2804 w 4043"/>
                  <a:gd name="T37" fmla="*/ 456 h 3965"/>
                  <a:gd name="T38" fmla="*/ 2768 w 4043"/>
                  <a:gd name="T39" fmla="*/ 511 h 3965"/>
                  <a:gd name="T40" fmla="*/ 2755 w 4043"/>
                  <a:gd name="T41" fmla="*/ 576 h 3965"/>
                  <a:gd name="T42" fmla="*/ 2768 w 4043"/>
                  <a:gd name="T43" fmla="*/ 642 h 3965"/>
                  <a:gd name="T44" fmla="*/ 2804 w 4043"/>
                  <a:gd name="T45" fmla="*/ 696 h 3965"/>
                  <a:gd name="T46" fmla="*/ 2858 w 4043"/>
                  <a:gd name="T47" fmla="*/ 732 h 3965"/>
                  <a:gd name="T48" fmla="*/ 2924 w 4043"/>
                  <a:gd name="T49" fmla="*/ 746 h 3965"/>
                  <a:gd name="T50" fmla="*/ 2991 w 4043"/>
                  <a:gd name="T51" fmla="*/ 732 h 3965"/>
                  <a:gd name="T52" fmla="*/ 3045 w 4043"/>
                  <a:gd name="T53" fmla="*/ 696 h 3965"/>
                  <a:gd name="T54" fmla="*/ 3081 w 4043"/>
                  <a:gd name="T55" fmla="*/ 642 h 3965"/>
                  <a:gd name="T56" fmla="*/ 3094 w 4043"/>
                  <a:gd name="T57" fmla="*/ 576 h 3965"/>
                  <a:gd name="T58" fmla="*/ 3081 w 4043"/>
                  <a:gd name="T59" fmla="*/ 511 h 3965"/>
                  <a:gd name="T60" fmla="*/ 3045 w 4043"/>
                  <a:gd name="T61" fmla="*/ 456 h 3965"/>
                  <a:gd name="T62" fmla="*/ 2991 w 4043"/>
                  <a:gd name="T63" fmla="*/ 419 h 3965"/>
                  <a:gd name="T64" fmla="*/ 2924 w 4043"/>
                  <a:gd name="T65" fmla="*/ 406 h 3965"/>
                  <a:gd name="T66" fmla="*/ 3924 w 4043"/>
                  <a:gd name="T67" fmla="*/ 0 h 3965"/>
                  <a:gd name="T68" fmla="*/ 3984 w 4043"/>
                  <a:gd name="T69" fmla="*/ 18 h 3965"/>
                  <a:gd name="T70" fmla="*/ 4027 w 4043"/>
                  <a:gd name="T71" fmla="*/ 60 h 3965"/>
                  <a:gd name="T72" fmla="*/ 4043 w 4043"/>
                  <a:gd name="T73" fmla="*/ 120 h 3965"/>
                  <a:gd name="T74" fmla="*/ 4026 w 4043"/>
                  <a:gd name="T75" fmla="*/ 1778 h 3965"/>
                  <a:gd name="T76" fmla="*/ 3943 w 4043"/>
                  <a:gd name="T77" fmla="*/ 1795 h 3965"/>
                  <a:gd name="T78" fmla="*/ 3874 w 4043"/>
                  <a:gd name="T79" fmla="*/ 1841 h 3965"/>
                  <a:gd name="T80" fmla="*/ 3809 w 4043"/>
                  <a:gd name="T81" fmla="*/ 1868 h 3965"/>
                  <a:gd name="T82" fmla="*/ 3744 w 4043"/>
                  <a:gd name="T83" fmla="*/ 1878 h 3965"/>
                  <a:gd name="T84" fmla="*/ 3686 w 4043"/>
                  <a:gd name="T85" fmla="*/ 1908 h 3965"/>
                  <a:gd name="T86" fmla="*/ 357 w 4043"/>
                  <a:gd name="T87" fmla="*/ 1095 h 3965"/>
                  <a:gd name="T88" fmla="*/ 2587 w 4043"/>
                  <a:gd name="T89" fmla="*/ 3608 h 3965"/>
                  <a:gd name="T90" fmla="*/ 2585 w 4043"/>
                  <a:gd name="T91" fmla="*/ 3839 h 3965"/>
                  <a:gd name="T92" fmla="*/ 2602 w 4043"/>
                  <a:gd name="T93" fmla="*/ 3926 h 3965"/>
                  <a:gd name="T94" fmla="*/ 119 w 4043"/>
                  <a:gd name="T95" fmla="*/ 3965 h 3965"/>
                  <a:gd name="T96" fmla="*/ 59 w 4043"/>
                  <a:gd name="T97" fmla="*/ 3949 h 3965"/>
                  <a:gd name="T98" fmla="*/ 16 w 4043"/>
                  <a:gd name="T99" fmla="*/ 3906 h 3965"/>
                  <a:gd name="T100" fmla="*/ 0 w 4043"/>
                  <a:gd name="T101" fmla="*/ 3846 h 3965"/>
                  <a:gd name="T102" fmla="*/ 4 w 4043"/>
                  <a:gd name="T103" fmla="*/ 88 h 3965"/>
                  <a:gd name="T104" fmla="*/ 34 w 4043"/>
                  <a:gd name="T105" fmla="*/ 36 h 3965"/>
                  <a:gd name="T106" fmla="*/ 87 w 4043"/>
                  <a:gd name="T107" fmla="*/ 5 h 3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43" h="3965">
                    <a:moveTo>
                      <a:pt x="3457" y="406"/>
                    </a:moveTo>
                    <a:lnTo>
                      <a:pt x="3423" y="409"/>
                    </a:lnTo>
                    <a:lnTo>
                      <a:pt x="3391" y="419"/>
                    </a:lnTo>
                    <a:lnTo>
                      <a:pt x="3363" y="435"/>
                    </a:lnTo>
                    <a:lnTo>
                      <a:pt x="3337" y="456"/>
                    </a:lnTo>
                    <a:lnTo>
                      <a:pt x="3317" y="481"/>
                    </a:lnTo>
                    <a:lnTo>
                      <a:pt x="3301" y="511"/>
                    </a:lnTo>
                    <a:lnTo>
                      <a:pt x="3291" y="542"/>
                    </a:lnTo>
                    <a:lnTo>
                      <a:pt x="3287" y="576"/>
                    </a:lnTo>
                    <a:lnTo>
                      <a:pt x="3291" y="611"/>
                    </a:lnTo>
                    <a:lnTo>
                      <a:pt x="3301" y="642"/>
                    </a:lnTo>
                    <a:lnTo>
                      <a:pt x="3317" y="671"/>
                    </a:lnTo>
                    <a:lnTo>
                      <a:pt x="3337" y="696"/>
                    </a:lnTo>
                    <a:lnTo>
                      <a:pt x="3363" y="716"/>
                    </a:lnTo>
                    <a:lnTo>
                      <a:pt x="3391" y="732"/>
                    </a:lnTo>
                    <a:lnTo>
                      <a:pt x="3423" y="742"/>
                    </a:lnTo>
                    <a:lnTo>
                      <a:pt x="3457" y="746"/>
                    </a:lnTo>
                    <a:lnTo>
                      <a:pt x="3491" y="742"/>
                    </a:lnTo>
                    <a:lnTo>
                      <a:pt x="3524" y="732"/>
                    </a:lnTo>
                    <a:lnTo>
                      <a:pt x="3553" y="716"/>
                    </a:lnTo>
                    <a:lnTo>
                      <a:pt x="3577" y="696"/>
                    </a:lnTo>
                    <a:lnTo>
                      <a:pt x="3598" y="671"/>
                    </a:lnTo>
                    <a:lnTo>
                      <a:pt x="3614" y="642"/>
                    </a:lnTo>
                    <a:lnTo>
                      <a:pt x="3624" y="611"/>
                    </a:lnTo>
                    <a:lnTo>
                      <a:pt x="3627" y="576"/>
                    </a:lnTo>
                    <a:lnTo>
                      <a:pt x="3624" y="542"/>
                    </a:lnTo>
                    <a:lnTo>
                      <a:pt x="3614" y="511"/>
                    </a:lnTo>
                    <a:lnTo>
                      <a:pt x="3598" y="481"/>
                    </a:lnTo>
                    <a:lnTo>
                      <a:pt x="3577" y="456"/>
                    </a:lnTo>
                    <a:lnTo>
                      <a:pt x="3553" y="435"/>
                    </a:lnTo>
                    <a:lnTo>
                      <a:pt x="3524" y="419"/>
                    </a:lnTo>
                    <a:lnTo>
                      <a:pt x="3491" y="409"/>
                    </a:lnTo>
                    <a:lnTo>
                      <a:pt x="3457" y="406"/>
                    </a:lnTo>
                    <a:close/>
                    <a:moveTo>
                      <a:pt x="2924" y="406"/>
                    </a:moveTo>
                    <a:lnTo>
                      <a:pt x="2890" y="409"/>
                    </a:lnTo>
                    <a:lnTo>
                      <a:pt x="2858" y="419"/>
                    </a:lnTo>
                    <a:lnTo>
                      <a:pt x="2830" y="435"/>
                    </a:lnTo>
                    <a:lnTo>
                      <a:pt x="2804" y="456"/>
                    </a:lnTo>
                    <a:lnTo>
                      <a:pt x="2784" y="481"/>
                    </a:lnTo>
                    <a:lnTo>
                      <a:pt x="2768" y="511"/>
                    </a:lnTo>
                    <a:lnTo>
                      <a:pt x="2758" y="542"/>
                    </a:lnTo>
                    <a:lnTo>
                      <a:pt x="2755" y="576"/>
                    </a:lnTo>
                    <a:lnTo>
                      <a:pt x="2758" y="611"/>
                    </a:lnTo>
                    <a:lnTo>
                      <a:pt x="2768" y="642"/>
                    </a:lnTo>
                    <a:lnTo>
                      <a:pt x="2784" y="671"/>
                    </a:lnTo>
                    <a:lnTo>
                      <a:pt x="2804" y="696"/>
                    </a:lnTo>
                    <a:lnTo>
                      <a:pt x="2830" y="716"/>
                    </a:lnTo>
                    <a:lnTo>
                      <a:pt x="2858" y="732"/>
                    </a:lnTo>
                    <a:lnTo>
                      <a:pt x="2890" y="742"/>
                    </a:lnTo>
                    <a:lnTo>
                      <a:pt x="2924" y="746"/>
                    </a:lnTo>
                    <a:lnTo>
                      <a:pt x="2958" y="742"/>
                    </a:lnTo>
                    <a:lnTo>
                      <a:pt x="2991" y="732"/>
                    </a:lnTo>
                    <a:lnTo>
                      <a:pt x="3020" y="716"/>
                    </a:lnTo>
                    <a:lnTo>
                      <a:pt x="3045" y="696"/>
                    </a:lnTo>
                    <a:lnTo>
                      <a:pt x="3065" y="671"/>
                    </a:lnTo>
                    <a:lnTo>
                      <a:pt x="3081" y="642"/>
                    </a:lnTo>
                    <a:lnTo>
                      <a:pt x="3091" y="611"/>
                    </a:lnTo>
                    <a:lnTo>
                      <a:pt x="3094" y="576"/>
                    </a:lnTo>
                    <a:lnTo>
                      <a:pt x="3091" y="542"/>
                    </a:lnTo>
                    <a:lnTo>
                      <a:pt x="3081" y="511"/>
                    </a:lnTo>
                    <a:lnTo>
                      <a:pt x="3065" y="481"/>
                    </a:lnTo>
                    <a:lnTo>
                      <a:pt x="3045" y="456"/>
                    </a:lnTo>
                    <a:lnTo>
                      <a:pt x="3020" y="435"/>
                    </a:lnTo>
                    <a:lnTo>
                      <a:pt x="2991" y="419"/>
                    </a:lnTo>
                    <a:lnTo>
                      <a:pt x="2958" y="409"/>
                    </a:lnTo>
                    <a:lnTo>
                      <a:pt x="2924" y="406"/>
                    </a:lnTo>
                    <a:close/>
                    <a:moveTo>
                      <a:pt x="119" y="0"/>
                    </a:moveTo>
                    <a:lnTo>
                      <a:pt x="3924" y="0"/>
                    </a:lnTo>
                    <a:lnTo>
                      <a:pt x="3956" y="5"/>
                    </a:lnTo>
                    <a:lnTo>
                      <a:pt x="3984" y="18"/>
                    </a:lnTo>
                    <a:lnTo>
                      <a:pt x="4009" y="36"/>
                    </a:lnTo>
                    <a:lnTo>
                      <a:pt x="4027" y="60"/>
                    </a:lnTo>
                    <a:lnTo>
                      <a:pt x="4039" y="88"/>
                    </a:lnTo>
                    <a:lnTo>
                      <a:pt x="4043" y="120"/>
                    </a:lnTo>
                    <a:lnTo>
                      <a:pt x="4043" y="1778"/>
                    </a:lnTo>
                    <a:lnTo>
                      <a:pt x="4026" y="1778"/>
                    </a:lnTo>
                    <a:lnTo>
                      <a:pt x="3983" y="1783"/>
                    </a:lnTo>
                    <a:lnTo>
                      <a:pt x="3943" y="1795"/>
                    </a:lnTo>
                    <a:lnTo>
                      <a:pt x="3907" y="1815"/>
                    </a:lnTo>
                    <a:lnTo>
                      <a:pt x="3874" y="1841"/>
                    </a:lnTo>
                    <a:lnTo>
                      <a:pt x="3849" y="1873"/>
                    </a:lnTo>
                    <a:lnTo>
                      <a:pt x="3809" y="1868"/>
                    </a:lnTo>
                    <a:lnTo>
                      <a:pt x="3776" y="1871"/>
                    </a:lnTo>
                    <a:lnTo>
                      <a:pt x="3744" y="1878"/>
                    </a:lnTo>
                    <a:lnTo>
                      <a:pt x="3713" y="1891"/>
                    </a:lnTo>
                    <a:lnTo>
                      <a:pt x="3686" y="1908"/>
                    </a:lnTo>
                    <a:lnTo>
                      <a:pt x="3686" y="1095"/>
                    </a:lnTo>
                    <a:lnTo>
                      <a:pt x="357" y="1095"/>
                    </a:lnTo>
                    <a:lnTo>
                      <a:pt x="357" y="3608"/>
                    </a:lnTo>
                    <a:lnTo>
                      <a:pt x="2587" y="3608"/>
                    </a:lnTo>
                    <a:lnTo>
                      <a:pt x="2585" y="3640"/>
                    </a:lnTo>
                    <a:lnTo>
                      <a:pt x="2585" y="3839"/>
                    </a:lnTo>
                    <a:lnTo>
                      <a:pt x="2590" y="3885"/>
                    </a:lnTo>
                    <a:lnTo>
                      <a:pt x="2602" y="3926"/>
                    </a:lnTo>
                    <a:lnTo>
                      <a:pt x="2622" y="3965"/>
                    </a:lnTo>
                    <a:lnTo>
                      <a:pt x="119" y="3965"/>
                    </a:lnTo>
                    <a:lnTo>
                      <a:pt x="87" y="3961"/>
                    </a:lnTo>
                    <a:lnTo>
                      <a:pt x="59" y="3949"/>
                    </a:lnTo>
                    <a:lnTo>
                      <a:pt x="34" y="3931"/>
                    </a:lnTo>
                    <a:lnTo>
                      <a:pt x="16" y="3906"/>
                    </a:lnTo>
                    <a:lnTo>
                      <a:pt x="4" y="3878"/>
                    </a:lnTo>
                    <a:lnTo>
                      <a:pt x="0" y="3846"/>
                    </a:lnTo>
                    <a:lnTo>
                      <a:pt x="0" y="120"/>
                    </a:lnTo>
                    <a:lnTo>
                      <a:pt x="4" y="88"/>
                    </a:lnTo>
                    <a:lnTo>
                      <a:pt x="16" y="60"/>
                    </a:lnTo>
                    <a:lnTo>
                      <a:pt x="34" y="36"/>
                    </a:lnTo>
                    <a:lnTo>
                      <a:pt x="59" y="18"/>
                    </a:lnTo>
                    <a:lnTo>
                      <a:pt x="87" y="5"/>
                    </a:lnTo>
                    <a:lnTo>
                      <a:pt x="1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5" name="Freeform 160"/>
              <p:cNvSpPr>
                <a:spLocks noEditPoints="1"/>
              </p:cNvSpPr>
              <p:nvPr/>
            </p:nvSpPr>
            <p:spPr bwMode="auto">
              <a:xfrm>
                <a:off x="4491" y="2507"/>
                <a:ext cx="895" cy="895"/>
              </a:xfrm>
              <a:custGeom>
                <a:avLst/>
                <a:gdLst>
                  <a:gd name="T0" fmla="*/ 727 w 1791"/>
                  <a:gd name="T1" fmla="*/ 498 h 1790"/>
                  <a:gd name="T2" fmla="*/ 554 w 1791"/>
                  <a:gd name="T3" fmla="*/ 632 h 1790"/>
                  <a:gd name="T4" fmla="*/ 469 w 1791"/>
                  <a:gd name="T5" fmla="*/ 836 h 1790"/>
                  <a:gd name="T6" fmla="*/ 499 w 1791"/>
                  <a:gd name="T7" fmla="*/ 1062 h 1790"/>
                  <a:gd name="T8" fmla="*/ 632 w 1791"/>
                  <a:gd name="T9" fmla="*/ 1236 h 1790"/>
                  <a:gd name="T10" fmla="*/ 837 w 1791"/>
                  <a:gd name="T11" fmla="*/ 1322 h 1790"/>
                  <a:gd name="T12" fmla="*/ 1063 w 1791"/>
                  <a:gd name="T13" fmla="*/ 1292 h 1790"/>
                  <a:gd name="T14" fmla="*/ 1236 w 1791"/>
                  <a:gd name="T15" fmla="*/ 1158 h 1790"/>
                  <a:gd name="T16" fmla="*/ 1323 w 1791"/>
                  <a:gd name="T17" fmla="*/ 953 h 1790"/>
                  <a:gd name="T18" fmla="*/ 1293 w 1791"/>
                  <a:gd name="T19" fmla="*/ 728 h 1790"/>
                  <a:gd name="T20" fmla="*/ 1159 w 1791"/>
                  <a:gd name="T21" fmla="*/ 553 h 1790"/>
                  <a:gd name="T22" fmla="*/ 955 w 1791"/>
                  <a:gd name="T23" fmla="*/ 468 h 1790"/>
                  <a:gd name="T24" fmla="*/ 1052 w 1791"/>
                  <a:gd name="T25" fmla="*/ 3 h 1790"/>
                  <a:gd name="T26" fmla="*/ 1139 w 1791"/>
                  <a:gd name="T27" fmla="*/ 73 h 1790"/>
                  <a:gd name="T28" fmla="*/ 1192 w 1791"/>
                  <a:gd name="T29" fmla="*/ 180 h 1790"/>
                  <a:gd name="T30" fmla="*/ 1303 w 1791"/>
                  <a:gd name="T31" fmla="*/ 142 h 1790"/>
                  <a:gd name="T32" fmla="*/ 1416 w 1791"/>
                  <a:gd name="T33" fmla="*/ 155 h 1790"/>
                  <a:gd name="T34" fmla="*/ 1649 w 1791"/>
                  <a:gd name="T35" fmla="*/ 402 h 1790"/>
                  <a:gd name="T36" fmla="*/ 1636 w 1791"/>
                  <a:gd name="T37" fmla="*/ 513 h 1790"/>
                  <a:gd name="T38" fmla="*/ 1625 w 1791"/>
                  <a:gd name="T39" fmla="*/ 638 h 1790"/>
                  <a:gd name="T40" fmla="*/ 1741 w 1791"/>
                  <a:gd name="T41" fmla="*/ 666 h 1790"/>
                  <a:gd name="T42" fmla="*/ 1791 w 1791"/>
                  <a:gd name="T43" fmla="*/ 769 h 1790"/>
                  <a:gd name="T44" fmla="*/ 1762 w 1791"/>
                  <a:gd name="T45" fmla="*/ 1104 h 1790"/>
                  <a:gd name="T46" fmla="*/ 1659 w 1791"/>
                  <a:gd name="T47" fmla="*/ 1152 h 1790"/>
                  <a:gd name="T48" fmla="*/ 1618 w 1791"/>
                  <a:gd name="T49" fmla="*/ 1252 h 1790"/>
                  <a:gd name="T50" fmla="*/ 1655 w 1791"/>
                  <a:gd name="T51" fmla="*/ 1361 h 1790"/>
                  <a:gd name="T52" fmla="*/ 1439 w 1791"/>
                  <a:gd name="T53" fmla="*/ 1617 h 1790"/>
                  <a:gd name="T54" fmla="*/ 1332 w 1791"/>
                  <a:gd name="T55" fmla="*/ 1655 h 1790"/>
                  <a:gd name="T56" fmla="*/ 1229 w 1791"/>
                  <a:gd name="T57" fmla="*/ 1592 h 1790"/>
                  <a:gd name="T58" fmla="*/ 1149 w 1791"/>
                  <a:gd name="T59" fmla="*/ 1688 h 1790"/>
                  <a:gd name="T60" fmla="*/ 1079 w 1791"/>
                  <a:gd name="T61" fmla="*/ 1777 h 1790"/>
                  <a:gd name="T62" fmla="*/ 740 w 1791"/>
                  <a:gd name="T63" fmla="*/ 1787 h 1790"/>
                  <a:gd name="T64" fmla="*/ 652 w 1791"/>
                  <a:gd name="T65" fmla="*/ 1717 h 1790"/>
                  <a:gd name="T66" fmla="*/ 600 w 1791"/>
                  <a:gd name="T67" fmla="*/ 1609 h 1790"/>
                  <a:gd name="T68" fmla="*/ 487 w 1791"/>
                  <a:gd name="T69" fmla="*/ 1648 h 1790"/>
                  <a:gd name="T70" fmla="*/ 374 w 1791"/>
                  <a:gd name="T71" fmla="*/ 1635 h 1790"/>
                  <a:gd name="T72" fmla="*/ 141 w 1791"/>
                  <a:gd name="T73" fmla="*/ 1389 h 1790"/>
                  <a:gd name="T74" fmla="*/ 154 w 1791"/>
                  <a:gd name="T75" fmla="*/ 1276 h 1790"/>
                  <a:gd name="T76" fmla="*/ 167 w 1791"/>
                  <a:gd name="T77" fmla="*/ 1152 h 1790"/>
                  <a:gd name="T78" fmla="*/ 50 w 1791"/>
                  <a:gd name="T79" fmla="*/ 1124 h 1790"/>
                  <a:gd name="T80" fmla="*/ 0 w 1791"/>
                  <a:gd name="T81" fmla="*/ 1021 h 1790"/>
                  <a:gd name="T82" fmla="*/ 29 w 1791"/>
                  <a:gd name="T83" fmla="*/ 686 h 1790"/>
                  <a:gd name="T84" fmla="*/ 133 w 1791"/>
                  <a:gd name="T85" fmla="*/ 638 h 1790"/>
                  <a:gd name="T86" fmla="*/ 174 w 1791"/>
                  <a:gd name="T87" fmla="*/ 538 h 1790"/>
                  <a:gd name="T88" fmla="*/ 136 w 1791"/>
                  <a:gd name="T89" fmla="*/ 429 h 1790"/>
                  <a:gd name="T90" fmla="*/ 351 w 1791"/>
                  <a:gd name="T91" fmla="*/ 173 h 1790"/>
                  <a:gd name="T92" fmla="*/ 459 w 1791"/>
                  <a:gd name="T93" fmla="*/ 135 h 1790"/>
                  <a:gd name="T94" fmla="*/ 562 w 1791"/>
                  <a:gd name="T95" fmla="*/ 197 h 1790"/>
                  <a:gd name="T96" fmla="*/ 642 w 1791"/>
                  <a:gd name="T97" fmla="*/ 102 h 1790"/>
                  <a:gd name="T98" fmla="*/ 712 w 1791"/>
                  <a:gd name="T99" fmla="*/ 13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91" h="1790">
                    <a:moveTo>
                      <a:pt x="896" y="463"/>
                    </a:moveTo>
                    <a:lnTo>
                      <a:pt x="837" y="468"/>
                    </a:lnTo>
                    <a:lnTo>
                      <a:pt x="780" y="479"/>
                    </a:lnTo>
                    <a:lnTo>
                      <a:pt x="727" y="498"/>
                    </a:lnTo>
                    <a:lnTo>
                      <a:pt x="677" y="523"/>
                    </a:lnTo>
                    <a:lnTo>
                      <a:pt x="632" y="553"/>
                    </a:lnTo>
                    <a:lnTo>
                      <a:pt x="590" y="590"/>
                    </a:lnTo>
                    <a:lnTo>
                      <a:pt x="554" y="632"/>
                    </a:lnTo>
                    <a:lnTo>
                      <a:pt x="523" y="678"/>
                    </a:lnTo>
                    <a:lnTo>
                      <a:pt x="499" y="728"/>
                    </a:lnTo>
                    <a:lnTo>
                      <a:pt x="480" y="781"/>
                    </a:lnTo>
                    <a:lnTo>
                      <a:pt x="469" y="836"/>
                    </a:lnTo>
                    <a:lnTo>
                      <a:pt x="464" y="895"/>
                    </a:lnTo>
                    <a:lnTo>
                      <a:pt x="469" y="953"/>
                    </a:lnTo>
                    <a:lnTo>
                      <a:pt x="480" y="1009"/>
                    </a:lnTo>
                    <a:lnTo>
                      <a:pt x="499" y="1062"/>
                    </a:lnTo>
                    <a:lnTo>
                      <a:pt x="523" y="1112"/>
                    </a:lnTo>
                    <a:lnTo>
                      <a:pt x="554" y="1158"/>
                    </a:lnTo>
                    <a:lnTo>
                      <a:pt x="590" y="1199"/>
                    </a:lnTo>
                    <a:lnTo>
                      <a:pt x="632" y="1236"/>
                    </a:lnTo>
                    <a:lnTo>
                      <a:pt x="677" y="1268"/>
                    </a:lnTo>
                    <a:lnTo>
                      <a:pt x="727" y="1292"/>
                    </a:lnTo>
                    <a:lnTo>
                      <a:pt x="780" y="1311"/>
                    </a:lnTo>
                    <a:lnTo>
                      <a:pt x="837" y="1322"/>
                    </a:lnTo>
                    <a:lnTo>
                      <a:pt x="896" y="1326"/>
                    </a:lnTo>
                    <a:lnTo>
                      <a:pt x="955" y="1322"/>
                    </a:lnTo>
                    <a:lnTo>
                      <a:pt x="1010" y="1311"/>
                    </a:lnTo>
                    <a:lnTo>
                      <a:pt x="1063" y="1292"/>
                    </a:lnTo>
                    <a:lnTo>
                      <a:pt x="1113" y="1268"/>
                    </a:lnTo>
                    <a:lnTo>
                      <a:pt x="1159" y="1236"/>
                    </a:lnTo>
                    <a:lnTo>
                      <a:pt x="1200" y="1199"/>
                    </a:lnTo>
                    <a:lnTo>
                      <a:pt x="1236" y="1158"/>
                    </a:lnTo>
                    <a:lnTo>
                      <a:pt x="1268" y="1112"/>
                    </a:lnTo>
                    <a:lnTo>
                      <a:pt x="1293" y="1062"/>
                    </a:lnTo>
                    <a:lnTo>
                      <a:pt x="1310" y="1009"/>
                    </a:lnTo>
                    <a:lnTo>
                      <a:pt x="1323" y="953"/>
                    </a:lnTo>
                    <a:lnTo>
                      <a:pt x="1326" y="895"/>
                    </a:lnTo>
                    <a:lnTo>
                      <a:pt x="1323" y="836"/>
                    </a:lnTo>
                    <a:lnTo>
                      <a:pt x="1310" y="781"/>
                    </a:lnTo>
                    <a:lnTo>
                      <a:pt x="1293" y="728"/>
                    </a:lnTo>
                    <a:lnTo>
                      <a:pt x="1268" y="678"/>
                    </a:lnTo>
                    <a:lnTo>
                      <a:pt x="1236" y="632"/>
                    </a:lnTo>
                    <a:lnTo>
                      <a:pt x="1200" y="590"/>
                    </a:lnTo>
                    <a:lnTo>
                      <a:pt x="1159" y="553"/>
                    </a:lnTo>
                    <a:lnTo>
                      <a:pt x="1113" y="523"/>
                    </a:lnTo>
                    <a:lnTo>
                      <a:pt x="1063" y="498"/>
                    </a:lnTo>
                    <a:lnTo>
                      <a:pt x="1010" y="479"/>
                    </a:lnTo>
                    <a:lnTo>
                      <a:pt x="955" y="468"/>
                    </a:lnTo>
                    <a:lnTo>
                      <a:pt x="896" y="463"/>
                    </a:lnTo>
                    <a:close/>
                    <a:moveTo>
                      <a:pt x="770" y="0"/>
                    </a:moveTo>
                    <a:lnTo>
                      <a:pt x="1020" y="0"/>
                    </a:lnTo>
                    <a:lnTo>
                      <a:pt x="1052" y="3"/>
                    </a:lnTo>
                    <a:lnTo>
                      <a:pt x="1079" y="13"/>
                    </a:lnTo>
                    <a:lnTo>
                      <a:pt x="1103" y="29"/>
                    </a:lnTo>
                    <a:lnTo>
                      <a:pt x="1125" y="49"/>
                    </a:lnTo>
                    <a:lnTo>
                      <a:pt x="1139" y="73"/>
                    </a:lnTo>
                    <a:lnTo>
                      <a:pt x="1149" y="102"/>
                    </a:lnTo>
                    <a:lnTo>
                      <a:pt x="1153" y="132"/>
                    </a:lnTo>
                    <a:lnTo>
                      <a:pt x="1153" y="166"/>
                    </a:lnTo>
                    <a:lnTo>
                      <a:pt x="1192" y="180"/>
                    </a:lnTo>
                    <a:lnTo>
                      <a:pt x="1229" y="197"/>
                    </a:lnTo>
                    <a:lnTo>
                      <a:pt x="1253" y="173"/>
                    </a:lnTo>
                    <a:lnTo>
                      <a:pt x="1276" y="155"/>
                    </a:lnTo>
                    <a:lnTo>
                      <a:pt x="1303" y="142"/>
                    </a:lnTo>
                    <a:lnTo>
                      <a:pt x="1332" y="135"/>
                    </a:lnTo>
                    <a:lnTo>
                      <a:pt x="1360" y="135"/>
                    </a:lnTo>
                    <a:lnTo>
                      <a:pt x="1389" y="142"/>
                    </a:lnTo>
                    <a:lnTo>
                      <a:pt x="1416" y="155"/>
                    </a:lnTo>
                    <a:lnTo>
                      <a:pt x="1439" y="173"/>
                    </a:lnTo>
                    <a:lnTo>
                      <a:pt x="1618" y="350"/>
                    </a:lnTo>
                    <a:lnTo>
                      <a:pt x="1636" y="375"/>
                    </a:lnTo>
                    <a:lnTo>
                      <a:pt x="1649" y="402"/>
                    </a:lnTo>
                    <a:lnTo>
                      <a:pt x="1655" y="429"/>
                    </a:lnTo>
                    <a:lnTo>
                      <a:pt x="1655" y="459"/>
                    </a:lnTo>
                    <a:lnTo>
                      <a:pt x="1649" y="488"/>
                    </a:lnTo>
                    <a:lnTo>
                      <a:pt x="1636" y="513"/>
                    </a:lnTo>
                    <a:lnTo>
                      <a:pt x="1618" y="538"/>
                    </a:lnTo>
                    <a:lnTo>
                      <a:pt x="1593" y="562"/>
                    </a:lnTo>
                    <a:lnTo>
                      <a:pt x="1609" y="599"/>
                    </a:lnTo>
                    <a:lnTo>
                      <a:pt x="1625" y="638"/>
                    </a:lnTo>
                    <a:lnTo>
                      <a:pt x="1659" y="638"/>
                    </a:lnTo>
                    <a:lnTo>
                      <a:pt x="1689" y="640"/>
                    </a:lnTo>
                    <a:lnTo>
                      <a:pt x="1716" y="651"/>
                    </a:lnTo>
                    <a:lnTo>
                      <a:pt x="1741" y="666"/>
                    </a:lnTo>
                    <a:lnTo>
                      <a:pt x="1762" y="686"/>
                    </a:lnTo>
                    <a:lnTo>
                      <a:pt x="1778" y="712"/>
                    </a:lnTo>
                    <a:lnTo>
                      <a:pt x="1788" y="739"/>
                    </a:lnTo>
                    <a:lnTo>
                      <a:pt x="1791" y="769"/>
                    </a:lnTo>
                    <a:lnTo>
                      <a:pt x="1791" y="1021"/>
                    </a:lnTo>
                    <a:lnTo>
                      <a:pt x="1788" y="1051"/>
                    </a:lnTo>
                    <a:lnTo>
                      <a:pt x="1778" y="1079"/>
                    </a:lnTo>
                    <a:lnTo>
                      <a:pt x="1762" y="1104"/>
                    </a:lnTo>
                    <a:lnTo>
                      <a:pt x="1741" y="1124"/>
                    </a:lnTo>
                    <a:lnTo>
                      <a:pt x="1716" y="1139"/>
                    </a:lnTo>
                    <a:lnTo>
                      <a:pt x="1689" y="1149"/>
                    </a:lnTo>
                    <a:lnTo>
                      <a:pt x="1659" y="1152"/>
                    </a:lnTo>
                    <a:lnTo>
                      <a:pt x="1625" y="1152"/>
                    </a:lnTo>
                    <a:lnTo>
                      <a:pt x="1609" y="1191"/>
                    </a:lnTo>
                    <a:lnTo>
                      <a:pt x="1593" y="1228"/>
                    </a:lnTo>
                    <a:lnTo>
                      <a:pt x="1618" y="1252"/>
                    </a:lnTo>
                    <a:lnTo>
                      <a:pt x="1636" y="1276"/>
                    </a:lnTo>
                    <a:lnTo>
                      <a:pt x="1649" y="1304"/>
                    </a:lnTo>
                    <a:lnTo>
                      <a:pt x="1655" y="1331"/>
                    </a:lnTo>
                    <a:lnTo>
                      <a:pt x="1655" y="1361"/>
                    </a:lnTo>
                    <a:lnTo>
                      <a:pt x="1649" y="1389"/>
                    </a:lnTo>
                    <a:lnTo>
                      <a:pt x="1636" y="1415"/>
                    </a:lnTo>
                    <a:lnTo>
                      <a:pt x="1618" y="1439"/>
                    </a:lnTo>
                    <a:lnTo>
                      <a:pt x="1439" y="1617"/>
                    </a:lnTo>
                    <a:lnTo>
                      <a:pt x="1416" y="1635"/>
                    </a:lnTo>
                    <a:lnTo>
                      <a:pt x="1389" y="1648"/>
                    </a:lnTo>
                    <a:lnTo>
                      <a:pt x="1360" y="1655"/>
                    </a:lnTo>
                    <a:lnTo>
                      <a:pt x="1332" y="1655"/>
                    </a:lnTo>
                    <a:lnTo>
                      <a:pt x="1303" y="1648"/>
                    </a:lnTo>
                    <a:lnTo>
                      <a:pt x="1276" y="1635"/>
                    </a:lnTo>
                    <a:lnTo>
                      <a:pt x="1253" y="1617"/>
                    </a:lnTo>
                    <a:lnTo>
                      <a:pt x="1229" y="1592"/>
                    </a:lnTo>
                    <a:lnTo>
                      <a:pt x="1192" y="1609"/>
                    </a:lnTo>
                    <a:lnTo>
                      <a:pt x="1153" y="1624"/>
                    </a:lnTo>
                    <a:lnTo>
                      <a:pt x="1153" y="1658"/>
                    </a:lnTo>
                    <a:lnTo>
                      <a:pt x="1149" y="1688"/>
                    </a:lnTo>
                    <a:lnTo>
                      <a:pt x="1139" y="1717"/>
                    </a:lnTo>
                    <a:lnTo>
                      <a:pt x="1125" y="1741"/>
                    </a:lnTo>
                    <a:lnTo>
                      <a:pt x="1103" y="1761"/>
                    </a:lnTo>
                    <a:lnTo>
                      <a:pt x="1079" y="1777"/>
                    </a:lnTo>
                    <a:lnTo>
                      <a:pt x="1052" y="1787"/>
                    </a:lnTo>
                    <a:lnTo>
                      <a:pt x="1020" y="1790"/>
                    </a:lnTo>
                    <a:lnTo>
                      <a:pt x="770" y="1790"/>
                    </a:lnTo>
                    <a:lnTo>
                      <a:pt x="740" y="1787"/>
                    </a:lnTo>
                    <a:lnTo>
                      <a:pt x="712" y="1777"/>
                    </a:lnTo>
                    <a:lnTo>
                      <a:pt x="687" y="1761"/>
                    </a:lnTo>
                    <a:lnTo>
                      <a:pt x="667" y="1741"/>
                    </a:lnTo>
                    <a:lnTo>
                      <a:pt x="652" y="1717"/>
                    </a:lnTo>
                    <a:lnTo>
                      <a:pt x="642" y="1688"/>
                    </a:lnTo>
                    <a:lnTo>
                      <a:pt x="637" y="1658"/>
                    </a:lnTo>
                    <a:lnTo>
                      <a:pt x="637" y="1624"/>
                    </a:lnTo>
                    <a:lnTo>
                      <a:pt x="600" y="1609"/>
                    </a:lnTo>
                    <a:lnTo>
                      <a:pt x="562" y="1592"/>
                    </a:lnTo>
                    <a:lnTo>
                      <a:pt x="537" y="1617"/>
                    </a:lnTo>
                    <a:lnTo>
                      <a:pt x="514" y="1635"/>
                    </a:lnTo>
                    <a:lnTo>
                      <a:pt x="487" y="1648"/>
                    </a:lnTo>
                    <a:lnTo>
                      <a:pt x="459" y="1655"/>
                    </a:lnTo>
                    <a:lnTo>
                      <a:pt x="430" y="1655"/>
                    </a:lnTo>
                    <a:lnTo>
                      <a:pt x="401" y="1648"/>
                    </a:lnTo>
                    <a:lnTo>
                      <a:pt x="374" y="1635"/>
                    </a:lnTo>
                    <a:lnTo>
                      <a:pt x="351" y="1617"/>
                    </a:lnTo>
                    <a:lnTo>
                      <a:pt x="174" y="1439"/>
                    </a:lnTo>
                    <a:lnTo>
                      <a:pt x="154" y="1415"/>
                    </a:lnTo>
                    <a:lnTo>
                      <a:pt x="141" y="1389"/>
                    </a:lnTo>
                    <a:lnTo>
                      <a:pt x="136" y="1361"/>
                    </a:lnTo>
                    <a:lnTo>
                      <a:pt x="136" y="1331"/>
                    </a:lnTo>
                    <a:lnTo>
                      <a:pt x="141" y="1304"/>
                    </a:lnTo>
                    <a:lnTo>
                      <a:pt x="154" y="1276"/>
                    </a:lnTo>
                    <a:lnTo>
                      <a:pt x="174" y="1252"/>
                    </a:lnTo>
                    <a:lnTo>
                      <a:pt x="199" y="1228"/>
                    </a:lnTo>
                    <a:lnTo>
                      <a:pt x="181" y="1191"/>
                    </a:lnTo>
                    <a:lnTo>
                      <a:pt x="167" y="1152"/>
                    </a:lnTo>
                    <a:lnTo>
                      <a:pt x="133" y="1152"/>
                    </a:lnTo>
                    <a:lnTo>
                      <a:pt x="101" y="1149"/>
                    </a:lnTo>
                    <a:lnTo>
                      <a:pt x="74" y="1139"/>
                    </a:lnTo>
                    <a:lnTo>
                      <a:pt x="50" y="1124"/>
                    </a:lnTo>
                    <a:lnTo>
                      <a:pt x="29" y="1104"/>
                    </a:lnTo>
                    <a:lnTo>
                      <a:pt x="14" y="1079"/>
                    </a:lnTo>
                    <a:lnTo>
                      <a:pt x="4" y="1051"/>
                    </a:lnTo>
                    <a:lnTo>
                      <a:pt x="0" y="1021"/>
                    </a:lnTo>
                    <a:lnTo>
                      <a:pt x="0" y="769"/>
                    </a:lnTo>
                    <a:lnTo>
                      <a:pt x="4" y="739"/>
                    </a:lnTo>
                    <a:lnTo>
                      <a:pt x="14" y="712"/>
                    </a:lnTo>
                    <a:lnTo>
                      <a:pt x="29" y="686"/>
                    </a:lnTo>
                    <a:lnTo>
                      <a:pt x="50" y="666"/>
                    </a:lnTo>
                    <a:lnTo>
                      <a:pt x="74" y="651"/>
                    </a:lnTo>
                    <a:lnTo>
                      <a:pt x="101" y="640"/>
                    </a:lnTo>
                    <a:lnTo>
                      <a:pt x="133" y="638"/>
                    </a:lnTo>
                    <a:lnTo>
                      <a:pt x="167" y="638"/>
                    </a:lnTo>
                    <a:lnTo>
                      <a:pt x="181" y="599"/>
                    </a:lnTo>
                    <a:lnTo>
                      <a:pt x="199" y="562"/>
                    </a:lnTo>
                    <a:lnTo>
                      <a:pt x="174" y="538"/>
                    </a:lnTo>
                    <a:lnTo>
                      <a:pt x="154" y="513"/>
                    </a:lnTo>
                    <a:lnTo>
                      <a:pt x="141" y="488"/>
                    </a:lnTo>
                    <a:lnTo>
                      <a:pt x="136" y="459"/>
                    </a:lnTo>
                    <a:lnTo>
                      <a:pt x="136" y="429"/>
                    </a:lnTo>
                    <a:lnTo>
                      <a:pt x="141" y="402"/>
                    </a:lnTo>
                    <a:lnTo>
                      <a:pt x="154" y="375"/>
                    </a:lnTo>
                    <a:lnTo>
                      <a:pt x="174" y="350"/>
                    </a:lnTo>
                    <a:lnTo>
                      <a:pt x="351" y="173"/>
                    </a:lnTo>
                    <a:lnTo>
                      <a:pt x="376" y="155"/>
                    </a:lnTo>
                    <a:lnTo>
                      <a:pt x="401" y="142"/>
                    </a:lnTo>
                    <a:lnTo>
                      <a:pt x="430" y="135"/>
                    </a:lnTo>
                    <a:lnTo>
                      <a:pt x="459" y="135"/>
                    </a:lnTo>
                    <a:lnTo>
                      <a:pt x="487" y="142"/>
                    </a:lnTo>
                    <a:lnTo>
                      <a:pt x="514" y="155"/>
                    </a:lnTo>
                    <a:lnTo>
                      <a:pt x="537" y="173"/>
                    </a:lnTo>
                    <a:lnTo>
                      <a:pt x="562" y="197"/>
                    </a:lnTo>
                    <a:lnTo>
                      <a:pt x="600" y="180"/>
                    </a:lnTo>
                    <a:lnTo>
                      <a:pt x="637" y="166"/>
                    </a:lnTo>
                    <a:lnTo>
                      <a:pt x="637" y="132"/>
                    </a:lnTo>
                    <a:lnTo>
                      <a:pt x="642" y="102"/>
                    </a:lnTo>
                    <a:lnTo>
                      <a:pt x="652" y="73"/>
                    </a:lnTo>
                    <a:lnTo>
                      <a:pt x="667" y="49"/>
                    </a:lnTo>
                    <a:lnTo>
                      <a:pt x="687" y="29"/>
                    </a:lnTo>
                    <a:lnTo>
                      <a:pt x="712" y="13"/>
                    </a:lnTo>
                    <a:lnTo>
                      <a:pt x="740" y="3"/>
                    </a:lnTo>
                    <a:lnTo>
                      <a:pt x="7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6" name="Freeform 161"/>
              <p:cNvSpPr>
                <a:spLocks noEditPoints="1"/>
              </p:cNvSpPr>
              <p:nvPr/>
            </p:nvSpPr>
            <p:spPr bwMode="auto">
              <a:xfrm>
                <a:off x="5171" y="3325"/>
                <a:ext cx="710" cy="709"/>
              </a:xfrm>
              <a:custGeom>
                <a:avLst/>
                <a:gdLst>
                  <a:gd name="T0" fmla="*/ 602 w 1421"/>
                  <a:gd name="T1" fmla="*/ 385 h 1419"/>
                  <a:gd name="T2" fmla="*/ 469 w 1421"/>
                  <a:gd name="T3" fmla="*/ 467 h 1419"/>
                  <a:gd name="T4" fmla="*/ 386 w 1421"/>
                  <a:gd name="T5" fmla="*/ 602 h 1419"/>
                  <a:gd name="T6" fmla="*/ 373 w 1421"/>
                  <a:gd name="T7" fmla="*/ 765 h 1419"/>
                  <a:gd name="T8" fmla="*/ 435 w 1421"/>
                  <a:gd name="T9" fmla="*/ 912 h 1419"/>
                  <a:gd name="T10" fmla="*/ 553 w 1421"/>
                  <a:gd name="T11" fmla="*/ 1013 h 1419"/>
                  <a:gd name="T12" fmla="*/ 711 w 1421"/>
                  <a:gd name="T13" fmla="*/ 1051 h 1419"/>
                  <a:gd name="T14" fmla="*/ 868 w 1421"/>
                  <a:gd name="T15" fmla="*/ 1013 h 1419"/>
                  <a:gd name="T16" fmla="*/ 986 w 1421"/>
                  <a:gd name="T17" fmla="*/ 912 h 1419"/>
                  <a:gd name="T18" fmla="*/ 1048 w 1421"/>
                  <a:gd name="T19" fmla="*/ 765 h 1419"/>
                  <a:gd name="T20" fmla="*/ 1035 w 1421"/>
                  <a:gd name="T21" fmla="*/ 602 h 1419"/>
                  <a:gd name="T22" fmla="*/ 952 w 1421"/>
                  <a:gd name="T23" fmla="*/ 467 h 1419"/>
                  <a:gd name="T24" fmla="*/ 819 w 1421"/>
                  <a:gd name="T25" fmla="*/ 385 h 1419"/>
                  <a:gd name="T26" fmla="*/ 611 w 1421"/>
                  <a:gd name="T27" fmla="*/ 0 h 1419"/>
                  <a:gd name="T28" fmla="*/ 864 w 1421"/>
                  <a:gd name="T29" fmla="*/ 14 h 1419"/>
                  <a:gd name="T30" fmla="*/ 911 w 1421"/>
                  <a:gd name="T31" fmla="*/ 76 h 1419"/>
                  <a:gd name="T32" fmla="*/ 975 w 1421"/>
                  <a:gd name="T33" fmla="*/ 156 h 1419"/>
                  <a:gd name="T34" fmla="*/ 1032 w 1421"/>
                  <a:gd name="T35" fmla="*/ 113 h 1419"/>
                  <a:gd name="T36" fmla="*/ 1085 w 1421"/>
                  <a:gd name="T37" fmla="*/ 107 h 1419"/>
                  <a:gd name="T38" fmla="*/ 1142 w 1421"/>
                  <a:gd name="T39" fmla="*/ 137 h 1419"/>
                  <a:gd name="T40" fmla="*/ 1311 w 1421"/>
                  <a:gd name="T41" fmla="*/ 326 h 1419"/>
                  <a:gd name="T42" fmla="*/ 1299 w 1421"/>
                  <a:gd name="T43" fmla="*/ 403 h 1419"/>
                  <a:gd name="T44" fmla="*/ 1288 w 1421"/>
                  <a:gd name="T45" fmla="*/ 505 h 1419"/>
                  <a:gd name="T46" fmla="*/ 1368 w 1421"/>
                  <a:gd name="T47" fmla="*/ 519 h 1419"/>
                  <a:gd name="T48" fmla="*/ 1417 w 1421"/>
                  <a:gd name="T49" fmla="*/ 582 h 1419"/>
                  <a:gd name="T50" fmla="*/ 1417 w 1421"/>
                  <a:gd name="T51" fmla="*/ 836 h 1419"/>
                  <a:gd name="T52" fmla="*/ 1368 w 1421"/>
                  <a:gd name="T53" fmla="*/ 899 h 1419"/>
                  <a:gd name="T54" fmla="*/ 1288 w 1421"/>
                  <a:gd name="T55" fmla="*/ 913 h 1419"/>
                  <a:gd name="T56" fmla="*/ 1299 w 1421"/>
                  <a:gd name="T57" fmla="*/ 1015 h 1419"/>
                  <a:gd name="T58" fmla="*/ 1311 w 1421"/>
                  <a:gd name="T59" fmla="*/ 1093 h 1419"/>
                  <a:gd name="T60" fmla="*/ 1142 w 1421"/>
                  <a:gd name="T61" fmla="*/ 1282 h 1419"/>
                  <a:gd name="T62" fmla="*/ 1068 w 1421"/>
                  <a:gd name="T63" fmla="*/ 1312 h 1419"/>
                  <a:gd name="T64" fmla="*/ 994 w 1421"/>
                  <a:gd name="T65" fmla="*/ 1282 h 1419"/>
                  <a:gd name="T66" fmla="*/ 915 w 1421"/>
                  <a:gd name="T67" fmla="*/ 1315 h 1419"/>
                  <a:gd name="T68" fmla="*/ 884 w 1421"/>
                  <a:gd name="T69" fmla="*/ 1388 h 1419"/>
                  <a:gd name="T70" fmla="*/ 811 w 1421"/>
                  <a:gd name="T71" fmla="*/ 1419 h 1419"/>
                  <a:gd name="T72" fmla="*/ 558 w 1421"/>
                  <a:gd name="T73" fmla="*/ 1405 h 1419"/>
                  <a:gd name="T74" fmla="*/ 511 w 1421"/>
                  <a:gd name="T75" fmla="*/ 1342 h 1419"/>
                  <a:gd name="T76" fmla="*/ 446 w 1421"/>
                  <a:gd name="T77" fmla="*/ 1262 h 1419"/>
                  <a:gd name="T78" fmla="*/ 379 w 1421"/>
                  <a:gd name="T79" fmla="*/ 1309 h 1419"/>
                  <a:gd name="T80" fmla="*/ 302 w 1421"/>
                  <a:gd name="T81" fmla="*/ 1299 h 1419"/>
                  <a:gd name="T82" fmla="*/ 122 w 1421"/>
                  <a:gd name="T83" fmla="*/ 1119 h 1419"/>
                  <a:gd name="T84" fmla="*/ 110 w 1421"/>
                  <a:gd name="T85" fmla="*/ 1041 h 1419"/>
                  <a:gd name="T86" fmla="*/ 158 w 1421"/>
                  <a:gd name="T87" fmla="*/ 973 h 1419"/>
                  <a:gd name="T88" fmla="*/ 78 w 1421"/>
                  <a:gd name="T89" fmla="*/ 911 h 1419"/>
                  <a:gd name="T90" fmla="*/ 15 w 1421"/>
                  <a:gd name="T91" fmla="*/ 862 h 1419"/>
                  <a:gd name="T92" fmla="*/ 0 w 1421"/>
                  <a:gd name="T93" fmla="*/ 610 h 1419"/>
                  <a:gd name="T94" fmla="*/ 32 w 1421"/>
                  <a:gd name="T95" fmla="*/ 536 h 1419"/>
                  <a:gd name="T96" fmla="*/ 106 w 1421"/>
                  <a:gd name="T97" fmla="*/ 505 h 1419"/>
                  <a:gd name="T98" fmla="*/ 139 w 1421"/>
                  <a:gd name="T99" fmla="*/ 426 h 1419"/>
                  <a:gd name="T100" fmla="*/ 108 w 1421"/>
                  <a:gd name="T101" fmla="*/ 352 h 1419"/>
                  <a:gd name="T102" fmla="*/ 139 w 1421"/>
                  <a:gd name="T103" fmla="*/ 277 h 1419"/>
                  <a:gd name="T104" fmla="*/ 326 w 1421"/>
                  <a:gd name="T105" fmla="*/ 110 h 1419"/>
                  <a:gd name="T106" fmla="*/ 405 w 1421"/>
                  <a:gd name="T107" fmla="*/ 120 h 1419"/>
                  <a:gd name="T108" fmla="*/ 506 w 1421"/>
                  <a:gd name="T109" fmla="*/ 132 h 1419"/>
                  <a:gd name="T110" fmla="*/ 521 w 1421"/>
                  <a:gd name="T111" fmla="*/ 52 h 1419"/>
                  <a:gd name="T112" fmla="*/ 583 w 1421"/>
                  <a:gd name="T113" fmla="*/ 3 h 1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21" h="1419">
                    <a:moveTo>
                      <a:pt x="711" y="367"/>
                    </a:moveTo>
                    <a:lnTo>
                      <a:pt x="655" y="372"/>
                    </a:lnTo>
                    <a:lnTo>
                      <a:pt x="602" y="385"/>
                    </a:lnTo>
                    <a:lnTo>
                      <a:pt x="553" y="406"/>
                    </a:lnTo>
                    <a:lnTo>
                      <a:pt x="509" y="433"/>
                    </a:lnTo>
                    <a:lnTo>
                      <a:pt x="469" y="467"/>
                    </a:lnTo>
                    <a:lnTo>
                      <a:pt x="435" y="508"/>
                    </a:lnTo>
                    <a:lnTo>
                      <a:pt x="406" y="552"/>
                    </a:lnTo>
                    <a:lnTo>
                      <a:pt x="386" y="602"/>
                    </a:lnTo>
                    <a:lnTo>
                      <a:pt x="373" y="653"/>
                    </a:lnTo>
                    <a:lnTo>
                      <a:pt x="369" y="709"/>
                    </a:lnTo>
                    <a:lnTo>
                      <a:pt x="373" y="765"/>
                    </a:lnTo>
                    <a:lnTo>
                      <a:pt x="386" y="818"/>
                    </a:lnTo>
                    <a:lnTo>
                      <a:pt x="406" y="866"/>
                    </a:lnTo>
                    <a:lnTo>
                      <a:pt x="435" y="912"/>
                    </a:lnTo>
                    <a:lnTo>
                      <a:pt x="469" y="951"/>
                    </a:lnTo>
                    <a:lnTo>
                      <a:pt x="509" y="985"/>
                    </a:lnTo>
                    <a:lnTo>
                      <a:pt x="553" y="1013"/>
                    </a:lnTo>
                    <a:lnTo>
                      <a:pt x="602" y="1033"/>
                    </a:lnTo>
                    <a:lnTo>
                      <a:pt x="655" y="1046"/>
                    </a:lnTo>
                    <a:lnTo>
                      <a:pt x="711" y="1051"/>
                    </a:lnTo>
                    <a:lnTo>
                      <a:pt x="766" y="1046"/>
                    </a:lnTo>
                    <a:lnTo>
                      <a:pt x="819" y="1033"/>
                    </a:lnTo>
                    <a:lnTo>
                      <a:pt x="868" y="1013"/>
                    </a:lnTo>
                    <a:lnTo>
                      <a:pt x="912" y="985"/>
                    </a:lnTo>
                    <a:lnTo>
                      <a:pt x="952" y="951"/>
                    </a:lnTo>
                    <a:lnTo>
                      <a:pt x="986" y="912"/>
                    </a:lnTo>
                    <a:lnTo>
                      <a:pt x="1014" y="866"/>
                    </a:lnTo>
                    <a:lnTo>
                      <a:pt x="1035" y="818"/>
                    </a:lnTo>
                    <a:lnTo>
                      <a:pt x="1048" y="765"/>
                    </a:lnTo>
                    <a:lnTo>
                      <a:pt x="1052" y="709"/>
                    </a:lnTo>
                    <a:lnTo>
                      <a:pt x="1048" y="653"/>
                    </a:lnTo>
                    <a:lnTo>
                      <a:pt x="1035" y="602"/>
                    </a:lnTo>
                    <a:lnTo>
                      <a:pt x="1014" y="552"/>
                    </a:lnTo>
                    <a:lnTo>
                      <a:pt x="986" y="508"/>
                    </a:lnTo>
                    <a:lnTo>
                      <a:pt x="952" y="467"/>
                    </a:lnTo>
                    <a:lnTo>
                      <a:pt x="912" y="433"/>
                    </a:lnTo>
                    <a:lnTo>
                      <a:pt x="868" y="406"/>
                    </a:lnTo>
                    <a:lnTo>
                      <a:pt x="819" y="385"/>
                    </a:lnTo>
                    <a:lnTo>
                      <a:pt x="766" y="372"/>
                    </a:lnTo>
                    <a:lnTo>
                      <a:pt x="711" y="367"/>
                    </a:lnTo>
                    <a:close/>
                    <a:moveTo>
                      <a:pt x="611" y="0"/>
                    </a:moveTo>
                    <a:lnTo>
                      <a:pt x="811" y="0"/>
                    </a:lnTo>
                    <a:lnTo>
                      <a:pt x="838" y="3"/>
                    </a:lnTo>
                    <a:lnTo>
                      <a:pt x="864" y="14"/>
                    </a:lnTo>
                    <a:lnTo>
                      <a:pt x="884" y="30"/>
                    </a:lnTo>
                    <a:lnTo>
                      <a:pt x="901" y="52"/>
                    </a:lnTo>
                    <a:lnTo>
                      <a:pt x="911" y="76"/>
                    </a:lnTo>
                    <a:lnTo>
                      <a:pt x="915" y="104"/>
                    </a:lnTo>
                    <a:lnTo>
                      <a:pt x="915" y="132"/>
                    </a:lnTo>
                    <a:lnTo>
                      <a:pt x="975" y="156"/>
                    </a:lnTo>
                    <a:lnTo>
                      <a:pt x="994" y="137"/>
                    </a:lnTo>
                    <a:lnTo>
                      <a:pt x="1014" y="122"/>
                    </a:lnTo>
                    <a:lnTo>
                      <a:pt x="1032" y="113"/>
                    </a:lnTo>
                    <a:lnTo>
                      <a:pt x="1052" y="107"/>
                    </a:lnTo>
                    <a:lnTo>
                      <a:pt x="1069" y="107"/>
                    </a:lnTo>
                    <a:lnTo>
                      <a:pt x="1085" y="107"/>
                    </a:lnTo>
                    <a:lnTo>
                      <a:pt x="1095" y="110"/>
                    </a:lnTo>
                    <a:lnTo>
                      <a:pt x="1121" y="120"/>
                    </a:lnTo>
                    <a:lnTo>
                      <a:pt x="1142" y="137"/>
                    </a:lnTo>
                    <a:lnTo>
                      <a:pt x="1282" y="277"/>
                    </a:lnTo>
                    <a:lnTo>
                      <a:pt x="1299" y="300"/>
                    </a:lnTo>
                    <a:lnTo>
                      <a:pt x="1311" y="326"/>
                    </a:lnTo>
                    <a:lnTo>
                      <a:pt x="1314" y="352"/>
                    </a:lnTo>
                    <a:lnTo>
                      <a:pt x="1311" y="379"/>
                    </a:lnTo>
                    <a:lnTo>
                      <a:pt x="1299" y="403"/>
                    </a:lnTo>
                    <a:lnTo>
                      <a:pt x="1282" y="426"/>
                    </a:lnTo>
                    <a:lnTo>
                      <a:pt x="1264" y="445"/>
                    </a:lnTo>
                    <a:lnTo>
                      <a:pt x="1288" y="505"/>
                    </a:lnTo>
                    <a:lnTo>
                      <a:pt x="1315" y="505"/>
                    </a:lnTo>
                    <a:lnTo>
                      <a:pt x="1344" y="509"/>
                    </a:lnTo>
                    <a:lnTo>
                      <a:pt x="1368" y="519"/>
                    </a:lnTo>
                    <a:lnTo>
                      <a:pt x="1389" y="536"/>
                    </a:lnTo>
                    <a:lnTo>
                      <a:pt x="1407" y="558"/>
                    </a:lnTo>
                    <a:lnTo>
                      <a:pt x="1417" y="582"/>
                    </a:lnTo>
                    <a:lnTo>
                      <a:pt x="1421" y="610"/>
                    </a:lnTo>
                    <a:lnTo>
                      <a:pt x="1421" y="809"/>
                    </a:lnTo>
                    <a:lnTo>
                      <a:pt x="1417" y="836"/>
                    </a:lnTo>
                    <a:lnTo>
                      <a:pt x="1407" y="862"/>
                    </a:lnTo>
                    <a:lnTo>
                      <a:pt x="1389" y="883"/>
                    </a:lnTo>
                    <a:lnTo>
                      <a:pt x="1368" y="899"/>
                    </a:lnTo>
                    <a:lnTo>
                      <a:pt x="1344" y="911"/>
                    </a:lnTo>
                    <a:lnTo>
                      <a:pt x="1315" y="913"/>
                    </a:lnTo>
                    <a:lnTo>
                      <a:pt x="1288" y="913"/>
                    </a:lnTo>
                    <a:lnTo>
                      <a:pt x="1264" y="973"/>
                    </a:lnTo>
                    <a:lnTo>
                      <a:pt x="1282" y="993"/>
                    </a:lnTo>
                    <a:lnTo>
                      <a:pt x="1299" y="1015"/>
                    </a:lnTo>
                    <a:lnTo>
                      <a:pt x="1311" y="1041"/>
                    </a:lnTo>
                    <a:lnTo>
                      <a:pt x="1314" y="1066"/>
                    </a:lnTo>
                    <a:lnTo>
                      <a:pt x="1311" y="1093"/>
                    </a:lnTo>
                    <a:lnTo>
                      <a:pt x="1299" y="1119"/>
                    </a:lnTo>
                    <a:lnTo>
                      <a:pt x="1282" y="1141"/>
                    </a:lnTo>
                    <a:lnTo>
                      <a:pt x="1142" y="1282"/>
                    </a:lnTo>
                    <a:lnTo>
                      <a:pt x="1119" y="1299"/>
                    </a:lnTo>
                    <a:lnTo>
                      <a:pt x="1095" y="1309"/>
                    </a:lnTo>
                    <a:lnTo>
                      <a:pt x="1068" y="1312"/>
                    </a:lnTo>
                    <a:lnTo>
                      <a:pt x="1042" y="1309"/>
                    </a:lnTo>
                    <a:lnTo>
                      <a:pt x="1016" y="1299"/>
                    </a:lnTo>
                    <a:lnTo>
                      <a:pt x="994" y="1282"/>
                    </a:lnTo>
                    <a:lnTo>
                      <a:pt x="975" y="1262"/>
                    </a:lnTo>
                    <a:lnTo>
                      <a:pt x="915" y="1288"/>
                    </a:lnTo>
                    <a:lnTo>
                      <a:pt x="915" y="1315"/>
                    </a:lnTo>
                    <a:lnTo>
                      <a:pt x="911" y="1342"/>
                    </a:lnTo>
                    <a:lnTo>
                      <a:pt x="901" y="1368"/>
                    </a:lnTo>
                    <a:lnTo>
                      <a:pt x="884" y="1388"/>
                    </a:lnTo>
                    <a:lnTo>
                      <a:pt x="864" y="1405"/>
                    </a:lnTo>
                    <a:lnTo>
                      <a:pt x="838" y="1415"/>
                    </a:lnTo>
                    <a:lnTo>
                      <a:pt x="811" y="1419"/>
                    </a:lnTo>
                    <a:lnTo>
                      <a:pt x="611" y="1419"/>
                    </a:lnTo>
                    <a:lnTo>
                      <a:pt x="583" y="1415"/>
                    </a:lnTo>
                    <a:lnTo>
                      <a:pt x="558" y="1405"/>
                    </a:lnTo>
                    <a:lnTo>
                      <a:pt x="538" y="1388"/>
                    </a:lnTo>
                    <a:lnTo>
                      <a:pt x="521" y="1368"/>
                    </a:lnTo>
                    <a:lnTo>
                      <a:pt x="511" y="1342"/>
                    </a:lnTo>
                    <a:lnTo>
                      <a:pt x="506" y="1315"/>
                    </a:lnTo>
                    <a:lnTo>
                      <a:pt x="506" y="1288"/>
                    </a:lnTo>
                    <a:lnTo>
                      <a:pt x="446" y="1262"/>
                    </a:lnTo>
                    <a:lnTo>
                      <a:pt x="428" y="1282"/>
                    </a:lnTo>
                    <a:lnTo>
                      <a:pt x="405" y="1299"/>
                    </a:lnTo>
                    <a:lnTo>
                      <a:pt x="379" y="1309"/>
                    </a:lnTo>
                    <a:lnTo>
                      <a:pt x="353" y="1312"/>
                    </a:lnTo>
                    <a:lnTo>
                      <a:pt x="326" y="1309"/>
                    </a:lnTo>
                    <a:lnTo>
                      <a:pt x="302" y="1299"/>
                    </a:lnTo>
                    <a:lnTo>
                      <a:pt x="279" y="1282"/>
                    </a:lnTo>
                    <a:lnTo>
                      <a:pt x="139" y="1141"/>
                    </a:lnTo>
                    <a:lnTo>
                      <a:pt x="122" y="1119"/>
                    </a:lnTo>
                    <a:lnTo>
                      <a:pt x="110" y="1093"/>
                    </a:lnTo>
                    <a:lnTo>
                      <a:pt x="108" y="1066"/>
                    </a:lnTo>
                    <a:lnTo>
                      <a:pt x="110" y="1041"/>
                    </a:lnTo>
                    <a:lnTo>
                      <a:pt x="122" y="1015"/>
                    </a:lnTo>
                    <a:lnTo>
                      <a:pt x="139" y="993"/>
                    </a:lnTo>
                    <a:lnTo>
                      <a:pt x="158" y="973"/>
                    </a:lnTo>
                    <a:lnTo>
                      <a:pt x="133" y="913"/>
                    </a:lnTo>
                    <a:lnTo>
                      <a:pt x="106" y="913"/>
                    </a:lnTo>
                    <a:lnTo>
                      <a:pt x="78" y="911"/>
                    </a:lnTo>
                    <a:lnTo>
                      <a:pt x="53" y="899"/>
                    </a:lnTo>
                    <a:lnTo>
                      <a:pt x="32" y="883"/>
                    </a:lnTo>
                    <a:lnTo>
                      <a:pt x="15" y="862"/>
                    </a:lnTo>
                    <a:lnTo>
                      <a:pt x="5" y="836"/>
                    </a:lnTo>
                    <a:lnTo>
                      <a:pt x="0" y="809"/>
                    </a:lnTo>
                    <a:lnTo>
                      <a:pt x="0" y="610"/>
                    </a:lnTo>
                    <a:lnTo>
                      <a:pt x="5" y="582"/>
                    </a:lnTo>
                    <a:lnTo>
                      <a:pt x="15" y="558"/>
                    </a:lnTo>
                    <a:lnTo>
                      <a:pt x="32" y="536"/>
                    </a:lnTo>
                    <a:lnTo>
                      <a:pt x="53" y="519"/>
                    </a:lnTo>
                    <a:lnTo>
                      <a:pt x="78" y="509"/>
                    </a:lnTo>
                    <a:lnTo>
                      <a:pt x="106" y="505"/>
                    </a:lnTo>
                    <a:lnTo>
                      <a:pt x="133" y="505"/>
                    </a:lnTo>
                    <a:lnTo>
                      <a:pt x="158" y="445"/>
                    </a:lnTo>
                    <a:lnTo>
                      <a:pt x="139" y="426"/>
                    </a:lnTo>
                    <a:lnTo>
                      <a:pt x="122" y="403"/>
                    </a:lnTo>
                    <a:lnTo>
                      <a:pt x="110" y="379"/>
                    </a:lnTo>
                    <a:lnTo>
                      <a:pt x="108" y="352"/>
                    </a:lnTo>
                    <a:lnTo>
                      <a:pt x="110" y="326"/>
                    </a:lnTo>
                    <a:lnTo>
                      <a:pt x="122" y="300"/>
                    </a:lnTo>
                    <a:lnTo>
                      <a:pt x="139" y="277"/>
                    </a:lnTo>
                    <a:lnTo>
                      <a:pt x="279" y="137"/>
                    </a:lnTo>
                    <a:lnTo>
                      <a:pt x="302" y="120"/>
                    </a:lnTo>
                    <a:lnTo>
                      <a:pt x="326" y="110"/>
                    </a:lnTo>
                    <a:lnTo>
                      <a:pt x="353" y="106"/>
                    </a:lnTo>
                    <a:lnTo>
                      <a:pt x="379" y="110"/>
                    </a:lnTo>
                    <a:lnTo>
                      <a:pt x="405" y="120"/>
                    </a:lnTo>
                    <a:lnTo>
                      <a:pt x="428" y="137"/>
                    </a:lnTo>
                    <a:lnTo>
                      <a:pt x="446" y="156"/>
                    </a:lnTo>
                    <a:lnTo>
                      <a:pt x="506" y="132"/>
                    </a:lnTo>
                    <a:lnTo>
                      <a:pt x="506" y="104"/>
                    </a:lnTo>
                    <a:lnTo>
                      <a:pt x="511" y="76"/>
                    </a:lnTo>
                    <a:lnTo>
                      <a:pt x="521" y="52"/>
                    </a:lnTo>
                    <a:lnTo>
                      <a:pt x="538" y="30"/>
                    </a:lnTo>
                    <a:lnTo>
                      <a:pt x="558" y="14"/>
                    </a:lnTo>
                    <a:lnTo>
                      <a:pt x="583" y="3"/>
                    </a:lnTo>
                    <a:lnTo>
                      <a:pt x="6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7" name="Freeform 162"/>
              <p:cNvSpPr>
                <a:spLocks noEditPoints="1"/>
              </p:cNvSpPr>
              <p:nvPr/>
            </p:nvSpPr>
            <p:spPr bwMode="auto">
              <a:xfrm>
                <a:off x="5571" y="2763"/>
                <a:ext cx="598" cy="598"/>
              </a:xfrm>
              <a:custGeom>
                <a:avLst/>
                <a:gdLst>
                  <a:gd name="T0" fmla="*/ 506 w 1194"/>
                  <a:gd name="T1" fmla="*/ 324 h 1196"/>
                  <a:gd name="T2" fmla="*/ 393 w 1194"/>
                  <a:gd name="T3" fmla="*/ 394 h 1196"/>
                  <a:gd name="T4" fmla="*/ 324 w 1194"/>
                  <a:gd name="T5" fmla="*/ 507 h 1196"/>
                  <a:gd name="T6" fmla="*/ 313 w 1194"/>
                  <a:gd name="T7" fmla="*/ 644 h 1196"/>
                  <a:gd name="T8" fmla="*/ 364 w 1194"/>
                  <a:gd name="T9" fmla="*/ 767 h 1196"/>
                  <a:gd name="T10" fmla="*/ 464 w 1194"/>
                  <a:gd name="T11" fmla="*/ 853 h 1196"/>
                  <a:gd name="T12" fmla="*/ 597 w 1194"/>
                  <a:gd name="T13" fmla="*/ 886 h 1196"/>
                  <a:gd name="T14" fmla="*/ 729 w 1194"/>
                  <a:gd name="T15" fmla="*/ 853 h 1196"/>
                  <a:gd name="T16" fmla="*/ 829 w 1194"/>
                  <a:gd name="T17" fmla="*/ 767 h 1196"/>
                  <a:gd name="T18" fmla="*/ 881 w 1194"/>
                  <a:gd name="T19" fmla="*/ 644 h 1196"/>
                  <a:gd name="T20" fmla="*/ 870 w 1194"/>
                  <a:gd name="T21" fmla="*/ 507 h 1196"/>
                  <a:gd name="T22" fmla="*/ 800 w 1194"/>
                  <a:gd name="T23" fmla="*/ 394 h 1196"/>
                  <a:gd name="T24" fmla="*/ 689 w 1194"/>
                  <a:gd name="T25" fmla="*/ 324 h 1196"/>
                  <a:gd name="T26" fmla="*/ 513 w 1194"/>
                  <a:gd name="T27" fmla="*/ 0 h 1196"/>
                  <a:gd name="T28" fmla="*/ 726 w 1194"/>
                  <a:gd name="T29" fmla="*/ 11 h 1196"/>
                  <a:gd name="T30" fmla="*/ 766 w 1194"/>
                  <a:gd name="T31" fmla="*/ 64 h 1196"/>
                  <a:gd name="T32" fmla="*/ 820 w 1194"/>
                  <a:gd name="T33" fmla="*/ 131 h 1196"/>
                  <a:gd name="T34" fmla="*/ 876 w 1194"/>
                  <a:gd name="T35" fmla="*/ 93 h 1196"/>
                  <a:gd name="T36" fmla="*/ 941 w 1194"/>
                  <a:gd name="T37" fmla="*/ 101 h 1196"/>
                  <a:gd name="T38" fmla="*/ 1093 w 1194"/>
                  <a:gd name="T39" fmla="*/ 253 h 1196"/>
                  <a:gd name="T40" fmla="*/ 1102 w 1194"/>
                  <a:gd name="T41" fmla="*/ 319 h 1196"/>
                  <a:gd name="T42" fmla="*/ 1063 w 1194"/>
                  <a:gd name="T43" fmla="*/ 376 h 1196"/>
                  <a:gd name="T44" fmla="*/ 1130 w 1194"/>
                  <a:gd name="T45" fmla="*/ 429 h 1196"/>
                  <a:gd name="T46" fmla="*/ 1183 w 1194"/>
                  <a:gd name="T47" fmla="*/ 469 h 1196"/>
                  <a:gd name="T48" fmla="*/ 1194 w 1194"/>
                  <a:gd name="T49" fmla="*/ 682 h 1196"/>
                  <a:gd name="T50" fmla="*/ 1169 w 1194"/>
                  <a:gd name="T51" fmla="*/ 743 h 1196"/>
                  <a:gd name="T52" fmla="*/ 1106 w 1194"/>
                  <a:gd name="T53" fmla="*/ 770 h 1196"/>
                  <a:gd name="T54" fmla="*/ 1079 w 1194"/>
                  <a:gd name="T55" fmla="*/ 836 h 1196"/>
                  <a:gd name="T56" fmla="*/ 1104 w 1194"/>
                  <a:gd name="T57" fmla="*/ 899 h 1196"/>
                  <a:gd name="T58" fmla="*/ 1079 w 1194"/>
                  <a:gd name="T59" fmla="*/ 962 h 1196"/>
                  <a:gd name="T60" fmla="*/ 920 w 1194"/>
                  <a:gd name="T61" fmla="*/ 1103 h 1196"/>
                  <a:gd name="T62" fmla="*/ 854 w 1194"/>
                  <a:gd name="T63" fmla="*/ 1095 h 1196"/>
                  <a:gd name="T64" fmla="*/ 769 w 1194"/>
                  <a:gd name="T65" fmla="*/ 1085 h 1196"/>
                  <a:gd name="T66" fmla="*/ 757 w 1194"/>
                  <a:gd name="T67" fmla="*/ 1152 h 1196"/>
                  <a:gd name="T68" fmla="*/ 704 w 1194"/>
                  <a:gd name="T69" fmla="*/ 1192 h 1196"/>
                  <a:gd name="T70" fmla="*/ 490 w 1194"/>
                  <a:gd name="T71" fmla="*/ 1192 h 1196"/>
                  <a:gd name="T72" fmla="*/ 437 w 1194"/>
                  <a:gd name="T73" fmla="*/ 1152 h 1196"/>
                  <a:gd name="T74" fmla="*/ 426 w 1194"/>
                  <a:gd name="T75" fmla="*/ 1085 h 1196"/>
                  <a:gd name="T76" fmla="*/ 340 w 1194"/>
                  <a:gd name="T77" fmla="*/ 1095 h 1196"/>
                  <a:gd name="T78" fmla="*/ 274 w 1194"/>
                  <a:gd name="T79" fmla="*/ 1103 h 1196"/>
                  <a:gd name="T80" fmla="*/ 115 w 1194"/>
                  <a:gd name="T81" fmla="*/ 962 h 1196"/>
                  <a:gd name="T82" fmla="*/ 90 w 1194"/>
                  <a:gd name="T83" fmla="*/ 899 h 1196"/>
                  <a:gd name="T84" fmla="*/ 115 w 1194"/>
                  <a:gd name="T85" fmla="*/ 836 h 1196"/>
                  <a:gd name="T86" fmla="*/ 87 w 1194"/>
                  <a:gd name="T87" fmla="*/ 770 h 1196"/>
                  <a:gd name="T88" fmla="*/ 25 w 1194"/>
                  <a:gd name="T89" fmla="*/ 743 h 1196"/>
                  <a:gd name="T90" fmla="*/ 0 w 1194"/>
                  <a:gd name="T91" fmla="*/ 682 h 1196"/>
                  <a:gd name="T92" fmla="*/ 11 w 1194"/>
                  <a:gd name="T93" fmla="*/ 469 h 1196"/>
                  <a:gd name="T94" fmla="*/ 64 w 1194"/>
                  <a:gd name="T95" fmla="*/ 429 h 1196"/>
                  <a:gd name="T96" fmla="*/ 131 w 1194"/>
                  <a:gd name="T97" fmla="*/ 376 h 1196"/>
                  <a:gd name="T98" fmla="*/ 93 w 1194"/>
                  <a:gd name="T99" fmla="*/ 319 h 1196"/>
                  <a:gd name="T100" fmla="*/ 101 w 1194"/>
                  <a:gd name="T101" fmla="*/ 253 h 1196"/>
                  <a:gd name="T102" fmla="*/ 253 w 1194"/>
                  <a:gd name="T103" fmla="*/ 101 h 1196"/>
                  <a:gd name="T104" fmla="*/ 318 w 1194"/>
                  <a:gd name="T105" fmla="*/ 93 h 1196"/>
                  <a:gd name="T106" fmla="*/ 374 w 1194"/>
                  <a:gd name="T107" fmla="*/ 131 h 1196"/>
                  <a:gd name="T108" fmla="*/ 428 w 1194"/>
                  <a:gd name="T109" fmla="*/ 64 h 1196"/>
                  <a:gd name="T110" fmla="*/ 468 w 1194"/>
                  <a:gd name="T111" fmla="*/ 11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94" h="1196">
                    <a:moveTo>
                      <a:pt x="597" y="310"/>
                    </a:moveTo>
                    <a:lnTo>
                      <a:pt x="550" y="313"/>
                    </a:lnTo>
                    <a:lnTo>
                      <a:pt x="506" y="324"/>
                    </a:lnTo>
                    <a:lnTo>
                      <a:pt x="464" y="341"/>
                    </a:lnTo>
                    <a:lnTo>
                      <a:pt x="427" y="366"/>
                    </a:lnTo>
                    <a:lnTo>
                      <a:pt x="393" y="394"/>
                    </a:lnTo>
                    <a:lnTo>
                      <a:pt x="364" y="427"/>
                    </a:lnTo>
                    <a:lnTo>
                      <a:pt x="341" y="466"/>
                    </a:lnTo>
                    <a:lnTo>
                      <a:pt x="324" y="507"/>
                    </a:lnTo>
                    <a:lnTo>
                      <a:pt x="313" y="552"/>
                    </a:lnTo>
                    <a:lnTo>
                      <a:pt x="308" y="597"/>
                    </a:lnTo>
                    <a:lnTo>
                      <a:pt x="313" y="644"/>
                    </a:lnTo>
                    <a:lnTo>
                      <a:pt x="324" y="689"/>
                    </a:lnTo>
                    <a:lnTo>
                      <a:pt x="341" y="730"/>
                    </a:lnTo>
                    <a:lnTo>
                      <a:pt x="364" y="767"/>
                    </a:lnTo>
                    <a:lnTo>
                      <a:pt x="393" y="802"/>
                    </a:lnTo>
                    <a:lnTo>
                      <a:pt x="427" y="830"/>
                    </a:lnTo>
                    <a:lnTo>
                      <a:pt x="464" y="853"/>
                    </a:lnTo>
                    <a:lnTo>
                      <a:pt x="506" y="870"/>
                    </a:lnTo>
                    <a:lnTo>
                      <a:pt x="550" y="882"/>
                    </a:lnTo>
                    <a:lnTo>
                      <a:pt x="597" y="886"/>
                    </a:lnTo>
                    <a:lnTo>
                      <a:pt x="644" y="882"/>
                    </a:lnTo>
                    <a:lnTo>
                      <a:pt x="689" y="870"/>
                    </a:lnTo>
                    <a:lnTo>
                      <a:pt x="729" y="853"/>
                    </a:lnTo>
                    <a:lnTo>
                      <a:pt x="767" y="830"/>
                    </a:lnTo>
                    <a:lnTo>
                      <a:pt x="800" y="802"/>
                    </a:lnTo>
                    <a:lnTo>
                      <a:pt x="829" y="767"/>
                    </a:lnTo>
                    <a:lnTo>
                      <a:pt x="853" y="730"/>
                    </a:lnTo>
                    <a:lnTo>
                      <a:pt x="870" y="689"/>
                    </a:lnTo>
                    <a:lnTo>
                      <a:pt x="881" y="644"/>
                    </a:lnTo>
                    <a:lnTo>
                      <a:pt x="884" y="597"/>
                    </a:lnTo>
                    <a:lnTo>
                      <a:pt x="881" y="552"/>
                    </a:lnTo>
                    <a:lnTo>
                      <a:pt x="870" y="507"/>
                    </a:lnTo>
                    <a:lnTo>
                      <a:pt x="853" y="466"/>
                    </a:lnTo>
                    <a:lnTo>
                      <a:pt x="829" y="427"/>
                    </a:lnTo>
                    <a:lnTo>
                      <a:pt x="800" y="394"/>
                    </a:lnTo>
                    <a:lnTo>
                      <a:pt x="767" y="366"/>
                    </a:lnTo>
                    <a:lnTo>
                      <a:pt x="729" y="341"/>
                    </a:lnTo>
                    <a:lnTo>
                      <a:pt x="689" y="324"/>
                    </a:lnTo>
                    <a:lnTo>
                      <a:pt x="644" y="313"/>
                    </a:lnTo>
                    <a:lnTo>
                      <a:pt x="597" y="310"/>
                    </a:lnTo>
                    <a:close/>
                    <a:moveTo>
                      <a:pt x="513" y="0"/>
                    </a:moveTo>
                    <a:lnTo>
                      <a:pt x="681" y="0"/>
                    </a:lnTo>
                    <a:lnTo>
                      <a:pt x="704" y="3"/>
                    </a:lnTo>
                    <a:lnTo>
                      <a:pt x="726" y="11"/>
                    </a:lnTo>
                    <a:lnTo>
                      <a:pt x="743" y="26"/>
                    </a:lnTo>
                    <a:lnTo>
                      <a:pt x="757" y="43"/>
                    </a:lnTo>
                    <a:lnTo>
                      <a:pt x="766" y="64"/>
                    </a:lnTo>
                    <a:lnTo>
                      <a:pt x="769" y="88"/>
                    </a:lnTo>
                    <a:lnTo>
                      <a:pt x="769" y="111"/>
                    </a:lnTo>
                    <a:lnTo>
                      <a:pt x="820" y="131"/>
                    </a:lnTo>
                    <a:lnTo>
                      <a:pt x="836" y="116"/>
                    </a:lnTo>
                    <a:lnTo>
                      <a:pt x="854" y="101"/>
                    </a:lnTo>
                    <a:lnTo>
                      <a:pt x="876" y="93"/>
                    </a:lnTo>
                    <a:lnTo>
                      <a:pt x="899" y="90"/>
                    </a:lnTo>
                    <a:lnTo>
                      <a:pt x="920" y="93"/>
                    </a:lnTo>
                    <a:lnTo>
                      <a:pt x="941" y="101"/>
                    </a:lnTo>
                    <a:lnTo>
                      <a:pt x="960" y="116"/>
                    </a:lnTo>
                    <a:lnTo>
                      <a:pt x="1079" y="234"/>
                    </a:lnTo>
                    <a:lnTo>
                      <a:pt x="1093" y="253"/>
                    </a:lnTo>
                    <a:lnTo>
                      <a:pt x="1102" y="274"/>
                    </a:lnTo>
                    <a:lnTo>
                      <a:pt x="1104" y="297"/>
                    </a:lnTo>
                    <a:lnTo>
                      <a:pt x="1102" y="319"/>
                    </a:lnTo>
                    <a:lnTo>
                      <a:pt x="1093" y="340"/>
                    </a:lnTo>
                    <a:lnTo>
                      <a:pt x="1079" y="359"/>
                    </a:lnTo>
                    <a:lnTo>
                      <a:pt x="1063" y="376"/>
                    </a:lnTo>
                    <a:lnTo>
                      <a:pt x="1083" y="426"/>
                    </a:lnTo>
                    <a:lnTo>
                      <a:pt x="1106" y="426"/>
                    </a:lnTo>
                    <a:lnTo>
                      <a:pt x="1130" y="429"/>
                    </a:lnTo>
                    <a:lnTo>
                      <a:pt x="1152" y="437"/>
                    </a:lnTo>
                    <a:lnTo>
                      <a:pt x="1169" y="451"/>
                    </a:lnTo>
                    <a:lnTo>
                      <a:pt x="1183" y="469"/>
                    </a:lnTo>
                    <a:lnTo>
                      <a:pt x="1192" y="490"/>
                    </a:lnTo>
                    <a:lnTo>
                      <a:pt x="1194" y="514"/>
                    </a:lnTo>
                    <a:lnTo>
                      <a:pt x="1194" y="682"/>
                    </a:lnTo>
                    <a:lnTo>
                      <a:pt x="1192" y="704"/>
                    </a:lnTo>
                    <a:lnTo>
                      <a:pt x="1183" y="726"/>
                    </a:lnTo>
                    <a:lnTo>
                      <a:pt x="1169" y="743"/>
                    </a:lnTo>
                    <a:lnTo>
                      <a:pt x="1152" y="757"/>
                    </a:lnTo>
                    <a:lnTo>
                      <a:pt x="1130" y="766"/>
                    </a:lnTo>
                    <a:lnTo>
                      <a:pt x="1106" y="770"/>
                    </a:lnTo>
                    <a:lnTo>
                      <a:pt x="1083" y="770"/>
                    </a:lnTo>
                    <a:lnTo>
                      <a:pt x="1063" y="820"/>
                    </a:lnTo>
                    <a:lnTo>
                      <a:pt x="1079" y="836"/>
                    </a:lnTo>
                    <a:lnTo>
                      <a:pt x="1093" y="854"/>
                    </a:lnTo>
                    <a:lnTo>
                      <a:pt x="1102" y="876"/>
                    </a:lnTo>
                    <a:lnTo>
                      <a:pt x="1104" y="899"/>
                    </a:lnTo>
                    <a:lnTo>
                      <a:pt x="1102" y="922"/>
                    </a:lnTo>
                    <a:lnTo>
                      <a:pt x="1093" y="942"/>
                    </a:lnTo>
                    <a:lnTo>
                      <a:pt x="1079" y="962"/>
                    </a:lnTo>
                    <a:lnTo>
                      <a:pt x="960" y="1079"/>
                    </a:lnTo>
                    <a:lnTo>
                      <a:pt x="941" y="1095"/>
                    </a:lnTo>
                    <a:lnTo>
                      <a:pt x="920" y="1103"/>
                    </a:lnTo>
                    <a:lnTo>
                      <a:pt x="899" y="1106"/>
                    </a:lnTo>
                    <a:lnTo>
                      <a:pt x="876" y="1103"/>
                    </a:lnTo>
                    <a:lnTo>
                      <a:pt x="854" y="1095"/>
                    </a:lnTo>
                    <a:lnTo>
                      <a:pt x="836" y="1079"/>
                    </a:lnTo>
                    <a:lnTo>
                      <a:pt x="820" y="1063"/>
                    </a:lnTo>
                    <a:lnTo>
                      <a:pt x="769" y="1085"/>
                    </a:lnTo>
                    <a:lnTo>
                      <a:pt x="769" y="1107"/>
                    </a:lnTo>
                    <a:lnTo>
                      <a:pt x="766" y="1130"/>
                    </a:lnTo>
                    <a:lnTo>
                      <a:pt x="757" y="1152"/>
                    </a:lnTo>
                    <a:lnTo>
                      <a:pt x="743" y="1169"/>
                    </a:lnTo>
                    <a:lnTo>
                      <a:pt x="726" y="1183"/>
                    </a:lnTo>
                    <a:lnTo>
                      <a:pt x="704" y="1192"/>
                    </a:lnTo>
                    <a:lnTo>
                      <a:pt x="681" y="1196"/>
                    </a:lnTo>
                    <a:lnTo>
                      <a:pt x="513" y="1196"/>
                    </a:lnTo>
                    <a:lnTo>
                      <a:pt x="490" y="1192"/>
                    </a:lnTo>
                    <a:lnTo>
                      <a:pt x="468" y="1183"/>
                    </a:lnTo>
                    <a:lnTo>
                      <a:pt x="451" y="1169"/>
                    </a:lnTo>
                    <a:lnTo>
                      <a:pt x="437" y="1152"/>
                    </a:lnTo>
                    <a:lnTo>
                      <a:pt x="428" y="1130"/>
                    </a:lnTo>
                    <a:lnTo>
                      <a:pt x="426" y="1107"/>
                    </a:lnTo>
                    <a:lnTo>
                      <a:pt x="426" y="1085"/>
                    </a:lnTo>
                    <a:lnTo>
                      <a:pt x="374" y="1063"/>
                    </a:lnTo>
                    <a:lnTo>
                      <a:pt x="358" y="1079"/>
                    </a:lnTo>
                    <a:lnTo>
                      <a:pt x="340" y="1095"/>
                    </a:lnTo>
                    <a:lnTo>
                      <a:pt x="318" y="1103"/>
                    </a:lnTo>
                    <a:lnTo>
                      <a:pt x="296" y="1106"/>
                    </a:lnTo>
                    <a:lnTo>
                      <a:pt x="274" y="1103"/>
                    </a:lnTo>
                    <a:lnTo>
                      <a:pt x="253" y="1095"/>
                    </a:lnTo>
                    <a:lnTo>
                      <a:pt x="234" y="1079"/>
                    </a:lnTo>
                    <a:lnTo>
                      <a:pt x="115" y="962"/>
                    </a:lnTo>
                    <a:lnTo>
                      <a:pt x="101" y="942"/>
                    </a:lnTo>
                    <a:lnTo>
                      <a:pt x="93" y="922"/>
                    </a:lnTo>
                    <a:lnTo>
                      <a:pt x="90" y="899"/>
                    </a:lnTo>
                    <a:lnTo>
                      <a:pt x="93" y="876"/>
                    </a:lnTo>
                    <a:lnTo>
                      <a:pt x="101" y="854"/>
                    </a:lnTo>
                    <a:lnTo>
                      <a:pt x="115" y="836"/>
                    </a:lnTo>
                    <a:lnTo>
                      <a:pt x="131" y="820"/>
                    </a:lnTo>
                    <a:lnTo>
                      <a:pt x="110" y="770"/>
                    </a:lnTo>
                    <a:lnTo>
                      <a:pt x="87" y="770"/>
                    </a:lnTo>
                    <a:lnTo>
                      <a:pt x="64" y="766"/>
                    </a:lnTo>
                    <a:lnTo>
                      <a:pt x="43" y="757"/>
                    </a:lnTo>
                    <a:lnTo>
                      <a:pt x="25" y="743"/>
                    </a:lnTo>
                    <a:lnTo>
                      <a:pt x="11" y="726"/>
                    </a:lnTo>
                    <a:lnTo>
                      <a:pt x="3" y="704"/>
                    </a:lnTo>
                    <a:lnTo>
                      <a:pt x="0" y="682"/>
                    </a:lnTo>
                    <a:lnTo>
                      <a:pt x="0" y="514"/>
                    </a:lnTo>
                    <a:lnTo>
                      <a:pt x="3" y="490"/>
                    </a:lnTo>
                    <a:lnTo>
                      <a:pt x="11" y="469"/>
                    </a:lnTo>
                    <a:lnTo>
                      <a:pt x="25" y="451"/>
                    </a:lnTo>
                    <a:lnTo>
                      <a:pt x="43" y="437"/>
                    </a:lnTo>
                    <a:lnTo>
                      <a:pt x="64" y="429"/>
                    </a:lnTo>
                    <a:lnTo>
                      <a:pt x="87" y="426"/>
                    </a:lnTo>
                    <a:lnTo>
                      <a:pt x="110" y="426"/>
                    </a:lnTo>
                    <a:lnTo>
                      <a:pt x="131" y="376"/>
                    </a:lnTo>
                    <a:lnTo>
                      <a:pt x="115" y="359"/>
                    </a:lnTo>
                    <a:lnTo>
                      <a:pt x="101" y="340"/>
                    </a:lnTo>
                    <a:lnTo>
                      <a:pt x="93" y="319"/>
                    </a:lnTo>
                    <a:lnTo>
                      <a:pt x="90" y="297"/>
                    </a:lnTo>
                    <a:lnTo>
                      <a:pt x="93" y="274"/>
                    </a:lnTo>
                    <a:lnTo>
                      <a:pt x="101" y="253"/>
                    </a:lnTo>
                    <a:lnTo>
                      <a:pt x="115" y="234"/>
                    </a:lnTo>
                    <a:lnTo>
                      <a:pt x="234" y="116"/>
                    </a:lnTo>
                    <a:lnTo>
                      <a:pt x="253" y="101"/>
                    </a:lnTo>
                    <a:lnTo>
                      <a:pt x="274" y="93"/>
                    </a:lnTo>
                    <a:lnTo>
                      <a:pt x="296" y="90"/>
                    </a:lnTo>
                    <a:lnTo>
                      <a:pt x="318" y="93"/>
                    </a:lnTo>
                    <a:lnTo>
                      <a:pt x="340" y="101"/>
                    </a:lnTo>
                    <a:lnTo>
                      <a:pt x="358" y="116"/>
                    </a:lnTo>
                    <a:lnTo>
                      <a:pt x="374" y="131"/>
                    </a:lnTo>
                    <a:lnTo>
                      <a:pt x="426" y="111"/>
                    </a:lnTo>
                    <a:lnTo>
                      <a:pt x="426" y="88"/>
                    </a:lnTo>
                    <a:lnTo>
                      <a:pt x="428" y="64"/>
                    </a:lnTo>
                    <a:lnTo>
                      <a:pt x="437" y="43"/>
                    </a:lnTo>
                    <a:lnTo>
                      <a:pt x="451" y="26"/>
                    </a:lnTo>
                    <a:lnTo>
                      <a:pt x="468" y="11"/>
                    </a:lnTo>
                    <a:lnTo>
                      <a:pt x="490" y="3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68" name="Group 167"/>
          <p:cNvGrpSpPr/>
          <p:nvPr/>
        </p:nvGrpSpPr>
        <p:grpSpPr>
          <a:xfrm>
            <a:off x="147993" y="4328303"/>
            <a:ext cx="727877" cy="569812"/>
            <a:chOff x="147993" y="4263727"/>
            <a:chExt cx="727877" cy="569812"/>
          </a:xfrm>
        </p:grpSpPr>
        <p:sp>
          <p:nvSpPr>
            <p:cNvPr id="169" name="Rectangle 17"/>
            <p:cNvSpPr>
              <a:spLocks/>
            </p:cNvSpPr>
            <p:nvPr/>
          </p:nvSpPr>
          <p:spPr bwMode="auto">
            <a:xfrm>
              <a:off x="147993" y="4556540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нешние данные</a:t>
              </a:r>
            </a:p>
          </p:txBody>
        </p:sp>
        <p:grpSp>
          <p:nvGrpSpPr>
            <p:cNvPr id="170" name="Group 201"/>
            <p:cNvGrpSpPr>
              <a:grpSpLocks noChangeAspect="1"/>
            </p:cNvGrpSpPr>
            <p:nvPr/>
          </p:nvGrpSpPr>
          <p:grpSpPr bwMode="auto">
            <a:xfrm>
              <a:off x="417906" y="4263727"/>
              <a:ext cx="202275" cy="226804"/>
              <a:chOff x="4176" y="3243"/>
              <a:chExt cx="602" cy="675"/>
            </a:xfrm>
            <a:solidFill>
              <a:schemeClr val="bg1"/>
            </a:solidFill>
          </p:grpSpPr>
          <p:sp>
            <p:nvSpPr>
              <p:cNvPr id="171" name="Freeform 203"/>
              <p:cNvSpPr>
                <a:spLocks/>
              </p:cNvSpPr>
              <p:nvPr/>
            </p:nvSpPr>
            <p:spPr bwMode="auto">
              <a:xfrm>
                <a:off x="4184" y="3243"/>
                <a:ext cx="594" cy="675"/>
              </a:xfrm>
              <a:custGeom>
                <a:avLst/>
                <a:gdLst>
                  <a:gd name="T0" fmla="*/ 2818 w 2971"/>
                  <a:gd name="T1" fmla="*/ 0 h 3374"/>
                  <a:gd name="T2" fmla="*/ 2877 w 2971"/>
                  <a:gd name="T3" fmla="*/ 12 h 3374"/>
                  <a:gd name="T4" fmla="*/ 2926 w 2971"/>
                  <a:gd name="T5" fmla="*/ 45 h 3374"/>
                  <a:gd name="T6" fmla="*/ 2958 w 2971"/>
                  <a:gd name="T7" fmla="*/ 93 h 3374"/>
                  <a:gd name="T8" fmla="*/ 2971 w 2971"/>
                  <a:gd name="T9" fmla="*/ 154 h 3374"/>
                  <a:gd name="T10" fmla="*/ 2960 w 2971"/>
                  <a:gd name="T11" fmla="*/ 207 h 3374"/>
                  <a:gd name="T12" fmla="*/ 2934 w 2971"/>
                  <a:gd name="T13" fmla="*/ 252 h 3374"/>
                  <a:gd name="T14" fmla="*/ 2894 w 2971"/>
                  <a:gd name="T15" fmla="*/ 285 h 3374"/>
                  <a:gd name="T16" fmla="*/ 2892 w 2971"/>
                  <a:gd name="T17" fmla="*/ 2091 h 3374"/>
                  <a:gd name="T18" fmla="*/ 2872 w 2971"/>
                  <a:gd name="T19" fmla="*/ 2124 h 3374"/>
                  <a:gd name="T20" fmla="*/ 2838 w 2971"/>
                  <a:gd name="T21" fmla="*/ 2145 h 3374"/>
                  <a:gd name="T22" fmla="*/ 2197 w 2971"/>
                  <a:gd name="T23" fmla="*/ 2147 h 3374"/>
                  <a:gd name="T24" fmla="*/ 2475 w 2971"/>
                  <a:gd name="T25" fmla="*/ 3208 h 3374"/>
                  <a:gd name="T26" fmla="*/ 2469 w 2971"/>
                  <a:gd name="T27" fmla="*/ 3261 h 3374"/>
                  <a:gd name="T28" fmla="*/ 2448 w 2971"/>
                  <a:gd name="T29" fmla="*/ 3309 h 3374"/>
                  <a:gd name="T30" fmla="*/ 2411 w 2971"/>
                  <a:gd name="T31" fmla="*/ 3346 h 3374"/>
                  <a:gd name="T32" fmla="*/ 2362 w 2971"/>
                  <a:gd name="T33" fmla="*/ 3370 h 3374"/>
                  <a:gd name="T34" fmla="*/ 2323 w 2971"/>
                  <a:gd name="T35" fmla="*/ 3374 h 3374"/>
                  <a:gd name="T36" fmla="*/ 2267 w 2971"/>
                  <a:gd name="T37" fmla="*/ 3363 h 3374"/>
                  <a:gd name="T38" fmla="*/ 2220 w 2971"/>
                  <a:gd name="T39" fmla="*/ 3334 h 3374"/>
                  <a:gd name="T40" fmla="*/ 2186 w 2971"/>
                  <a:gd name="T41" fmla="*/ 3288 h 3374"/>
                  <a:gd name="T42" fmla="*/ 1902 w 2971"/>
                  <a:gd name="T43" fmla="*/ 2224 h 3374"/>
                  <a:gd name="T44" fmla="*/ 794 w 2971"/>
                  <a:gd name="T45" fmla="*/ 3260 h 3374"/>
                  <a:gd name="T46" fmla="*/ 771 w 2971"/>
                  <a:gd name="T47" fmla="*/ 3309 h 3374"/>
                  <a:gd name="T48" fmla="*/ 734 w 2971"/>
                  <a:gd name="T49" fmla="*/ 3346 h 3374"/>
                  <a:gd name="T50" fmla="*/ 687 w 2971"/>
                  <a:gd name="T51" fmla="*/ 3369 h 3374"/>
                  <a:gd name="T52" fmla="*/ 635 w 2971"/>
                  <a:gd name="T53" fmla="*/ 3374 h 3374"/>
                  <a:gd name="T54" fmla="*/ 581 w 2971"/>
                  <a:gd name="T55" fmla="*/ 3360 h 3374"/>
                  <a:gd name="T56" fmla="*/ 538 w 2971"/>
                  <a:gd name="T57" fmla="*/ 3329 h 3374"/>
                  <a:gd name="T58" fmla="*/ 509 w 2971"/>
                  <a:gd name="T59" fmla="*/ 3286 h 3374"/>
                  <a:gd name="T60" fmla="*/ 495 w 2971"/>
                  <a:gd name="T61" fmla="*/ 3236 h 3374"/>
                  <a:gd name="T62" fmla="*/ 500 w 2971"/>
                  <a:gd name="T63" fmla="*/ 3181 h 3374"/>
                  <a:gd name="T64" fmla="*/ 639 w 2971"/>
                  <a:gd name="T65" fmla="*/ 2147 h 3374"/>
                  <a:gd name="T66" fmla="*/ 729 w 2971"/>
                  <a:gd name="T67" fmla="*/ 2048 h 3374"/>
                  <a:gd name="T68" fmla="*/ 2742 w 2971"/>
                  <a:gd name="T69" fmla="*/ 1994 h 3374"/>
                  <a:gd name="T70" fmla="*/ 227 w 2971"/>
                  <a:gd name="T71" fmla="*/ 307 h 3374"/>
                  <a:gd name="T72" fmla="*/ 184 w 2971"/>
                  <a:gd name="T73" fmla="*/ 1953 h 3374"/>
                  <a:gd name="T74" fmla="*/ 108 w 2971"/>
                  <a:gd name="T75" fmla="*/ 2023 h 3374"/>
                  <a:gd name="T76" fmla="*/ 76 w 2971"/>
                  <a:gd name="T77" fmla="*/ 285 h 3374"/>
                  <a:gd name="T78" fmla="*/ 36 w 2971"/>
                  <a:gd name="T79" fmla="*/ 252 h 3374"/>
                  <a:gd name="T80" fmla="*/ 9 w 2971"/>
                  <a:gd name="T81" fmla="*/ 207 h 3374"/>
                  <a:gd name="T82" fmla="*/ 0 w 2971"/>
                  <a:gd name="T83" fmla="*/ 154 h 3374"/>
                  <a:gd name="T84" fmla="*/ 12 w 2971"/>
                  <a:gd name="T85" fmla="*/ 93 h 3374"/>
                  <a:gd name="T86" fmla="*/ 44 w 2971"/>
                  <a:gd name="T87" fmla="*/ 45 h 3374"/>
                  <a:gd name="T88" fmla="*/ 93 w 2971"/>
                  <a:gd name="T89" fmla="*/ 12 h 3374"/>
                  <a:gd name="T90" fmla="*/ 152 w 2971"/>
                  <a:gd name="T91" fmla="*/ 0 h 3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1" h="3374">
                    <a:moveTo>
                      <a:pt x="152" y="0"/>
                    </a:moveTo>
                    <a:lnTo>
                      <a:pt x="2818" y="0"/>
                    </a:lnTo>
                    <a:lnTo>
                      <a:pt x="2849" y="3"/>
                    </a:lnTo>
                    <a:lnTo>
                      <a:pt x="2877" y="12"/>
                    </a:lnTo>
                    <a:lnTo>
                      <a:pt x="2904" y="27"/>
                    </a:lnTo>
                    <a:lnTo>
                      <a:pt x="2926" y="45"/>
                    </a:lnTo>
                    <a:lnTo>
                      <a:pt x="2945" y="68"/>
                    </a:lnTo>
                    <a:lnTo>
                      <a:pt x="2958" y="93"/>
                    </a:lnTo>
                    <a:lnTo>
                      <a:pt x="2968" y="123"/>
                    </a:lnTo>
                    <a:lnTo>
                      <a:pt x="2971" y="154"/>
                    </a:lnTo>
                    <a:lnTo>
                      <a:pt x="2968" y="181"/>
                    </a:lnTo>
                    <a:lnTo>
                      <a:pt x="2960" y="207"/>
                    </a:lnTo>
                    <a:lnTo>
                      <a:pt x="2950" y="231"/>
                    </a:lnTo>
                    <a:lnTo>
                      <a:pt x="2934" y="252"/>
                    </a:lnTo>
                    <a:lnTo>
                      <a:pt x="2916" y="271"/>
                    </a:lnTo>
                    <a:lnTo>
                      <a:pt x="2894" y="285"/>
                    </a:lnTo>
                    <a:lnTo>
                      <a:pt x="2894" y="2070"/>
                    </a:lnTo>
                    <a:lnTo>
                      <a:pt x="2892" y="2091"/>
                    </a:lnTo>
                    <a:lnTo>
                      <a:pt x="2883" y="2110"/>
                    </a:lnTo>
                    <a:lnTo>
                      <a:pt x="2872" y="2124"/>
                    </a:lnTo>
                    <a:lnTo>
                      <a:pt x="2856" y="2137"/>
                    </a:lnTo>
                    <a:lnTo>
                      <a:pt x="2838" y="2145"/>
                    </a:lnTo>
                    <a:lnTo>
                      <a:pt x="2818" y="2147"/>
                    </a:lnTo>
                    <a:lnTo>
                      <a:pt x="2197" y="2147"/>
                    </a:lnTo>
                    <a:lnTo>
                      <a:pt x="2470" y="3181"/>
                    </a:lnTo>
                    <a:lnTo>
                      <a:pt x="2475" y="3208"/>
                    </a:lnTo>
                    <a:lnTo>
                      <a:pt x="2475" y="3235"/>
                    </a:lnTo>
                    <a:lnTo>
                      <a:pt x="2469" y="3261"/>
                    </a:lnTo>
                    <a:lnTo>
                      <a:pt x="2461" y="3286"/>
                    </a:lnTo>
                    <a:lnTo>
                      <a:pt x="2448" y="3309"/>
                    </a:lnTo>
                    <a:lnTo>
                      <a:pt x="2432" y="3329"/>
                    </a:lnTo>
                    <a:lnTo>
                      <a:pt x="2411" y="3346"/>
                    </a:lnTo>
                    <a:lnTo>
                      <a:pt x="2388" y="3360"/>
                    </a:lnTo>
                    <a:lnTo>
                      <a:pt x="2362" y="3370"/>
                    </a:lnTo>
                    <a:lnTo>
                      <a:pt x="2343" y="3373"/>
                    </a:lnTo>
                    <a:lnTo>
                      <a:pt x="2323" y="3374"/>
                    </a:lnTo>
                    <a:lnTo>
                      <a:pt x="2295" y="3372"/>
                    </a:lnTo>
                    <a:lnTo>
                      <a:pt x="2267" y="3363"/>
                    </a:lnTo>
                    <a:lnTo>
                      <a:pt x="2243" y="3351"/>
                    </a:lnTo>
                    <a:lnTo>
                      <a:pt x="2220" y="3334"/>
                    </a:lnTo>
                    <a:lnTo>
                      <a:pt x="2201" y="3313"/>
                    </a:lnTo>
                    <a:lnTo>
                      <a:pt x="2186" y="3288"/>
                    </a:lnTo>
                    <a:lnTo>
                      <a:pt x="2176" y="3260"/>
                    </a:lnTo>
                    <a:lnTo>
                      <a:pt x="1902" y="2224"/>
                    </a:lnTo>
                    <a:lnTo>
                      <a:pt x="1069" y="2224"/>
                    </a:lnTo>
                    <a:lnTo>
                      <a:pt x="794" y="3260"/>
                    </a:lnTo>
                    <a:lnTo>
                      <a:pt x="785" y="3287"/>
                    </a:lnTo>
                    <a:lnTo>
                      <a:pt x="771" y="3309"/>
                    </a:lnTo>
                    <a:lnTo>
                      <a:pt x="754" y="3329"/>
                    </a:lnTo>
                    <a:lnTo>
                      <a:pt x="734" y="3346"/>
                    </a:lnTo>
                    <a:lnTo>
                      <a:pt x="712" y="3360"/>
                    </a:lnTo>
                    <a:lnTo>
                      <a:pt x="687" y="3369"/>
                    </a:lnTo>
                    <a:lnTo>
                      <a:pt x="662" y="3374"/>
                    </a:lnTo>
                    <a:lnTo>
                      <a:pt x="635" y="3374"/>
                    </a:lnTo>
                    <a:lnTo>
                      <a:pt x="608" y="3370"/>
                    </a:lnTo>
                    <a:lnTo>
                      <a:pt x="581" y="3360"/>
                    </a:lnTo>
                    <a:lnTo>
                      <a:pt x="558" y="3346"/>
                    </a:lnTo>
                    <a:lnTo>
                      <a:pt x="538" y="3329"/>
                    </a:lnTo>
                    <a:lnTo>
                      <a:pt x="522" y="3309"/>
                    </a:lnTo>
                    <a:lnTo>
                      <a:pt x="509" y="3286"/>
                    </a:lnTo>
                    <a:lnTo>
                      <a:pt x="500" y="3261"/>
                    </a:lnTo>
                    <a:lnTo>
                      <a:pt x="495" y="3236"/>
                    </a:lnTo>
                    <a:lnTo>
                      <a:pt x="495" y="3208"/>
                    </a:lnTo>
                    <a:lnTo>
                      <a:pt x="500" y="3181"/>
                    </a:lnTo>
                    <a:lnTo>
                      <a:pt x="773" y="2147"/>
                    </a:lnTo>
                    <a:lnTo>
                      <a:pt x="639" y="2147"/>
                    </a:lnTo>
                    <a:lnTo>
                      <a:pt x="683" y="2099"/>
                    </a:lnTo>
                    <a:lnTo>
                      <a:pt x="729" y="2048"/>
                    </a:lnTo>
                    <a:lnTo>
                      <a:pt x="778" y="1994"/>
                    </a:lnTo>
                    <a:lnTo>
                      <a:pt x="2742" y="1994"/>
                    </a:lnTo>
                    <a:lnTo>
                      <a:pt x="2742" y="307"/>
                    </a:lnTo>
                    <a:lnTo>
                      <a:pt x="227" y="307"/>
                    </a:lnTo>
                    <a:lnTo>
                      <a:pt x="227" y="1912"/>
                    </a:lnTo>
                    <a:lnTo>
                      <a:pt x="184" y="1953"/>
                    </a:lnTo>
                    <a:lnTo>
                      <a:pt x="144" y="1989"/>
                    </a:lnTo>
                    <a:lnTo>
                      <a:pt x="108" y="2023"/>
                    </a:lnTo>
                    <a:lnTo>
                      <a:pt x="76" y="2052"/>
                    </a:lnTo>
                    <a:lnTo>
                      <a:pt x="76" y="285"/>
                    </a:lnTo>
                    <a:lnTo>
                      <a:pt x="55" y="271"/>
                    </a:lnTo>
                    <a:lnTo>
                      <a:pt x="36" y="252"/>
                    </a:lnTo>
                    <a:lnTo>
                      <a:pt x="21" y="231"/>
                    </a:lnTo>
                    <a:lnTo>
                      <a:pt x="9" y="207"/>
                    </a:lnTo>
                    <a:lnTo>
                      <a:pt x="2" y="181"/>
                    </a:lnTo>
                    <a:lnTo>
                      <a:pt x="0" y="154"/>
                    </a:lnTo>
                    <a:lnTo>
                      <a:pt x="3" y="123"/>
                    </a:lnTo>
                    <a:lnTo>
                      <a:pt x="12" y="93"/>
                    </a:lnTo>
                    <a:lnTo>
                      <a:pt x="25" y="68"/>
                    </a:lnTo>
                    <a:lnTo>
                      <a:pt x="44" y="45"/>
                    </a:lnTo>
                    <a:lnTo>
                      <a:pt x="66" y="27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2" name="Freeform 204"/>
              <p:cNvSpPr>
                <a:spLocks/>
              </p:cNvSpPr>
              <p:nvPr/>
            </p:nvSpPr>
            <p:spPr bwMode="auto">
              <a:xfrm>
                <a:off x="4443" y="3439"/>
                <a:ext cx="60" cy="176"/>
              </a:xfrm>
              <a:custGeom>
                <a:avLst/>
                <a:gdLst>
                  <a:gd name="T0" fmla="*/ 153 w 304"/>
                  <a:gd name="T1" fmla="*/ 0 h 881"/>
                  <a:gd name="T2" fmla="*/ 183 w 304"/>
                  <a:gd name="T3" fmla="*/ 3 h 881"/>
                  <a:gd name="T4" fmla="*/ 211 w 304"/>
                  <a:gd name="T5" fmla="*/ 12 h 881"/>
                  <a:gd name="T6" fmla="*/ 237 w 304"/>
                  <a:gd name="T7" fmla="*/ 25 h 881"/>
                  <a:gd name="T8" fmla="*/ 260 w 304"/>
                  <a:gd name="T9" fmla="*/ 44 h 881"/>
                  <a:gd name="T10" fmla="*/ 278 w 304"/>
                  <a:gd name="T11" fmla="*/ 68 h 881"/>
                  <a:gd name="T12" fmla="*/ 293 w 304"/>
                  <a:gd name="T13" fmla="*/ 93 h 881"/>
                  <a:gd name="T14" fmla="*/ 301 w 304"/>
                  <a:gd name="T15" fmla="*/ 122 h 881"/>
                  <a:gd name="T16" fmla="*/ 304 w 304"/>
                  <a:gd name="T17" fmla="*/ 154 h 881"/>
                  <a:gd name="T18" fmla="*/ 304 w 304"/>
                  <a:gd name="T19" fmla="*/ 729 h 881"/>
                  <a:gd name="T20" fmla="*/ 301 w 304"/>
                  <a:gd name="T21" fmla="*/ 759 h 881"/>
                  <a:gd name="T22" fmla="*/ 293 w 304"/>
                  <a:gd name="T23" fmla="*/ 788 h 881"/>
                  <a:gd name="T24" fmla="*/ 278 w 304"/>
                  <a:gd name="T25" fmla="*/ 814 h 881"/>
                  <a:gd name="T26" fmla="*/ 260 w 304"/>
                  <a:gd name="T27" fmla="*/ 837 h 881"/>
                  <a:gd name="T28" fmla="*/ 237 w 304"/>
                  <a:gd name="T29" fmla="*/ 856 h 881"/>
                  <a:gd name="T30" fmla="*/ 211 w 304"/>
                  <a:gd name="T31" fmla="*/ 870 h 881"/>
                  <a:gd name="T32" fmla="*/ 183 w 304"/>
                  <a:gd name="T33" fmla="*/ 878 h 881"/>
                  <a:gd name="T34" fmla="*/ 153 w 304"/>
                  <a:gd name="T35" fmla="*/ 881 h 881"/>
                  <a:gd name="T36" fmla="*/ 121 w 304"/>
                  <a:gd name="T37" fmla="*/ 878 h 881"/>
                  <a:gd name="T38" fmla="*/ 92 w 304"/>
                  <a:gd name="T39" fmla="*/ 870 h 881"/>
                  <a:gd name="T40" fmla="*/ 67 w 304"/>
                  <a:gd name="T41" fmla="*/ 856 h 881"/>
                  <a:gd name="T42" fmla="*/ 44 w 304"/>
                  <a:gd name="T43" fmla="*/ 837 h 881"/>
                  <a:gd name="T44" fmla="*/ 26 w 304"/>
                  <a:gd name="T45" fmla="*/ 814 h 881"/>
                  <a:gd name="T46" fmla="*/ 11 w 304"/>
                  <a:gd name="T47" fmla="*/ 788 h 881"/>
                  <a:gd name="T48" fmla="*/ 3 w 304"/>
                  <a:gd name="T49" fmla="*/ 759 h 881"/>
                  <a:gd name="T50" fmla="*/ 0 w 304"/>
                  <a:gd name="T51" fmla="*/ 729 h 881"/>
                  <a:gd name="T52" fmla="*/ 0 w 304"/>
                  <a:gd name="T53" fmla="*/ 154 h 881"/>
                  <a:gd name="T54" fmla="*/ 3 w 304"/>
                  <a:gd name="T55" fmla="*/ 122 h 881"/>
                  <a:gd name="T56" fmla="*/ 11 w 304"/>
                  <a:gd name="T57" fmla="*/ 93 h 881"/>
                  <a:gd name="T58" fmla="*/ 26 w 304"/>
                  <a:gd name="T59" fmla="*/ 68 h 881"/>
                  <a:gd name="T60" fmla="*/ 44 w 304"/>
                  <a:gd name="T61" fmla="*/ 44 h 881"/>
                  <a:gd name="T62" fmla="*/ 67 w 304"/>
                  <a:gd name="T63" fmla="*/ 25 h 881"/>
                  <a:gd name="T64" fmla="*/ 92 w 304"/>
                  <a:gd name="T65" fmla="*/ 12 h 881"/>
                  <a:gd name="T66" fmla="*/ 121 w 304"/>
                  <a:gd name="T67" fmla="*/ 3 h 881"/>
                  <a:gd name="T68" fmla="*/ 153 w 304"/>
                  <a:gd name="T69" fmla="*/ 0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881">
                    <a:moveTo>
                      <a:pt x="153" y="0"/>
                    </a:moveTo>
                    <a:lnTo>
                      <a:pt x="183" y="3"/>
                    </a:lnTo>
                    <a:lnTo>
                      <a:pt x="211" y="12"/>
                    </a:lnTo>
                    <a:lnTo>
                      <a:pt x="237" y="25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4" y="154"/>
                    </a:lnTo>
                    <a:lnTo>
                      <a:pt x="304" y="729"/>
                    </a:lnTo>
                    <a:lnTo>
                      <a:pt x="301" y="759"/>
                    </a:lnTo>
                    <a:lnTo>
                      <a:pt x="293" y="788"/>
                    </a:lnTo>
                    <a:lnTo>
                      <a:pt x="278" y="814"/>
                    </a:lnTo>
                    <a:lnTo>
                      <a:pt x="260" y="837"/>
                    </a:lnTo>
                    <a:lnTo>
                      <a:pt x="237" y="856"/>
                    </a:lnTo>
                    <a:lnTo>
                      <a:pt x="211" y="870"/>
                    </a:lnTo>
                    <a:lnTo>
                      <a:pt x="183" y="878"/>
                    </a:lnTo>
                    <a:lnTo>
                      <a:pt x="153" y="881"/>
                    </a:lnTo>
                    <a:lnTo>
                      <a:pt x="121" y="878"/>
                    </a:lnTo>
                    <a:lnTo>
                      <a:pt x="92" y="870"/>
                    </a:lnTo>
                    <a:lnTo>
                      <a:pt x="67" y="856"/>
                    </a:lnTo>
                    <a:lnTo>
                      <a:pt x="44" y="837"/>
                    </a:lnTo>
                    <a:lnTo>
                      <a:pt x="26" y="814"/>
                    </a:lnTo>
                    <a:lnTo>
                      <a:pt x="11" y="788"/>
                    </a:lnTo>
                    <a:lnTo>
                      <a:pt x="3" y="759"/>
                    </a:lnTo>
                    <a:lnTo>
                      <a:pt x="0" y="729"/>
                    </a:lnTo>
                    <a:lnTo>
                      <a:pt x="0" y="154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5"/>
                    </a:lnTo>
                    <a:lnTo>
                      <a:pt x="92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3" name="Freeform 205"/>
              <p:cNvSpPr>
                <a:spLocks/>
              </p:cNvSpPr>
              <p:nvPr/>
            </p:nvSpPr>
            <p:spPr bwMode="auto">
              <a:xfrm>
                <a:off x="4542" y="3331"/>
                <a:ext cx="60" cy="284"/>
              </a:xfrm>
              <a:custGeom>
                <a:avLst/>
                <a:gdLst>
                  <a:gd name="T0" fmla="*/ 153 w 304"/>
                  <a:gd name="T1" fmla="*/ 0 h 1418"/>
                  <a:gd name="T2" fmla="*/ 183 w 304"/>
                  <a:gd name="T3" fmla="*/ 3 h 1418"/>
                  <a:gd name="T4" fmla="*/ 212 w 304"/>
                  <a:gd name="T5" fmla="*/ 12 h 1418"/>
                  <a:gd name="T6" fmla="*/ 237 w 304"/>
                  <a:gd name="T7" fmla="*/ 26 h 1418"/>
                  <a:gd name="T8" fmla="*/ 260 w 304"/>
                  <a:gd name="T9" fmla="*/ 45 h 1418"/>
                  <a:gd name="T10" fmla="*/ 278 w 304"/>
                  <a:gd name="T11" fmla="*/ 67 h 1418"/>
                  <a:gd name="T12" fmla="*/ 293 w 304"/>
                  <a:gd name="T13" fmla="*/ 94 h 1418"/>
                  <a:gd name="T14" fmla="*/ 301 w 304"/>
                  <a:gd name="T15" fmla="*/ 122 h 1418"/>
                  <a:gd name="T16" fmla="*/ 304 w 304"/>
                  <a:gd name="T17" fmla="*/ 153 h 1418"/>
                  <a:gd name="T18" fmla="*/ 304 w 304"/>
                  <a:gd name="T19" fmla="*/ 1266 h 1418"/>
                  <a:gd name="T20" fmla="*/ 301 w 304"/>
                  <a:gd name="T21" fmla="*/ 1296 h 1418"/>
                  <a:gd name="T22" fmla="*/ 293 w 304"/>
                  <a:gd name="T23" fmla="*/ 1325 h 1418"/>
                  <a:gd name="T24" fmla="*/ 278 w 304"/>
                  <a:gd name="T25" fmla="*/ 1351 h 1418"/>
                  <a:gd name="T26" fmla="*/ 260 w 304"/>
                  <a:gd name="T27" fmla="*/ 1374 h 1418"/>
                  <a:gd name="T28" fmla="*/ 237 w 304"/>
                  <a:gd name="T29" fmla="*/ 1393 h 1418"/>
                  <a:gd name="T30" fmla="*/ 212 w 304"/>
                  <a:gd name="T31" fmla="*/ 1407 h 1418"/>
                  <a:gd name="T32" fmla="*/ 183 w 304"/>
                  <a:gd name="T33" fmla="*/ 1415 h 1418"/>
                  <a:gd name="T34" fmla="*/ 153 w 304"/>
                  <a:gd name="T35" fmla="*/ 1418 h 1418"/>
                  <a:gd name="T36" fmla="*/ 121 w 304"/>
                  <a:gd name="T37" fmla="*/ 1415 h 1418"/>
                  <a:gd name="T38" fmla="*/ 93 w 304"/>
                  <a:gd name="T39" fmla="*/ 1407 h 1418"/>
                  <a:gd name="T40" fmla="*/ 67 w 304"/>
                  <a:gd name="T41" fmla="*/ 1393 h 1418"/>
                  <a:gd name="T42" fmla="*/ 44 w 304"/>
                  <a:gd name="T43" fmla="*/ 1374 h 1418"/>
                  <a:gd name="T44" fmla="*/ 26 w 304"/>
                  <a:gd name="T45" fmla="*/ 1351 h 1418"/>
                  <a:gd name="T46" fmla="*/ 11 w 304"/>
                  <a:gd name="T47" fmla="*/ 1325 h 1418"/>
                  <a:gd name="T48" fmla="*/ 3 w 304"/>
                  <a:gd name="T49" fmla="*/ 1296 h 1418"/>
                  <a:gd name="T50" fmla="*/ 0 w 304"/>
                  <a:gd name="T51" fmla="*/ 1266 h 1418"/>
                  <a:gd name="T52" fmla="*/ 0 w 304"/>
                  <a:gd name="T53" fmla="*/ 153 h 1418"/>
                  <a:gd name="T54" fmla="*/ 3 w 304"/>
                  <a:gd name="T55" fmla="*/ 122 h 1418"/>
                  <a:gd name="T56" fmla="*/ 11 w 304"/>
                  <a:gd name="T57" fmla="*/ 94 h 1418"/>
                  <a:gd name="T58" fmla="*/ 26 w 304"/>
                  <a:gd name="T59" fmla="*/ 67 h 1418"/>
                  <a:gd name="T60" fmla="*/ 44 w 304"/>
                  <a:gd name="T61" fmla="*/ 45 h 1418"/>
                  <a:gd name="T62" fmla="*/ 67 w 304"/>
                  <a:gd name="T63" fmla="*/ 26 h 1418"/>
                  <a:gd name="T64" fmla="*/ 93 w 304"/>
                  <a:gd name="T65" fmla="*/ 12 h 1418"/>
                  <a:gd name="T66" fmla="*/ 121 w 304"/>
                  <a:gd name="T67" fmla="*/ 3 h 1418"/>
                  <a:gd name="T68" fmla="*/ 153 w 304"/>
                  <a:gd name="T69" fmla="*/ 0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1418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2"/>
                    </a:lnTo>
                    <a:lnTo>
                      <a:pt x="237" y="26"/>
                    </a:lnTo>
                    <a:lnTo>
                      <a:pt x="260" y="45"/>
                    </a:lnTo>
                    <a:lnTo>
                      <a:pt x="278" y="67"/>
                    </a:lnTo>
                    <a:lnTo>
                      <a:pt x="293" y="94"/>
                    </a:lnTo>
                    <a:lnTo>
                      <a:pt x="301" y="122"/>
                    </a:lnTo>
                    <a:lnTo>
                      <a:pt x="304" y="153"/>
                    </a:lnTo>
                    <a:lnTo>
                      <a:pt x="304" y="1266"/>
                    </a:lnTo>
                    <a:lnTo>
                      <a:pt x="301" y="1296"/>
                    </a:lnTo>
                    <a:lnTo>
                      <a:pt x="293" y="1325"/>
                    </a:lnTo>
                    <a:lnTo>
                      <a:pt x="278" y="1351"/>
                    </a:lnTo>
                    <a:lnTo>
                      <a:pt x="260" y="1374"/>
                    </a:lnTo>
                    <a:lnTo>
                      <a:pt x="237" y="1393"/>
                    </a:lnTo>
                    <a:lnTo>
                      <a:pt x="212" y="1407"/>
                    </a:lnTo>
                    <a:lnTo>
                      <a:pt x="183" y="1415"/>
                    </a:lnTo>
                    <a:lnTo>
                      <a:pt x="153" y="1418"/>
                    </a:lnTo>
                    <a:lnTo>
                      <a:pt x="121" y="1415"/>
                    </a:lnTo>
                    <a:lnTo>
                      <a:pt x="93" y="1407"/>
                    </a:lnTo>
                    <a:lnTo>
                      <a:pt x="67" y="1393"/>
                    </a:lnTo>
                    <a:lnTo>
                      <a:pt x="44" y="1374"/>
                    </a:lnTo>
                    <a:lnTo>
                      <a:pt x="26" y="1351"/>
                    </a:lnTo>
                    <a:lnTo>
                      <a:pt x="11" y="1325"/>
                    </a:lnTo>
                    <a:lnTo>
                      <a:pt x="3" y="1296"/>
                    </a:lnTo>
                    <a:lnTo>
                      <a:pt x="0" y="1266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4"/>
                    </a:lnTo>
                    <a:lnTo>
                      <a:pt x="26" y="67"/>
                    </a:lnTo>
                    <a:lnTo>
                      <a:pt x="44" y="45"/>
                    </a:lnTo>
                    <a:lnTo>
                      <a:pt x="67" y="26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4" name="Freeform 206"/>
              <p:cNvSpPr>
                <a:spLocks/>
              </p:cNvSpPr>
              <p:nvPr/>
            </p:nvSpPr>
            <p:spPr bwMode="auto">
              <a:xfrm>
                <a:off x="4641" y="3393"/>
                <a:ext cx="61" cy="222"/>
              </a:xfrm>
              <a:custGeom>
                <a:avLst/>
                <a:gdLst>
                  <a:gd name="T0" fmla="*/ 153 w 305"/>
                  <a:gd name="T1" fmla="*/ 0 h 1111"/>
                  <a:gd name="T2" fmla="*/ 183 w 305"/>
                  <a:gd name="T3" fmla="*/ 3 h 1111"/>
                  <a:gd name="T4" fmla="*/ 212 w 305"/>
                  <a:gd name="T5" fmla="*/ 11 h 1111"/>
                  <a:gd name="T6" fmla="*/ 237 w 305"/>
                  <a:gd name="T7" fmla="*/ 26 h 1111"/>
                  <a:gd name="T8" fmla="*/ 260 w 305"/>
                  <a:gd name="T9" fmla="*/ 44 h 1111"/>
                  <a:gd name="T10" fmla="*/ 278 w 305"/>
                  <a:gd name="T11" fmla="*/ 68 h 1111"/>
                  <a:gd name="T12" fmla="*/ 293 w 305"/>
                  <a:gd name="T13" fmla="*/ 93 h 1111"/>
                  <a:gd name="T14" fmla="*/ 301 w 305"/>
                  <a:gd name="T15" fmla="*/ 122 h 1111"/>
                  <a:gd name="T16" fmla="*/ 305 w 305"/>
                  <a:gd name="T17" fmla="*/ 153 h 1111"/>
                  <a:gd name="T18" fmla="*/ 305 w 305"/>
                  <a:gd name="T19" fmla="*/ 959 h 1111"/>
                  <a:gd name="T20" fmla="*/ 301 w 305"/>
                  <a:gd name="T21" fmla="*/ 989 h 1111"/>
                  <a:gd name="T22" fmla="*/ 293 w 305"/>
                  <a:gd name="T23" fmla="*/ 1018 h 1111"/>
                  <a:gd name="T24" fmla="*/ 278 w 305"/>
                  <a:gd name="T25" fmla="*/ 1044 h 1111"/>
                  <a:gd name="T26" fmla="*/ 260 w 305"/>
                  <a:gd name="T27" fmla="*/ 1067 h 1111"/>
                  <a:gd name="T28" fmla="*/ 237 w 305"/>
                  <a:gd name="T29" fmla="*/ 1086 h 1111"/>
                  <a:gd name="T30" fmla="*/ 212 w 305"/>
                  <a:gd name="T31" fmla="*/ 1100 h 1111"/>
                  <a:gd name="T32" fmla="*/ 183 w 305"/>
                  <a:gd name="T33" fmla="*/ 1108 h 1111"/>
                  <a:gd name="T34" fmla="*/ 153 w 305"/>
                  <a:gd name="T35" fmla="*/ 1111 h 1111"/>
                  <a:gd name="T36" fmla="*/ 121 w 305"/>
                  <a:gd name="T37" fmla="*/ 1108 h 1111"/>
                  <a:gd name="T38" fmla="*/ 93 w 305"/>
                  <a:gd name="T39" fmla="*/ 1100 h 1111"/>
                  <a:gd name="T40" fmla="*/ 67 w 305"/>
                  <a:gd name="T41" fmla="*/ 1086 h 1111"/>
                  <a:gd name="T42" fmla="*/ 44 w 305"/>
                  <a:gd name="T43" fmla="*/ 1067 h 1111"/>
                  <a:gd name="T44" fmla="*/ 26 w 305"/>
                  <a:gd name="T45" fmla="*/ 1044 h 1111"/>
                  <a:gd name="T46" fmla="*/ 12 w 305"/>
                  <a:gd name="T47" fmla="*/ 1018 h 1111"/>
                  <a:gd name="T48" fmla="*/ 3 w 305"/>
                  <a:gd name="T49" fmla="*/ 989 h 1111"/>
                  <a:gd name="T50" fmla="*/ 0 w 305"/>
                  <a:gd name="T51" fmla="*/ 959 h 1111"/>
                  <a:gd name="T52" fmla="*/ 0 w 305"/>
                  <a:gd name="T53" fmla="*/ 153 h 1111"/>
                  <a:gd name="T54" fmla="*/ 3 w 305"/>
                  <a:gd name="T55" fmla="*/ 122 h 1111"/>
                  <a:gd name="T56" fmla="*/ 12 w 305"/>
                  <a:gd name="T57" fmla="*/ 93 h 1111"/>
                  <a:gd name="T58" fmla="*/ 26 w 305"/>
                  <a:gd name="T59" fmla="*/ 68 h 1111"/>
                  <a:gd name="T60" fmla="*/ 44 w 305"/>
                  <a:gd name="T61" fmla="*/ 44 h 1111"/>
                  <a:gd name="T62" fmla="*/ 67 w 305"/>
                  <a:gd name="T63" fmla="*/ 26 h 1111"/>
                  <a:gd name="T64" fmla="*/ 93 w 305"/>
                  <a:gd name="T65" fmla="*/ 11 h 1111"/>
                  <a:gd name="T66" fmla="*/ 121 w 305"/>
                  <a:gd name="T67" fmla="*/ 3 h 1111"/>
                  <a:gd name="T68" fmla="*/ 153 w 305"/>
                  <a:gd name="T69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5" h="1111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1"/>
                    </a:lnTo>
                    <a:lnTo>
                      <a:pt x="237" y="26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5" y="153"/>
                    </a:lnTo>
                    <a:lnTo>
                      <a:pt x="305" y="959"/>
                    </a:lnTo>
                    <a:lnTo>
                      <a:pt x="301" y="989"/>
                    </a:lnTo>
                    <a:lnTo>
                      <a:pt x="293" y="1018"/>
                    </a:lnTo>
                    <a:lnTo>
                      <a:pt x="278" y="1044"/>
                    </a:lnTo>
                    <a:lnTo>
                      <a:pt x="260" y="1067"/>
                    </a:lnTo>
                    <a:lnTo>
                      <a:pt x="237" y="1086"/>
                    </a:lnTo>
                    <a:lnTo>
                      <a:pt x="212" y="1100"/>
                    </a:lnTo>
                    <a:lnTo>
                      <a:pt x="183" y="1108"/>
                    </a:lnTo>
                    <a:lnTo>
                      <a:pt x="153" y="1111"/>
                    </a:lnTo>
                    <a:lnTo>
                      <a:pt x="121" y="1108"/>
                    </a:lnTo>
                    <a:lnTo>
                      <a:pt x="93" y="1100"/>
                    </a:lnTo>
                    <a:lnTo>
                      <a:pt x="67" y="1086"/>
                    </a:lnTo>
                    <a:lnTo>
                      <a:pt x="44" y="1067"/>
                    </a:lnTo>
                    <a:lnTo>
                      <a:pt x="26" y="1044"/>
                    </a:lnTo>
                    <a:lnTo>
                      <a:pt x="12" y="1018"/>
                    </a:lnTo>
                    <a:lnTo>
                      <a:pt x="3" y="989"/>
                    </a:lnTo>
                    <a:lnTo>
                      <a:pt x="0" y="959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2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6"/>
                    </a:lnTo>
                    <a:lnTo>
                      <a:pt x="93" y="11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5" name="Freeform 207"/>
              <p:cNvSpPr>
                <a:spLocks/>
              </p:cNvSpPr>
              <p:nvPr/>
            </p:nvSpPr>
            <p:spPr bwMode="auto">
              <a:xfrm>
                <a:off x="4176" y="3520"/>
                <a:ext cx="223" cy="225"/>
              </a:xfrm>
              <a:custGeom>
                <a:avLst/>
                <a:gdLst>
                  <a:gd name="T0" fmla="*/ 1085 w 1117"/>
                  <a:gd name="T1" fmla="*/ 0 h 1123"/>
                  <a:gd name="T2" fmla="*/ 1106 w 1117"/>
                  <a:gd name="T3" fmla="*/ 10 h 1123"/>
                  <a:gd name="T4" fmla="*/ 1117 w 1117"/>
                  <a:gd name="T5" fmla="*/ 31 h 1123"/>
                  <a:gd name="T6" fmla="*/ 1113 w 1117"/>
                  <a:gd name="T7" fmla="*/ 53 h 1123"/>
                  <a:gd name="T8" fmla="*/ 1104 w 1117"/>
                  <a:gd name="T9" fmla="*/ 66 h 1123"/>
                  <a:gd name="T10" fmla="*/ 1089 w 1117"/>
                  <a:gd name="T11" fmla="*/ 82 h 1123"/>
                  <a:gd name="T12" fmla="*/ 1062 w 1117"/>
                  <a:gd name="T13" fmla="*/ 112 h 1123"/>
                  <a:gd name="T14" fmla="*/ 1023 w 1117"/>
                  <a:gd name="T15" fmla="*/ 155 h 1123"/>
                  <a:gd name="T16" fmla="*/ 973 w 1117"/>
                  <a:gd name="T17" fmla="*/ 209 h 1123"/>
                  <a:gd name="T18" fmla="*/ 917 w 1117"/>
                  <a:gd name="T19" fmla="*/ 272 h 1123"/>
                  <a:gd name="T20" fmla="*/ 853 w 1117"/>
                  <a:gd name="T21" fmla="*/ 342 h 1123"/>
                  <a:gd name="T22" fmla="*/ 785 w 1117"/>
                  <a:gd name="T23" fmla="*/ 417 h 1123"/>
                  <a:gd name="T24" fmla="*/ 712 w 1117"/>
                  <a:gd name="T25" fmla="*/ 497 h 1123"/>
                  <a:gd name="T26" fmla="*/ 640 w 1117"/>
                  <a:gd name="T27" fmla="*/ 577 h 1123"/>
                  <a:gd name="T28" fmla="*/ 566 w 1117"/>
                  <a:gd name="T29" fmla="*/ 658 h 1123"/>
                  <a:gd name="T30" fmla="*/ 494 w 1117"/>
                  <a:gd name="T31" fmla="*/ 737 h 1123"/>
                  <a:gd name="T32" fmla="*/ 425 w 1117"/>
                  <a:gd name="T33" fmla="*/ 813 h 1123"/>
                  <a:gd name="T34" fmla="*/ 361 w 1117"/>
                  <a:gd name="T35" fmla="*/ 884 h 1123"/>
                  <a:gd name="T36" fmla="*/ 303 w 1117"/>
                  <a:gd name="T37" fmla="*/ 946 h 1123"/>
                  <a:gd name="T38" fmla="*/ 254 w 1117"/>
                  <a:gd name="T39" fmla="*/ 1001 h 1123"/>
                  <a:gd name="T40" fmla="*/ 215 w 1117"/>
                  <a:gd name="T41" fmla="*/ 1045 h 1123"/>
                  <a:gd name="T42" fmla="*/ 186 w 1117"/>
                  <a:gd name="T43" fmla="*/ 1076 h 1123"/>
                  <a:gd name="T44" fmla="*/ 171 w 1117"/>
                  <a:gd name="T45" fmla="*/ 1093 h 1123"/>
                  <a:gd name="T46" fmla="*/ 151 w 1117"/>
                  <a:gd name="T47" fmla="*/ 1110 h 1123"/>
                  <a:gd name="T48" fmla="*/ 110 w 1117"/>
                  <a:gd name="T49" fmla="*/ 1123 h 1123"/>
                  <a:gd name="T50" fmla="*/ 66 w 1117"/>
                  <a:gd name="T51" fmla="*/ 1119 h 1123"/>
                  <a:gd name="T52" fmla="*/ 28 w 1117"/>
                  <a:gd name="T53" fmla="*/ 1095 h 1123"/>
                  <a:gd name="T54" fmla="*/ 5 w 1117"/>
                  <a:gd name="T55" fmla="*/ 1057 h 1123"/>
                  <a:gd name="T56" fmla="*/ 0 w 1117"/>
                  <a:gd name="T57" fmla="*/ 1013 h 1123"/>
                  <a:gd name="T58" fmla="*/ 14 w 1117"/>
                  <a:gd name="T59" fmla="*/ 972 h 1123"/>
                  <a:gd name="T60" fmla="*/ 31 w 1117"/>
                  <a:gd name="T61" fmla="*/ 952 h 1123"/>
                  <a:gd name="T62" fmla="*/ 47 w 1117"/>
                  <a:gd name="T63" fmla="*/ 936 h 1123"/>
                  <a:gd name="T64" fmla="*/ 78 w 1117"/>
                  <a:gd name="T65" fmla="*/ 908 h 1123"/>
                  <a:gd name="T66" fmla="*/ 122 w 1117"/>
                  <a:gd name="T67" fmla="*/ 868 h 1123"/>
                  <a:gd name="T68" fmla="*/ 176 w 1117"/>
                  <a:gd name="T69" fmla="*/ 818 h 1123"/>
                  <a:gd name="T70" fmla="*/ 238 w 1117"/>
                  <a:gd name="T71" fmla="*/ 761 h 1123"/>
                  <a:gd name="T72" fmla="*/ 309 w 1117"/>
                  <a:gd name="T73" fmla="*/ 696 h 1123"/>
                  <a:gd name="T74" fmla="*/ 383 w 1117"/>
                  <a:gd name="T75" fmla="*/ 627 h 1123"/>
                  <a:gd name="T76" fmla="*/ 463 w 1117"/>
                  <a:gd name="T77" fmla="*/ 554 h 1123"/>
                  <a:gd name="T78" fmla="*/ 543 w 1117"/>
                  <a:gd name="T79" fmla="*/ 481 h 1123"/>
                  <a:gd name="T80" fmla="*/ 623 w 1117"/>
                  <a:gd name="T81" fmla="*/ 406 h 1123"/>
                  <a:gd name="T82" fmla="*/ 702 w 1117"/>
                  <a:gd name="T83" fmla="*/ 334 h 1123"/>
                  <a:gd name="T84" fmla="*/ 776 w 1117"/>
                  <a:gd name="T85" fmla="*/ 265 h 1123"/>
                  <a:gd name="T86" fmla="*/ 846 w 1117"/>
                  <a:gd name="T87" fmla="*/ 201 h 1123"/>
                  <a:gd name="T88" fmla="*/ 908 w 1117"/>
                  <a:gd name="T89" fmla="*/ 143 h 1123"/>
                  <a:gd name="T90" fmla="*/ 962 w 1117"/>
                  <a:gd name="T91" fmla="*/ 95 h 1123"/>
                  <a:gd name="T92" fmla="*/ 1005 w 1117"/>
                  <a:gd name="T93" fmla="*/ 54 h 1123"/>
                  <a:gd name="T94" fmla="*/ 1036 w 1117"/>
                  <a:gd name="T95" fmla="*/ 27 h 1123"/>
                  <a:gd name="T96" fmla="*/ 1051 w 1117"/>
                  <a:gd name="T97" fmla="*/ 12 h 1123"/>
                  <a:gd name="T98" fmla="*/ 1063 w 1117"/>
                  <a:gd name="T99" fmla="*/ 3 h 1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17" h="1123">
                    <a:moveTo>
                      <a:pt x="1074" y="0"/>
                    </a:moveTo>
                    <a:lnTo>
                      <a:pt x="1085" y="0"/>
                    </a:lnTo>
                    <a:lnTo>
                      <a:pt x="1096" y="3"/>
                    </a:lnTo>
                    <a:lnTo>
                      <a:pt x="1106" y="10"/>
                    </a:lnTo>
                    <a:lnTo>
                      <a:pt x="1113" y="20"/>
                    </a:lnTo>
                    <a:lnTo>
                      <a:pt x="1117" y="31"/>
                    </a:lnTo>
                    <a:lnTo>
                      <a:pt x="1117" y="43"/>
                    </a:lnTo>
                    <a:lnTo>
                      <a:pt x="1113" y="53"/>
                    </a:lnTo>
                    <a:lnTo>
                      <a:pt x="1106" y="64"/>
                    </a:lnTo>
                    <a:lnTo>
                      <a:pt x="1104" y="66"/>
                    </a:lnTo>
                    <a:lnTo>
                      <a:pt x="1099" y="71"/>
                    </a:lnTo>
                    <a:lnTo>
                      <a:pt x="1089" y="82"/>
                    </a:lnTo>
                    <a:lnTo>
                      <a:pt x="1077" y="96"/>
                    </a:lnTo>
                    <a:lnTo>
                      <a:pt x="1062" y="112"/>
                    </a:lnTo>
                    <a:lnTo>
                      <a:pt x="1043" y="132"/>
                    </a:lnTo>
                    <a:lnTo>
                      <a:pt x="1023" y="155"/>
                    </a:lnTo>
                    <a:lnTo>
                      <a:pt x="999" y="181"/>
                    </a:lnTo>
                    <a:lnTo>
                      <a:pt x="973" y="209"/>
                    </a:lnTo>
                    <a:lnTo>
                      <a:pt x="946" y="240"/>
                    </a:lnTo>
                    <a:lnTo>
                      <a:pt x="917" y="272"/>
                    </a:lnTo>
                    <a:lnTo>
                      <a:pt x="885" y="306"/>
                    </a:lnTo>
                    <a:lnTo>
                      <a:pt x="853" y="342"/>
                    </a:lnTo>
                    <a:lnTo>
                      <a:pt x="820" y="379"/>
                    </a:lnTo>
                    <a:lnTo>
                      <a:pt x="785" y="417"/>
                    </a:lnTo>
                    <a:lnTo>
                      <a:pt x="749" y="456"/>
                    </a:lnTo>
                    <a:lnTo>
                      <a:pt x="712" y="497"/>
                    </a:lnTo>
                    <a:lnTo>
                      <a:pt x="676" y="537"/>
                    </a:lnTo>
                    <a:lnTo>
                      <a:pt x="640" y="577"/>
                    </a:lnTo>
                    <a:lnTo>
                      <a:pt x="603" y="617"/>
                    </a:lnTo>
                    <a:lnTo>
                      <a:pt x="566" y="658"/>
                    </a:lnTo>
                    <a:lnTo>
                      <a:pt x="529" y="698"/>
                    </a:lnTo>
                    <a:lnTo>
                      <a:pt x="494" y="737"/>
                    </a:lnTo>
                    <a:lnTo>
                      <a:pt x="458" y="776"/>
                    </a:lnTo>
                    <a:lnTo>
                      <a:pt x="425" y="813"/>
                    </a:lnTo>
                    <a:lnTo>
                      <a:pt x="392" y="849"/>
                    </a:lnTo>
                    <a:lnTo>
                      <a:pt x="361" y="884"/>
                    </a:lnTo>
                    <a:lnTo>
                      <a:pt x="332" y="917"/>
                    </a:lnTo>
                    <a:lnTo>
                      <a:pt x="303" y="946"/>
                    </a:lnTo>
                    <a:lnTo>
                      <a:pt x="278" y="975"/>
                    </a:lnTo>
                    <a:lnTo>
                      <a:pt x="254" y="1001"/>
                    </a:lnTo>
                    <a:lnTo>
                      <a:pt x="233" y="1024"/>
                    </a:lnTo>
                    <a:lnTo>
                      <a:pt x="215" y="1045"/>
                    </a:lnTo>
                    <a:lnTo>
                      <a:pt x="199" y="1062"/>
                    </a:lnTo>
                    <a:lnTo>
                      <a:pt x="186" y="1076"/>
                    </a:lnTo>
                    <a:lnTo>
                      <a:pt x="177" y="1086"/>
                    </a:lnTo>
                    <a:lnTo>
                      <a:pt x="171" y="1093"/>
                    </a:lnTo>
                    <a:lnTo>
                      <a:pt x="169" y="1095"/>
                    </a:lnTo>
                    <a:lnTo>
                      <a:pt x="151" y="1110"/>
                    </a:lnTo>
                    <a:lnTo>
                      <a:pt x="131" y="1119"/>
                    </a:lnTo>
                    <a:lnTo>
                      <a:pt x="110" y="1123"/>
                    </a:lnTo>
                    <a:lnTo>
                      <a:pt x="87" y="1123"/>
                    </a:lnTo>
                    <a:lnTo>
                      <a:pt x="66" y="1119"/>
                    </a:lnTo>
                    <a:lnTo>
                      <a:pt x="46" y="1110"/>
                    </a:lnTo>
                    <a:lnTo>
                      <a:pt x="28" y="1095"/>
                    </a:lnTo>
                    <a:lnTo>
                      <a:pt x="14" y="1077"/>
                    </a:lnTo>
                    <a:lnTo>
                      <a:pt x="5" y="1057"/>
                    </a:lnTo>
                    <a:lnTo>
                      <a:pt x="0" y="1035"/>
                    </a:lnTo>
                    <a:lnTo>
                      <a:pt x="0" y="1013"/>
                    </a:lnTo>
                    <a:lnTo>
                      <a:pt x="5" y="992"/>
                    </a:lnTo>
                    <a:lnTo>
                      <a:pt x="14" y="972"/>
                    </a:lnTo>
                    <a:lnTo>
                      <a:pt x="28" y="954"/>
                    </a:lnTo>
                    <a:lnTo>
                      <a:pt x="31" y="952"/>
                    </a:lnTo>
                    <a:lnTo>
                      <a:pt x="37" y="945"/>
                    </a:lnTo>
                    <a:lnTo>
                      <a:pt x="47" y="936"/>
                    </a:lnTo>
                    <a:lnTo>
                      <a:pt x="61" y="924"/>
                    </a:lnTo>
                    <a:lnTo>
                      <a:pt x="78" y="908"/>
                    </a:lnTo>
                    <a:lnTo>
                      <a:pt x="99" y="889"/>
                    </a:lnTo>
                    <a:lnTo>
                      <a:pt x="122" y="868"/>
                    </a:lnTo>
                    <a:lnTo>
                      <a:pt x="147" y="844"/>
                    </a:lnTo>
                    <a:lnTo>
                      <a:pt x="176" y="818"/>
                    </a:lnTo>
                    <a:lnTo>
                      <a:pt x="206" y="790"/>
                    </a:lnTo>
                    <a:lnTo>
                      <a:pt x="238" y="761"/>
                    </a:lnTo>
                    <a:lnTo>
                      <a:pt x="273" y="729"/>
                    </a:lnTo>
                    <a:lnTo>
                      <a:pt x="309" y="696"/>
                    </a:lnTo>
                    <a:lnTo>
                      <a:pt x="346" y="662"/>
                    </a:lnTo>
                    <a:lnTo>
                      <a:pt x="383" y="627"/>
                    </a:lnTo>
                    <a:lnTo>
                      <a:pt x="422" y="591"/>
                    </a:lnTo>
                    <a:lnTo>
                      <a:pt x="463" y="554"/>
                    </a:lnTo>
                    <a:lnTo>
                      <a:pt x="503" y="518"/>
                    </a:lnTo>
                    <a:lnTo>
                      <a:pt x="543" y="481"/>
                    </a:lnTo>
                    <a:lnTo>
                      <a:pt x="583" y="444"/>
                    </a:lnTo>
                    <a:lnTo>
                      <a:pt x="623" y="406"/>
                    </a:lnTo>
                    <a:lnTo>
                      <a:pt x="663" y="369"/>
                    </a:lnTo>
                    <a:lnTo>
                      <a:pt x="702" y="334"/>
                    </a:lnTo>
                    <a:lnTo>
                      <a:pt x="740" y="299"/>
                    </a:lnTo>
                    <a:lnTo>
                      <a:pt x="776" y="265"/>
                    </a:lnTo>
                    <a:lnTo>
                      <a:pt x="812" y="232"/>
                    </a:lnTo>
                    <a:lnTo>
                      <a:pt x="846" y="201"/>
                    </a:lnTo>
                    <a:lnTo>
                      <a:pt x="879" y="171"/>
                    </a:lnTo>
                    <a:lnTo>
                      <a:pt x="908" y="143"/>
                    </a:lnTo>
                    <a:lnTo>
                      <a:pt x="937" y="118"/>
                    </a:lnTo>
                    <a:lnTo>
                      <a:pt x="962" y="95"/>
                    </a:lnTo>
                    <a:lnTo>
                      <a:pt x="985" y="73"/>
                    </a:lnTo>
                    <a:lnTo>
                      <a:pt x="1005" y="54"/>
                    </a:lnTo>
                    <a:lnTo>
                      <a:pt x="1022" y="39"/>
                    </a:lnTo>
                    <a:lnTo>
                      <a:pt x="1036" y="27"/>
                    </a:lnTo>
                    <a:lnTo>
                      <a:pt x="1045" y="18"/>
                    </a:lnTo>
                    <a:lnTo>
                      <a:pt x="1051" y="12"/>
                    </a:lnTo>
                    <a:lnTo>
                      <a:pt x="1054" y="10"/>
                    </a:lnTo>
                    <a:lnTo>
                      <a:pt x="1063" y="3"/>
                    </a:lnTo>
                    <a:lnTo>
                      <a:pt x="107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122" name="Rectangle 121"/>
          <p:cNvSpPr/>
          <p:nvPr/>
        </p:nvSpPr>
        <p:spPr bwMode="ltGray">
          <a:xfrm>
            <a:off x="6174395" y="-1"/>
            <a:ext cx="2969606" cy="24504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+mj-lt"/>
              </a:rPr>
              <a:t>Розничные сети + транспорт</a:t>
            </a:r>
            <a:endParaRPr lang="ru-RU" sz="11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50672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6527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721190"/>
            <a:ext cx="7389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Машинное обучение</a:t>
            </a:r>
            <a:endParaRPr lang="ru-RU" sz="8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0" name="Rectangle 17"/>
          <p:cNvSpPr>
            <a:spLocks/>
          </p:cNvSpPr>
          <p:nvPr/>
        </p:nvSpPr>
        <p:spPr bwMode="auto">
          <a:xfrm>
            <a:off x="249055" y="3250159"/>
            <a:ext cx="592770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Данные</a:t>
            </a:r>
            <a:endParaRPr lang="ru-RU" sz="1050" b="1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2801646" y="5011735"/>
            <a:ext cx="443206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sz="1600" i="1" dirty="0" smtClean="0">
                <a:solidFill>
                  <a:schemeClr val="bg1"/>
                </a:solidFill>
                <a:latin typeface="+mj-lt"/>
              </a:rPr>
              <a:t>… выявление связи между рекламой и показателями эффективности бизнеса</a:t>
            </a:r>
            <a:r>
              <a:rPr lang="en-US" sz="1600" i="1" dirty="0" smtClean="0">
                <a:solidFill>
                  <a:schemeClr val="bg1"/>
                </a:solidFill>
                <a:latin typeface="+mj-lt"/>
              </a:rPr>
              <a:t>	</a:t>
            </a:r>
            <a:endParaRPr lang="ru-RU" sz="16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3062683" y="5766278"/>
            <a:ext cx="5983222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ru-RU" sz="1500" i="1" dirty="0" smtClean="0">
                <a:solidFill>
                  <a:schemeClr val="bg1"/>
                </a:solidFill>
                <a:latin typeface="+mj-lt"/>
              </a:rPr>
              <a:t>… для повышения рентабельности инвестиций</a:t>
            </a:r>
            <a:endParaRPr lang="ru-RU" sz="15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66" name="Group 201"/>
          <p:cNvGrpSpPr>
            <a:grpSpLocks noChangeAspect="1"/>
          </p:cNvGrpSpPr>
          <p:nvPr/>
        </p:nvGrpSpPr>
        <p:grpSpPr bwMode="auto">
          <a:xfrm>
            <a:off x="1562510" y="5114287"/>
            <a:ext cx="1036945" cy="1162688"/>
            <a:chOff x="4176" y="3243"/>
            <a:chExt cx="602" cy="675"/>
          </a:xfrm>
          <a:solidFill>
            <a:srgbClr val="A7A49B"/>
          </a:solidFill>
        </p:grpSpPr>
        <p:sp>
          <p:nvSpPr>
            <p:cNvPr id="67" name="Freeform 203"/>
            <p:cNvSpPr>
              <a:spLocks/>
            </p:cNvSpPr>
            <p:nvPr/>
          </p:nvSpPr>
          <p:spPr bwMode="auto">
            <a:xfrm>
              <a:off x="4184" y="3243"/>
              <a:ext cx="594" cy="675"/>
            </a:xfrm>
            <a:custGeom>
              <a:avLst/>
              <a:gdLst>
                <a:gd name="T0" fmla="*/ 2818 w 2971"/>
                <a:gd name="T1" fmla="*/ 0 h 3374"/>
                <a:gd name="T2" fmla="*/ 2877 w 2971"/>
                <a:gd name="T3" fmla="*/ 12 h 3374"/>
                <a:gd name="T4" fmla="*/ 2926 w 2971"/>
                <a:gd name="T5" fmla="*/ 45 h 3374"/>
                <a:gd name="T6" fmla="*/ 2958 w 2971"/>
                <a:gd name="T7" fmla="*/ 93 h 3374"/>
                <a:gd name="T8" fmla="*/ 2971 w 2971"/>
                <a:gd name="T9" fmla="*/ 154 h 3374"/>
                <a:gd name="T10" fmla="*/ 2960 w 2971"/>
                <a:gd name="T11" fmla="*/ 207 h 3374"/>
                <a:gd name="T12" fmla="*/ 2934 w 2971"/>
                <a:gd name="T13" fmla="*/ 252 h 3374"/>
                <a:gd name="T14" fmla="*/ 2894 w 2971"/>
                <a:gd name="T15" fmla="*/ 285 h 3374"/>
                <a:gd name="T16" fmla="*/ 2892 w 2971"/>
                <a:gd name="T17" fmla="*/ 2091 h 3374"/>
                <a:gd name="T18" fmla="*/ 2872 w 2971"/>
                <a:gd name="T19" fmla="*/ 2124 h 3374"/>
                <a:gd name="T20" fmla="*/ 2838 w 2971"/>
                <a:gd name="T21" fmla="*/ 2145 h 3374"/>
                <a:gd name="T22" fmla="*/ 2197 w 2971"/>
                <a:gd name="T23" fmla="*/ 2147 h 3374"/>
                <a:gd name="T24" fmla="*/ 2475 w 2971"/>
                <a:gd name="T25" fmla="*/ 3208 h 3374"/>
                <a:gd name="T26" fmla="*/ 2469 w 2971"/>
                <a:gd name="T27" fmla="*/ 3261 h 3374"/>
                <a:gd name="T28" fmla="*/ 2448 w 2971"/>
                <a:gd name="T29" fmla="*/ 3309 h 3374"/>
                <a:gd name="T30" fmla="*/ 2411 w 2971"/>
                <a:gd name="T31" fmla="*/ 3346 h 3374"/>
                <a:gd name="T32" fmla="*/ 2362 w 2971"/>
                <a:gd name="T33" fmla="*/ 3370 h 3374"/>
                <a:gd name="T34" fmla="*/ 2323 w 2971"/>
                <a:gd name="T35" fmla="*/ 3374 h 3374"/>
                <a:gd name="T36" fmla="*/ 2267 w 2971"/>
                <a:gd name="T37" fmla="*/ 3363 h 3374"/>
                <a:gd name="T38" fmla="*/ 2220 w 2971"/>
                <a:gd name="T39" fmla="*/ 3334 h 3374"/>
                <a:gd name="T40" fmla="*/ 2186 w 2971"/>
                <a:gd name="T41" fmla="*/ 3288 h 3374"/>
                <a:gd name="T42" fmla="*/ 1902 w 2971"/>
                <a:gd name="T43" fmla="*/ 2224 h 3374"/>
                <a:gd name="T44" fmla="*/ 794 w 2971"/>
                <a:gd name="T45" fmla="*/ 3260 h 3374"/>
                <a:gd name="T46" fmla="*/ 771 w 2971"/>
                <a:gd name="T47" fmla="*/ 3309 h 3374"/>
                <a:gd name="T48" fmla="*/ 734 w 2971"/>
                <a:gd name="T49" fmla="*/ 3346 h 3374"/>
                <a:gd name="T50" fmla="*/ 687 w 2971"/>
                <a:gd name="T51" fmla="*/ 3369 h 3374"/>
                <a:gd name="T52" fmla="*/ 635 w 2971"/>
                <a:gd name="T53" fmla="*/ 3374 h 3374"/>
                <a:gd name="T54" fmla="*/ 581 w 2971"/>
                <a:gd name="T55" fmla="*/ 3360 h 3374"/>
                <a:gd name="T56" fmla="*/ 538 w 2971"/>
                <a:gd name="T57" fmla="*/ 3329 h 3374"/>
                <a:gd name="T58" fmla="*/ 509 w 2971"/>
                <a:gd name="T59" fmla="*/ 3286 h 3374"/>
                <a:gd name="T60" fmla="*/ 495 w 2971"/>
                <a:gd name="T61" fmla="*/ 3236 h 3374"/>
                <a:gd name="T62" fmla="*/ 500 w 2971"/>
                <a:gd name="T63" fmla="*/ 3181 h 3374"/>
                <a:gd name="T64" fmla="*/ 639 w 2971"/>
                <a:gd name="T65" fmla="*/ 2147 h 3374"/>
                <a:gd name="T66" fmla="*/ 729 w 2971"/>
                <a:gd name="T67" fmla="*/ 2048 h 3374"/>
                <a:gd name="T68" fmla="*/ 2742 w 2971"/>
                <a:gd name="T69" fmla="*/ 1994 h 3374"/>
                <a:gd name="T70" fmla="*/ 227 w 2971"/>
                <a:gd name="T71" fmla="*/ 307 h 3374"/>
                <a:gd name="T72" fmla="*/ 184 w 2971"/>
                <a:gd name="T73" fmla="*/ 1953 h 3374"/>
                <a:gd name="T74" fmla="*/ 108 w 2971"/>
                <a:gd name="T75" fmla="*/ 2023 h 3374"/>
                <a:gd name="T76" fmla="*/ 76 w 2971"/>
                <a:gd name="T77" fmla="*/ 285 h 3374"/>
                <a:gd name="T78" fmla="*/ 36 w 2971"/>
                <a:gd name="T79" fmla="*/ 252 h 3374"/>
                <a:gd name="T80" fmla="*/ 9 w 2971"/>
                <a:gd name="T81" fmla="*/ 207 h 3374"/>
                <a:gd name="T82" fmla="*/ 0 w 2971"/>
                <a:gd name="T83" fmla="*/ 154 h 3374"/>
                <a:gd name="T84" fmla="*/ 12 w 2971"/>
                <a:gd name="T85" fmla="*/ 93 h 3374"/>
                <a:gd name="T86" fmla="*/ 44 w 2971"/>
                <a:gd name="T87" fmla="*/ 45 h 3374"/>
                <a:gd name="T88" fmla="*/ 93 w 2971"/>
                <a:gd name="T89" fmla="*/ 12 h 3374"/>
                <a:gd name="T90" fmla="*/ 152 w 2971"/>
                <a:gd name="T91" fmla="*/ 0 h 3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71" h="3374">
                  <a:moveTo>
                    <a:pt x="152" y="0"/>
                  </a:moveTo>
                  <a:lnTo>
                    <a:pt x="2818" y="0"/>
                  </a:lnTo>
                  <a:lnTo>
                    <a:pt x="2849" y="3"/>
                  </a:lnTo>
                  <a:lnTo>
                    <a:pt x="2877" y="12"/>
                  </a:lnTo>
                  <a:lnTo>
                    <a:pt x="2904" y="27"/>
                  </a:lnTo>
                  <a:lnTo>
                    <a:pt x="2926" y="45"/>
                  </a:lnTo>
                  <a:lnTo>
                    <a:pt x="2945" y="68"/>
                  </a:lnTo>
                  <a:lnTo>
                    <a:pt x="2958" y="93"/>
                  </a:lnTo>
                  <a:lnTo>
                    <a:pt x="2968" y="123"/>
                  </a:lnTo>
                  <a:lnTo>
                    <a:pt x="2971" y="154"/>
                  </a:lnTo>
                  <a:lnTo>
                    <a:pt x="2968" y="181"/>
                  </a:lnTo>
                  <a:lnTo>
                    <a:pt x="2960" y="207"/>
                  </a:lnTo>
                  <a:lnTo>
                    <a:pt x="2950" y="231"/>
                  </a:lnTo>
                  <a:lnTo>
                    <a:pt x="2934" y="252"/>
                  </a:lnTo>
                  <a:lnTo>
                    <a:pt x="2916" y="271"/>
                  </a:lnTo>
                  <a:lnTo>
                    <a:pt x="2894" y="285"/>
                  </a:lnTo>
                  <a:lnTo>
                    <a:pt x="2894" y="2070"/>
                  </a:lnTo>
                  <a:lnTo>
                    <a:pt x="2892" y="2091"/>
                  </a:lnTo>
                  <a:lnTo>
                    <a:pt x="2883" y="2110"/>
                  </a:lnTo>
                  <a:lnTo>
                    <a:pt x="2872" y="2124"/>
                  </a:lnTo>
                  <a:lnTo>
                    <a:pt x="2856" y="2137"/>
                  </a:lnTo>
                  <a:lnTo>
                    <a:pt x="2838" y="2145"/>
                  </a:lnTo>
                  <a:lnTo>
                    <a:pt x="2818" y="2147"/>
                  </a:lnTo>
                  <a:lnTo>
                    <a:pt x="2197" y="2147"/>
                  </a:lnTo>
                  <a:lnTo>
                    <a:pt x="2470" y="3181"/>
                  </a:lnTo>
                  <a:lnTo>
                    <a:pt x="2475" y="3208"/>
                  </a:lnTo>
                  <a:lnTo>
                    <a:pt x="2475" y="3235"/>
                  </a:lnTo>
                  <a:lnTo>
                    <a:pt x="2469" y="3261"/>
                  </a:lnTo>
                  <a:lnTo>
                    <a:pt x="2461" y="3286"/>
                  </a:lnTo>
                  <a:lnTo>
                    <a:pt x="2448" y="3309"/>
                  </a:lnTo>
                  <a:lnTo>
                    <a:pt x="2432" y="3329"/>
                  </a:lnTo>
                  <a:lnTo>
                    <a:pt x="2411" y="3346"/>
                  </a:lnTo>
                  <a:lnTo>
                    <a:pt x="2388" y="3360"/>
                  </a:lnTo>
                  <a:lnTo>
                    <a:pt x="2362" y="3370"/>
                  </a:lnTo>
                  <a:lnTo>
                    <a:pt x="2343" y="3373"/>
                  </a:lnTo>
                  <a:lnTo>
                    <a:pt x="2323" y="3374"/>
                  </a:lnTo>
                  <a:lnTo>
                    <a:pt x="2295" y="3372"/>
                  </a:lnTo>
                  <a:lnTo>
                    <a:pt x="2267" y="3363"/>
                  </a:lnTo>
                  <a:lnTo>
                    <a:pt x="2243" y="3351"/>
                  </a:lnTo>
                  <a:lnTo>
                    <a:pt x="2220" y="3334"/>
                  </a:lnTo>
                  <a:lnTo>
                    <a:pt x="2201" y="3313"/>
                  </a:lnTo>
                  <a:lnTo>
                    <a:pt x="2186" y="3288"/>
                  </a:lnTo>
                  <a:lnTo>
                    <a:pt x="2176" y="3260"/>
                  </a:lnTo>
                  <a:lnTo>
                    <a:pt x="1902" y="2224"/>
                  </a:lnTo>
                  <a:lnTo>
                    <a:pt x="1069" y="2224"/>
                  </a:lnTo>
                  <a:lnTo>
                    <a:pt x="794" y="3260"/>
                  </a:lnTo>
                  <a:lnTo>
                    <a:pt x="785" y="3287"/>
                  </a:lnTo>
                  <a:lnTo>
                    <a:pt x="771" y="3309"/>
                  </a:lnTo>
                  <a:lnTo>
                    <a:pt x="754" y="3329"/>
                  </a:lnTo>
                  <a:lnTo>
                    <a:pt x="734" y="3346"/>
                  </a:lnTo>
                  <a:lnTo>
                    <a:pt x="712" y="3360"/>
                  </a:lnTo>
                  <a:lnTo>
                    <a:pt x="687" y="3369"/>
                  </a:lnTo>
                  <a:lnTo>
                    <a:pt x="662" y="3374"/>
                  </a:lnTo>
                  <a:lnTo>
                    <a:pt x="635" y="3374"/>
                  </a:lnTo>
                  <a:lnTo>
                    <a:pt x="608" y="3370"/>
                  </a:lnTo>
                  <a:lnTo>
                    <a:pt x="581" y="3360"/>
                  </a:lnTo>
                  <a:lnTo>
                    <a:pt x="558" y="3346"/>
                  </a:lnTo>
                  <a:lnTo>
                    <a:pt x="538" y="3329"/>
                  </a:lnTo>
                  <a:lnTo>
                    <a:pt x="522" y="3309"/>
                  </a:lnTo>
                  <a:lnTo>
                    <a:pt x="509" y="3286"/>
                  </a:lnTo>
                  <a:lnTo>
                    <a:pt x="500" y="3261"/>
                  </a:lnTo>
                  <a:lnTo>
                    <a:pt x="495" y="3236"/>
                  </a:lnTo>
                  <a:lnTo>
                    <a:pt x="495" y="3208"/>
                  </a:lnTo>
                  <a:lnTo>
                    <a:pt x="500" y="3181"/>
                  </a:lnTo>
                  <a:lnTo>
                    <a:pt x="773" y="2147"/>
                  </a:lnTo>
                  <a:lnTo>
                    <a:pt x="639" y="2147"/>
                  </a:lnTo>
                  <a:lnTo>
                    <a:pt x="683" y="2099"/>
                  </a:lnTo>
                  <a:lnTo>
                    <a:pt x="729" y="2048"/>
                  </a:lnTo>
                  <a:lnTo>
                    <a:pt x="778" y="1994"/>
                  </a:lnTo>
                  <a:lnTo>
                    <a:pt x="2742" y="1994"/>
                  </a:lnTo>
                  <a:lnTo>
                    <a:pt x="2742" y="307"/>
                  </a:lnTo>
                  <a:lnTo>
                    <a:pt x="227" y="307"/>
                  </a:lnTo>
                  <a:lnTo>
                    <a:pt x="227" y="1912"/>
                  </a:lnTo>
                  <a:lnTo>
                    <a:pt x="184" y="1953"/>
                  </a:lnTo>
                  <a:lnTo>
                    <a:pt x="144" y="1989"/>
                  </a:lnTo>
                  <a:lnTo>
                    <a:pt x="108" y="2023"/>
                  </a:lnTo>
                  <a:lnTo>
                    <a:pt x="76" y="2052"/>
                  </a:lnTo>
                  <a:lnTo>
                    <a:pt x="76" y="285"/>
                  </a:lnTo>
                  <a:lnTo>
                    <a:pt x="55" y="271"/>
                  </a:lnTo>
                  <a:lnTo>
                    <a:pt x="36" y="252"/>
                  </a:lnTo>
                  <a:lnTo>
                    <a:pt x="21" y="231"/>
                  </a:lnTo>
                  <a:lnTo>
                    <a:pt x="9" y="207"/>
                  </a:lnTo>
                  <a:lnTo>
                    <a:pt x="2" y="181"/>
                  </a:lnTo>
                  <a:lnTo>
                    <a:pt x="0" y="154"/>
                  </a:lnTo>
                  <a:lnTo>
                    <a:pt x="3" y="123"/>
                  </a:lnTo>
                  <a:lnTo>
                    <a:pt x="12" y="93"/>
                  </a:lnTo>
                  <a:lnTo>
                    <a:pt x="25" y="68"/>
                  </a:lnTo>
                  <a:lnTo>
                    <a:pt x="44" y="45"/>
                  </a:lnTo>
                  <a:lnTo>
                    <a:pt x="66" y="27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8" name="Freeform 204"/>
            <p:cNvSpPr>
              <a:spLocks/>
            </p:cNvSpPr>
            <p:nvPr/>
          </p:nvSpPr>
          <p:spPr bwMode="auto">
            <a:xfrm>
              <a:off x="4443" y="3439"/>
              <a:ext cx="60" cy="176"/>
            </a:xfrm>
            <a:custGeom>
              <a:avLst/>
              <a:gdLst>
                <a:gd name="T0" fmla="*/ 153 w 304"/>
                <a:gd name="T1" fmla="*/ 0 h 881"/>
                <a:gd name="T2" fmla="*/ 183 w 304"/>
                <a:gd name="T3" fmla="*/ 3 h 881"/>
                <a:gd name="T4" fmla="*/ 211 w 304"/>
                <a:gd name="T5" fmla="*/ 12 h 881"/>
                <a:gd name="T6" fmla="*/ 237 w 304"/>
                <a:gd name="T7" fmla="*/ 25 h 881"/>
                <a:gd name="T8" fmla="*/ 260 w 304"/>
                <a:gd name="T9" fmla="*/ 44 h 881"/>
                <a:gd name="T10" fmla="*/ 278 w 304"/>
                <a:gd name="T11" fmla="*/ 68 h 881"/>
                <a:gd name="T12" fmla="*/ 293 w 304"/>
                <a:gd name="T13" fmla="*/ 93 h 881"/>
                <a:gd name="T14" fmla="*/ 301 w 304"/>
                <a:gd name="T15" fmla="*/ 122 h 881"/>
                <a:gd name="T16" fmla="*/ 304 w 304"/>
                <a:gd name="T17" fmla="*/ 154 h 881"/>
                <a:gd name="T18" fmla="*/ 304 w 304"/>
                <a:gd name="T19" fmla="*/ 729 h 881"/>
                <a:gd name="T20" fmla="*/ 301 w 304"/>
                <a:gd name="T21" fmla="*/ 759 h 881"/>
                <a:gd name="T22" fmla="*/ 293 w 304"/>
                <a:gd name="T23" fmla="*/ 788 h 881"/>
                <a:gd name="T24" fmla="*/ 278 w 304"/>
                <a:gd name="T25" fmla="*/ 814 h 881"/>
                <a:gd name="T26" fmla="*/ 260 w 304"/>
                <a:gd name="T27" fmla="*/ 837 h 881"/>
                <a:gd name="T28" fmla="*/ 237 w 304"/>
                <a:gd name="T29" fmla="*/ 856 h 881"/>
                <a:gd name="T30" fmla="*/ 211 w 304"/>
                <a:gd name="T31" fmla="*/ 870 h 881"/>
                <a:gd name="T32" fmla="*/ 183 w 304"/>
                <a:gd name="T33" fmla="*/ 878 h 881"/>
                <a:gd name="T34" fmla="*/ 153 w 304"/>
                <a:gd name="T35" fmla="*/ 881 h 881"/>
                <a:gd name="T36" fmla="*/ 121 w 304"/>
                <a:gd name="T37" fmla="*/ 878 h 881"/>
                <a:gd name="T38" fmla="*/ 92 w 304"/>
                <a:gd name="T39" fmla="*/ 870 h 881"/>
                <a:gd name="T40" fmla="*/ 67 w 304"/>
                <a:gd name="T41" fmla="*/ 856 h 881"/>
                <a:gd name="T42" fmla="*/ 44 w 304"/>
                <a:gd name="T43" fmla="*/ 837 h 881"/>
                <a:gd name="T44" fmla="*/ 26 w 304"/>
                <a:gd name="T45" fmla="*/ 814 h 881"/>
                <a:gd name="T46" fmla="*/ 11 w 304"/>
                <a:gd name="T47" fmla="*/ 788 h 881"/>
                <a:gd name="T48" fmla="*/ 3 w 304"/>
                <a:gd name="T49" fmla="*/ 759 h 881"/>
                <a:gd name="T50" fmla="*/ 0 w 304"/>
                <a:gd name="T51" fmla="*/ 729 h 881"/>
                <a:gd name="T52" fmla="*/ 0 w 304"/>
                <a:gd name="T53" fmla="*/ 154 h 881"/>
                <a:gd name="T54" fmla="*/ 3 w 304"/>
                <a:gd name="T55" fmla="*/ 122 h 881"/>
                <a:gd name="T56" fmla="*/ 11 w 304"/>
                <a:gd name="T57" fmla="*/ 93 h 881"/>
                <a:gd name="T58" fmla="*/ 26 w 304"/>
                <a:gd name="T59" fmla="*/ 68 h 881"/>
                <a:gd name="T60" fmla="*/ 44 w 304"/>
                <a:gd name="T61" fmla="*/ 44 h 881"/>
                <a:gd name="T62" fmla="*/ 67 w 304"/>
                <a:gd name="T63" fmla="*/ 25 h 881"/>
                <a:gd name="T64" fmla="*/ 92 w 304"/>
                <a:gd name="T65" fmla="*/ 12 h 881"/>
                <a:gd name="T66" fmla="*/ 121 w 304"/>
                <a:gd name="T67" fmla="*/ 3 h 881"/>
                <a:gd name="T68" fmla="*/ 153 w 304"/>
                <a:gd name="T69" fmla="*/ 0 h 8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4" h="881">
                  <a:moveTo>
                    <a:pt x="153" y="0"/>
                  </a:moveTo>
                  <a:lnTo>
                    <a:pt x="183" y="3"/>
                  </a:lnTo>
                  <a:lnTo>
                    <a:pt x="211" y="12"/>
                  </a:lnTo>
                  <a:lnTo>
                    <a:pt x="237" y="25"/>
                  </a:lnTo>
                  <a:lnTo>
                    <a:pt x="260" y="44"/>
                  </a:lnTo>
                  <a:lnTo>
                    <a:pt x="278" y="68"/>
                  </a:lnTo>
                  <a:lnTo>
                    <a:pt x="293" y="93"/>
                  </a:lnTo>
                  <a:lnTo>
                    <a:pt x="301" y="122"/>
                  </a:lnTo>
                  <a:lnTo>
                    <a:pt x="304" y="154"/>
                  </a:lnTo>
                  <a:lnTo>
                    <a:pt x="304" y="729"/>
                  </a:lnTo>
                  <a:lnTo>
                    <a:pt x="301" y="759"/>
                  </a:lnTo>
                  <a:lnTo>
                    <a:pt x="293" y="788"/>
                  </a:lnTo>
                  <a:lnTo>
                    <a:pt x="278" y="814"/>
                  </a:lnTo>
                  <a:lnTo>
                    <a:pt x="260" y="837"/>
                  </a:lnTo>
                  <a:lnTo>
                    <a:pt x="237" y="856"/>
                  </a:lnTo>
                  <a:lnTo>
                    <a:pt x="211" y="870"/>
                  </a:lnTo>
                  <a:lnTo>
                    <a:pt x="183" y="878"/>
                  </a:lnTo>
                  <a:lnTo>
                    <a:pt x="153" y="881"/>
                  </a:lnTo>
                  <a:lnTo>
                    <a:pt x="121" y="878"/>
                  </a:lnTo>
                  <a:lnTo>
                    <a:pt x="92" y="870"/>
                  </a:lnTo>
                  <a:lnTo>
                    <a:pt x="67" y="856"/>
                  </a:lnTo>
                  <a:lnTo>
                    <a:pt x="44" y="837"/>
                  </a:lnTo>
                  <a:lnTo>
                    <a:pt x="26" y="814"/>
                  </a:lnTo>
                  <a:lnTo>
                    <a:pt x="11" y="788"/>
                  </a:lnTo>
                  <a:lnTo>
                    <a:pt x="3" y="759"/>
                  </a:lnTo>
                  <a:lnTo>
                    <a:pt x="0" y="729"/>
                  </a:lnTo>
                  <a:lnTo>
                    <a:pt x="0" y="154"/>
                  </a:lnTo>
                  <a:lnTo>
                    <a:pt x="3" y="122"/>
                  </a:lnTo>
                  <a:lnTo>
                    <a:pt x="11" y="93"/>
                  </a:lnTo>
                  <a:lnTo>
                    <a:pt x="26" y="68"/>
                  </a:lnTo>
                  <a:lnTo>
                    <a:pt x="44" y="44"/>
                  </a:lnTo>
                  <a:lnTo>
                    <a:pt x="67" y="25"/>
                  </a:lnTo>
                  <a:lnTo>
                    <a:pt x="92" y="12"/>
                  </a:lnTo>
                  <a:lnTo>
                    <a:pt x="121" y="3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9" name="Freeform 205"/>
            <p:cNvSpPr>
              <a:spLocks/>
            </p:cNvSpPr>
            <p:nvPr/>
          </p:nvSpPr>
          <p:spPr bwMode="auto">
            <a:xfrm>
              <a:off x="4542" y="3331"/>
              <a:ext cx="60" cy="284"/>
            </a:xfrm>
            <a:custGeom>
              <a:avLst/>
              <a:gdLst>
                <a:gd name="T0" fmla="*/ 153 w 304"/>
                <a:gd name="T1" fmla="*/ 0 h 1418"/>
                <a:gd name="T2" fmla="*/ 183 w 304"/>
                <a:gd name="T3" fmla="*/ 3 h 1418"/>
                <a:gd name="T4" fmla="*/ 212 w 304"/>
                <a:gd name="T5" fmla="*/ 12 h 1418"/>
                <a:gd name="T6" fmla="*/ 237 w 304"/>
                <a:gd name="T7" fmla="*/ 26 h 1418"/>
                <a:gd name="T8" fmla="*/ 260 w 304"/>
                <a:gd name="T9" fmla="*/ 45 h 1418"/>
                <a:gd name="T10" fmla="*/ 278 w 304"/>
                <a:gd name="T11" fmla="*/ 67 h 1418"/>
                <a:gd name="T12" fmla="*/ 293 w 304"/>
                <a:gd name="T13" fmla="*/ 94 h 1418"/>
                <a:gd name="T14" fmla="*/ 301 w 304"/>
                <a:gd name="T15" fmla="*/ 122 h 1418"/>
                <a:gd name="T16" fmla="*/ 304 w 304"/>
                <a:gd name="T17" fmla="*/ 153 h 1418"/>
                <a:gd name="T18" fmla="*/ 304 w 304"/>
                <a:gd name="T19" fmla="*/ 1266 h 1418"/>
                <a:gd name="T20" fmla="*/ 301 w 304"/>
                <a:gd name="T21" fmla="*/ 1296 h 1418"/>
                <a:gd name="T22" fmla="*/ 293 w 304"/>
                <a:gd name="T23" fmla="*/ 1325 h 1418"/>
                <a:gd name="T24" fmla="*/ 278 w 304"/>
                <a:gd name="T25" fmla="*/ 1351 h 1418"/>
                <a:gd name="T26" fmla="*/ 260 w 304"/>
                <a:gd name="T27" fmla="*/ 1374 h 1418"/>
                <a:gd name="T28" fmla="*/ 237 w 304"/>
                <a:gd name="T29" fmla="*/ 1393 h 1418"/>
                <a:gd name="T30" fmla="*/ 212 w 304"/>
                <a:gd name="T31" fmla="*/ 1407 h 1418"/>
                <a:gd name="T32" fmla="*/ 183 w 304"/>
                <a:gd name="T33" fmla="*/ 1415 h 1418"/>
                <a:gd name="T34" fmla="*/ 153 w 304"/>
                <a:gd name="T35" fmla="*/ 1418 h 1418"/>
                <a:gd name="T36" fmla="*/ 121 w 304"/>
                <a:gd name="T37" fmla="*/ 1415 h 1418"/>
                <a:gd name="T38" fmla="*/ 93 w 304"/>
                <a:gd name="T39" fmla="*/ 1407 h 1418"/>
                <a:gd name="T40" fmla="*/ 67 w 304"/>
                <a:gd name="T41" fmla="*/ 1393 h 1418"/>
                <a:gd name="T42" fmla="*/ 44 w 304"/>
                <a:gd name="T43" fmla="*/ 1374 h 1418"/>
                <a:gd name="T44" fmla="*/ 26 w 304"/>
                <a:gd name="T45" fmla="*/ 1351 h 1418"/>
                <a:gd name="T46" fmla="*/ 11 w 304"/>
                <a:gd name="T47" fmla="*/ 1325 h 1418"/>
                <a:gd name="T48" fmla="*/ 3 w 304"/>
                <a:gd name="T49" fmla="*/ 1296 h 1418"/>
                <a:gd name="T50" fmla="*/ 0 w 304"/>
                <a:gd name="T51" fmla="*/ 1266 h 1418"/>
                <a:gd name="T52" fmla="*/ 0 w 304"/>
                <a:gd name="T53" fmla="*/ 153 h 1418"/>
                <a:gd name="T54" fmla="*/ 3 w 304"/>
                <a:gd name="T55" fmla="*/ 122 h 1418"/>
                <a:gd name="T56" fmla="*/ 11 w 304"/>
                <a:gd name="T57" fmla="*/ 94 h 1418"/>
                <a:gd name="T58" fmla="*/ 26 w 304"/>
                <a:gd name="T59" fmla="*/ 67 h 1418"/>
                <a:gd name="T60" fmla="*/ 44 w 304"/>
                <a:gd name="T61" fmla="*/ 45 h 1418"/>
                <a:gd name="T62" fmla="*/ 67 w 304"/>
                <a:gd name="T63" fmla="*/ 26 h 1418"/>
                <a:gd name="T64" fmla="*/ 93 w 304"/>
                <a:gd name="T65" fmla="*/ 12 h 1418"/>
                <a:gd name="T66" fmla="*/ 121 w 304"/>
                <a:gd name="T67" fmla="*/ 3 h 1418"/>
                <a:gd name="T68" fmla="*/ 153 w 304"/>
                <a:gd name="T69" fmla="*/ 0 h 1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4" h="1418">
                  <a:moveTo>
                    <a:pt x="153" y="0"/>
                  </a:moveTo>
                  <a:lnTo>
                    <a:pt x="183" y="3"/>
                  </a:lnTo>
                  <a:lnTo>
                    <a:pt x="212" y="12"/>
                  </a:lnTo>
                  <a:lnTo>
                    <a:pt x="237" y="26"/>
                  </a:lnTo>
                  <a:lnTo>
                    <a:pt x="260" y="45"/>
                  </a:lnTo>
                  <a:lnTo>
                    <a:pt x="278" y="67"/>
                  </a:lnTo>
                  <a:lnTo>
                    <a:pt x="293" y="94"/>
                  </a:lnTo>
                  <a:lnTo>
                    <a:pt x="301" y="122"/>
                  </a:lnTo>
                  <a:lnTo>
                    <a:pt x="304" y="153"/>
                  </a:lnTo>
                  <a:lnTo>
                    <a:pt x="304" y="1266"/>
                  </a:lnTo>
                  <a:lnTo>
                    <a:pt x="301" y="1296"/>
                  </a:lnTo>
                  <a:lnTo>
                    <a:pt x="293" y="1325"/>
                  </a:lnTo>
                  <a:lnTo>
                    <a:pt x="278" y="1351"/>
                  </a:lnTo>
                  <a:lnTo>
                    <a:pt x="260" y="1374"/>
                  </a:lnTo>
                  <a:lnTo>
                    <a:pt x="237" y="1393"/>
                  </a:lnTo>
                  <a:lnTo>
                    <a:pt x="212" y="1407"/>
                  </a:lnTo>
                  <a:lnTo>
                    <a:pt x="183" y="1415"/>
                  </a:lnTo>
                  <a:lnTo>
                    <a:pt x="153" y="1418"/>
                  </a:lnTo>
                  <a:lnTo>
                    <a:pt x="121" y="1415"/>
                  </a:lnTo>
                  <a:lnTo>
                    <a:pt x="93" y="1407"/>
                  </a:lnTo>
                  <a:lnTo>
                    <a:pt x="67" y="1393"/>
                  </a:lnTo>
                  <a:lnTo>
                    <a:pt x="44" y="1374"/>
                  </a:lnTo>
                  <a:lnTo>
                    <a:pt x="26" y="1351"/>
                  </a:lnTo>
                  <a:lnTo>
                    <a:pt x="11" y="1325"/>
                  </a:lnTo>
                  <a:lnTo>
                    <a:pt x="3" y="1296"/>
                  </a:lnTo>
                  <a:lnTo>
                    <a:pt x="0" y="1266"/>
                  </a:lnTo>
                  <a:lnTo>
                    <a:pt x="0" y="153"/>
                  </a:lnTo>
                  <a:lnTo>
                    <a:pt x="3" y="122"/>
                  </a:lnTo>
                  <a:lnTo>
                    <a:pt x="11" y="94"/>
                  </a:lnTo>
                  <a:lnTo>
                    <a:pt x="26" y="67"/>
                  </a:lnTo>
                  <a:lnTo>
                    <a:pt x="44" y="45"/>
                  </a:lnTo>
                  <a:lnTo>
                    <a:pt x="67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1" name="Freeform 206"/>
            <p:cNvSpPr>
              <a:spLocks/>
            </p:cNvSpPr>
            <p:nvPr/>
          </p:nvSpPr>
          <p:spPr bwMode="auto">
            <a:xfrm>
              <a:off x="4641" y="3393"/>
              <a:ext cx="61" cy="222"/>
            </a:xfrm>
            <a:custGeom>
              <a:avLst/>
              <a:gdLst>
                <a:gd name="T0" fmla="*/ 153 w 305"/>
                <a:gd name="T1" fmla="*/ 0 h 1111"/>
                <a:gd name="T2" fmla="*/ 183 w 305"/>
                <a:gd name="T3" fmla="*/ 3 h 1111"/>
                <a:gd name="T4" fmla="*/ 212 w 305"/>
                <a:gd name="T5" fmla="*/ 11 h 1111"/>
                <a:gd name="T6" fmla="*/ 237 w 305"/>
                <a:gd name="T7" fmla="*/ 26 h 1111"/>
                <a:gd name="T8" fmla="*/ 260 w 305"/>
                <a:gd name="T9" fmla="*/ 44 h 1111"/>
                <a:gd name="T10" fmla="*/ 278 w 305"/>
                <a:gd name="T11" fmla="*/ 68 h 1111"/>
                <a:gd name="T12" fmla="*/ 293 w 305"/>
                <a:gd name="T13" fmla="*/ 93 h 1111"/>
                <a:gd name="T14" fmla="*/ 301 w 305"/>
                <a:gd name="T15" fmla="*/ 122 h 1111"/>
                <a:gd name="T16" fmla="*/ 305 w 305"/>
                <a:gd name="T17" fmla="*/ 153 h 1111"/>
                <a:gd name="T18" fmla="*/ 305 w 305"/>
                <a:gd name="T19" fmla="*/ 959 h 1111"/>
                <a:gd name="T20" fmla="*/ 301 w 305"/>
                <a:gd name="T21" fmla="*/ 989 h 1111"/>
                <a:gd name="T22" fmla="*/ 293 w 305"/>
                <a:gd name="T23" fmla="*/ 1018 h 1111"/>
                <a:gd name="T24" fmla="*/ 278 w 305"/>
                <a:gd name="T25" fmla="*/ 1044 h 1111"/>
                <a:gd name="T26" fmla="*/ 260 w 305"/>
                <a:gd name="T27" fmla="*/ 1067 h 1111"/>
                <a:gd name="T28" fmla="*/ 237 w 305"/>
                <a:gd name="T29" fmla="*/ 1086 h 1111"/>
                <a:gd name="T30" fmla="*/ 212 w 305"/>
                <a:gd name="T31" fmla="*/ 1100 h 1111"/>
                <a:gd name="T32" fmla="*/ 183 w 305"/>
                <a:gd name="T33" fmla="*/ 1108 h 1111"/>
                <a:gd name="T34" fmla="*/ 153 w 305"/>
                <a:gd name="T35" fmla="*/ 1111 h 1111"/>
                <a:gd name="T36" fmla="*/ 121 w 305"/>
                <a:gd name="T37" fmla="*/ 1108 h 1111"/>
                <a:gd name="T38" fmla="*/ 93 w 305"/>
                <a:gd name="T39" fmla="*/ 1100 h 1111"/>
                <a:gd name="T40" fmla="*/ 67 w 305"/>
                <a:gd name="T41" fmla="*/ 1086 h 1111"/>
                <a:gd name="T42" fmla="*/ 44 w 305"/>
                <a:gd name="T43" fmla="*/ 1067 h 1111"/>
                <a:gd name="T44" fmla="*/ 26 w 305"/>
                <a:gd name="T45" fmla="*/ 1044 h 1111"/>
                <a:gd name="T46" fmla="*/ 12 w 305"/>
                <a:gd name="T47" fmla="*/ 1018 h 1111"/>
                <a:gd name="T48" fmla="*/ 3 w 305"/>
                <a:gd name="T49" fmla="*/ 989 h 1111"/>
                <a:gd name="T50" fmla="*/ 0 w 305"/>
                <a:gd name="T51" fmla="*/ 959 h 1111"/>
                <a:gd name="T52" fmla="*/ 0 w 305"/>
                <a:gd name="T53" fmla="*/ 153 h 1111"/>
                <a:gd name="T54" fmla="*/ 3 w 305"/>
                <a:gd name="T55" fmla="*/ 122 h 1111"/>
                <a:gd name="T56" fmla="*/ 12 w 305"/>
                <a:gd name="T57" fmla="*/ 93 h 1111"/>
                <a:gd name="T58" fmla="*/ 26 w 305"/>
                <a:gd name="T59" fmla="*/ 68 h 1111"/>
                <a:gd name="T60" fmla="*/ 44 w 305"/>
                <a:gd name="T61" fmla="*/ 44 h 1111"/>
                <a:gd name="T62" fmla="*/ 67 w 305"/>
                <a:gd name="T63" fmla="*/ 26 h 1111"/>
                <a:gd name="T64" fmla="*/ 93 w 305"/>
                <a:gd name="T65" fmla="*/ 11 h 1111"/>
                <a:gd name="T66" fmla="*/ 121 w 305"/>
                <a:gd name="T67" fmla="*/ 3 h 1111"/>
                <a:gd name="T68" fmla="*/ 153 w 305"/>
                <a:gd name="T69" fmla="*/ 0 h 1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5" h="1111">
                  <a:moveTo>
                    <a:pt x="153" y="0"/>
                  </a:moveTo>
                  <a:lnTo>
                    <a:pt x="183" y="3"/>
                  </a:lnTo>
                  <a:lnTo>
                    <a:pt x="212" y="11"/>
                  </a:lnTo>
                  <a:lnTo>
                    <a:pt x="237" y="26"/>
                  </a:lnTo>
                  <a:lnTo>
                    <a:pt x="260" y="44"/>
                  </a:lnTo>
                  <a:lnTo>
                    <a:pt x="278" y="68"/>
                  </a:lnTo>
                  <a:lnTo>
                    <a:pt x="293" y="93"/>
                  </a:lnTo>
                  <a:lnTo>
                    <a:pt x="301" y="122"/>
                  </a:lnTo>
                  <a:lnTo>
                    <a:pt x="305" y="153"/>
                  </a:lnTo>
                  <a:lnTo>
                    <a:pt x="305" y="959"/>
                  </a:lnTo>
                  <a:lnTo>
                    <a:pt x="301" y="989"/>
                  </a:lnTo>
                  <a:lnTo>
                    <a:pt x="293" y="1018"/>
                  </a:lnTo>
                  <a:lnTo>
                    <a:pt x="278" y="1044"/>
                  </a:lnTo>
                  <a:lnTo>
                    <a:pt x="260" y="1067"/>
                  </a:lnTo>
                  <a:lnTo>
                    <a:pt x="237" y="1086"/>
                  </a:lnTo>
                  <a:lnTo>
                    <a:pt x="212" y="1100"/>
                  </a:lnTo>
                  <a:lnTo>
                    <a:pt x="183" y="1108"/>
                  </a:lnTo>
                  <a:lnTo>
                    <a:pt x="153" y="1111"/>
                  </a:lnTo>
                  <a:lnTo>
                    <a:pt x="121" y="1108"/>
                  </a:lnTo>
                  <a:lnTo>
                    <a:pt x="93" y="1100"/>
                  </a:lnTo>
                  <a:lnTo>
                    <a:pt x="67" y="1086"/>
                  </a:lnTo>
                  <a:lnTo>
                    <a:pt x="44" y="1067"/>
                  </a:lnTo>
                  <a:lnTo>
                    <a:pt x="26" y="1044"/>
                  </a:lnTo>
                  <a:lnTo>
                    <a:pt x="12" y="1018"/>
                  </a:lnTo>
                  <a:lnTo>
                    <a:pt x="3" y="989"/>
                  </a:lnTo>
                  <a:lnTo>
                    <a:pt x="0" y="959"/>
                  </a:lnTo>
                  <a:lnTo>
                    <a:pt x="0" y="153"/>
                  </a:lnTo>
                  <a:lnTo>
                    <a:pt x="3" y="122"/>
                  </a:lnTo>
                  <a:lnTo>
                    <a:pt x="12" y="93"/>
                  </a:lnTo>
                  <a:lnTo>
                    <a:pt x="26" y="68"/>
                  </a:lnTo>
                  <a:lnTo>
                    <a:pt x="44" y="44"/>
                  </a:lnTo>
                  <a:lnTo>
                    <a:pt x="67" y="26"/>
                  </a:lnTo>
                  <a:lnTo>
                    <a:pt x="93" y="11"/>
                  </a:lnTo>
                  <a:lnTo>
                    <a:pt x="121" y="3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2" name="Freeform 207"/>
            <p:cNvSpPr>
              <a:spLocks/>
            </p:cNvSpPr>
            <p:nvPr/>
          </p:nvSpPr>
          <p:spPr bwMode="auto">
            <a:xfrm>
              <a:off x="4176" y="3520"/>
              <a:ext cx="223" cy="225"/>
            </a:xfrm>
            <a:custGeom>
              <a:avLst/>
              <a:gdLst>
                <a:gd name="T0" fmla="*/ 1085 w 1117"/>
                <a:gd name="T1" fmla="*/ 0 h 1123"/>
                <a:gd name="T2" fmla="*/ 1106 w 1117"/>
                <a:gd name="T3" fmla="*/ 10 h 1123"/>
                <a:gd name="T4" fmla="*/ 1117 w 1117"/>
                <a:gd name="T5" fmla="*/ 31 h 1123"/>
                <a:gd name="T6" fmla="*/ 1113 w 1117"/>
                <a:gd name="T7" fmla="*/ 53 h 1123"/>
                <a:gd name="T8" fmla="*/ 1104 w 1117"/>
                <a:gd name="T9" fmla="*/ 66 h 1123"/>
                <a:gd name="T10" fmla="*/ 1089 w 1117"/>
                <a:gd name="T11" fmla="*/ 82 h 1123"/>
                <a:gd name="T12" fmla="*/ 1062 w 1117"/>
                <a:gd name="T13" fmla="*/ 112 h 1123"/>
                <a:gd name="T14" fmla="*/ 1023 w 1117"/>
                <a:gd name="T15" fmla="*/ 155 h 1123"/>
                <a:gd name="T16" fmla="*/ 973 w 1117"/>
                <a:gd name="T17" fmla="*/ 209 h 1123"/>
                <a:gd name="T18" fmla="*/ 917 w 1117"/>
                <a:gd name="T19" fmla="*/ 272 h 1123"/>
                <a:gd name="T20" fmla="*/ 853 w 1117"/>
                <a:gd name="T21" fmla="*/ 342 h 1123"/>
                <a:gd name="T22" fmla="*/ 785 w 1117"/>
                <a:gd name="T23" fmla="*/ 417 h 1123"/>
                <a:gd name="T24" fmla="*/ 712 w 1117"/>
                <a:gd name="T25" fmla="*/ 497 h 1123"/>
                <a:gd name="T26" fmla="*/ 640 w 1117"/>
                <a:gd name="T27" fmla="*/ 577 h 1123"/>
                <a:gd name="T28" fmla="*/ 566 w 1117"/>
                <a:gd name="T29" fmla="*/ 658 h 1123"/>
                <a:gd name="T30" fmla="*/ 494 w 1117"/>
                <a:gd name="T31" fmla="*/ 737 h 1123"/>
                <a:gd name="T32" fmla="*/ 425 w 1117"/>
                <a:gd name="T33" fmla="*/ 813 h 1123"/>
                <a:gd name="T34" fmla="*/ 361 w 1117"/>
                <a:gd name="T35" fmla="*/ 884 h 1123"/>
                <a:gd name="T36" fmla="*/ 303 w 1117"/>
                <a:gd name="T37" fmla="*/ 946 h 1123"/>
                <a:gd name="T38" fmla="*/ 254 w 1117"/>
                <a:gd name="T39" fmla="*/ 1001 h 1123"/>
                <a:gd name="T40" fmla="*/ 215 w 1117"/>
                <a:gd name="T41" fmla="*/ 1045 h 1123"/>
                <a:gd name="T42" fmla="*/ 186 w 1117"/>
                <a:gd name="T43" fmla="*/ 1076 h 1123"/>
                <a:gd name="T44" fmla="*/ 171 w 1117"/>
                <a:gd name="T45" fmla="*/ 1093 h 1123"/>
                <a:gd name="T46" fmla="*/ 151 w 1117"/>
                <a:gd name="T47" fmla="*/ 1110 h 1123"/>
                <a:gd name="T48" fmla="*/ 110 w 1117"/>
                <a:gd name="T49" fmla="*/ 1123 h 1123"/>
                <a:gd name="T50" fmla="*/ 66 w 1117"/>
                <a:gd name="T51" fmla="*/ 1119 h 1123"/>
                <a:gd name="T52" fmla="*/ 28 w 1117"/>
                <a:gd name="T53" fmla="*/ 1095 h 1123"/>
                <a:gd name="T54" fmla="*/ 5 w 1117"/>
                <a:gd name="T55" fmla="*/ 1057 h 1123"/>
                <a:gd name="T56" fmla="*/ 0 w 1117"/>
                <a:gd name="T57" fmla="*/ 1013 h 1123"/>
                <a:gd name="T58" fmla="*/ 14 w 1117"/>
                <a:gd name="T59" fmla="*/ 972 h 1123"/>
                <a:gd name="T60" fmla="*/ 31 w 1117"/>
                <a:gd name="T61" fmla="*/ 952 h 1123"/>
                <a:gd name="T62" fmla="*/ 47 w 1117"/>
                <a:gd name="T63" fmla="*/ 936 h 1123"/>
                <a:gd name="T64" fmla="*/ 78 w 1117"/>
                <a:gd name="T65" fmla="*/ 908 h 1123"/>
                <a:gd name="T66" fmla="*/ 122 w 1117"/>
                <a:gd name="T67" fmla="*/ 868 h 1123"/>
                <a:gd name="T68" fmla="*/ 176 w 1117"/>
                <a:gd name="T69" fmla="*/ 818 h 1123"/>
                <a:gd name="T70" fmla="*/ 238 w 1117"/>
                <a:gd name="T71" fmla="*/ 761 h 1123"/>
                <a:gd name="T72" fmla="*/ 309 w 1117"/>
                <a:gd name="T73" fmla="*/ 696 h 1123"/>
                <a:gd name="T74" fmla="*/ 383 w 1117"/>
                <a:gd name="T75" fmla="*/ 627 h 1123"/>
                <a:gd name="T76" fmla="*/ 463 w 1117"/>
                <a:gd name="T77" fmla="*/ 554 h 1123"/>
                <a:gd name="T78" fmla="*/ 543 w 1117"/>
                <a:gd name="T79" fmla="*/ 481 h 1123"/>
                <a:gd name="T80" fmla="*/ 623 w 1117"/>
                <a:gd name="T81" fmla="*/ 406 h 1123"/>
                <a:gd name="T82" fmla="*/ 702 w 1117"/>
                <a:gd name="T83" fmla="*/ 334 h 1123"/>
                <a:gd name="T84" fmla="*/ 776 w 1117"/>
                <a:gd name="T85" fmla="*/ 265 h 1123"/>
                <a:gd name="T86" fmla="*/ 846 w 1117"/>
                <a:gd name="T87" fmla="*/ 201 h 1123"/>
                <a:gd name="T88" fmla="*/ 908 w 1117"/>
                <a:gd name="T89" fmla="*/ 143 h 1123"/>
                <a:gd name="T90" fmla="*/ 962 w 1117"/>
                <a:gd name="T91" fmla="*/ 95 h 1123"/>
                <a:gd name="T92" fmla="*/ 1005 w 1117"/>
                <a:gd name="T93" fmla="*/ 54 h 1123"/>
                <a:gd name="T94" fmla="*/ 1036 w 1117"/>
                <a:gd name="T95" fmla="*/ 27 h 1123"/>
                <a:gd name="T96" fmla="*/ 1051 w 1117"/>
                <a:gd name="T97" fmla="*/ 12 h 1123"/>
                <a:gd name="T98" fmla="*/ 1063 w 1117"/>
                <a:gd name="T99" fmla="*/ 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17" h="1123">
                  <a:moveTo>
                    <a:pt x="1074" y="0"/>
                  </a:moveTo>
                  <a:lnTo>
                    <a:pt x="1085" y="0"/>
                  </a:lnTo>
                  <a:lnTo>
                    <a:pt x="1096" y="3"/>
                  </a:lnTo>
                  <a:lnTo>
                    <a:pt x="1106" y="10"/>
                  </a:lnTo>
                  <a:lnTo>
                    <a:pt x="1113" y="20"/>
                  </a:lnTo>
                  <a:lnTo>
                    <a:pt x="1117" y="31"/>
                  </a:lnTo>
                  <a:lnTo>
                    <a:pt x="1117" y="43"/>
                  </a:lnTo>
                  <a:lnTo>
                    <a:pt x="1113" y="53"/>
                  </a:lnTo>
                  <a:lnTo>
                    <a:pt x="1106" y="64"/>
                  </a:lnTo>
                  <a:lnTo>
                    <a:pt x="1104" y="66"/>
                  </a:lnTo>
                  <a:lnTo>
                    <a:pt x="1099" y="71"/>
                  </a:lnTo>
                  <a:lnTo>
                    <a:pt x="1089" y="82"/>
                  </a:lnTo>
                  <a:lnTo>
                    <a:pt x="1077" y="96"/>
                  </a:lnTo>
                  <a:lnTo>
                    <a:pt x="1062" y="112"/>
                  </a:lnTo>
                  <a:lnTo>
                    <a:pt x="1043" y="132"/>
                  </a:lnTo>
                  <a:lnTo>
                    <a:pt x="1023" y="155"/>
                  </a:lnTo>
                  <a:lnTo>
                    <a:pt x="999" y="181"/>
                  </a:lnTo>
                  <a:lnTo>
                    <a:pt x="973" y="209"/>
                  </a:lnTo>
                  <a:lnTo>
                    <a:pt x="946" y="240"/>
                  </a:lnTo>
                  <a:lnTo>
                    <a:pt x="917" y="272"/>
                  </a:lnTo>
                  <a:lnTo>
                    <a:pt x="885" y="306"/>
                  </a:lnTo>
                  <a:lnTo>
                    <a:pt x="853" y="342"/>
                  </a:lnTo>
                  <a:lnTo>
                    <a:pt x="820" y="379"/>
                  </a:lnTo>
                  <a:lnTo>
                    <a:pt x="785" y="417"/>
                  </a:lnTo>
                  <a:lnTo>
                    <a:pt x="749" y="456"/>
                  </a:lnTo>
                  <a:lnTo>
                    <a:pt x="712" y="497"/>
                  </a:lnTo>
                  <a:lnTo>
                    <a:pt x="676" y="537"/>
                  </a:lnTo>
                  <a:lnTo>
                    <a:pt x="640" y="577"/>
                  </a:lnTo>
                  <a:lnTo>
                    <a:pt x="603" y="617"/>
                  </a:lnTo>
                  <a:lnTo>
                    <a:pt x="566" y="658"/>
                  </a:lnTo>
                  <a:lnTo>
                    <a:pt x="529" y="698"/>
                  </a:lnTo>
                  <a:lnTo>
                    <a:pt x="494" y="737"/>
                  </a:lnTo>
                  <a:lnTo>
                    <a:pt x="458" y="776"/>
                  </a:lnTo>
                  <a:lnTo>
                    <a:pt x="425" y="813"/>
                  </a:lnTo>
                  <a:lnTo>
                    <a:pt x="392" y="849"/>
                  </a:lnTo>
                  <a:lnTo>
                    <a:pt x="361" y="884"/>
                  </a:lnTo>
                  <a:lnTo>
                    <a:pt x="332" y="917"/>
                  </a:lnTo>
                  <a:lnTo>
                    <a:pt x="303" y="946"/>
                  </a:lnTo>
                  <a:lnTo>
                    <a:pt x="278" y="975"/>
                  </a:lnTo>
                  <a:lnTo>
                    <a:pt x="254" y="1001"/>
                  </a:lnTo>
                  <a:lnTo>
                    <a:pt x="233" y="1024"/>
                  </a:lnTo>
                  <a:lnTo>
                    <a:pt x="215" y="1045"/>
                  </a:lnTo>
                  <a:lnTo>
                    <a:pt x="199" y="1062"/>
                  </a:lnTo>
                  <a:lnTo>
                    <a:pt x="186" y="1076"/>
                  </a:lnTo>
                  <a:lnTo>
                    <a:pt x="177" y="1086"/>
                  </a:lnTo>
                  <a:lnTo>
                    <a:pt x="171" y="1093"/>
                  </a:lnTo>
                  <a:lnTo>
                    <a:pt x="169" y="1095"/>
                  </a:lnTo>
                  <a:lnTo>
                    <a:pt x="151" y="1110"/>
                  </a:lnTo>
                  <a:lnTo>
                    <a:pt x="131" y="1119"/>
                  </a:lnTo>
                  <a:lnTo>
                    <a:pt x="110" y="1123"/>
                  </a:lnTo>
                  <a:lnTo>
                    <a:pt x="87" y="1123"/>
                  </a:lnTo>
                  <a:lnTo>
                    <a:pt x="66" y="1119"/>
                  </a:lnTo>
                  <a:lnTo>
                    <a:pt x="46" y="1110"/>
                  </a:lnTo>
                  <a:lnTo>
                    <a:pt x="28" y="1095"/>
                  </a:lnTo>
                  <a:lnTo>
                    <a:pt x="14" y="1077"/>
                  </a:lnTo>
                  <a:lnTo>
                    <a:pt x="5" y="1057"/>
                  </a:lnTo>
                  <a:lnTo>
                    <a:pt x="0" y="1035"/>
                  </a:lnTo>
                  <a:lnTo>
                    <a:pt x="0" y="1013"/>
                  </a:lnTo>
                  <a:lnTo>
                    <a:pt x="5" y="992"/>
                  </a:lnTo>
                  <a:lnTo>
                    <a:pt x="14" y="972"/>
                  </a:lnTo>
                  <a:lnTo>
                    <a:pt x="28" y="954"/>
                  </a:lnTo>
                  <a:lnTo>
                    <a:pt x="31" y="952"/>
                  </a:lnTo>
                  <a:lnTo>
                    <a:pt x="37" y="945"/>
                  </a:lnTo>
                  <a:lnTo>
                    <a:pt x="47" y="936"/>
                  </a:lnTo>
                  <a:lnTo>
                    <a:pt x="61" y="924"/>
                  </a:lnTo>
                  <a:lnTo>
                    <a:pt x="78" y="908"/>
                  </a:lnTo>
                  <a:lnTo>
                    <a:pt x="99" y="889"/>
                  </a:lnTo>
                  <a:lnTo>
                    <a:pt x="122" y="868"/>
                  </a:lnTo>
                  <a:lnTo>
                    <a:pt x="147" y="844"/>
                  </a:lnTo>
                  <a:lnTo>
                    <a:pt x="176" y="818"/>
                  </a:lnTo>
                  <a:lnTo>
                    <a:pt x="206" y="790"/>
                  </a:lnTo>
                  <a:lnTo>
                    <a:pt x="238" y="761"/>
                  </a:lnTo>
                  <a:lnTo>
                    <a:pt x="273" y="729"/>
                  </a:lnTo>
                  <a:lnTo>
                    <a:pt x="309" y="696"/>
                  </a:lnTo>
                  <a:lnTo>
                    <a:pt x="346" y="662"/>
                  </a:lnTo>
                  <a:lnTo>
                    <a:pt x="383" y="627"/>
                  </a:lnTo>
                  <a:lnTo>
                    <a:pt x="422" y="591"/>
                  </a:lnTo>
                  <a:lnTo>
                    <a:pt x="463" y="554"/>
                  </a:lnTo>
                  <a:lnTo>
                    <a:pt x="503" y="518"/>
                  </a:lnTo>
                  <a:lnTo>
                    <a:pt x="543" y="481"/>
                  </a:lnTo>
                  <a:lnTo>
                    <a:pt x="583" y="444"/>
                  </a:lnTo>
                  <a:lnTo>
                    <a:pt x="623" y="406"/>
                  </a:lnTo>
                  <a:lnTo>
                    <a:pt x="663" y="369"/>
                  </a:lnTo>
                  <a:lnTo>
                    <a:pt x="702" y="334"/>
                  </a:lnTo>
                  <a:lnTo>
                    <a:pt x="740" y="299"/>
                  </a:lnTo>
                  <a:lnTo>
                    <a:pt x="776" y="265"/>
                  </a:lnTo>
                  <a:lnTo>
                    <a:pt x="812" y="232"/>
                  </a:lnTo>
                  <a:lnTo>
                    <a:pt x="846" y="201"/>
                  </a:lnTo>
                  <a:lnTo>
                    <a:pt x="879" y="171"/>
                  </a:lnTo>
                  <a:lnTo>
                    <a:pt x="908" y="143"/>
                  </a:lnTo>
                  <a:lnTo>
                    <a:pt x="937" y="118"/>
                  </a:lnTo>
                  <a:lnTo>
                    <a:pt x="962" y="95"/>
                  </a:lnTo>
                  <a:lnTo>
                    <a:pt x="985" y="73"/>
                  </a:lnTo>
                  <a:lnTo>
                    <a:pt x="1005" y="54"/>
                  </a:lnTo>
                  <a:lnTo>
                    <a:pt x="1022" y="39"/>
                  </a:lnTo>
                  <a:lnTo>
                    <a:pt x="1036" y="27"/>
                  </a:lnTo>
                  <a:lnTo>
                    <a:pt x="1045" y="18"/>
                  </a:lnTo>
                  <a:lnTo>
                    <a:pt x="1051" y="12"/>
                  </a:lnTo>
                  <a:lnTo>
                    <a:pt x="1054" y="10"/>
                  </a:lnTo>
                  <a:lnTo>
                    <a:pt x="1063" y="3"/>
                  </a:lnTo>
                  <a:lnTo>
                    <a:pt x="10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205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03" name="TextBox 102"/>
          <p:cNvSpPr txBox="1"/>
          <p:nvPr/>
        </p:nvSpPr>
        <p:spPr>
          <a:xfrm>
            <a:off x="1472896" y="1117038"/>
            <a:ext cx="2203754" cy="1489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ru-RU" sz="1500" i="1" dirty="0" smtClean="0">
                <a:solidFill>
                  <a:schemeClr val="bg1"/>
                </a:solidFill>
                <a:latin typeface="+mj-lt"/>
              </a:rPr>
              <a:t>Получение представления о</a:t>
            </a:r>
            <a:r>
              <a:rPr sz="1500" i="1" dirty="0">
                <a:solidFill>
                  <a:schemeClr val="bg1"/>
                </a:solidFill>
                <a:latin typeface="+mj-lt"/>
              </a:rPr>
              <a:t/>
            </a:r>
            <a:br>
              <a:rPr sz="1500" i="1" dirty="0">
                <a:solidFill>
                  <a:schemeClr val="bg1"/>
                </a:solidFill>
                <a:latin typeface="+mj-lt"/>
              </a:rPr>
            </a:br>
            <a:r>
              <a:rPr lang="ru-RU" sz="1500" i="1" dirty="0" smtClean="0">
                <a:solidFill>
                  <a:schemeClr val="bg1"/>
                </a:solidFill>
                <a:latin typeface="+mj-lt"/>
              </a:rPr>
              <a:t>результатах эффективных кампаний…</a:t>
            </a:r>
            <a:endParaRPr lang="ru-RU" sz="15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1" name="Freeform 4955"/>
          <p:cNvSpPr>
            <a:spLocks noChangeAspect="1" noEditPoints="1"/>
          </p:cNvSpPr>
          <p:nvPr/>
        </p:nvSpPr>
        <p:spPr bwMode="auto">
          <a:xfrm>
            <a:off x="7338682" y="1216907"/>
            <a:ext cx="661414" cy="460759"/>
          </a:xfrm>
          <a:custGeom>
            <a:avLst/>
            <a:gdLst>
              <a:gd name="T0" fmla="*/ 16 w 356"/>
              <a:gd name="T1" fmla="*/ 0 h 248"/>
              <a:gd name="T2" fmla="*/ 2 w 356"/>
              <a:gd name="T3" fmla="*/ 10 h 248"/>
              <a:gd name="T4" fmla="*/ 0 w 356"/>
              <a:gd name="T5" fmla="*/ 232 h 248"/>
              <a:gd name="T6" fmla="*/ 10 w 356"/>
              <a:gd name="T7" fmla="*/ 246 h 248"/>
              <a:gd name="T8" fmla="*/ 340 w 356"/>
              <a:gd name="T9" fmla="*/ 248 h 248"/>
              <a:gd name="T10" fmla="*/ 354 w 356"/>
              <a:gd name="T11" fmla="*/ 238 h 248"/>
              <a:gd name="T12" fmla="*/ 356 w 356"/>
              <a:gd name="T13" fmla="*/ 16 h 248"/>
              <a:gd name="T14" fmla="*/ 346 w 356"/>
              <a:gd name="T15" fmla="*/ 2 h 248"/>
              <a:gd name="T16" fmla="*/ 216 w 356"/>
              <a:gd name="T17" fmla="*/ 16 h 248"/>
              <a:gd name="T18" fmla="*/ 216 w 356"/>
              <a:gd name="T19" fmla="*/ 40 h 248"/>
              <a:gd name="T20" fmla="*/ 168 w 356"/>
              <a:gd name="T21" fmla="*/ 16 h 248"/>
              <a:gd name="T22" fmla="*/ 152 w 356"/>
              <a:gd name="T23" fmla="*/ 16 h 248"/>
              <a:gd name="T24" fmla="*/ 106 w 356"/>
              <a:gd name="T25" fmla="*/ 70 h 248"/>
              <a:gd name="T26" fmla="*/ 26 w 356"/>
              <a:gd name="T27" fmla="*/ 16 h 248"/>
              <a:gd name="T28" fmla="*/ 26 w 356"/>
              <a:gd name="T29" fmla="*/ 152 h 248"/>
              <a:gd name="T30" fmla="*/ 26 w 356"/>
              <a:gd name="T31" fmla="*/ 232 h 248"/>
              <a:gd name="T32" fmla="*/ 42 w 356"/>
              <a:gd name="T33" fmla="*/ 232 h 248"/>
              <a:gd name="T34" fmla="*/ 20 w 356"/>
              <a:gd name="T35" fmla="*/ 180 h 248"/>
              <a:gd name="T36" fmla="*/ 10 w 356"/>
              <a:gd name="T37" fmla="*/ 172 h 248"/>
              <a:gd name="T38" fmla="*/ 10 w 356"/>
              <a:gd name="T39" fmla="*/ 166 h 248"/>
              <a:gd name="T40" fmla="*/ 20 w 356"/>
              <a:gd name="T41" fmla="*/ 160 h 248"/>
              <a:gd name="T42" fmla="*/ 54 w 356"/>
              <a:gd name="T43" fmla="*/ 160 h 248"/>
              <a:gd name="T44" fmla="*/ 60 w 356"/>
              <a:gd name="T45" fmla="*/ 170 h 248"/>
              <a:gd name="T46" fmla="*/ 56 w 356"/>
              <a:gd name="T47" fmla="*/ 176 h 248"/>
              <a:gd name="T48" fmla="*/ 50 w 356"/>
              <a:gd name="T49" fmla="*/ 180 h 248"/>
              <a:gd name="T50" fmla="*/ 90 w 356"/>
              <a:gd name="T51" fmla="*/ 106 h 248"/>
              <a:gd name="T52" fmla="*/ 112 w 356"/>
              <a:gd name="T53" fmla="*/ 98 h 248"/>
              <a:gd name="T54" fmla="*/ 78 w 356"/>
              <a:gd name="T55" fmla="*/ 98 h 248"/>
              <a:gd name="T56" fmla="*/ 72 w 356"/>
              <a:gd name="T57" fmla="*/ 88 h 248"/>
              <a:gd name="T58" fmla="*/ 76 w 356"/>
              <a:gd name="T59" fmla="*/ 82 h 248"/>
              <a:gd name="T60" fmla="*/ 112 w 356"/>
              <a:gd name="T61" fmla="*/ 78 h 248"/>
              <a:gd name="T62" fmla="*/ 120 w 356"/>
              <a:gd name="T63" fmla="*/ 82 h 248"/>
              <a:gd name="T64" fmla="*/ 122 w 356"/>
              <a:gd name="T65" fmla="*/ 88 h 248"/>
              <a:gd name="T66" fmla="*/ 116 w 356"/>
              <a:gd name="T67" fmla="*/ 98 h 248"/>
              <a:gd name="T68" fmla="*/ 168 w 356"/>
              <a:gd name="T69" fmla="*/ 232 h 248"/>
              <a:gd name="T70" fmla="*/ 168 w 356"/>
              <a:gd name="T71" fmla="*/ 142 h 248"/>
              <a:gd name="T72" fmla="*/ 146 w 356"/>
              <a:gd name="T73" fmla="*/ 134 h 248"/>
              <a:gd name="T74" fmla="*/ 138 w 356"/>
              <a:gd name="T75" fmla="*/ 132 h 248"/>
              <a:gd name="T76" fmla="*/ 136 w 356"/>
              <a:gd name="T77" fmla="*/ 124 h 248"/>
              <a:gd name="T78" fmla="*/ 142 w 356"/>
              <a:gd name="T79" fmla="*/ 114 h 248"/>
              <a:gd name="T80" fmla="*/ 176 w 356"/>
              <a:gd name="T81" fmla="*/ 114 h 248"/>
              <a:gd name="T82" fmla="*/ 186 w 356"/>
              <a:gd name="T83" fmla="*/ 120 h 248"/>
              <a:gd name="T84" fmla="*/ 186 w 356"/>
              <a:gd name="T85" fmla="*/ 128 h 248"/>
              <a:gd name="T86" fmla="*/ 176 w 356"/>
              <a:gd name="T87" fmla="*/ 134 h 248"/>
              <a:gd name="T88" fmla="*/ 216 w 356"/>
              <a:gd name="T89" fmla="*/ 232 h 248"/>
              <a:gd name="T90" fmla="*/ 232 w 356"/>
              <a:gd name="T91" fmla="*/ 232 h 248"/>
              <a:gd name="T92" fmla="*/ 208 w 356"/>
              <a:gd name="T93" fmla="*/ 68 h 248"/>
              <a:gd name="T94" fmla="*/ 200 w 356"/>
              <a:gd name="T95" fmla="*/ 62 h 248"/>
              <a:gd name="T96" fmla="*/ 200 w 356"/>
              <a:gd name="T97" fmla="*/ 54 h 248"/>
              <a:gd name="T98" fmla="*/ 208 w 356"/>
              <a:gd name="T99" fmla="*/ 48 h 248"/>
              <a:gd name="T100" fmla="*/ 242 w 356"/>
              <a:gd name="T101" fmla="*/ 50 h 248"/>
              <a:gd name="T102" fmla="*/ 248 w 356"/>
              <a:gd name="T103" fmla="*/ 58 h 248"/>
              <a:gd name="T104" fmla="*/ 246 w 356"/>
              <a:gd name="T105" fmla="*/ 66 h 248"/>
              <a:gd name="T106" fmla="*/ 238 w 356"/>
              <a:gd name="T107" fmla="*/ 68 h 248"/>
              <a:gd name="T108" fmla="*/ 328 w 356"/>
              <a:gd name="T109" fmla="*/ 124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56" h="248">
                <a:moveTo>
                  <a:pt x="340" y="0"/>
                </a:move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4" y="4"/>
                </a:lnTo>
                <a:lnTo>
                  <a:pt x="2" y="10"/>
                </a:lnTo>
                <a:lnTo>
                  <a:pt x="0" y="16"/>
                </a:lnTo>
                <a:lnTo>
                  <a:pt x="0" y="232"/>
                </a:lnTo>
                <a:lnTo>
                  <a:pt x="0" y="232"/>
                </a:lnTo>
                <a:lnTo>
                  <a:pt x="2" y="238"/>
                </a:lnTo>
                <a:lnTo>
                  <a:pt x="4" y="244"/>
                </a:lnTo>
                <a:lnTo>
                  <a:pt x="10" y="246"/>
                </a:lnTo>
                <a:lnTo>
                  <a:pt x="16" y="248"/>
                </a:lnTo>
                <a:lnTo>
                  <a:pt x="340" y="248"/>
                </a:lnTo>
                <a:lnTo>
                  <a:pt x="340" y="248"/>
                </a:lnTo>
                <a:lnTo>
                  <a:pt x="346" y="246"/>
                </a:lnTo>
                <a:lnTo>
                  <a:pt x="352" y="244"/>
                </a:lnTo>
                <a:lnTo>
                  <a:pt x="354" y="238"/>
                </a:lnTo>
                <a:lnTo>
                  <a:pt x="356" y="232"/>
                </a:lnTo>
                <a:lnTo>
                  <a:pt x="356" y="16"/>
                </a:lnTo>
                <a:lnTo>
                  <a:pt x="356" y="16"/>
                </a:lnTo>
                <a:lnTo>
                  <a:pt x="354" y="10"/>
                </a:lnTo>
                <a:lnTo>
                  <a:pt x="352" y="4"/>
                </a:lnTo>
                <a:lnTo>
                  <a:pt x="346" y="2"/>
                </a:lnTo>
                <a:lnTo>
                  <a:pt x="340" y="0"/>
                </a:lnTo>
                <a:lnTo>
                  <a:pt x="340" y="0"/>
                </a:lnTo>
                <a:close/>
                <a:moveTo>
                  <a:pt x="216" y="16"/>
                </a:moveTo>
                <a:lnTo>
                  <a:pt x="232" y="16"/>
                </a:lnTo>
                <a:lnTo>
                  <a:pt x="232" y="40"/>
                </a:lnTo>
                <a:lnTo>
                  <a:pt x="216" y="40"/>
                </a:lnTo>
                <a:lnTo>
                  <a:pt x="216" y="16"/>
                </a:lnTo>
                <a:close/>
                <a:moveTo>
                  <a:pt x="152" y="16"/>
                </a:moveTo>
                <a:lnTo>
                  <a:pt x="168" y="16"/>
                </a:lnTo>
                <a:lnTo>
                  <a:pt x="168" y="106"/>
                </a:lnTo>
                <a:lnTo>
                  <a:pt x="152" y="106"/>
                </a:lnTo>
                <a:lnTo>
                  <a:pt x="152" y="16"/>
                </a:lnTo>
                <a:close/>
                <a:moveTo>
                  <a:pt x="90" y="16"/>
                </a:moveTo>
                <a:lnTo>
                  <a:pt x="106" y="16"/>
                </a:lnTo>
                <a:lnTo>
                  <a:pt x="106" y="70"/>
                </a:lnTo>
                <a:lnTo>
                  <a:pt x="90" y="70"/>
                </a:lnTo>
                <a:lnTo>
                  <a:pt x="90" y="16"/>
                </a:lnTo>
                <a:close/>
                <a:moveTo>
                  <a:pt x="26" y="16"/>
                </a:moveTo>
                <a:lnTo>
                  <a:pt x="42" y="16"/>
                </a:lnTo>
                <a:lnTo>
                  <a:pt x="42" y="152"/>
                </a:lnTo>
                <a:lnTo>
                  <a:pt x="26" y="152"/>
                </a:lnTo>
                <a:lnTo>
                  <a:pt x="26" y="16"/>
                </a:lnTo>
                <a:close/>
                <a:moveTo>
                  <a:pt x="42" y="232"/>
                </a:moveTo>
                <a:lnTo>
                  <a:pt x="26" y="232"/>
                </a:lnTo>
                <a:lnTo>
                  <a:pt x="26" y="188"/>
                </a:lnTo>
                <a:lnTo>
                  <a:pt x="42" y="188"/>
                </a:lnTo>
                <a:lnTo>
                  <a:pt x="42" y="232"/>
                </a:lnTo>
                <a:close/>
                <a:moveTo>
                  <a:pt x="50" y="180"/>
                </a:moveTo>
                <a:lnTo>
                  <a:pt x="20" y="180"/>
                </a:lnTo>
                <a:lnTo>
                  <a:pt x="20" y="180"/>
                </a:lnTo>
                <a:lnTo>
                  <a:pt x="16" y="178"/>
                </a:lnTo>
                <a:lnTo>
                  <a:pt x="12" y="176"/>
                </a:lnTo>
                <a:lnTo>
                  <a:pt x="10" y="172"/>
                </a:lnTo>
                <a:lnTo>
                  <a:pt x="10" y="170"/>
                </a:lnTo>
                <a:lnTo>
                  <a:pt x="10" y="170"/>
                </a:lnTo>
                <a:lnTo>
                  <a:pt x="10" y="166"/>
                </a:lnTo>
                <a:lnTo>
                  <a:pt x="12" y="162"/>
                </a:lnTo>
                <a:lnTo>
                  <a:pt x="16" y="160"/>
                </a:lnTo>
                <a:lnTo>
                  <a:pt x="20" y="160"/>
                </a:lnTo>
                <a:lnTo>
                  <a:pt x="50" y="160"/>
                </a:lnTo>
                <a:lnTo>
                  <a:pt x="50" y="160"/>
                </a:lnTo>
                <a:lnTo>
                  <a:pt x="54" y="160"/>
                </a:lnTo>
                <a:lnTo>
                  <a:pt x="56" y="162"/>
                </a:lnTo>
                <a:lnTo>
                  <a:pt x="60" y="166"/>
                </a:lnTo>
                <a:lnTo>
                  <a:pt x="60" y="170"/>
                </a:lnTo>
                <a:lnTo>
                  <a:pt x="60" y="170"/>
                </a:lnTo>
                <a:lnTo>
                  <a:pt x="60" y="172"/>
                </a:lnTo>
                <a:lnTo>
                  <a:pt x="56" y="176"/>
                </a:lnTo>
                <a:lnTo>
                  <a:pt x="54" y="178"/>
                </a:lnTo>
                <a:lnTo>
                  <a:pt x="50" y="180"/>
                </a:lnTo>
                <a:lnTo>
                  <a:pt x="50" y="180"/>
                </a:lnTo>
                <a:close/>
                <a:moveTo>
                  <a:pt x="106" y="232"/>
                </a:moveTo>
                <a:lnTo>
                  <a:pt x="90" y="232"/>
                </a:lnTo>
                <a:lnTo>
                  <a:pt x="90" y="106"/>
                </a:lnTo>
                <a:lnTo>
                  <a:pt x="106" y="106"/>
                </a:lnTo>
                <a:lnTo>
                  <a:pt x="106" y="232"/>
                </a:lnTo>
                <a:close/>
                <a:moveTo>
                  <a:pt x="112" y="98"/>
                </a:moveTo>
                <a:lnTo>
                  <a:pt x="82" y="98"/>
                </a:lnTo>
                <a:lnTo>
                  <a:pt x="82" y="98"/>
                </a:lnTo>
                <a:lnTo>
                  <a:pt x="78" y="98"/>
                </a:lnTo>
                <a:lnTo>
                  <a:pt x="76" y="96"/>
                </a:lnTo>
                <a:lnTo>
                  <a:pt x="74" y="92"/>
                </a:lnTo>
                <a:lnTo>
                  <a:pt x="72" y="88"/>
                </a:lnTo>
                <a:lnTo>
                  <a:pt x="72" y="88"/>
                </a:lnTo>
                <a:lnTo>
                  <a:pt x="74" y="86"/>
                </a:lnTo>
                <a:lnTo>
                  <a:pt x="76" y="82"/>
                </a:lnTo>
                <a:lnTo>
                  <a:pt x="78" y="80"/>
                </a:lnTo>
                <a:lnTo>
                  <a:pt x="82" y="78"/>
                </a:lnTo>
                <a:lnTo>
                  <a:pt x="112" y="78"/>
                </a:lnTo>
                <a:lnTo>
                  <a:pt x="112" y="78"/>
                </a:lnTo>
                <a:lnTo>
                  <a:pt x="116" y="80"/>
                </a:lnTo>
                <a:lnTo>
                  <a:pt x="120" y="82"/>
                </a:lnTo>
                <a:lnTo>
                  <a:pt x="122" y="86"/>
                </a:lnTo>
                <a:lnTo>
                  <a:pt x="122" y="88"/>
                </a:lnTo>
                <a:lnTo>
                  <a:pt x="122" y="88"/>
                </a:lnTo>
                <a:lnTo>
                  <a:pt x="122" y="92"/>
                </a:lnTo>
                <a:lnTo>
                  <a:pt x="120" y="96"/>
                </a:lnTo>
                <a:lnTo>
                  <a:pt x="116" y="98"/>
                </a:lnTo>
                <a:lnTo>
                  <a:pt x="112" y="98"/>
                </a:lnTo>
                <a:lnTo>
                  <a:pt x="112" y="98"/>
                </a:lnTo>
                <a:close/>
                <a:moveTo>
                  <a:pt x="168" y="232"/>
                </a:moveTo>
                <a:lnTo>
                  <a:pt x="152" y="232"/>
                </a:lnTo>
                <a:lnTo>
                  <a:pt x="152" y="142"/>
                </a:lnTo>
                <a:lnTo>
                  <a:pt x="168" y="142"/>
                </a:lnTo>
                <a:lnTo>
                  <a:pt x="168" y="232"/>
                </a:lnTo>
                <a:close/>
                <a:moveTo>
                  <a:pt x="176" y="134"/>
                </a:moveTo>
                <a:lnTo>
                  <a:pt x="146" y="134"/>
                </a:lnTo>
                <a:lnTo>
                  <a:pt x="146" y="134"/>
                </a:lnTo>
                <a:lnTo>
                  <a:pt x="142" y="134"/>
                </a:lnTo>
                <a:lnTo>
                  <a:pt x="138" y="132"/>
                </a:lnTo>
                <a:lnTo>
                  <a:pt x="136" y="128"/>
                </a:lnTo>
                <a:lnTo>
                  <a:pt x="136" y="124"/>
                </a:lnTo>
                <a:lnTo>
                  <a:pt x="136" y="124"/>
                </a:lnTo>
                <a:lnTo>
                  <a:pt x="136" y="120"/>
                </a:lnTo>
                <a:lnTo>
                  <a:pt x="138" y="116"/>
                </a:lnTo>
                <a:lnTo>
                  <a:pt x="142" y="114"/>
                </a:lnTo>
                <a:lnTo>
                  <a:pt x="146" y="114"/>
                </a:lnTo>
                <a:lnTo>
                  <a:pt x="176" y="114"/>
                </a:lnTo>
                <a:lnTo>
                  <a:pt x="176" y="114"/>
                </a:lnTo>
                <a:lnTo>
                  <a:pt x="180" y="114"/>
                </a:lnTo>
                <a:lnTo>
                  <a:pt x="182" y="116"/>
                </a:lnTo>
                <a:lnTo>
                  <a:pt x="186" y="120"/>
                </a:lnTo>
                <a:lnTo>
                  <a:pt x="186" y="124"/>
                </a:lnTo>
                <a:lnTo>
                  <a:pt x="186" y="124"/>
                </a:lnTo>
                <a:lnTo>
                  <a:pt x="186" y="128"/>
                </a:lnTo>
                <a:lnTo>
                  <a:pt x="182" y="132"/>
                </a:lnTo>
                <a:lnTo>
                  <a:pt x="180" y="134"/>
                </a:lnTo>
                <a:lnTo>
                  <a:pt x="176" y="134"/>
                </a:lnTo>
                <a:lnTo>
                  <a:pt x="176" y="134"/>
                </a:lnTo>
                <a:close/>
                <a:moveTo>
                  <a:pt x="232" y="232"/>
                </a:moveTo>
                <a:lnTo>
                  <a:pt x="216" y="232"/>
                </a:lnTo>
                <a:lnTo>
                  <a:pt x="216" y="76"/>
                </a:lnTo>
                <a:lnTo>
                  <a:pt x="232" y="76"/>
                </a:lnTo>
                <a:lnTo>
                  <a:pt x="232" y="232"/>
                </a:lnTo>
                <a:close/>
                <a:moveTo>
                  <a:pt x="238" y="68"/>
                </a:moveTo>
                <a:lnTo>
                  <a:pt x="208" y="68"/>
                </a:lnTo>
                <a:lnTo>
                  <a:pt x="208" y="68"/>
                </a:lnTo>
                <a:lnTo>
                  <a:pt x="204" y="68"/>
                </a:lnTo>
                <a:lnTo>
                  <a:pt x="202" y="66"/>
                </a:lnTo>
                <a:lnTo>
                  <a:pt x="200" y="62"/>
                </a:lnTo>
                <a:lnTo>
                  <a:pt x="198" y="58"/>
                </a:lnTo>
                <a:lnTo>
                  <a:pt x="198" y="58"/>
                </a:lnTo>
                <a:lnTo>
                  <a:pt x="200" y="54"/>
                </a:lnTo>
                <a:lnTo>
                  <a:pt x="202" y="52"/>
                </a:lnTo>
                <a:lnTo>
                  <a:pt x="204" y="50"/>
                </a:lnTo>
                <a:lnTo>
                  <a:pt x="208" y="48"/>
                </a:lnTo>
                <a:lnTo>
                  <a:pt x="238" y="48"/>
                </a:lnTo>
                <a:lnTo>
                  <a:pt x="238" y="48"/>
                </a:lnTo>
                <a:lnTo>
                  <a:pt x="242" y="50"/>
                </a:lnTo>
                <a:lnTo>
                  <a:pt x="246" y="52"/>
                </a:lnTo>
                <a:lnTo>
                  <a:pt x="248" y="54"/>
                </a:lnTo>
                <a:lnTo>
                  <a:pt x="248" y="58"/>
                </a:lnTo>
                <a:lnTo>
                  <a:pt x="248" y="58"/>
                </a:lnTo>
                <a:lnTo>
                  <a:pt x="248" y="62"/>
                </a:lnTo>
                <a:lnTo>
                  <a:pt x="246" y="66"/>
                </a:lnTo>
                <a:lnTo>
                  <a:pt x="242" y="68"/>
                </a:lnTo>
                <a:lnTo>
                  <a:pt x="238" y="68"/>
                </a:lnTo>
                <a:lnTo>
                  <a:pt x="238" y="68"/>
                </a:lnTo>
                <a:close/>
                <a:moveTo>
                  <a:pt x="278" y="158"/>
                </a:moveTo>
                <a:lnTo>
                  <a:pt x="278" y="90"/>
                </a:lnTo>
                <a:lnTo>
                  <a:pt x="328" y="124"/>
                </a:lnTo>
                <a:lnTo>
                  <a:pt x="278" y="158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3440864" y="1974854"/>
            <a:ext cx="1322299" cy="3545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ru-RU" sz="1100" i="1" dirty="0" smtClean="0">
                <a:solidFill>
                  <a:schemeClr val="bg1"/>
                </a:solidFill>
                <a:latin typeface="+mj-lt"/>
              </a:rPr>
              <a:t>Тщательный анализ</a:t>
            </a:r>
            <a:r>
              <a:rPr i="1">
                <a:solidFill>
                  <a:schemeClr val="bg1"/>
                </a:solidFill>
                <a:latin typeface="+mj-lt"/>
              </a:rPr>
              <a:t/>
            </a:r>
            <a:br>
              <a:rPr i="1">
                <a:solidFill>
                  <a:schemeClr val="bg1"/>
                </a:solidFill>
                <a:latin typeface="+mj-lt"/>
              </a:rPr>
            </a:br>
            <a:r>
              <a:rPr lang="ru-RU" sz="1100" i="1" dirty="0" smtClean="0">
                <a:solidFill>
                  <a:schemeClr val="bg1"/>
                </a:solidFill>
                <a:latin typeface="+mj-lt"/>
              </a:rPr>
              <a:t>прошлых кампаний</a:t>
            </a:r>
            <a:endParaRPr lang="ru-RU" sz="11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5025193" y="1974854"/>
            <a:ext cx="1566460" cy="3545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ru-RU" sz="1100" i="1" dirty="0" smtClean="0">
                <a:solidFill>
                  <a:schemeClr val="bg1"/>
                </a:solidFill>
                <a:latin typeface="+mj-lt"/>
              </a:rPr>
              <a:t>Разработка</a:t>
            </a:r>
            <a:r>
              <a:rPr i="1">
                <a:solidFill>
                  <a:schemeClr val="bg1"/>
                </a:solidFill>
                <a:latin typeface="+mj-lt"/>
              </a:rPr>
              <a:t/>
            </a:r>
            <a:br>
              <a:rPr i="1">
                <a:solidFill>
                  <a:schemeClr val="bg1"/>
                </a:solidFill>
                <a:latin typeface="+mj-lt"/>
              </a:rPr>
            </a:br>
            <a:r>
              <a:rPr lang="ru-RU" sz="1100" i="1" dirty="0" smtClean="0">
                <a:solidFill>
                  <a:schemeClr val="bg1"/>
                </a:solidFill>
                <a:latin typeface="+mj-lt"/>
              </a:rPr>
              <a:t>маркетингового плана</a:t>
            </a:r>
            <a:endParaRPr lang="ru-RU" sz="11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6853683" y="1974854"/>
            <a:ext cx="1631410" cy="3545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ru-RU" sz="1100" i="1" dirty="0" smtClean="0">
                <a:solidFill>
                  <a:schemeClr val="bg1"/>
                </a:solidFill>
                <a:latin typeface="+mj-lt"/>
              </a:rPr>
              <a:t>Контроль эффективности продвижения товаров в режиме реального времени</a:t>
            </a:r>
            <a:endParaRPr lang="ru-RU" sz="11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9" name="Freeform 4957"/>
          <p:cNvSpPr>
            <a:spLocks noChangeAspect="1" noEditPoints="1"/>
          </p:cNvSpPr>
          <p:nvPr/>
        </p:nvSpPr>
        <p:spPr bwMode="auto">
          <a:xfrm>
            <a:off x="3746361" y="1152304"/>
            <a:ext cx="711305" cy="589964"/>
          </a:xfrm>
          <a:custGeom>
            <a:avLst/>
            <a:gdLst>
              <a:gd name="T0" fmla="*/ 46 w 340"/>
              <a:gd name="T1" fmla="*/ 232 h 282"/>
              <a:gd name="T2" fmla="*/ 52 w 340"/>
              <a:gd name="T3" fmla="*/ 210 h 282"/>
              <a:gd name="T4" fmla="*/ 122 w 340"/>
              <a:gd name="T5" fmla="*/ 190 h 282"/>
              <a:gd name="T6" fmla="*/ 140 w 340"/>
              <a:gd name="T7" fmla="*/ 184 h 282"/>
              <a:gd name="T8" fmla="*/ 194 w 340"/>
              <a:gd name="T9" fmla="*/ 198 h 282"/>
              <a:gd name="T10" fmla="*/ 218 w 340"/>
              <a:gd name="T11" fmla="*/ 212 h 282"/>
              <a:gd name="T12" fmla="*/ 244 w 340"/>
              <a:gd name="T13" fmla="*/ 188 h 282"/>
              <a:gd name="T14" fmla="*/ 302 w 340"/>
              <a:gd name="T15" fmla="*/ 186 h 282"/>
              <a:gd name="T16" fmla="*/ 324 w 340"/>
              <a:gd name="T17" fmla="*/ 188 h 282"/>
              <a:gd name="T18" fmla="*/ 340 w 340"/>
              <a:gd name="T19" fmla="*/ 164 h 282"/>
              <a:gd name="T20" fmla="*/ 314 w 340"/>
              <a:gd name="T21" fmla="*/ 136 h 282"/>
              <a:gd name="T22" fmla="*/ 290 w 340"/>
              <a:gd name="T23" fmla="*/ 150 h 282"/>
              <a:gd name="T24" fmla="*/ 236 w 340"/>
              <a:gd name="T25" fmla="*/ 164 h 282"/>
              <a:gd name="T26" fmla="*/ 218 w 340"/>
              <a:gd name="T27" fmla="*/ 158 h 282"/>
              <a:gd name="T28" fmla="*/ 196 w 340"/>
              <a:gd name="T29" fmla="*/ 170 h 282"/>
              <a:gd name="T30" fmla="*/ 140 w 340"/>
              <a:gd name="T31" fmla="*/ 144 h 282"/>
              <a:gd name="T32" fmla="*/ 112 w 340"/>
              <a:gd name="T33" fmla="*/ 138 h 282"/>
              <a:gd name="T34" fmla="*/ 96 w 340"/>
              <a:gd name="T35" fmla="*/ 164 h 282"/>
              <a:gd name="T36" fmla="*/ 216 w 340"/>
              <a:gd name="T37" fmla="*/ 104 h 282"/>
              <a:gd name="T38" fmla="*/ 306 w 340"/>
              <a:gd name="T39" fmla="*/ 42 h 282"/>
              <a:gd name="T40" fmla="*/ 292 w 340"/>
              <a:gd name="T41" fmla="*/ 28 h 282"/>
              <a:gd name="T42" fmla="*/ 118 w 340"/>
              <a:gd name="T43" fmla="*/ 58 h 282"/>
              <a:gd name="T44" fmla="*/ 26 w 340"/>
              <a:gd name="T45" fmla="*/ 186 h 282"/>
              <a:gd name="T46" fmla="*/ 2 w 340"/>
              <a:gd name="T47" fmla="*/ 202 h 282"/>
              <a:gd name="T48" fmla="*/ 8 w 340"/>
              <a:gd name="T49" fmla="*/ 232 h 282"/>
              <a:gd name="T50" fmla="*/ 314 w 340"/>
              <a:gd name="T51" fmla="*/ 152 h 282"/>
              <a:gd name="T52" fmla="*/ 324 w 340"/>
              <a:gd name="T53" fmla="*/ 160 h 282"/>
              <a:gd name="T54" fmla="*/ 322 w 340"/>
              <a:gd name="T55" fmla="*/ 172 h 282"/>
              <a:gd name="T56" fmla="*/ 310 w 340"/>
              <a:gd name="T57" fmla="*/ 174 h 282"/>
              <a:gd name="T58" fmla="*/ 304 w 340"/>
              <a:gd name="T59" fmla="*/ 164 h 282"/>
              <a:gd name="T60" fmla="*/ 314 w 340"/>
              <a:gd name="T61" fmla="*/ 152 h 282"/>
              <a:gd name="T62" fmla="*/ 222 w 340"/>
              <a:gd name="T63" fmla="*/ 174 h 282"/>
              <a:gd name="T64" fmla="*/ 228 w 340"/>
              <a:gd name="T65" fmla="*/ 184 h 282"/>
              <a:gd name="T66" fmla="*/ 218 w 340"/>
              <a:gd name="T67" fmla="*/ 196 h 282"/>
              <a:gd name="T68" fmla="*/ 208 w 340"/>
              <a:gd name="T69" fmla="*/ 188 h 282"/>
              <a:gd name="T70" fmla="*/ 210 w 340"/>
              <a:gd name="T71" fmla="*/ 176 h 282"/>
              <a:gd name="T72" fmla="*/ 122 w 340"/>
              <a:gd name="T73" fmla="*/ 152 h 282"/>
              <a:gd name="T74" fmla="*/ 132 w 340"/>
              <a:gd name="T75" fmla="*/ 160 h 282"/>
              <a:gd name="T76" fmla="*/ 130 w 340"/>
              <a:gd name="T77" fmla="*/ 172 h 282"/>
              <a:gd name="T78" fmla="*/ 118 w 340"/>
              <a:gd name="T79" fmla="*/ 174 h 282"/>
              <a:gd name="T80" fmla="*/ 112 w 340"/>
              <a:gd name="T81" fmla="*/ 164 h 282"/>
              <a:gd name="T82" fmla="*/ 122 w 340"/>
              <a:gd name="T83" fmla="*/ 152 h 282"/>
              <a:gd name="T84" fmla="*/ 334 w 340"/>
              <a:gd name="T85" fmla="*/ 276 h 282"/>
              <a:gd name="T86" fmla="*/ 16 w 340"/>
              <a:gd name="T87" fmla="*/ 282 h 282"/>
              <a:gd name="T88" fmla="*/ 6 w 340"/>
              <a:gd name="T89" fmla="*/ 276 h 282"/>
              <a:gd name="T90" fmla="*/ 8 w 340"/>
              <a:gd name="T91" fmla="*/ 264 h 282"/>
              <a:gd name="T92" fmla="*/ 324 w 340"/>
              <a:gd name="T93" fmla="*/ 262 h 282"/>
              <a:gd name="T94" fmla="*/ 334 w 340"/>
              <a:gd name="T95" fmla="*/ 272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40" h="282">
                <a:moveTo>
                  <a:pt x="26" y="240"/>
                </a:moveTo>
                <a:lnTo>
                  <a:pt x="26" y="240"/>
                </a:lnTo>
                <a:lnTo>
                  <a:pt x="36" y="238"/>
                </a:lnTo>
                <a:lnTo>
                  <a:pt x="46" y="232"/>
                </a:lnTo>
                <a:lnTo>
                  <a:pt x="50" y="222"/>
                </a:lnTo>
                <a:lnTo>
                  <a:pt x="52" y="212"/>
                </a:lnTo>
                <a:lnTo>
                  <a:pt x="52" y="212"/>
                </a:lnTo>
                <a:lnTo>
                  <a:pt x="52" y="210"/>
                </a:lnTo>
                <a:lnTo>
                  <a:pt x="104" y="184"/>
                </a:lnTo>
                <a:lnTo>
                  <a:pt x="104" y="184"/>
                </a:lnTo>
                <a:lnTo>
                  <a:pt x="112" y="188"/>
                </a:lnTo>
                <a:lnTo>
                  <a:pt x="122" y="190"/>
                </a:lnTo>
                <a:lnTo>
                  <a:pt x="122" y="190"/>
                </a:lnTo>
                <a:lnTo>
                  <a:pt x="128" y="190"/>
                </a:lnTo>
                <a:lnTo>
                  <a:pt x="134" y="186"/>
                </a:lnTo>
                <a:lnTo>
                  <a:pt x="140" y="184"/>
                </a:lnTo>
                <a:lnTo>
                  <a:pt x="144" y="178"/>
                </a:lnTo>
                <a:lnTo>
                  <a:pt x="192" y="188"/>
                </a:lnTo>
                <a:lnTo>
                  <a:pt x="192" y="188"/>
                </a:lnTo>
                <a:lnTo>
                  <a:pt x="194" y="198"/>
                </a:lnTo>
                <a:lnTo>
                  <a:pt x="200" y="204"/>
                </a:lnTo>
                <a:lnTo>
                  <a:pt x="208" y="210"/>
                </a:lnTo>
                <a:lnTo>
                  <a:pt x="218" y="212"/>
                </a:lnTo>
                <a:lnTo>
                  <a:pt x="218" y="212"/>
                </a:lnTo>
                <a:lnTo>
                  <a:pt x="228" y="210"/>
                </a:lnTo>
                <a:lnTo>
                  <a:pt x="236" y="204"/>
                </a:lnTo>
                <a:lnTo>
                  <a:pt x="242" y="198"/>
                </a:lnTo>
                <a:lnTo>
                  <a:pt x="244" y="188"/>
                </a:lnTo>
                <a:lnTo>
                  <a:pt x="292" y="178"/>
                </a:lnTo>
                <a:lnTo>
                  <a:pt x="292" y="178"/>
                </a:lnTo>
                <a:lnTo>
                  <a:pt x="296" y="184"/>
                </a:lnTo>
                <a:lnTo>
                  <a:pt x="302" y="186"/>
                </a:lnTo>
                <a:lnTo>
                  <a:pt x="308" y="190"/>
                </a:lnTo>
                <a:lnTo>
                  <a:pt x="314" y="190"/>
                </a:lnTo>
                <a:lnTo>
                  <a:pt x="314" y="190"/>
                </a:lnTo>
                <a:lnTo>
                  <a:pt x="324" y="188"/>
                </a:lnTo>
                <a:lnTo>
                  <a:pt x="332" y="182"/>
                </a:lnTo>
                <a:lnTo>
                  <a:pt x="338" y="174"/>
                </a:lnTo>
                <a:lnTo>
                  <a:pt x="340" y="164"/>
                </a:lnTo>
                <a:lnTo>
                  <a:pt x="340" y="164"/>
                </a:lnTo>
                <a:lnTo>
                  <a:pt x="338" y="152"/>
                </a:lnTo>
                <a:lnTo>
                  <a:pt x="332" y="144"/>
                </a:lnTo>
                <a:lnTo>
                  <a:pt x="324" y="138"/>
                </a:lnTo>
                <a:lnTo>
                  <a:pt x="314" y="136"/>
                </a:lnTo>
                <a:lnTo>
                  <a:pt x="314" y="136"/>
                </a:lnTo>
                <a:lnTo>
                  <a:pt x="304" y="138"/>
                </a:lnTo>
                <a:lnTo>
                  <a:pt x="296" y="144"/>
                </a:lnTo>
                <a:lnTo>
                  <a:pt x="290" y="150"/>
                </a:lnTo>
                <a:lnTo>
                  <a:pt x="288" y="158"/>
                </a:lnTo>
                <a:lnTo>
                  <a:pt x="240" y="170"/>
                </a:lnTo>
                <a:lnTo>
                  <a:pt x="240" y="170"/>
                </a:lnTo>
                <a:lnTo>
                  <a:pt x="236" y="164"/>
                </a:lnTo>
                <a:lnTo>
                  <a:pt x="230" y="160"/>
                </a:lnTo>
                <a:lnTo>
                  <a:pt x="224" y="158"/>
                </a:lnTo>
                <a:lnTo>
                  <a:pt x="218" y="158"/>
                </a:lnTo>
                <a:lnTo>
                  <a:pt x="218" y="158"/>
                </a:lnTo>
                <a:lnTo>
                  <a:pt x="212" y="158"/>
                </a:lnTo>
                <a:lnTo>
                  <a:pt x="206" y="160"/>
                </a:lnTo>
                <a:lnTo>
                  <a:pt x="200" y="164"/>
                </a:lnTo>
                <a:lnTo>
                  <a:pt x="196" y="170"/>
                </a:lnTo>
                <a:lnTo>
                  <a:pt x="148" y="158"/>
                </a:lnTo>
                <a:lnTo>
                  <a:pt x="148" y="158"/>
                </a:lnTo>
                <a:lnTo>
                  <a:pt x="146" y="150"/>
                </a:lnTo>
                <a:lnTo>
                  <a:pt x="140" y="144"/>
                </a:lnTo>
                <a:lnTo>
                  <a:pt x="132" y="138"/>
                </a:lnTo>
                <a:lnTo>
                  <a:pt x="122" y="136"/>
                </a:lnTo>
                <a:lnTo>
                  <a:pt x="122" y="136"/>
                </a:lnTo>
                <a:lnTo>
                  <a:pt x="112" y="138"/>
                </a:lnTo>
                <a:lnTo>
                  <a:pt x="104" y="144"/>
                </a:lnTo>
                <a:lnTo>
                  <a:pt x="98" y="152"/>
                </a:lnTo>
                <a:lnTo>
                  <a:pt x="96" y="164"/>
                </a:lnTo>
                <a:lnTo>
                  <a:pt x="96" y="164"/>
                </a:lnTo>
                <a:lnTo>
                  <a:pt x="96" y="166"/>
                </a:lnTo>
                <a:lnTo>
                  <a:pt x="56" y="186"/>
                </a:lnTo>
                <a:lnTo>
                  <a:pt x="126" y="80"/>
                </a:lnTo>
                <a:lnTo>
                  <a:pt x="216" y="104"/>
                </a:lnTo>
                <a:lnTo>
                  <a:pt x="216" y="104"/>
                </a:lnTo>
                <a:lnTo>
                  <a:pt x="220" y="104"/>
                </a:lnTo>
                <a:lnTo>
                  <a:pt x="224" y="102"/>
                </a:lnTo>
                <a:lnTo>
                  <a:pt x="306" y="42"/>
                </a:lnTo>
                <a:lnTo>
                  <a:pt x="336" y="72"/>
                </a:lnTo>
                <a:lnTo>
                  <a:pt x="336" y="0"/>
                </a:lnTo>
                <a:lnTo>
                  <a:pt x="264" y="0"/>
                </a:lnTo>
                <a:lnTo>
                  <a:pt x="292" y="28"/>
                </a:lnTo>
                <a:lnTo>
                  <a:pt x="216" y="84"/>
                </a:lnTo>
                <a:lnTo>
                  <a:pt x="124" y="58"/>
                </a:lnTo>
                <a:lnTo>
                  <a:pt x="124" y="58"/>
                </a:lnTo>
                <a:lnTo>
                  <a:pt x="118" y="58"/>
                </a:lnTo>
                <a:lnTo>
                  <a:pt x="114" y="62"/>
                </a:lnTo>
                <a:lnTo>
                  <a:pt x="32" y="186"/>
                </a:lnTo>
                <a:lnTo>
                  <a:pt x="32" y="186"/>
                </a:lnTo>
                <a:lnTo>
                  <a:pt x="26" y="186"/>
                </a:lnTo>
                <a:lnTo>
                  <a:pt x="26" y="186"/>
                </a:lnTo>
                <a:lnTo>
                  <a:pt x="16" y="188"/>
                </a:lnTo>
                <a:lnTo>
                  <a:pt x="8" y="194"/>
                </a:lnTo>
                <a:lnTo>
                  <a:pt x="2" y="202"/>
                </a:lnTo>
                <a:lnTo>
                  <a:pt x="0" y="212"/>
                </a:lnTo>
                <a:lnTo>
                  <a:pt x="0" y="212"/>
                </a:lnTo>
                <a:lnTo>
                  <a:pt x="2" y="222"/>
                </a:lnTo>
                <a:lnTo>
                  <a:pt x="8" y="232"/>
                </a:lnTo>
                <a:lnTo>
                  <a:pt x="16" y="238"/>
                </a:lnTo>
                <a:lnTo>
                  <a:pt x="26" y="240"/>
                </a:lnTo>
                <a:lnTo>
                  <a:pt x="26" y="240"/>
                </a:lnTo>
                <a:close/>
                <a:moveTo>
                  <a:pt x="314" y="152"/>
                </a:moveTo>
                <a:lnTo>
                  <a:pt x="314" y="152"/>
                </a:lnTo>
                <a:lnTo>
                  <a:pt x="318" y="154"/>
                </a:lnTo>
                <a:lnTo>
                  <a:pt x="322" y="156"/>
                </a:lnTo>
                <a:lnTo>
                  <a:pt x="324" y="160"/>
                </a:lnTo>
                <a:lnTo>
                  <a:pt x="324" y="164"/>
                </a:lnTo>
                <a:lnTo>
                  <a:pt x="324" y="164"/>
                </a:lnTo>
                <a:lnTo>
                  <a:pt x="324" y="168"/>
                </a:lnTo>
                <a:lnTo>
                  <a:pt x="322" y="172"/>
                </a:lnTo>
                <a:lnTo>
                  <a:pt x="318" y="174"/>
                </a:lnTo>
                <a:lnTo>
                  <a:pt x="314" y="174"/>
                </a:lnTo>
                <a:lnTo>
                  <a:pt x="314" y="174"/>
                </a:lnTo>
                <a:lnTo>
                  <a:pt x="310" y="174"/>
                </a:lnTo>
                <a:lnTo>
                  <a:pt x="306" y="172"/>
                </a:lnTo>
                <a:lnTo>
                  <a:pt x="304" y="168"/>
                </a:lnTo>
                <a:lnTo>
                  <a:pt x="304" y="164"/>
                </a:lnTo>
                <a:lnTo>
                  <a:pt x="304" y="164"/>
                </a:lnTo>
                <a:lnTo>
                  <a:pt x="304" y="160"/>
                </a:lnTo>
                <a:lnTo>
                  <a:pt x="306" y="156"/>
                </a:lnTo>
                <a:lnTo>
                  <a:pt x="310" y="154"/>
                </a:lnTo>
                <a:lnTo>
                  <a:pt x="314" y="152"/>
                </a:lnTo>
                <a:lnTo>
                  <a:pt x="314" y="152"/>
                </a:lnTo>
                <a:close/>
                <a:moveTo>
                  <a:pt x="218" y="174"/>
                </a:moveTo>
                <a:lnTo>
                  <a:pt x="218" y="174"/>
                </a:lnTo>
                <a:lnTo>
                  <a:pt x="222" y="174"/>
                </a:lnTo>
                <a:lnTo>
                  <a:pt x="226" y="176"/>
                </a:lnTo>
                <a:lnTo>
                  <a:pt x="228" y="180"/>
                </a:lnTo>
                <a:lnTo>
                  <a:pt x="228" y="184"/>
                </a:lnTo>
                <a:lnTo>
                  <a:pt x="228" y="184"/>
                </a:lnTo>
                <a:lnTo>
                  <a:pt x="228" y="188"/>
                </a:lnTo>
                <a:lnTo>
                  <a:pt x="226" y="192"/>
                </a:lnTo>
                <a:lnTo>
                  <a:pt x="222" y="194"/>
                </a:lnTo>
                <a:lnTo>
                  <a:pt x="218" y="196"/>
                </a:lnTo>
                <a:lnTo>
                  <a:pt x="218" y="196"/>
                </a:lnTo>
                <a:lnTo>
                  <a:pt x="214" y="194"/>
                </a:lnTo>
                <a:lnTo>
                  <a:pt x="210" y="192"/>
                </a:lnTo>
                <a:lnTo>
                  <a:pt x="208" y="188"/>
                </a:lnTo>
                <a:lnTo>
                  <a:pt x="208" y="184"/>
                </a:lnTo>
                <a:lnTo>
                  <a:pt x="208" y="184"/>
                </a:lnTo>
                <a:lnTo>
                  <a:pt x="208" y="180"/>
                </a:lnTo>
                <a:lnTo>
                  <a:pt x="210" y="176"/>
                </a:lnTo>
                <a:lnTo>
                  <a:pt x="214" y="174"/>
                </a:lnTo>
                <a:lnTo>
                  <a:pt x="218" y="174"/>
                </a:lnTo>
                <a:lnTo>
                  <a:pt x="218" y="174"/>
                </a:lnTo>
                <a:close/>
                <a:moveTo>
                  <a:pt x="122" y="152"/>
                </a:moveTo>
                <a:lnTo>
                  <a:pt x="122" y="152"/>
                </a:lnTo>
                <a:lnTo>
                  <a:pt x="126" y="154"/>
                </a:lnTo>
                <a:lnTo>
                  <a:pt x="130" y="156"/>
                </a:lnTo>
                <a:lnTo>
                  <a:pt x="132" y="160"/>
                </a:lnTo>
                <a:lnTo>
                  <a:pt x="132" y="164"/>
                </a:lnTo>
                <a:lnTo>
                  <a:pt x="132" y="164"/>
                </a:lnTo>
                <a:lnTo>
                  <a:pt x="132" y="168"/>
                </a:lnTo>
                <a:lnTo>
                  <a:pt x="130" y="172"/>
                </a:lnTo>
                <a:lnTo>
                  <a:pt x="126" y="174"/>
                </a:lnTo>
                <a:lnTo>
                  <a:pt x="122" y="174"/>
                </a:lnTo>
                <a:lnTo>
                  <a:pt x="122" y="174"/>
                </a:lnTo>
                <a:lnTo>
                  <a:pt x="118" y="174"/>
                </a:lnTo>
                <a:lnTo>
                  <a:pt x="114" y="172"/>
                </a:lnTo>
                <a:lnTo>
                  <a:pt x="112" y="168"/>
                </a:lnTo>
                <a:lnTo>
                  <a:pt x="112" y="164"/>
                </a:lnTo>
                <a:lnTo>
                  <a:pt x="112" y="164"/>
                </a:lnTo>
                <a:lnTo>
                  <a:pt x="112" y="160"/>
                </a:lnTo>
                <a:lnTo>
                  <a:pt x="114" y="156"/>
                </a:lnTo>
                <a:lnTo>
                  <a:pt x="118" y="154"/>
                </a:lnTo>
                <a:lnTo>
                  <a:pt x="122" y="152"/>
                </a:lnTo>
                <a:lnTo>
                  <a:pt x="122" y="152"/>
                </a:lnTo>
                <a:close/>
                <a:moveTo>
                  <a:pt x="334" y="272"/>
                </a:moveTo>
                <a:lnTo>
                  <a:pt x="334" y="272"/>
                </a:lnTo>
                <a:lnTo>
                  <a:pt x="334" y="276"/>
                </a:lnTo>
                <a:lnTo>
                  <a:pt x="332" y="278"/>
                </a:lnTo>
                <a:lnTo>
                  <a:pt x="328" y="280"/>
                </a:lnTo>
                <a:lnTo>
                  <a:pt x="324" y="282"/>
                </a:lnTo>
                <a:lnTo>
                  <a:pt x="16" y="282"/>
                </a:lnTo>
                <a:lnTo>
                  <a:pt x="16" y="282"/>
                </a:lnTo>
                <a:lnTo>
                  <a:pt x="12" y="280"/>
                </a:lnTo>
                <a:lnTo>
                  <a:pt x="8" y="278"/>
                </a:lnTo>
                <a:lnTo>
                  <a:pt x="6" y="276"/>
                </a:lnTo>
                <a:lnTo>
                  <a:pt x="6" y="272"/>
                </a:lnTo>
                <a:lnTo>
                  <a:pt x="6" y="272"/>
                </a:lnTo>
                <a:lnTo>
                  <a:pt x="6" y="268"/>
                </a:lnTo>
                <a:lnTo>
                  <a:pt x="8" y="264"/>
                </a:lnTo>
                <a:lnTo>
                  <a:pt x="12" y="262"/>
                </a:lnTo>
                <a:lnTo>
                  <a:pt x="16" y="262"/>
                </a:lnTo>
                <a:lnTo>
                  <a:pt x="324" y="262"/>
                </a:lnTo>
                <a:lnTo>
                  <a:pt x="324" y="262"/>
                </a:lnTo>
                <a:lnTo>
                  <a:pt x="328" y="262"/>
                </a:lnTo>
                <a:lnTo>
                  <a:pt x="332" y="264"/>
                </a:lnTo>
                <a:lnTo>
                  <a:pt x="334" y="268"/>
                </a:lnTo>
                <a:lnTo>
                  <a:pt x="334" y="272"/>
                </a:lnTo>
                <a:lnTo>
                  <a:pt x="334" y="272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534087" y="1105332"/>
            <a:ext cx="718467" cy="683908"/>
            <a:chOff x="5631323" y="1290116"/>
            <a:chExt cx="787233" cy="749367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82" name="Freeform 142"/>
            <p:cNvSpPr>
              <a:spLocks/>
            </p:cNvSpPr>
            <p:nvPr/>
          </p:nvSpPr>
          <p:spPr bwMode="auto">
            <a:xfrm>
              <a:off x="6137544" y="1347912"/>
              <a:ext cx="221223" cy="223216"/>
            </a:xfrm>
            <a:custGeom>
              <a:avLst/>
              <a:gdLst>
                <a:gd name="T0" fmla="*/ 111 w 111"/>
                <a:gd name="T1" fmla="*/ 110 h 112"/>
                <a:gd name="T2" fmla="*/ 111 w 111"/>
                <a:gd name="T3" fmla="*/ 110 h 112"/>
                <a:gd name="T4" fmla="*/ 111 w 111"/>
                <a:gd name="T5" fmla="*/ 99 h 112"/>
                <a:gd name="T6" fmla="*/ 109 w 111"/>
                <a:gd name="T7" fmla="*/ 89 h 112"/>
                <a:gd name="T8" fmla="*/ 106 w 111"/>
                <a:gd name="T9" fmla="*/ 77 h 112"/>
                <a:gd name="T10" fmla="*/ 102 w 111"/>
                <a:gd name="T11" fmla="*/ 67 h 112"/>
                <a:gd name="T12" fmla="*/ 98 w 111"/>
                <a:gd name="T13" fmla="*/ 57 h 112"/>
                <a:gd name="T14" fmla="*/ 92 w 111"/>
                <a:gd name="T15" fmla="*/ 49 h 112"/>
                <a:gd name="T16" fmla="*/ 86 w 111"/>
                <a:gd name="T17" fmla="*/ 40 h 112"/>
                <a:gd name="T18" fmla="*/ 79 w 111"/>
                <a:gd name="T19" fmla="*/ 31 h 112"/>
                <a:gd name="T20" fmla="*/ 70 w 111"/>
                <a:gd name="T21" fmla="*/ 24 h 112"/>
                <a:gd name="T22" fmla="*/ 62 w 111"/>
                <a:gd name="T23" fmla="*/ 18 h 112"/>
                <a:gd name="T24" fmla="*/ 53 w 111"/>
                <a:gd name="T25" fmla="*/ 13 h 112"/>
                <a:gd name="T26" fmla="*/ 43 w 111"/>
                <a:gd name="T27" fmla="*/ 8 h 112"/>
                <a:gd name="T28" fmla="*/ 33 w 111"/>
                <a:gd name="T29" fmla="*/ 4 h 112"/>
                <a:gd name="T30" fmla="*/ 23 w 111"/>
                <a:gd name="T31" fmla="*/ 1 h 112"/>
                <a:gd name="T32" fmla="*/ 11 w 111"/>
                <a:gd name="T33" fmla="*/ 0 h 112"/>
                <a:gd name="T34" fmla="*/ 0 w 111"/>
                <a:gd name="T35" fmla="*/ 0 h 112"/>
                <a:gd name="T36" fmla="*/ 0 w 111"/>
                <a:gd name="T37" fmla="*/ 0 h 112"/>
                <a:gd name="T38" fmla="*/ 0 w 111"/>
                <a:gd name="T39" fmla="*/ 0 h 112"/>
                <a:gd name="T40" fmla="*/ 0 w 111"/>
                <a:gd name="T41" fmla="*/ 112 h 112"/>
                <a:gd name="T42" fmla="*/ 111 w 111"/>
                <a:gd name="T43" fmla="*/ 112 h 112"/>
                <a:gd name="T44" fmla="*/ 111 w 111"/>
                <a:gd name="T45" fmla="*/ 112 h 112"/>
                <a:gd name="T46" fmla="*/ 111 w 111"/>
                <a:gd name="T47" fmla="*/ 110 h 112"/>
                <a:gd name="T48" fmla="*/ 111 w 111"/>
                <a:gd name="T49" fmla="*/ 11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1" h="112">
                  <a:moveTo>
                    <a:pt x="111" y="110"/>
                  </a:moveTo>
                  <a:lnTo>
                    <a:pt x="111" y="110"/>
                  </a:lnTo>
                  <a:lnTo>
                    <a:pt x="111" y="99"/>
                  </a:lnTo>
                  <a:lnTo>
                    <a:pt x="109" y="89"/>
                  </a:lnTo>
                  <a:lnTo>
                    <a:pt x="106" y="77"/>
                  </a:lnTo>
                  <a:lnTo>
                    <a:pt x="102" y="67"/>
                  </a:lnTo>
                  <a:lnTo>
                    <a:pt x="98" y="57"/>
                  </a:lnTo>
                  <a:lnTo>
                    <a:pt x="92" y="49"/>
                  </a:lnTo>
                  <a:lnTo>
                    <a:pt x="86" y="40"/>
                  </a:lnTo>
                  <a:lnTo>
                    <a:pt x="79" y="31"/>
                  </a:lnTo>
                  <a:lnTo>
                    <a:pt x="70" y="24"/>
                  </a:lnTo>
                  <a:lnTo>
                    <a:pt x="62" y="18"/>
                  </a:lnTo>
                  <a:lnTo>
                    <a:pt x="53" y="13"/>
                  </a:lnTo>
                  <a:lnTo>
                    <a:pt x="43" y="8"/>
                  </a:lnTo>
                  <a:lnTo>
                    <a:pt x="33" y="4"/>
                  </a:lnTo>
                  <a:lnTo>
                    <a:pt x="23" y="1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0"/>
                  </a:lnTo>
                  <a:lnTo>
                    <a:pt x="111" y="1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3" name="Freeform 143"/>
            <p:cNvSpPr>
              <a:spLocks/>
            </p:cNvSpPr>
            <p:nvPr/>
          </p:nvSpPr>
          <p:spPr bwMode="auto">
            <a:xfrm>
              <a:off x="6099677" y="1591058"/>
              <a:ext cx="259090" cy="13952"/>
            </a:xfrm>
            <a:custGeom>
              <a:avLst/>
              <a:gdLst>
                <a:gd name="T0" fmla="*/ 0 w 130"/>
                <a:gd name="T1" fmla="*/ 7 h 7"/>
                <a:gd name="T2" fmla="*/ 128 w 130"/>
                <a:gd name="T3" fmla="*/ 7 h 7"/>
                <a:gd name="T4" fmla="*/ 128 w 130"/>
                <a:gd name="T5" fmla="*/ 7 h 7"/>
                <a:gd name="T6" fmla="*/ 130 w 130"/>
                <a:gd name="T7" fmla="*/ 0 h 7"/>
                <a:gd name="T8" fmla="*/ 9 w 130"/>
                <a:gd name="T9" fmla="*/ 0 h 7"/>
                <a:gd name="T10" fmla="*/ 0 w 130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7">
                  <a:moveTo>
                    <a:pt x="0" y="7"/>
                  </a:moveTo>
                  <a:lnTo>
                    <a:pt x="128" y="7"/>
                  </a:lnTo>
                  <a:lnTo>
                    <a:pt x="128" y="7"/>
                  </a:lnTo>
                  <a:lnTo>
                    <a:pt x="130" y="0"/>
                  </a:lnTo>
                  <a:lnTo>
                    <a:pt x="9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4" name="Freeform 144"/>
            <p:cNvSpPr>
              <a:spLocks/>
            </p:cNvSpPr>
            <p:nvPr/>
          </p:nvSpPr>
          <p:spPr bwMode="auto">
            <a:xfrm>
              <a:off x="6063803" y="1622946"/>
              <a:ext cx="288985" cy="13952"/>
            </a:xfrm>
            <a:custGeom>
              <a:avLst/>
              <a:gdLst>
                <a:gd name="T0" fmla="*/ 0 w 145"/>
                <a:gd name="T1" fmla="*/ 7 h 7"/>
                <a:gd name="T2" fmla="*/ 142 w 145"/>
                <a:gd name="T3" fmla="*/ 7 h 7"/>
                <a:gd name="T4" fmla="*/ 142 w 145"/>
                <a:gd name="T5" fmla="*/ 7 h 7"/>
                <a:gd name="T6" fmla="*/ 145 w 145"/>
                <a:gd name="T7" fmla="*/ 0 h 7"/>
                <a:gd name="T8" fmla="*/ 8 w 145"/>
                <a:gd name="T9" fmla="*/ 0 h 7"/>
                <a:gd name="T10" fmla="*/ 0 w 145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" h="7">
                  <a:moveTo>
                    <a:pt x="0" y="7"/>
                  </a:moveTo>
                  <a:lnTo>
                    <a:pt x="142" y="7"/>
                  </a:lnTo>
                  <a:lnTo>
                    <a:pt x="142" y="7"/>
                  </a:lnTo>
                  <a:lnTo>
                    <a:pt x="145" y="0"/>
                  </a:lnTo>
                  <a:lnTo>
                    <a:pt x="8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5" name="Freeform 145"/>
            <p:cNvSpPr>
              <a:spLocks/>
            </p:cNvSpPr>
            <p:nvPr/>
          </p:nvSpPr>
          <p:spPr bwMode="auto">
            <a:xfrm>
              <a:off x="6027929" y="1652842"/>
              <a:ext cx="312901" cy="15944"/>
            </a:xfrm>
            <a:custGeom>
              <a:avLst/>
              <a:gdLst>
                <a:gd name="T0" fmla="*/ 0 w 157"/>
                <a:gd name="T1" fmla="*/ 8 h 8"/>
                <a:gd name="T2" fmla="*/ 154 w 157"/>
                <a:gd name="T3" fmla="*/ 8 h 8"/>
                <a:gd name="T4" fmla="*/ 154 w 157"/>
                <a:gd name="T5" fmla="*/ 8 h 8"/>
                <a:gd name="T6" fmla="*/ 157 w 157"/>
                <a:gd name="T7" fmla="*/ 0 h 8"/>
                <a:gd name="T8" fmla="*/ 9 w 157"/>
                <a:gd name="T9" fmla="*/ 0 h 8"/>
                <a:gd name="T10" fmla="*/ 0 w 157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7" h="8">
                  <a:moveTo>
                    <a:pt x="0" y="8"/>
                  </a:moveTo>
                  <a:lnTo>
                    <a:pt x="154" y="8"/>
                  </a:lnTo>
                  <a:lnTo>
                    <a:pt x="154" y="8"/>
                  </a:lnTo>
                  <a:lnTo>
                    <a:pt x="157" y="0"/>
                  </a:lnTo>
                  <a:lnTo>
                    <a:pt x="9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6" name="Freeform 146"/>
            <p:cNvSpPr>
              <a:spLocks/>
            </p:cNvSpPr>
            <p:nvPr/>
          </p:nvSpPr>
          <p:spPr bwMode="auto">
            <a:xfrm>
              <a:off x="5992055" y="1684729"/>
              <a:ext cx="330837" cy="13952"/>
            </a:xfrm>
            <a:custGeom>
              <a:avLst/>
              <a:gdLst>
                <a:gd name="T0" fmla="*/ 0 w 166"/>
                <a:gd name="T1" fmla="*/ 7 h 7"/>
                <a:gd name="T2" fmla="*/ 162 w 166"/>
                <a:gd name="T3" fmla="*/ 7 h 7"/>
                <a:gd name="T4" fmla="*/ 162 w 166"/>
                <a:gd name="T5" fmla="*/ 7 h 7"/>
                <a:gd name="T6" fmla="*/ 166 w 166"/>
                <a:gd name="T7" fmla="*/ 0 h 7"/>
                <a:gd name="T8" fmla="*/ 8 w 166"/>
                <a:gd name="T9" fmla="*/ 0 h 7"/>
                <a:gd name="T10" fmla="*/ 0 w 166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6" h="7">
                  <a:moveTo>
                    <a:pt x="0" y="7"/>
                  </a:moveTo>
                  <a:lnTo>
                    <a:pt x="162" y="7"/>
                  </a:lnTo>
                  <a:lnTo>
                    <a:pt x="162" y="7"/>
                  </a:lnTo>
                  <a:lnTo>
                    <a:pt x="166" y="0"/>
                  </a:lnTo>
                  <a:lnTo>
                    <a:pt x="8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7" name="Freeform 147"/>
            <p:cNvSpPr>
              <a:spLocks/>
            </p:cNvSpPr>
            <p:nvPr/>
          </p:nvSpPr>
          <p:spPr bwMode="auto">
            <a:xfrm>
              <a:off x="6002020" y="1748505"/>
              <a:ext cx="265069" cy="13952"/>
            </a:xfrm>
            <a:custGeom>
              <a:avLst/>
              <a:gdLst>
                <a:gd name="T0" fmla="*/ 133 w 133"/>
                <a:gd name="T1" fmla="*/ 0 h 7"/>
                <a:gd name="T2" fmla="*/ 0 w 133"/>
                <a:gd name="T3" fmla="*/ 0 h 7"/>
                <a:gd name="T4" fmla="*/ 0 w 133"/>
                <a:gd name="T5" fmla="*/ 0 h 7"/>
                <a:gd name="T6" fmla="*/ 12 w 133"/>
                <a:gd name="T7" fmla="*/ 7 h 7"/>
                <a:gd name="T8" fmla="*/ 123 w 133"/>
                <a:gd name="T9" fmla="*/ 7 h 7"/>
                <a:gd name="T10" fmla="*/ 123 w 133"/>
                <a:gd name="T11" fmla="*/ 7 h 7"/>
                <a:gd name="T12" fmla="*/ 133 w 133"/>
                <a:gd name="T13" fmla="*/ 0 h 7"/>
                <a:gd name="T14" fmla="*/ 133 w 133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7">
                  <a:moveTo>
                    <a:pt x="133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2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33" y="0"/>
                  </a:lnTo>
                  <a:lnTo>
                    <a:pt x="13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8" name="Freeform 148"/>
            <p:cNvSpPr>
              <a:spLocks/>
            </p:cNvSpPr>
            <p:nvPr/>
          </p:nvSpPr>
          <p:spPr bwMode="auto">
            <a:xfrm>
              <a:off x="5972125" y="1716617"/>
              <a:ext cx="328845" cy="13952"/>
            </a:xfrm>
            <a:custGeom>
              <a:avLst/>
              <a:gdLst>
                <a:gd name="T0" fmla="*/ 0 w 165"/>
                <a:gd name="T1" fmla="*/ 0 h 7"/>
                <a:gd name="T2" fmla="*/ 0 w 165"/>
                <a:gd name="T3" fmla="*/ 0 h 7"/>
                <a:gd name="T4" fmla="*/ 5 w 165"/>
                <a:gd name="T5" fmla="*/ 7 h 7"/>
                <a:gd name="T6" fmla="*/ 158 w 165"/>
                <a:gd name="T7" fmla="*/ 7 h 7"/>
                <a:gd name="T8" fmla="*/ 158 w 165"/>
                <a:gd name="T9" fmla="*/ 7 h 7"/>
                <a:gd name="T10" fmla="*/ 165 w 165"/>
                <a:gd name="T11" fmla="*/ 0 h 7"/>
                <a:gd name="T12" fmla="*/ 1 w 165"/>
                <a:gd name="T13" fmla="*/ 0 h 7"/>
                <a:gd name="T14" fmla="*/ 0 w 165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5" h="7">
                  <a:moveTo>
                    <a:pt x="0" y="0"/>
                  </a:moveTo>
                  <a:lnTo>
                    <a:pt x="0" y="0"/>
                  </a:lnTo>
                  <a:lnTo>
                    <a:pt x="5" y="7"/>
                  </a:lnTo>
                  <a:lnTo>
                    <a:pt x="158" y="7"/>
                  </a:lnTo>
                  <a:lnTo>
                    <a:pt x="158" y="7"/>
                  </a:lnTo>
                  <a:lnTo>
                    <a:pt x="165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9" name="Freeform 149"/>
            <p:cNvSpPr>
              <a:spLocks/>
            </p:cNvSpPr>
            <p:nvPr/>
          </p:nvSpPr>
          <p:spPr bwMode="auto">
            <a:xfrm>
              <a:off x="6065796" y="1780393"/>
              <a:ext cx="145489" cy="9966"/>
            </a:xfrm>
            <a:custGeom>
              <a:avLst/>
              <a:gdLst>
                <a:gd name="T0" fmla="*/ 73 w 73"/>
                <a:gd name="T1" fmla="*/ 0 h 5"/>
                <a:gd name="T2" fmla="*/ 0 w 73"/>
                <a:gd name="T3" fmla="*/ 0 h 5"/>
                <a:gd name="T4" fmla="*/ 0 w 73"/>
                <a:gd name="T5" fmla="*/ 0 h 5"/>
                <a:gd name="T6" fmla="*/ 14 w 73"/>
                <a:gd name="T7" fmla="*/ 3 h 5"/>
                <a:gd name="T8" fmla="*/ 30 w 73"/>
                <a:gd name="T9" fmla="*/ 5 h 5"/>
                <a:gd name="T10" fmla="*/ 30 w 73"/>
                <a:gd name="T11" fmla="*/ 5 h 5"/>
                <a:gd name="T12" fmla="*/ 42 w 73"/>
                <a:gd name="T13" fmla="*/ 5 h 5"/>
                <a:gd name="T14" fmla="*/ 52 w 73"/>
                <a:gd name="T15" fmla="*/ 4 h 5"/>
                <a:gd name="T16" fmla="*/ 63 w 73"/>
                <a:gd name="T17" fmla="*/ 3 h 5"/>
                <a:gd name="T18" fmla="*/ 73 w 73"/>
                <a:gd name="T19" fmla="*/ 0 h 5"/>
                <a:gd name="T20" fmla="*/ 73 w 73"/>
                <a:gd name="T2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" h="5">
                  <a:moveTo>
                    <a:pt x="73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4" y="3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42" y="5"/>
                  </a:lnTo>
                  <a:lnTo>
                    <a:pt x="52" y="4"/>
                  </a:lnTo>
                  <a:lnTo>
                    <a:pt x="63" y="3"/>
                  </a:lnTo>
                  <a:lnTo>
                    <a:pt x="73" y="0"/>
                  </a:lnTo>
                  <a:lnTo>
                    <a:pt x="7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0" name="Freeform 150"/>
            <p:cNvSpPr>
              <a:spLocks/>
            </p:cNvSpPr>
            <p:nvPr/>
          </p:nvSpPr>
          <p:spPr bwMode="auto">
            <a:xfrm>
              <a:off x="5856531" y="1290116"/>
              <a:ext cx="562025" cy="558039"/>
            </a:xfrm>
            <a:custGeom>
              <a:avLst/>
              <a:gdLst>
                <a:gd name="T0" fmla="*/ 127 w 282"/>
                <a:gd name="T1" fmla="*/ 0 h 280"/>
                <a:gd name="T2" fmla="*/ 86 w 282"/>
                <a:gd name="T3" fmla="*/ 10 h 280"/>
                <a:gd name="T4" fmla="*/ 52 w 282"/>
                <a:gd name="T5" fmla="*/ 32 h 280"/>
                <a:gd name="T6" fmla="*/ 25 w 282"/>
                <a:gd name="T7" fmla="*/ 62 h 280"/>
                <a:gd name="T8" fmla="*/ 7 w 282"/>
                <a:gd name="T9" fmla="*/ 98 h 280"/>
                <a:gd name="T10" fmla="*/ 0 w 282"/>
                <a:gd name="T11" fmla="*/ 139 h 280"/>
                <a:gd name="T12" fmla="*/ 6 w 282"/>
                <a:gd name="T13" fmla="*/ 175 h 280"/>
                <a:gd name="T14" fmla="*/ 20 w 282"/>
                <a:gd name="T15" fmla="*/ 155 h 280"/>
                <a:gd name="T16" fmla="*/ 20 w 282"/>
                <a:gd name="T17" fmla="*/ 128 h 280"/>
                <a:gd name="T18" fmla="*/ 29 w 282"/>
                <a:gd name="T19" fmla="*/ 92 h 280"/>
                <a:gd name="T20" fmla="*/ 48 w 282"/>
                <a:gd name="T21" fmla="*/ 62 h 280"/>
                <a:gd name="T22" fmla="*/ 73 w 282"/>
                <a:gd name="T23" fmla="*/ 39 h 280"/>
                <a:gd name="T24" fmla="*/ 105 w 282"/>
                <a:gd name="T25" fmla="*/ 24 h 280"/>
                <a:gd name="T26" fmla="*/ 141 w 282"/>
                <a:gd name="T27" fmla="*/ 19 h 280"/>
                <a:gd name="T28" fmla="*/ 165 w 282"/>
                <a:gd name="T29" fmla="*/ 20 h 280"/>
                <a:gd name="T30" fmla="*/ 198 w 282"/>
                <a:gd name="T31" fmla="*/ 33 h 280"/>
                <a:gd name="T32" fmla="*/ 227 w 282"/>
                <a:gd name="T33" fmla="*/ 53 h 280"/>
                <a:gd name="T34" fmla="*/ 247 w 282"/>
                <a:gd name="T35" fmla="*/ 82 h 280"/>
                <a:gd name="T36" fmla="*/ 260 w 282"/>
                <a:gd name="T37" fmla="*/ 115 h 280"/>
                <a:gd name="T38" fmla="*/ 262 w 282"/>
                <a:gd name="T39" fmla="*/ 139 h 280"/>
                <a:gd name="T40" fmla="*/ 257 w 282"/>
                <a:gd name="T41" fmla="*/ 175 h 280"/>
                <a:gd name="T42" fmla="*/ 242 w 282"/>
                <a:gd name="T43" fmla="*/ 207 h 280"/>
                <a:gd name="T44" fmla="*/ 219 w 282"/>
                <a:gd name="T45" fmla="*/ 233 h 280"/>
                <a:gd name="T46" fmla="*/ 188 w 282"/>
                <a:gd name="T47" fmla="*/ 251 h 280"/>
                <a:gd name="T48" fmla="*/ 154 w 282"/>
                <a:gd name="T49" fmla="*/ 260 h 280"/>
                <a:gd name="T50" fmla="*/ 125 w 282"/>
                <a:gd name="T51" fmla="*/ 260 h 280"/>
                <a:gd name="T52" fmla="*/ 85 w 282"/>
                <a:gd name="T53" fmla="*/ 247 h 280"/>
                <a:gd name="T54" fmla="*/ 50 w 282"/>
                <a:gd name="T55" fmla="*/ 221 h 280"/>
                <a:gd name="T56" fmla="*/ 23 w 282"/>
                <a:gd name="T57" fmla="*/ 216 h 280"/>
                <a:gd name="T58" fmla="*/ 58 w 282"/>
                <a:gd name="T59" fmla="*/ 253 h 280"/>
                <a:gd name="T60" fmla="*/ 105 w 282"/>
                <a:gd name="T61" fmla="*/ 276 h 280"/>
                <a:gd name="T62" fmla="*/ 141 w 282"/>
                <a:gd name="T63" fmla="*/ 280 h 280"/>
                <a:gd name="T64" fmla="*/ 183 w 282"/>
                <a:gd name="T65" fmla="*/ 273 h 280"/>
                <a:gd name="T66" fmla="*/ 219 w 282"/>
                <a:gd name="T67" fmla="*/ 256 h 280"/>
                <a:gd name="T68" fmla="*/ 249 w 282"/>
                <a:gd name="T69" fmla="*/ 228 h 280"/>
                <a:gd name="T70" fmla="*/ 270 w 282"/>
                <a:gd name="T71" fmla="*/ 194 h 280"/>
                <a:gd name="T72" fmla="*/ 280 w 282"/>
                <a:gd name="T73" fmla="*/ 154 h 280"/>
                <a:gd name="T74" fmla="*/ 280 w 282"/>
                <a:gd name="T75" fmla="*/ 125 h 280"/>
                <a:gd name="T76" fmla="*/ 270 w 282"/>
                <a:gd name="T77" fmla="*/ 85 h 280"/>
                <a:gd name="T78" fmla="*/ 249 w 282"/>
                <a:gd name="T79" fmla="*/ 50 h 280"/>
                <a:gd name="T80" fmla="*/ 219 w 282"/>
                <a:gd name="T81" fmla="*/ 23 h 280"/>
                <a:gd name="T82" fmla="*/ 183 w 282"/>
                <a:gd name="T83" fmla="*/ 6 h 280"/>
                <a:gd name="T84" fmla="*/ 141 w 282"/>
                <a:gd name="T85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2" h="280">
                  <a:moveTo>
                    <a:pt x="141" y="0"/>
                  </a:moveTo>
                  <a:lnTo>
                    <a:pt x="141" y="0"/>
                  </a:lnTo>
                  <a:lnTo>
                    <a:pt x="127" y="0"/>
                  </a:lnTo>
                  <a:lnTo>
                    <a:pt x="112" y="1"/>
                  </a:lnTo>
                  <a:lnTo>
                    <a:pt x="99" y="6"/>
                  </a:lnTo>
                  <a:lnTo>
                    <a:pt x="86" y="10"/>
                  </a:lnTo>
                  <a:lnTo>
                    <a:pt x="73" y="16"/>
                  </a:lnTo>
                  <a:lnTo>
                    <a:pt x="62" y="23"/>
                  </a:lnTo>
                  <a:lnTo>
                    <a:pt x="52" y="32"/>
                  </a:lnTo>
                  <a:lnTo>
                    <a:pt x="42" y="40"/>
                  </a:lnTo>
                  <a:lnTo>
                    <a:pt x="33" y="50"/>
                  </a:lnTo>
                  <a:lnTo>
                    <a:pt x="25" y="62"/>
                  </a:lnTo>
                  <a:lnTo>
                    <a:pt x="17" y="73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2" y="125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58"/>
                  </a:lnTo>
                  <a:lnTo>
                    <a:pt x="6" y="175"/>
                  </a:lnTo>
                  <a:lnTo>
                    <a:pt x="23" y="171"/>
                  </a:lnTo>
                  <a:lnTo>
                    <a:pt x="23" y="171"/>
                  </a:lnTo>
                  <a:lnTo>
                    <a:pt x="20" y="155"/>
                  </a:lnTo>
                  <a:lnTo>
                    <a:pt x="19" y="139"/>
                  </a:lnTo>
                  <a:lnTo>
                    <a:pt x="19" y="139"/>
                  </a:lnTo>
                  <a:lnTo>
                    <a:pt x="20" y="128"/>
                  </a:lnTo>
                  <a:lnTo>
                    <a:pt x="22" y="115"/>
                  </a:lnTo>
                  <a:lnTo>
                    <a:pt x="25" y="103"/>
                  </a:lnTo>
                  <a:lnTo>
                    <a:pt x="29" y="92"/>
                  </a:lnTo>
                  <a:lnTo>
                    <a:pt x="35" y="82"/>
                  </a:lnTo>
                  <a:lnTo>
                    <a:pt x="40" y="72"/>
                  </a:lnTo>
                  <a:lnTo>
                    <a:pt x="48" y="62"/>
                  </a:lnTo>
                  <a:lnTo>
                    <a:pt x="55" y="53"/>
                  </a:lnTo>
                  <a:lnTo>
                    <a:pt x="63" y="46"/>
                  </a:lnTo>
                  <a:lnTo>
                    <a:pt x="73" y="39"/>
                  </a:lnTo>
                  <a:lnTo>
                    <a:pt x="84" y="33"/>
                  </a:lnTo>
                  <a:lnTo>
                    <a:pt x="94" y="27"/>
                  </a:lnTo>
                  <a:lnTo>
                    <a:pt x="105" y="24"/>
                  </a:lnTo>
                  <a:lnTo>
                    <a:pt x="117" y="20"/>
                  </a:lnTo>
                  <a:lnTo>
                    <a:pt x="128" y="19"/>
                  </a:lnTo>
                  <a:lnTo>
                    <a:pt x="141" y="19"/>
                  </a:lnTo>
                  <a:lnTo>
                    <a:pt x="141" y="19"/>
                  </a:lnTo>
                  <a:lnTo>
                    <a:pt x="154" y="19"/>
                  </a:lnTo>
                  <a:lnTo>
                    <a:pt x="165" y="20"/>
                  </a:lnTo>
                  <a:lnTo>
                    <a:pt x="177" y="24"/>
                  </a:lnTo>
                  <a:lnTo>
                    <a:pt x="188" y="27"/>
                  </a:lnTo>
                  <a:lnTo>
                    <a:pt x="198" y="33"/>
                  </a:lnTo>
                  <a:lnTo>
                    <a:pt x="209" y="39"/>
                  </a:lnTo>
                  <a:lnTo>
                    <a:pt x="219" y="46"/>
                  </a:lnTo>
                  <a:lnTo>
                    <a:pt x="227" y="53"/>
                  </a:lnTo>
                  <a:lnTo>
                    <a:pt x="234" y="62"/>
                  </a:lnTo>
                  <a:lnTo>
                    <a:pt x="242" y="72"/>
                  </a:lnTo>
                  <a:lnTo>
                    <a:pt x="247" y="82"/>
                  </a:lnTo>
                  <a:lnTo>
                    <a:pt x="253" y="92"/>
                  </a:lnTo>
                  <a:lnTo>
                    <a:pt x="257" y="103"/>
                  </a:lnTo>
                  <a:lnTo>
                    <a:pt x="260" y="115"/>
                  </a:lnTo>
                  <a:lnTo>
                    <a:pt x="262" y="128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2" y="152"/>
                  </a:lnTo>
                  <a:lnTo>
                    <a:pt x="260" y="164"/>
                  </a:lnTo>
                  <a:lnTo>
                    <a:pt x="257" y="175"/>
                  </a:lnTo>
                  <a:lnTo>
                    <a:pt x="253" y="187"/>
                  </a:lnTo>
                  <a:lnTo>
                    <a:pt x="247" y="197"/>
                  </a:lnTo>
                  <a:lnTo>
                    <a:pt x="242" y="207"/>
                  </a:lnTo>
                  <a:lnTo>
                    <a:pt x="234" y="217"/>
                  </a:lnTo>
                  <a:lnTo>
                    <a:pt x="227" y="226"/>
                  </a:lnTo>
                  <a:lnTo>
                    <a:pt x="219" y="233"/>
                  </a:lnTo>
                  <a:lnTo>
                    <a:pt x="209" y="240"/>
                  </a:lnTo>
                  <a:lnTo>
                    <a:pt x="198" y="247"/>
                  </a:lnTo>
                  <a:lnTo>
                    <a:pt x="188" y="251"/>
                  </a:lnTo>
                  <a:lnTo>
                    <a:pt x="177" y="256"/>
                  </a:lnTo>
                  <a:lnTo>
                    <a:pt x="165" y="259"/>
                  </a:lnTo>
                  <a:lnTo>
                    <a:pt x="154" y="260"/>
                  </a:lnTo>
                  <a:lnTo>
                    <a:pt x="141" y="262"/>
                  </a:lnTo>
                  <a:lnTo>
                    <a:pt x="141" y="262"/>
                  </a:lnTo>
                  <a:lnTo>
                    <a:pt x="125" y="260"/>
                  </a:lnTo>
                  <a:lnTo>
                    <a:pt x="111" y="257"/>
                  </a:lnTo>
                  <a:lnTo>
                    <a:pt x="98" y="253"/>
                  </a:lnTo>
                  <a:lnTo>
                    <a:pt x="85" y="247"/>
                  </a:lnTo>
                  <a:lnTo>
                    <a:pt x="72" y="240"/>
                  </a:lnTo>
                  <a:lnTo>
                    <a:pt x="62" y="231"/>
                  </a:lnTo>
                  <a:lnTo>
                    <a:pt x="50" y="221"/>
                  </a:lnTo>
                  <a:lnTo>
                    <a:pt x="42" y="210"/>
                  </a:lnTo>
                  <a:lnTo>
                    <a:pt x="23" y="216"/>
                  </a:lnTo>
                  <a:lnTo>
                    <a:pt x="23" y="216"/>
                  </a:lnTo>
                  <a:lnTo>
                    <a:pt x="33" y="230"/>
                  </a:lnTo>
                  <a:lnTo>
                    <a:pt x="45" y="241"/>
                  </a:lnTo>
                  <a:lnTo>
                    <a:pt x="58" y="253"/>
                  </a:lnTo>
                  <a:lnTo>
                    <a:pt x="73" y="263"/>
                  </a:lnTo>
                  <a:lnTo>
                    <a:pt x="88" y="270"/>
                  </a:lnTo>
                  <a:lnTo>
                    <a:pt x="105" y="276"/>
                  </a:lnTo>
                  <a:lnTo>
                    <a:pt x="122" y="279"/>
                  </a:lnTo>
                  <a:lnTo>
                    <a:pt x="141" y="280"/>
                  </a:lnTo>
                  <a:lnTo>
                    <a:pt x="141" y="280"/>
                  </a:lnTo>
                  <a:lnTo>
                    <a:pt x="155" y="279"/>
                  </a:lnTo>
                  <a:lnTo>
                    <a:pt x="170" y="277"/>
                  </a:lnTo>
                  <a:lnTo>
                    <a:pt x="183" y="273"/>
                  </a:lnTo>
                  <a:lnTo>
                    <a:pt x="196" y="269"/>
                  </a:lnTo>
                  <a:lnTo>
                    <a:pt x="207" y="263"/>
                  </a:lnTo>
                  <a:lnTo>
                    <a:pt x="219" y="256"/>
                  </a:lnTo>
                  <a:lnTo>
                    <a:pt x="230" y="247"/>
                  </a:lnTo>
                  <a:lnTo>
                    <a:pt x="240" y="239"/>
                  </a:lnTo>
                  <a:lnTo>
                    <a:pt x="249" y="228"/>
                  </a:lnTo>
                  <a:lnTo>
                    <a:pt x="257" y="218"/>
                  </a:lnTo>
                  <a:lnTo>
                    <a:pt x="265" y="207"/>
                  </a:lnTo>
                  <a:lnTo>
                    <a:pt x="270" y="194"/>
                  </a:lnTo>
                  <a:lnTo>
                    <a:pt x="275" y="181"/>
                  </a:lnTo>
                  <a:lnTo>
                    <a:pt x="279" y="168"/>
                  </a:lnTo>
                  <a:lnTo>
                    <a:pt x="280" y="154"/>
                  </a:lnTo>
                  <a:lnTo>
                    <a:pt x="282" y="139"/>
                  </a:lnTo>
                  <a:lnTo>
                    <a:pt x="282" y="139"/>
                  </a:lnTo>
                  <a:lnTo>
                    <a:pt x="280" y="125"/>
                  </a:lnTo>
                  <a:lnTo>
                    <a:pt x="279" y="112"/>
                  </a:lnTo>
                  <a:lnTo>
                    <a:pt x="275" y="98"/>
                  </a:lnTo>
                  <a:lnTo>
                    <a:pt x="270" y="85"/>
                  </a:lnTo>
                  <a:lnTo>
                    <a:pt x="265" y="73"/>
                  </a:lnTo>
                  <a:lnTo>
                    <a:pt x="257" y="62"/>
                  </a:lnTo>
                  <a:lnTo>
                    <a:pt x="249" y="50"/>
                  </a:lnTo>
                  <a:lnTo>
                    <a:pt x="240" y="40"/>
                  </a:lnTo>
                  <a:lnTo>
                    <a:pt x="230" y="32"/>
                  </a:lnTo>
                  <a:lnTo>
                    <a:pt x="219" y="23"/>
                  </a:lnTo>
                  <a:lnTo>
                    <a:pt x="207" y="16"/>
                  </a:lnTo>
                  <a:lnTo>
                    <a:pt x="196" y="10"/>
                  </a:lnTo>
                  <a:lnTo>
                    <a:pt x="183" y="6"/>
                  </a:lnTo>
                  <a:lnTo>
                    <a:pt x="170" y="1"/>
                  </a:lnTo>
                  <a:lnTo>
                    <a:pt x="155" y="0"/>
                  </a:lnTo>
                  <a:lnTo>
                    <a:pt x="141" y="0"/>
                  </a:lnTo>
                  <a:lnTo>
                    <a:pt x="14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1" name="Freeform 151"/>
            <p:cNvSpPr>
              <a:spLocks/>
            </p:cNvSpPr>
            <p:nvPr/>
          </p:nvSpPr>
          <p:spPr bwMode="auto">
            <a:xfrm>
              <a:off x="5784783" y="1644870"/>
              <a:ext cx="3986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2" name="Freeform 152"/>
            <p:cNvSpPr>
              <a:spLocks/>
            </p:cNvSpPr>
            <p:nvPr/>
          </p:nvSpPr>
          <p:spPr bwMode="auto">
            <a:xfrm>
              <a:off x="5685133" y="1511338"/>
              <a:ext cx="111608" cy="111608"/>
            </a:xfrm>
            <a:custGeom>
              <a:avLst/>
              <a:gdLst>
                <a:gd name="T0" fmla="*/ 27 w 56"/>
                <a:gd name="T1" fmla="*/ 56 h 56"/>
                <a:gd name="T2" fmla="*/ 27 w 56"/>
                <a:gd name="T3" fmla="*/ 56 h 56"/>
                <a:gd name="T4" fmla="*/ 33 w 56"/>
                <a:gd name="T5" fmla="*/ 56 h 56"/>
                <a:gd name="T6" fmla="*/ 39 w 56"/>
                <a:gd name="T7" fmla="*/ 53 h 56"/>
                <a:gd name="T8" fmla="*/ 43 w 56"/>
                <a:gd name="T9" fmla="*/ 51 h 56"/>
                <a:gd name="T10" fmla="*/ 47 w 56"/>
                <a:gd name="T11" fmla="*/ 47 h 56"/>
                <a:gd name="T12" fmla="*/ 52 w 56"/>
                <a:gd name="T13" fmla="*/ 43 h 56"/>
                <a:gd name="T14" fmla="*/ 53 w 56"/>
                <a:gd name="T15" fmla="*/ 38 h 56"/>
                <a:gd name="T16" fmla="*/ 56 w 56"/>
                <a:gd name="T17" fmla="*/ 33 h 56"/>
                <a:gd name="T18" fmla="*/ 56 w 56"/>
                <a:gd name="T19" fmla="*/ 27 h 56"/>
                <a:gd name="T20" fmla="*/ 56 w 56"/>
                <a:gd name="T21" fmla="*/ 27 h 56"/>
                <a:gd name="T22" fmla="*/ 56 w 56"/>
                <a:gd name="T23" fmla="*/ 21 h 56"/>
                <a:gd name="T24" fmla="*/ 53 w 56"/>
                <a:gd name="T25" fmla="*/ 17 h 56"/>
                <a:gd name="T26" fmla="*/ 52 w 56"/>
                <a:gd name="T27" fmla="*/ 11 h 56"/>
                <a:gd name="T28" fmla="*/ 47 w 56"/>
                <a:gd name="T29" fmla="*/ 8 h 56"/>
                <a:gd name="T30" fmla="*/ 43 w 56"/>
                <a:gd name="T31" fmla="*/ 4 h 56"/>
                <a:gd name="T32" fmla="*/ 39 w 56"/>
                <a:gd name="T33" fmla="*/ 1 h 56"/>
                <a:gd name="T34" fmla="*/ 33 w 56"/>
                <a:gd name="T35" fmla="*/ 0 h 56"/>
                <a:gd name="T36" fmla="*/ 27 w 56"/>
                <a:gd name="T37" fmla="*/ 0 h 56"/>
                <a:gd name="T38" fmla="*/ 27 w 56"/>
                <a:gd name="T39" fmla="*/ 0 h 56"/>
                <a:gd name="T40" fmla="*/ 21 w 56"/>
                <a:gd name="T41" fmla="*/ 0 h 56"/>
                <a:gd name="T42" fmla="*/ 17 w 56"/>
                <a:gd name="T43" fmla="*/ 1 h 56"/>
                <a:gd name="T44" fmla="*/ 11 w 56"/>
                <a:gd name="T45" fmla="*/ 4 h 56"/>
                <a:gd name="T46" fmla="*/ 7 w 56"/>
                <a:gd name="T47" fmla="*/ 8 h 56"/>
                <a:gd name="T48" fmla="*/ 4 w 56"/>
                <a:gd name="T49" fmla="*/ 11 h 56"/>
                <a:gd name="T50" fmla="*/ 1 w 56"/>
                <a:gd name="T51" fmla="*/ 17 h 56"/>
                <a:gd name="T52" fmla="*/ 0 w 56"/>
                <a:gd name="T53" fmla="*/ 21 h 56"/>
                <a:gd name="T54" fmla="*/ 0 w 56"/>
                <a:gd name="T55" fmla="*/ 27 h 56"/>
                <a:gd name="T56" fmla="*/ 0 w 56"/>
                <a:gd name="T57" fmla="*/ 27 h 56"/>
                <a:gd name="T58" fmla="*/ 0 w 56"/>
                <a:gd name="T59" fmla="*/ 33 h 56"/>
                <a:gd name="T60" fmla="*/ 1 w 56"/>
                <a:gd name="T61" fmla="*/ 38 h 56"/>
                <a:gd name="T62" fmla="*/ 4 w 56"/>
                <a:gd name="T63" fmla="*/ 43 h 56"/>
                <a:gd name="T64" fmla="*/ 7 w 56"/>
                <a:gd name="T65" fmla="*/ 47 h 56"/>
                <a:gd name="T66" fmla="*/ 11 w 56"/>
                <a:gd name="T67" fmla="*/ 51 h 56"/>
                <a:gd name="T68" fmla="*/ 17 w 56"/>
                <a:gd name="T69" fmla="*/ 53 h 56"/>
                <a:gd name="T70" fmla="*/ 21 w 56"/>
                <a:gd name="T71" fmla="*/ 56 h 56"/>
                <a:gd name="T72" fmla="*/ 27 w 56"/>
                <a:gd name="T73" fmla="*/ 56 h 56"/>
                <a:gd name="T74" fmla="*/ 27 w 56"/>
                <a:gd name="T7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6" h="56">
                  <a:moveTo>
                    <a:pt x="27" y="56"/>
                  </a:moveTo>
                  <a:lnTo>
                    <a:pt x="27" y="56"/>
                  </a:lnTo>
                  <a:lnTo>
                    <a:pt x="33" y="56"/>
                  </a:lnTo>
                  <a:lnTo>
                    <a:pt x="39" y="53"/>
                  </a:lnTo>
                  <a:lnTo>
                    <a:pt x="43" y="51"/>
                  </a:lnTo>
                  <a:lnTo>
                    <a:pt x="47" y="47"/>
                  </a:lnTo>
                  <a:lnTo>
                    <a:pt x="52" y="43"/>
                  </a:lnTo>
                  <a:lnTo>
                    <a:pt x="53" y="38"/>
                  </a:lnTo>
                  <a:lnTo>
                    <a:pt x="56" y="33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1"/>
                  </a:lnTo>
                  <a:lnTo>
                    <a:pt x="53" y="17"/>
                  </a:lnTo>
                  <a:lnTo>
                    <a:pt x="52" y="11"/>
                  </a:lnTo>
                  <a:lnTo>
                    <a:pt x="47" y="8"/>
                  </a:lnTo>
                  <a:lnTo>
                    <a:pt x="43" y="4"/>
                  </a:lnTo>
                  <a:lnTo>
                    <a:pt x="39" y="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1" y="0"/>
                  </a:lnTo>
                  <a:lnTo>
                    <a:pt x="17" y="1"/>
                  </a:lnTo>
                  <a:lnTo>
                    <a:pt x="11" y="4"/>
                  </a:lnTo>
                  <a:lnTo>
                    <a:pt x="7" y="8"/>
                  </a:lnTo>
                  <a:lnTo>
                    <a:pt x="4" y="11"/>
                  </a:lnTo>
                  <a:lnTo>
                    <a:pt x="1" y="17"/>
                  </a:lnTo>
                  <a:lnTo>
                    <a:pt x="0" y="21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33"/>
                  </a:lnTo>
                  <a:lnTo>
                    <a:pt x="1" y="38"/>
                  </a:lnTo>
                  <a:lnTo>
                    <a:pt x="4" y="43"/>
                  </a:lnTo>
                  <a:lnTo>
                    <a:pt x="7" y="47"/>
                  </a:lnTo>
                  <a:lnTo>
                    <a:pt x="11" y="51"/>
                  </a:lnTo>
                  <a:lnTo>
                    <a:pt x="17" y="53"/>
                  </a:lnTo>
                  <a:lnTo>
                    <a:pt x="21" y="56"/>
                  </a:lnTo>
                  <a:lnTo>
                    <a:pt x="27" y="56"/>
                  </a:lnTo>
                  <a:lnTo>
                    <a:pt x="27" y="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3" name="Freeform 153"/>
            <p:cNvSpPr>
              <a:spLocks/>
            </p:cNvSpPr>
            <p:nvPr/>
          </p:nvSpPr>
          <p:spPr bwMode="auto">
            <a:xfrm>
              <a:off x="5631323" y="1607002"/>
              <a:ext cx="324859" cy="432481"/>
            </a:xfrm>
            <a:custGeom>
              <a:avLst/>
              <a:gdLst>
                <a:gd name="T0" fmla="*/ 163 w 163"/>
                <a:gd name="T1" fmla="*/ 12 h 217"/>
                <a:gd name="T2" fmla="*/ 163 w 163"/>
                <a:gd name="T3" fmla="*/ 12 h 217"/>
                <a:gd name="T4" fmla="*/ 161 w 163"/>
                <a:gd name="T5" fmla="*/ 6 h 217"/>
                <a:gd name="T6" fmla="*/ 155 w 163"/>
                <a:gd name="T7" fmla="*/ 2 h 217"/>
                <a:gd name="T8" fmla="*/ 149 w 163"/>
                <a:gd name="T9" fmla="*/ 0 h 217"/>
                <a:gd name="T10" fmla="*/ 140 w 163"/>
                <a:gd name="T11" fmla="*/ 2 h 217"/>
                <a:gd name="T12" fmla="*/ 79 w 163"/>
                <a:gd name="T13" fmla="*/ 19 h 217"/>
                <a:gd name="T14" fmla="*/ 77 w 163"/>
                <a:gd name="T15" fmla="*/ 19 h 217"/>
                <a:gd name="T16" fmla="*/ 54 w 163"/>
                <a:gd name="T17" fmla="*/ 41 h 217"/>
                <a:gd name="T18" fmla="*/ 54 w 163"/>
                <a:gd name="T19" fmla="*/ 42 h 217"/>
                <a:gd name="T20" fmla="*/ 31 w 163"/>
                <a:gd name="T21" fmla="*/ 19 h 217"/>
                <a:gd name="T22" fmla="*/ 23 w 163"/>
                <a:gd name="T23" fmla="*/ 19 h 217"/>
                <a:gd name="T24" fmla="*/ 23 w 163"/>
                <a:gd name="T25" fmla="*/ 19 h 217"/>
                <a:gd name="T26" fmla="*/ 18 w 163"/>
                <a:gd name="T27" fmla="*/ 19 h 217"/>
                <a:gd name="T28" fmla="*/ 14 w 163"/>
                <a:gd name="T29" fmla="*/ 21 h 217"/>
                <a:gd name="T30" fmla="*/ 7 w 163"/>
                <a:gd name="T31" fmla="*/ 25 h 217"/>
                <a:gd name="T32" fmla="*/ 2 w 163"/>
                <a:gd name="T33" fmla="*/ 32 h 217"/>
                <a:gd name="T34" fmla="*/ 1 w 163"/>
                <a:gd name="T35" fmla="*/ 36 h 217"/>
                <a:gd name="T36" fmla="*/ 0 w 163"/>
                <a:gd name="T37" fmla="*/ 41 h 217"/>
                <a:gd name="T38" fmla="*/ 0 w 163"/>
                <a:gd name="T39" fmla="*/ 91 h 217"/>
                <a:gd name="T40" fmla="*/ 0 w 163"/>
                <a:gd name="T41" fmla="*/ 91 h 217"/>
                <a:gd name="T42" fmla="*/ 1 w 163"/>
                <a:gd name="T43" fmla="*/ 97 h 217"/>
                <a:gd name="T44" fmla="*/ 2 w 163"/>
                <a:gd name="T45" fmla="*/ 101 h 217"/>
                <a:gd name="T46" fmla="*/ 7 w 163"/>
                <a:gd name="T47" fmla="*/ 108 h 217"/>
                <a:gd name="T48" fmla="*/ 14 w 163"/>
                <a:gd name="T49" fmla="*/ 113 h 217"/>
                <a:gd name="T50" fmla="*/ 18 w 163"/>
                <a:gd name="T51" fmla="*/ 114 h 217"/>
                <a:gd name="T52" fmla="*/ 23 w 163"/>
                <a:gd name="T53" fmla="*/ 114 h 217"/>
                <a:gd name="T54" fmla="*/ 24 w 163"/>
                <a:gd name="T55" fmla="*/ 114 h 217"/>
                <a:gd name="T56" fmla="*/ 24 w 163"/>
                <a:gd name="T57" fmla="*/ 114 h 217"/>
                <a:gd name="T58" fmla="*/ 23 w 163"/>
                <a:gd name="T59" fmla="*/ 120 h 217"/>
                <a:gd name="T60" fmla="*/ 23 w 163"/>
                <a:gd name="T61" fmla="*/ 202 h 217"/>
                <a:gd name="T62" fmla="*/ 23 w 163"/>
                <a:gd name="T63" fmla="*/ 202 h 217"/>
                <a:gd name="T64" fmla="*/ 24 w 163"/>
                <a:gd name="T65" fmla="*/ 207 h 217"/>
                <a:gd name="T66" fmla="*/ 27 w 163"/>
                <a:gd name="T67" fmla="*/ 213 h 217"/>
                <a:gd name="T68" fmla="*/ 33 w 163"/>
                <a:gd name="T69" fmla="*/ 216 h 217"/>
                <a:gd name="T70" fmla="*/ 38 w 163"/>
                <a:gd name="T71" fmla="*/ 217 h 217"/>
                <a:gd name="T72" fmla="*/ 38 w 163"/>
                <a:gd name="T73" fmla="*/ 217 h 217"/>
                <a:gd name="T74" fmla="*/ 46 w 163"/>
                <a:gd name="T75" fmla="*/ 216 h 217"/>
                <a:gd name="T76" fmla="*/ 50 w 163"/>
                <a:gd name="T77" fmla="*/ 213 h 217"/>
                <a:gd name="T78" fmla="*/ 54 w 163"/>
                <a:gd name="T79" fmla="*/ 207 h 217"/>
                <a:gd name="T80" fmla="*/ 56 w 163"/>
                <a:gd name="T81" fmla="*/ 202 h 217"/>
                <a:gd name="T82" fmla="*/ 56 w 163"/>
                <a:gd name="T83" fmla="*/ 202 h 217"/>
                <a:gd name="T84" fmla="*/ 56 w 163"/>
                <a:gd name="T85" fmla="*/ 207 h 217"/>
                <a:gd name="T86" fmla="*/ 60 w 163"/>
                <a:gd name="T87" fmla="*/ 213 h 217"/>
                <a:gd name="T88" fmla="*/ 66 w 163"/>
                <a:gd name="T89" fmla="*/ 216 h 217"/>
                <a:gd name="T90" fmla="*/ 71 w 163"/>
                <a:gd name="T91" fmla="*/ 217 h 217"/>
                <a:gd name="T92" fmla="*/ 71 w 163"/>
                <a:gd name="T93" fmla="*/ 217 h 217"/>
                <a:gd name="T94" fmla="*/ 77 w 163"/>
                <a:gd name="T95" fmla="*/ 216 h 217"/>
                <a:gd name="T96" fmla="*/ 83 w 163"/>
                <a:gd name="T97" fmla="*/ 213 h 217"/>
                <a:gd name="T98" fmla="*/ 86 w 163"/>
                <a:gd name="T99" fmla="*/ 207 h 217"/>
                <a:gd name="T100" fmla="*/ 87 w 163"/>
                <a:gd name="T101" fmla="*/ 202 h 217"/>
                <a:gd name="T102" fmla="*/ 87 w 163"/>
                <a:gd name="T103" fmla="*/ 51 h 217"/>
                <a:gd name="T104" fmla="*/ 149 w 163"/>
                <a:gd name="T105" fmla="*/ 34 h 217"/>
                <a:gd name="T106" fmla="*/ 149 w 163"/>
                <a:gd name="T107" fmla="*/ 34 h 217"/>
                <a:gd name="T108" fmla="*/ 156 w 163"/>
                <a:gd name="T109" fmla="*/ 31 h 217"/>
                <a:gd name="T110" fmla="*/ 162 w 163"/>
                <a:gd name="T111" fmla="*/ 25 h 217"/>
                <a:gd name="T112" fmla="*/ 163 w 163"/>
                <a:gd name="T113" fmla="*/ 19 h 217"/>
                <a:gd name="T114" fmla="*/ 163 w 163"/>
                <a:gd name="T115" fmla="*/ 12 h 217"/>
                <a:gd name="T116" fmla="*/ 163 w 163"/>
                <a:gd name="T117" fmla="*/ 1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3" h="217">
                  <a:moveTo>
                    <a:pt x="163" y="12"/>
                  </a:moveTo>
                  <a:lnTo>
                    <a:pt x="163" y="12"/>
                  </a:lnTo>
                  <a:lnTo>
                    <a:pt x="161" y="6"/>
                  </a:lnTo>
                  <a:lnTo>
                    <a:pt x="155" y="2"/>
                  </a:lnTo>
                  <a:lnTo>
                    <a:pt x="149" y="0"/>
                  </a:lnTo>
                  <a:lnTo>
                    <a:pt x="140" y="2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54" y="41"/>
                  </a:lnTo>
                  <a:lnTo>
                    <a:pt x="54" y="42"/>
                  </a:lnTo>
                  <a:lnTo>
                    <a:pt x="31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18" y="19"/>
                  </a:lnTo>
                  <a:lnTo>
                    <a:pt x="14" y="21"/>
                  </a:lnTo>
                  <a:lnTo>
                    <a:pt x="7" y="25"/>
                  </a:lnTo>
                  <a:lnTo>
                    <a:pt x="2" y="32"/>
                  </a:lnTo>
                  <a:lnTo>
                    <a:pt x="1" y="36"/>
                  </a:lnTo>
                  <a:lnTo>
                    <a:pt x="0" y="4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1" y="97"/>
                  </a:lnTo>
                  <a:lnTo>
                    <a:pt x="2" y="101"/>
                  </a:lnTo>
                  <a:lnTo>
                    <a:pt x="7" y="108"/>
                  </a:lnTo>
                  <a:lnTo>
                    <a:pt x="14" y="113"/>
                  </a:lnTo>
                  <a:lnTo>
                    <a:pt x="18" y="114"/>
                  </a:lnTo>
                  <a:lnTo>
                    <a:pt x="23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3" y="120"/>
                  </a:lnTo>
                  <a:lnTo>
                    <a:pt x="23" y="202"/>
                  </a:lnTo>
                  <a:lnTo>
                    <a:pt x="23" y="202"/>
                  </a:lnTo>
                  <a:lnTo>
                    <a:pt x="24" y="207"/>
                  </a:lnTo>
                  <a:lnTo>
                    <a:pt x="27" y="213"/>
                  </a:lnTo>
                  <a:lnTo>
                    <a:pt x="33" y="216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46" y="216"/>
                  </a:lnTo>
                  <a:lnTo>
                    <a:pt x="50" y="213"/>
                  </a:lnTo>
                  <a:lnTo>
                    <a:pt x="54" y="207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7"/>
                  </a:lnTo>
                  <a:lnTo>
                    <a:pt x="60" y="213"/>
                  </a:lnTo>
                  <a:lnTo>
                    <a:pt x="66" y="216"/>
                  </a:lnTo>
                  <a:lnTo>
                    <a:pt x="71" y="217"/>
                  </a:lnTo>
                  <a:lnTo>
                    <a:pt x="71" y="217"/>
                  </a:lnTo>
                  <a:lnTo>
                    <a:pt x="77" y="216"/>
                  </a:lnTo>
                  <a:lnTo>
                    <a:pt x="83" y="213"/>
                  </a:lnTo>
                  <a:lnTo>
                    <a:pt x="86" y="207"/>
                  </a:lnTo>
                  <a:lnTo>
                    <a:pt x="87" y="202"/>
                  </a:lnTo>
                  <a:lnTo>
                    <a:pt x="87" y="51"/>
                  </a:lnTo>
                  <a:lnTo>
                    <a:pt x="149" y="34"/>
                  </a:lnTo>
                  <a:lnTo>
                    <a:pt x="149" y="34"/>
                  </a:lnTo>
                  <a:lnTo>
                    <a:pt x="156" y="31"/>
                  </a:lnTo>
                  <a:lnTo>
                    <a:pt x="162" y="25"/>
                  </a:lnTo>
                  <a:lnTo>
                    <a:pt x="163" y="19"/>
                  </a:lnTo>
                  <a:lnTo>
                    <a:pt x="163" y="12"/>
                  </a:lnTo>
                  <a:lnTo>
                    <a:pt x="163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41" name="Rectangle 140"/>
          <p:cNvSpPr/>
          <p:nvPr/>
        </p:nvSpPr>
        <p:spPr bwMode="ltGray">
          <a:xfrm>
            <a:off x="1472895" y="2886784"/>
            <a:ext cx="7137703" cy="1924406"/>
          </a:xfrm>
          <a:prstGeom prst="rect">
            <a:avLst/>
          </a:prstGeom>
          <a:solidFill>
            <a:srgbClr val="A7A49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901145" y="2906184"/>
            <a:ext cx="2247018" cy="2346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ru-RU" sz="1500" b="1" i="1" dirty="0" smtClean="0">
                <a:solidFill>
                  <a:schemeClr val="bg1"/>
                </a:solidFill>
                <a:latin typeface="+mj-lt"/>
              </a:rPr>
              <a:t>Определение ключевых факторов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630481" y="4269808"/>
            <a:ext cx="103570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 algn="ctr">
              <a:spcAft>
                <a:spcPts val="900"/>
              </a:spcAft>
            </a:pP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День недели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3077003" y="4269808"/>
            <a:ext cx="103570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 algn="ctr">
              <a:spcAft>
                <a:spcPts val="900"/>
              </a:spcAft>
            </a:pP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Каналы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446494" y="4269808"/>
            <a:ext cx="126220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 algn="ctr">
              <a:spcAft>
                <a:spcPts val="900"/>
              </a:spcAft>
            </a:pP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Маркетинговые расходы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970047" y="4269808"/>
            <a:ext cx="10357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 algn="ctr">
              <a:spcAft>
                <a:spcPts val="900"/>
              </a:spcAft>
            </a:pP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Целевая группа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7416568" y="4269808"/>
            <a:ext cx="103644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 algn="ctr">
              <a:spcAft>
                <a:spcPts val="900"/>
              </a:spcAft>
            </a:pP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Действия конкурентов</a:t>
            </a:r>
          </a:p>
        </p:txBody>
      </p:sp>
      <p:sp>
        <p:nvSpPr>
          <p:cNvPr id="62" name="Freeform 4985"/>
          <p:cNvSpPr>
            <a:spLocks noEditPoints="1"/>
          </p:cNvSpPr>
          <p:nvPr/>
        </p:nvSpPr>
        <p:spPr bwMode="auto">
          <a:xfrm>
            <a:off x="3225129" y="3473523"/>
            <a:ext cx="738831" cy="674186"/>
          </a:xfrm>
          <a:custGeom>
            <a:avLst/>
            <a:gdLst>
              <a:gd name="T0" fmla="*/ 282 w 320"/>
              <a:gd name="T1" fmla="*/ 112 h 292"/>
              <a:gd name="T2" fmla="*/ 294 w 320"/>
              <a:gd name="T3" fmla="*/ 114 h 292"/>
              <a:gd name="T4" fmla="*/ 308 w 320"/>
              <a:gd name="T5" fmla="*/ 120 h 292"/>
              <a:gd name="T6" fmla="*/ 320 w 320"/>
              <a:gd name="T7" fmla="*/ 138 h 292"/>
              <a:gd name="T8" fmla="*/ 320 w 320"/>
              <a:gd name="T9" fmla="*/ 196 h 292"/>
              <a:gd name="T10" fmla="*/ 320 w 320"/>
              <a:gd name="T11" fmla="*/ 202 h 292"/>
              <a:gd name="T12" fmla="*/ 316 w 320"/>
              <a:gd name="T13" fmla="*/ 214 h 292"/>
              <a:gd name="T14" fmla="*/ 304 w 320"/>
              <a:gd name="T15" fmla="*/ 228 h 292"/>
              <a:gd name="T16" fmla="*/ 282 w 320"/>
              <a:gd name="T17" fmla="*/ 234 h 292"/>
              <a:gd name="T18" fmla="*/ 252 w 320"/>
              <a:gd name="T19" fmla="*/ 234 h 292"/>
              <a:gd name="T20" fmla="*/ 260 w 320"/>
              <a:gd name="T21" fmla="*/ 264 h 292"/>
              <a:gd name="T22" fmla="*/ 272 w 320"/>
              <a:gd name="T23" fmla="*/ 286 h 292"/>
              <a:gd name="T24" fmla="*/ 278 w 320"/>
              <a:gd name="T25" fmla="*/ 292 h 292"/>
              <a:gd name="T26" fmla="*/ 254 w 320"/>
              <a:gd name="T27" fmla="*/ 278 h 292"/>
              <a:gd name="T28" fmla="*/ 234 w 320"/>
              <a:gd name="T29" fmla="*/ 260 h 292"/>
              <a:gd name="T30" fmla="*/ 218 w 320"/>
              <a:gd name="T31" fmla="*/ 234 h 292"/>
              <a:gd name="T32" fmla="*/ 198 w 320"/>
              <a:gd name="T33" fmla="*/ 234 h 292"/>
              <a:gd name="T34" fmla="*/ 186 w 320"/>
              <a:gd name="T35" fmla="*/ 232 h 292"/>
              <a:gd name="T36" fmla="*/ 172 w 320"/>
              <a:gd name="T37" fmla="*/ 224 h 292"/>
              <a:gd name="T38" fmla="*/ 162 w 320"/>
              <a:gd name="T39" fmla="*/ 208 h 292"/>
              <a:gd name="T40" fmla="*/ 160 w 320"/>
              <a:gd name="T41" fmla="*/ 150 h 292"/>
              <a:gd name="T42" fmla="*/ 160 w 320"/>
              <a:gd name="T43" fmla="*/ 144 h 292"/>
              <a:gd name="T44" fmla="*/ 164 w 320"/>
              <a:gd name="T45" fmla="*/ 130 h 292"/>
              <a:gd name="T46" fmla="*/ 176 w 320"/>
              <a:gd name="T47" fmla="*/ 118 h 292"/>
              <a:gd name="T48" fmla="*/ 198 w 320"/>
              <a:gd name="T49" fmla="*/ 112 h 292"/>
              <a:gd name="T50" fmla="*/ 140 w 320"/>
              <a:gd name="T51" fmla="*/ 150 h 292"/>
              <a:gd name="T52" fmla="*/ 142 w 320"/>
              <a:gd name="T53" fmla="*/ 142 h 292"/>
              <a:gd name="T54" fmla="*/ 148 w 320"/>
              <a:gd name="T55" fmla="*/ 122 h 292"/>
              <a:gd name="T56" fmla="*/ 162 w 320"/>
              <a:gd name="T57" fmla="*/ 104 h 292"/>
              <a:gd name="T58" fmla="*/ 184 w 320"/>
              <a:gd name="T59" fmla="*/ 94 h 292"/>
              <a:gd name="T60" fmla="*/ 282 w 320"/>
              <a:gd name="T61" fmla="*/ 92 h 292"/>
              <a:gd name="T62" fmla="*/ 288 w 320"/>
              <a:gd name="T63" fmla="*/ 94 h 292"/>
              <a:gd name="T64" fmla="*/ 288 w 320"/>
              <a:gd name="T65" fmla="*/ 52 h 292"/>
              <a:gd name="T66" fmla="*/ 286 w 320"/>
              <a:gd name="T67" fmla="*/ 36 h 292"/>
              <a:gd name="T68" fmla="*/ 276 w 320"/>
              <a:gd name="T69" fmla="*/ 16 h 292"/>
              <a:gd name="T70" fmla="*/ 254 w 320"/>
              <a:gd name="T71" fmla="*/ 2 h 292"/>
              <a:gd name="T72" fmla="*/ 236 w 320"/>
              <a:gd name="T73" fmla="*/ 0 h 292"/>
              <a:gd name="T74" fmla="*/ 52 w 320"/>
              <a:gd name="T75" fmla="*/ 0 h 292"/>
              <a:gd name="T76" fmla="*/ 34 w 320"/>
              <a:gd name="T77" fmla="*/ 2 h 292"/>
              <a:gd name="T78" fmla="*/ 16 w 320"/>
              <a:gd name="T79" fmla="*/ 12 h 292"/>
              <a:gd name="T80" fmla="*/ 2 w 320"/>
              <a:gd name="T81" fmla="*/ 34 h 292"/>
              <a:gd name="T82" fmla="*/ 0 w 320"/>
              <a:gd name="T83" fmla="*/ 52 h 292"/>
              <a:gd name="T84" fmla="*/ 0 w 320"/>
              <a:gd name="T85" fmla="*/ 112 h 292"/>
              <a:gd name="T86" fmla="*/ 2 w 320"/>
              <a:gd name="T87" fmla="*/ 130 h 292"/>
              <a:gd name="T88" fmla="*/ 12 w 320"/>
              <a:gd name="T89" fmla="*/ 148 h 292"/>
              <a:gd name="T90" fmla="*/ 34 w 320"/>
              <a:gd name="T91" fmla="*/ 162 h 292"/>
              <a:gd name="T92" fmla="*/ 52 w 320"/>
              <a:gd name="T93" fmla="*/ 164 h 292"/>
              <a:gd name="T94" fmla="*/ 64 w 320"/>
              <a:gd name="T95" fmla="*/ 164 h 292"/>
              <a:gd name="T96" fmla="*/ 54 w 320"/>
              <a:gd name="T97" fmla="*/ 206 h 292"/>
              <a:gd name="T98" fmla="*/ 44 w 320"/>
              <a:gd name="T99" fmla="*/ 226 h 292"/>
              <a:gd name="T100" fmla="*/ 30 w 320"/>
              <a:gd name="T101" fmla="*/ 244 h 292"/>
              <a:gd name="T102" fmla="*/ 40 w 320"/>
              <a:gd name="T103" fmla="*/ 240 h 292"/>
              <a:gd name="T104" fmla="*/ 62 w 320"/>
              <a:gd name="T105" fmla="*/ 226 h 292"/>
              <a:gd name="T106" fmla="*/ 90 w 320"/>
              <a:gd name="T107" fmla="*/ 200 h 292"/>
              <a:gd name="T108" fmla="*/ 110 w 320"/>
              <a:gd name="T109" fmla="*/ 164 h 292"/>
              <a:gd name="T110" fmla="*/ 140 w 320"/>
              <a:gd name="T111" fmla="*/ 150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20" h="292">
                <a:moveTo>
                  <a:pt x="282" y="112"/>
                </a:moveTo>
                <a:lnTo>
                  <a:pt x="282" y="112"/>
                </a:lnTo>
                <a:lnTo>
                  <a:pt x="288" y="112"/>
                </a:lnTo>
                <a:lnTo>
                  <a:pt x="294" y="114"/>
                </a:lnTo>
                <a:lnTo>
                  <a:pt x="302" y="116"/>
                </a:lnTo>
                <a:lnTo>
                  <a:pt x="308" y="120"/>
                </a:lnTo>
                <a:lnTo>
                  <a:pt x="314" y="128"/>
                </a:lnTo>
                <a:lnTo>
                  <a:pt x="320" y="138"/>
                </a:lnTo>
                <a:lnTo>
                  <a:pt x="320" y="150"/>
                </a:lnTo>
                <a:lnTo>
                  <a:pt x="320" y="196"/>
                </a:lnTo>
                <a:lnTo>
                  <a:pt x="320" y="196"/>
                </a:lnTo>
                <a:lnTo>
                  <a:pt x="320" y="202"/>
                </a:lnTo>
                <a:lnTo>
                  <a:pt x="318" y="208"/>
                </a:lnTo>
                <a:lnTo>
                  <a:pt x="316" y="214"/>
                </a:lnTo>
                <a:lnTo>
                  <a:pt x="312" y="222"/>
                </a:lnTo>
                <a:lnTo>
                  <a:pt x="304" y="228"/>
                </a:lnTo>
                <a:lnTo>
                  <a:pt x="294" y="232"/>
                </a:lnTo>
                <a:lnTo>
                  <a:pt x="282" y="234"/>
                </a:lnTo>
                <a:lnTo>
                  <a:pt x="252" y="234"/>
                </a:lnTo>
                <a:lnTo>
                  <a:pt x="252" y="234"/>
                </a:lnTo>
                <a:lnTo>
                  <a:pt x="256" y="248"/>
                </a:lnTo>
                <a:lnTo>
                  <a:pt x="260" y="264"/>
                </a:lnTo>
                <a:lnTo>
                  <a:pt x="268" y="280"/>
                </a:lnTo>
                <a:lnTo>
                  <a:pt x="272" y="286"/>
                </a:lnTo>
                <a:lnTo>
                  <a:pt x="278" y="292"/>
                </a:lnTo>
                <a:lnTo>
                  <a:pt x="278" y="292"/>
                </a:lnTo>
                <a:lnTo>
                  <a:pt x="272" y="290"/>
                </a:lnTo>
                <a:lnTo>
                  <a:pt x="254" y="278"/>
                </a:lnTo>
                <a:lnTo>
                  <a:pt x="244" y="270"/>
                </a:lnTo>
                <a:lnTo>
                  <a:pt x="234" y="260"/>
                </a:lnTo>
                <a:lnTo>
                  <a:pt x="226" y="248"/>
                </a:lnTo>
                <a:lnTo>
                  <a:pt x="218" y="234"/>
                </a:lnTo>
                <a:lnTo>
                  <a:pt x="198" y="234"/>
                </a:lnTo>
                <a:lnTo>
                  <a:pt x="198" y="234"/>
                </a:lnTo>
                <a:lnTo>
                  <a:pt x="192" y="234"/>
                </a:lnTo>
                <a:lnTo>
                  <a:pt x="186" y="232"/>
                </a:lnTo>
                <a:lnTo>
                  <a:pt x="180" y="230"/>
                </a:lnTo>
                <a:lnTo>
                  <a:pt x="172" y="224"/>
                </a:lnTo>
                <a:lnTo>
                  <a:pt x="166" y="218"/>
                </a:lnTo>
                <a:lnTo>
                  <a:pt x="162" y="208"/>
                </a:lnTo>
                <a:lnTo>
                  <a:pt x="160" y="196"/>
                </a:lnTo>
                <a:lnTo>
                  <a:pt x="160" y="150"/>
                </a:lnTo>
                <a:lnTo>
                  <a:pt x="160" y="150"/>
                </a:lnTo>
                <a:lnTo>
                  <a:pt x="160" y="144"/>
                </a:lnTo>
                <a:lnTo>
                  <a:pt x="162" y="138"/>
                </a:lnTo>
                <a:lnTo>
                  <a:pt x="164" y="130"/>
                </a:lnTo>
                <a:lnTo>
                  <a:pt x="170" y="124"/>
                </a:lnTo>
                <a:lnTo>
                  <a:pt x="176" y="118"/>
                </a:lnTo>
                <a:lnTo>
                  <a:pt x="186" y="114"/>
                </a:lnTo>
                <a:lnTo>
                  <a:pt x="198" y="112"/>
                </a:lnTo>
                <a:lnTo>
                  <a:pt x="282" y="112"/>
                </a:lnTo>
                <a:close/>
                <a:moveTo>
                  <a:pt x="140" y="150"/>
                </a:moveTo>
                <a:lnTo>
                  <a:pt x="140" y="150"/>
                </a:lnTo>
                <a:lnTo>
                  <a:pt x="142" y="142"/>
                </a:lnTo>
                <a:lnTo>
                  <a:pt x="144" y="132"/>
                </a:lnTo>
                <a:lnTo>
                  <a:pt x="148" y="122"/>
                </a:lnTo>
                <a:lnTo>
                  <a:pt x="154" y="112"/>
                </a:lnTo>
                <a:lnTo>
                  <a:pt x="162" y="104"/>
                </a:lnTo>
                <a:lnTo>
                  <a:pt x="172" y="98"/>
                </a:lnTo>
                <a:lnTo>
                  <a:pt x="184" y="94"/>
                </a:lnTo>
                <a:lnTo>
                  <a:pt x="198" y="92"/>
                </a:lnTo>
                <a:lnTo>
                  <a:pt x="282" y="92"/>
                </a:lnTo>
                <a:lnTo>
                  <a:pt x="282" y="92"/>
                </a:lnTo>
                <a:lnTo>
                  <a:pt x="288" y="94"/>
                </a:lnTo>
                <a:lnTo>
                  <a:pt x="288" y="52"/>
                </a:lnTo>
                <a:lnTo>
                  <a:pt x="288" y="52"/>
                </a:lnTo>
                <a:lnTo>
                  <a:pt x="288" y="44"/>
                </a:lnTo>
                <a:lnTo>
                  <a:pt x="286" y="36"/>
                </a:lnTo>
                <a:lnTo>
                  <a:pt x="282" y="26"/>
                </a:lnTo>
                <a:lnTo>
                  <a:pt x="276" y="16"/>
                </a:lnTo>
                <a:lnTo>
                  <a:pt x="266" y="8"/>
                </a:lnTo>
                <a:lnTo>
                  <a:pt x="254" y="2"/>
                </a:lnTo>
                <a:lnTo>
                  <a:pt x="246" y="0"/>
                </a:lnTo>
                <a:lnTo>
                  <a:pt x="236" y="0"/>
                </a:lnTo>
                <a:lnTo>
                  <a:pt x="52" y="0"/>
                </a:lnTo>
                <a:lnTo>
                  <a:pt x="52" y="0"/>
                </a:lnTo>
                <a:lnTo>
                  <a:pt x="44" y="0"/>
                </a:lnTo>
                <a:lnTo>
                  <a:pt x="34" y="2"/>
                </a:lnTo>
                <a:lnTo>
                  <a:pt x="26" y="6"/>
                </a:lnTo>
                <a:lnTo>
                  <a:pt x="16" y="12"/>
                </a:lnTo>
                <a:lnTo>
                  <a:pt x="8" y="22"/>
                </a:lnTo>
                <a:lnTo>
                  <a:pt x="2" y="34"/>
                </a:lnTo>
                <a:lnTo>
                  <a:pt x="0" y="42"/>
                </a:lnTo>
                <a:lnTo>
                  <a:pt x="0" y="52"/>
                </a:lnTo>
                <a:lnTo>
                  <a:pt x="0" y="112"/>
                </a:lnTo>
                <a:lnTo>
                  <a:pt x="0" y="112"/>
                </a:lnTo>
                <a:lnTo>
                  <a:pt x="0" y="120"/>
                </a:lnTo>
                <a:lnTo>
                  <a:pt x="2" y="130"/>
                </a:lnTo>
                <a:lnTo>
                  <a:pt x="6" y="138"/>
                </a:lnTo>
                <a:lnTo>
                  <a:pt x="12" y="148"/>
                </a:lnTo>
                <a:lnTo>
                  <a:pt x="22" y="156"/>
                </a:lnTo>
                <a:lnTo>
                  <a:pt x="34" y="162"/>
                </a:lnTo>
                <a:lnTo>
                  <a:pt x="42" y="164"/>
                </a:lnTo>
                <a:lnTo>
                  <a:pt x="52" y="164"/>
                </a:lnTo>
                <a:lnTo>
                  <a:pt x="64" y="164"/>
                </a:lnTo>
                <a:lnTo>
                  <a:pt x="64" y="164"/>
                </a:lnTo>
                <a:lnTo>
                  <a:pt x="60" y="186"/>
                </a:lnTo>
                <a:lnTo>
                  <a:pt x="54" y="206"/>
                </a:lnTo>
                <a:lnTo>
                  <a:pt x="50" y="218"/>
                </a:lnTo>
                <a:lnTo>
                  <a:pt x="44" y="226"/>
                </a:lnTo>
                <a:lnTo>
                  <a:pt x="38" y="236"/>
                </a:lnTo>
                <a:lnTo>
                  <a:pt x="30" y="244"/>
                </a:lnTo>
                <a:lnTo>
                  <a:pt x="30" y="244"/>
                </a:lnTo>
                <a:lnTo>
                  <a:pt x="40" y="240"/>
                </a:lnTo>
                <a:lnTo>
                  <a:pt x="50" y="234"/>
                </a:lnTo>
                <a:lnTo>
                  <a:pt x="62" y="226"/>
                </a:lnTo>
                <a:lnTo>
                  <a:pt x="76" y="214"/>
                </a:lnTo>
                <a:lnTo>
                  <a:pt x="90" y="200"/>
                </a:lnTo>
                <a:lnTo>
                  <a:pt x="102" y="184"/>
                </a:lnTo>
                <a:lnTo>
                  <a:pt x="110" y="164"/>
                </a:lnTo>
                <a:lnTo>
                  <a:pt x="140" y="164"/>
                </a:lnTo>
                <a:lnTo>
                  <a:pt x="140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4" name="Freeform 4803"/>
          <p:cNvSpPr>
            <a:spLocks noEditPoints="1"/>
          </p:cNvSpPr>
          <p:nvPr/>
        </p:nvSpPr>
        <p:spPr bwMode="auto">
          <a:xfrm>
            <a:off x="4649315" y="3524913"/>
            <a:ext cx="784121" cy="571406"/>
          </a:xfrm>
          <a:custGeom>
            <a:avLst/>
            <a:gdLst>
              <a:gd name="T0" fmla="*/ 372 w 376"/>
              <a:gd name="T1" fmla="*/ 98 h 274"/>
              <a:gd name="T2" fmla="*/ 344 w 376"/>
              <a:gd name="T3" fmla="*/ 74 h 274"/>
              <a:gd name="T4" fmla="*/ 334 w 376"/>
              <a:gd name="T5" fmla="*/ 68 h 274"/>
              <a:gd name="T6" fmla="*/ 254 w 376"/>
              <a:gd name="T7" fmla="*/ 80 h 274"/>
              <a:gd name="T8" fmla="*/ 210 w 376"/>
              <a:gd name="T9" fmla="*/ 68 h 274"/>
              <a:gd name="T10" fmla="*/ 6 w 376"/>
              <a:gd name="T11" fmla="*/ 136 h 274"/>
              <a:gd name="T12" fmla="*/ 4 w 376"/>
              <a:gd name="T13" fmla="*/ 170 h 274"/>
              <a:gd name="T14" fmla="*/ 30 w 376"/>
              <a:gd name="T15" fmla="*/ 194 h 274"/>
              <a:gd name="T16" fmla="*/ 4 w 376"/>
              <a:gd name="T17" fmla="*/ 220 h 274"/>
              <a:gd name="T18" fmla="*/ 198 w 376"/>
              <a:gd name="T19" fmla="*/ 250 h 274"/>
              <a:gd name="T20" fmla="*/ 272 w 376"/>
              <a:gd name="T21" fmla="*/ 274 h 274"/>
              <a:gd name="T22" fmla="*/ 346 w 376"/>
              <a:gd name="T23" fmla="*/ 246 h 274"/>
              <a:gd name="T24" fmla="*/ 322 w 376"/>
              <a:gd name="T25" fmla="*/ 252 h 274"/>
              <a:gd name="T26" fmla="*/ 220 w 376"/>
              <a:gd name="T27" fmla="*/ 252 h 274"/>
              <a:gd name="T28" fmla="*/ 196 w 376"/>
              <a:gd name="T29" fmla="*/ 232 h 274"/>
              <a:gd name="T30" fmla="*/ 148 w 376"/>
              <a:gd name="T31" fmla="*/ 234 h 274"/>
              <a:gd name="T32" fmla="*/ 200 w 376"/>
              <a:gd name="T33" fmla="*/ 220 h 274"/>
              <a:gd name="T34" fmla="*/ 300 w 376"/>
              <a:gd name="T35" fmla="*/ 236 h 274"/>
              <a:gd name="T36" fmla="*/ 346 w 376"/>
              <a:gd name="T37" fmla="*/ 196 h 274"/>
              <a:gd name="T38" fmla="*/ 308 w 376"/>
              <a:gd name="T39" fmla="*/ 220 h 274"/>
              <a:gd name="T40" fmla="*/ 210 w 376"/>
              <a:gd name="T41" fmla="*/ 210 h 274"/>
              <a:gd name="T42" fmla="*/ 196 w 376"/>
              <a:gd name="T43" fmla="*/ 196 h 274"/>
              <a:gd name="T44" fmla="*/ 150 w 376"/>
              <a:gd name="T45" fmla="*/ 200 h 274"/>
              <a:gd name="T46" fmla="*/ 202 w 376"/>
              <a:gd name="T47" fmla="*/ 184 h 274"/>
              <a:gd name="T48" fmla="*/ 318 w 376"/>
              <a:gd name="T49" fmla="*/ 196 h 274"/>
              <a:gd name="T50" fmla="*/ 374 w 376"/>
              <a:gd name="T51" fmla="*/ 162 h 274"/>
              <a:gd name="T52" fmla="*/ 374 w 376"/>
              <a:gd name="T53" fmla="*/ 130 h 274"/>
              <a:gd name="T54" fmla="*/ 248 w 376"/>
              <a:gd name="T55" fmla="*/ 94 h 274"/>
              <a:gd name="T56" fmla="*/ 342 w 376"/>
              <a:gd name="T57" fmla="*/ 78 h 274"/>
              <a:gd name="T58" fmla="*/ 334 w 376"/>
              <a:gd name="T59" fmla="*/ 104 h 274"/>
              <a:gd name="T60" fmla="*/ 238 w 376"/>
              <a:gd name="T61" fmla="*/ 114 h 274"/>
              <a:gd name="T62" fmla="*/ 200 w 376"/>
              <a:gd name="T63" fmla="*/ 96 h 274"/>
              <a:gd name="T64" fmla="*/ 202 w 376"/>
              <a:gd name="T65" fmla="*/ 114 h 274"/>
              <a:gd name="T66" fmla="*/ 294 w 376"/>
              <a:gd name="T67" fmla="*/ 130 h 274"/>
              <a:gd name="T68" fmla="*/ 346 w 376"/>
              <a:gd name="T69" fmla="*/ 124 h 274"/>
              <a:gd name="T70" fmla="*/ 338 w 376"/>
              <a:gd name="T71" fmla="*/ 136 h 274"/>
              <a:gd name="T72" fmla="*/ 272 w 376"/>
              <a:gd name="T73" fmla="*/ 152 h 274"/>
              <a:gd name="T74" fmla="*/ 214 w 376"/>
              <a:gd name="T75" fmla="*/ 142 h 274"/>
              <a:gd name="T76" fmla="*/ 198 w 376"/>
              <a:gd name="T77" fmla="*/ 118 h 274"/>
              <a:gd name="T78" fmla="*/ 134 w 376"/>
              <a:gd name="T79" fmla="*/ 150 h 274"/>
              <a:gd name="T80" fmla="*/ 100 w 376"/>
              <a:gd name="T81" fmla="*/ 136 h 274"/>
              <a:gd name="T82" fmla="*/ 158 w 376"/>
              <a:gd name="T83" fmla="*/ 128 h 274"/>
              <a:gd name="T84" fmla="*/ 162 w 376"/>
              <a:gd name="T85" fmla="*/ 144 h 274"/>
              <a:gd name="T86" fmla="*/ 346 w 376"/>
              <a:gd name="T87" fmla="*/ 162 h 274"/>
              <a:gd name="T88" fmla="*/ 342 w 376"/>
              <a:gd name="T89" fmla="*/ 168 h 274"/>
              <a:gd name="T90" fmla="*/ 322 w 376"/>
              <a:gd name="T91" fmla="*/ 180 h 274"/>
              <a:gd name="T92" fmla="*/ 220 w 376"/>
              <a:gd name="T93" fmla="*/ 180 h 274"/>
              <a:gd name="T94" fmla="*/ 200 w 376"/>
              <a:gd name="T95" fmla="*/ 168 h 274"/>
              <a:gd name="T96" fmla="*/ 198 w 376"/>
              <a:gd name="T97" fmla="*/ 154 h 274"/>
              <a:gd name="T98" fmla="*/ 272 w 376"/>
              <a:gd name="T99" fmla="*/ 166 h 274"/>
              <a:gd name="T100" fmla="*/ 346 w 376"/>
              <a:gd name="T101" fmla="*/ 160 h 274"/>
              <a:gd name="T102" fmla="*/ 196 w 376"/>
              <a:gd name="T103" fmla="*/ 28 h 274"/>
              <a:gd name="T104" fmla="*/ 272 w 376"/>
              <a:gd name="T105" fmla="*/ 0 h 274"/>
              <a:gd name="T106" fmla="*/ 344 w 376"/>
              <a:gd name="T107" fmla="*/ 24 h 274"/>
              <a:gd name="T108" fmla="*/ 322 w 376"/>
              <a:gd name="T109" fmla="*/ 50 h 274"/>
              <a:gd name="T110" fmla="*/ 220 w 376"/>
              <a:gd name="T111" fmla="*/ 50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76" h="274">
                <a:moveTo>
                  <a:pt x="376" y="126"/>
                </a:moveTo>
                <a:lnTo>
                  <a:pt x="376" y="126"/>
                </a:lnTo>
                <a:lnTo>
                  <a:pt x="374" y="122"/>
                </a:lnTo>
                <a:lnTo>
                  <a:pt x="370" y="120"/>
                </a:lnTo>
                <a:lnTo>
                  <a:pt x="346" y="110"/>
                </a:lnTo>
                <a:lnTo>
                  <a:pt x="372" y="98"/>
                </a:lnTo>
                <a:lnTo>
                  <a:pt x="372" y="98"/>
                </a:lnTo>
                <a:lnTo>
                  <a:pt x="376" y="96"/>
                </a:lnTo>
                <a:lnTo>
                  <a:pt x="376" y="92"/>
                </a:lnTo>
                <a:lnTo>
                  <a:pt x="376" y="92"/>
                </a:lnTo>
                <a:lnTo>
                  <a:pt x="376" y="86"/>
                </a:lnTo>
                <a:lnTo>
                  <a:pt x="372" y="84"/>
                </a:lnTo>
                <a:lnTo>
                  <a:pt x="344" y="74"/>
                </a:lnTo>
                <a:lnTo>
                  <a:pt x="344" y="74"/>
                </a:lnTo>
                <a:lnTo>
                  <a:pt x="346" y="70"/>
                </a:lnTo>
                <a:lnTo>
                  <a:pt x="346" y="66"/>
                </a:lnTo>
                <a:lnTo>
                  <a:pt x="346" y="52"/>
                </a:lnTo>
                <a:lnTo>
                  <a:pt x="346" y="52"/>
                </a:lnTo>
                <a:lnTo>
                  <a:pt x="346" y="56"/>
                </a:lnTo>
                <a:lnTo>
                  <a:pt x="344" y="60"/>
                </a:lnTo>
                <a:lnTo>
                  <a:pt x="334" y="68"/>
                </a:lnTo>
                <a:lnTo>
                  <a:pt x="334" y="68"/>
                </a:lnTo>
                <a:lnTo>
                  <a:pt x="322" y="72"/>
                </a:lnTo>
                <a:lnTo>
                  <a:pt x="308" y="76"/>
                </a:lnTo>
                <a:lnTo>
                  <a:pt x="290" y="80"/>
                </a:lnTo>
                <a:lnTo>
                  <a:pt x="272" y="80"/>
                </a:lnTo>
                <a:lnTo>
                  <a:pt x="272" y="80"/>
                </a:lnTo>
                <a:lnTo>
                  <a:pt x="254" y="80"/>
                </a:lnTo>
                <a:lnTo>
                  <a:pt x="238" y="78"/>
                </a:lnTo>
                <a:lnTo>
                  <a:pt x="226" y="74"/>
                </a:lnTo>
                <a:lnTo>
                  <a:pt x="214" y="70"/>
                </a:lnTo>
                <a:lnTo>
                  <a:pt x="214" y="70"/>
                </a:lnTo>
                <a:lnTo>
                  <a:pt x="214" y="70"/>
                </a:lnTo>
                <a:lnTo>
                  <a:pt x="210" y="68"/>
                </a:lnTo>
                <a:lnTo>
                  <a:pt x="210" y="68"/>
                </a:lnTo>
                <a:lnTo>
                  <a:pt x="200" y="60"/>
                </a:lnTo>
                <a:lnTo>
                  <a:pt x="198" y="56"/>
                </a:lnTo>
                <a:lnTo>
                  <a:pt x="196" y="52"/>
                </a:lnTo>
                <a:lnTo>
                  <a:pt x="196" y="52"/>
                </a:lnTo>
                <a:lnTo>
                  <a:pt x="198" y="46"/>
                </a:lnTo>
                <a:lnTo>
                  <a:pt x="6" y="136"/>
                </a:lnTo>
                <a:lnTo>
                  <a:pt x="6" y="136"/>
                </a:lnTo>
                <a:lnTo>
                  <a:pt x="2" y="138"/>
                </a:lnTo>
                <a:lnTo>
                  <a:pt x="2" y="142"/>
                </a:lnTo>
                <a:lnTo>
                  <a:pt x="2" y="142"/>
                </a:lnTo>
                <a:lnTo>
                  <a:pt x="2" y="148"/>
                </a:lnTo>
                <a:lnTo>
                  <a:pt x="6" y="150"/>
                </a:lnTo>
                <a:lnTo>
                  <a:pt x="30" y="158"/>
                </a:lnTo>
                <a:lnTo>
                  <a:pt x="4" y="170"/>
                </a:lnTo>
                <a:lnTo>
                  <a:pt x="4" y="170"/>
                </a:lnTo>
                <a:lnTo>
                  <a:pt x="2" y="174"/>
                </a:lnTo>
                <a:lnTo>
                  <a:pt x="0" y="178"/>
                </a:lnTo>
                <a:lnTo>
                  <a:pt x="0" y="178"/>
                </a:lnTo>
                <a:lnTo>
                  <a:pt x="2" y="182"/>
                </a:lnTo>
                <a:lnTo>
                  <a:pt x="6" y="184"/>
                </a:lnTo>
                <a:lnTo>
                  <a:pt x="30" y="194"/>
                </a:lnTo>
                <a:lnTo>
                  <a:pt x="4" y="206"/>
                </a:lnTo>
                <a:lnTo>
                  <a:pt x="4" y="206"/>
                </a:lnTo>
                <a:lnTo>
                  <a:pt x="0" y="208"/>
                </a:lnTo>
                <a:lnTo>
                  <a:pt x="0" y="212"/>
                </a:lnTo>
                <a:lnTo>
                  <a:pt x="0" y="212"/>
                </a:lnTo>
                <a:lnTo>
                  <a:pt x="0" y="218"/>
                </a:lnTo>
                <a:lnTo>
                  <a:pt x="4" y="220"/>
                </a:lnTo>
                <a:lnTo>
                  <a:pt x="148" y="270"/>
                </a:lnTo>
                <a:lnTo>
                  <a:pt x="148" y="270"/>
                </a:lnTo>
                <a:lnTo>
                  <a:pt x="150" y="270"/>
                </a:lnTo>
                <a:lnTo>
                  <a:pt x="150" y="270"/>
                </a:lnTo>
                <a:lnTo>
                  <a:pt x="154" y="270"/>
                </a:lnTo>
                <a:lnTo>
                  <a:pt x="198" y="250"/>
                </a:lnTo>
                <a:lnTo>
                  <a:pt x="198" y="250"/>
                </a:lnTo>
                <a:lnTo>
                  <a:pt x="200" y="254"/>
                </a:lnTo>
                <a:lnTo>
                  <a:pt x="206" y="258"/>
                </a:lnTo>
                <a:lnTo>
                  <a:pt x="212" y="264"/>
                </a:lnTo>
                <a:lnTo>
                  <a:pt x="222" y="266"/>
                </a:lnTo>
                <a:lnTo>
                  <a:pt x="244" y="272"/>
                </a:lnTo>
                <a:lnTo>
                  <a:pt x="272" y="274"/>
                </a:lnTo>
                <a:lnTo>
                  <a:pt x="272" y="274"/>
                </a:lnTo>
                <a:lnTo>
                  <a:pt x="300" y="272"/>
                </a:lnTo>
                <a:lnTo>
                  <a:pt x="314" y="270"/>
                </a:lnTo>
                <a:lnTo>
                  <a:pt x="324" y="266"/>
                </a:lnTo>
                <a:lnTo>
                  <a:pt x="334" y="262"/>
                </a:lnTo>
                <a:lnTo>
                  <a:pt x="340" y="256"/>
                </a:lnTo>
                <a:lnTo>
                  <a:pt x="344" y="252"/>
                </a:lnTo>
                <a:lnTo>
                  <a:pt x="346" y="246"/>
                </a:lnTo>
                <a:lnTo>
                  <a:pt x="346" y="230"/>
                </a:lnTo>
                <a:lnTo>
                  <a:pt x="346" y="230"/>
                </a:lnTo>
                <a:lnTo>
                  <a:pt x="346" y="236"/>
                </a:lnTo>
                <a:lnTo>
                  <a:pt x="344" y="240"/>
                </a:lnTo>
                <a:lnTo>
                  <a:pt x="334" y="246"/>
                </a:lnTo>
                <a:lnTo>
                  <a:pt x="334" y="246"/>
                </a:lnTo>
                <a:lnTo>
                  <a:pt x="322" y="252"/>
                </a:lnTo>
                <a:lnTo>
                  <a:pt x="308" y="256"/>
                </a:lnTo>
                <a:lnTo>
                  <a:pt x="290" y="258"/>
                </a:lnTo>
                <a:lnTo>
                  <a:pt x="272" y="260"/>
                </a:lnTo>
                <a:lnTo>
                  <a:pt x="272" y="260"/>
                </a:lnTo>
                <a:lnTo>
                  <a:pt x="252" y="258"/>
                </a:lnTo>
                <a:lnTo>
                  <a:pt x="236" y="256"/>
                </a:lnTo>
                <a:lnTo>
                  <a:pt x="220" y="252"/>
                </a:lnTo>
                <a:lnTo>
                  <a:pt x="210" y="246"/>
                </a:lnTo>
                <a:lnTo>
                  <a:pt x="210" y="246"/>
                </a:lnTo>
                <a:lnTo>
                  <a:pt x="206" y="244"/>
                </a:lnTo>
                <a:lnTo>
                  <a:pt x="206" y="244"/>
                </a:lnTo>
                <a:lnTo>
                  <a:pt x="206" y="244"/>
                </a:lnTo>
                <a:lnTo>
                  <a:pt x="200" y="238"/>
                </a:lnTo>
                <a:lnTo>
                  <a:pt x="196" y="232"/>
                </a:lnTo>
                <a:lnTo>
                  <a:pt x="196" y="232"/>
                </a:lnTo>
                <a:lnTo>
                  <a:pt x="196" y="230"/>
                </a:lnTo>
                <a:lnTo>
                  <a:pt x="196" y="232"/>
                </a:lnTo>
                <a:lnTo>
                  <a:pt x="150" y="254"/>
                </a:lnTo>
                <a:lnTo>
                  <a:pt x="28" y="212"/>
                </a:lnTo>
                <a:lnTo>
                  <a:pt x="52" y="200"/>
                </a:lnTo>
                <a:lnTo>
                  <a:pt x="148" y="234"/>
                </a:lnTo>
                <a:lnTo>
                  <a:pt x="148" y="234"/>
                </a:lnTo>
                <a:lnTo>
                  <a:pt x="152" y="234"/>
                </a:lnTo>
                <a:lnTo>
                  <a:pt x="152" y="234"/>
                </a:lnTo>
                <a:lnTo>
                  <a:pt x="154" y="234"/>
                </a:lnTo>
                <a:lnTo>
                  <a:pt x="198" y="214"/>
                </a:lnTo>
                <a:lnTo>
                  <a:pt x="198" y="214"/>
                </a:lnTo>
                <a:lnTo>
                  <a:pt x="200" y="220"/>
                </a:lnTo>
                <a:lnTo>
                  <a:pt x="206" y="224"/>
                </a:lnTo>
                <a:lnTo>
                  <a:pt x="214" y="228"/>
                </a:lnTo>
                <a:lnTo>
                  <a:pt x="222" y="232"/>
                </a:lnTo>
                <a:lnTo>
                  <a:pt x="246" y="236"/>
                </a:lnTo>
                <a:lnTo>
                  <a:pt x="272" y="238"/>
                </a:lnTo>
                <a:lnTo>
                  <a:pt x="272" y="238"/>
                </a:lnTo>
                <a:lnTo>
                  <a:pt x="300" y="236"/>
                </a:lnTo>
                <a:lnTo>
                  <a:pt x="314" y="234"/>
                </a:lnTo>
                <a:lnTo>
                  <a:pt x="324" y="230"/>
                </a:lnTo>
                <a:lnTo>
                  <a:pt x="334" y="226"/>
                </a:lnTo>
                <a:lnTo>
                  <a:pt x="340" y="220"/>
                </a:lnTo>
                <a:lnTo>
                  <a:pt x="344" y="216"/>
                </a:lnTo>
                <a:lnTo>
                  <a:pt x="346" y="210"/>
                </a:lnTo>
                <a:lnTo>
                  <a:pt x="346" y="196"/>
                </a:lnTo>
                <a:lnTo>
                  <a:pt x="346" y="196"/>
                </a:lnTo>
                <a:lnTo>
                  <a:pt x="346" y="200"/>
                </a:lnTo>
                <a:lnTo>
                  <a:pt x="344" y="204"/>
                </a:lnTo>
                <a:lnTo>
                  <a:pt x="334" y="210"/>
                </a:lnTo>
                <a:lnTo>
                  <a:pt x="334" y="210"/>
                </a:lnTo>
                <a:lnTo>
                  <a:pt x="322" y="216"/>
                </a:lnTo>
                <a:lnTo>
                  <a:pt x="308" y="220"/>
                </a:lnTo>
                <a:lnTo>
                  <a:pt x="290" y="222"/>
                </a:lnTo>
                <a:lnTo>
                  <a:pt x="272" y="224"/>
                </a:lnTo>
                <a:lnTo>
                  <a:pt x="272" y="224"/>
                </a:lnTo>
                <a:lnTo>
                  <a:pt x="252" y="222"/>
                </a:lnTo>
                <a:lnTo>
                  <a:pt x="236" y="220"/>
                </a:lnTo>
                <a:lnTo>
                  <a:pt x="220" y="216"/>
                </a:lnTo>
                <a:lnTo>
                  <a:pt x="210" y="210"/>
                </a:lnTo>
                <a:lnTo>
                  <a:pt x="210" y="210"/>
                </a:lnTo>
                <a:lnTo>
                  <a:pt x="208" y="210"/>
                </a:lnTo>
                <a:lnTo>
                  <a:pt x="208" y="210"/>
                </a:lnTo>
                <a:lnTo>
                  <a:pt x="200" y="204"/>
                </a:lnTo>
                <a:lnTo>
                  <a:pt x="198" y="198"/>
                </a:lnTo>
                <a:lnTo>
                  <a:pt x="198" y="198"/>
                </a:lnTo>
                <a:lnTo>
                  <a:pt x="196" y="196"/>
                </a:lnTo>
                <a:lnTo>
                  <a:pt x="196" y="198"/>
                </a:lnTo>
                <a:lnTo>
                  <a:pt x="152" y="218"/>
                </a:lnTo>
                <a:lnTo>
                  <a:pt x="72" y="192"/>
                </a:lnTo>
                <a:lnTo>
                  <a:pt x="50" y="184"/>
                </a:lnTo>
                <a:lnTo>
                  <a:pt x="28" y="176"/>
                </a:lnTo>
                <a:lnTo>
                  <a:pt x="52" y="166"/>
                </a:lnTo>
                <a:lnTo>
                  <a:pt x="150" y="200"/>
                </a:lnTo>
                <a:lnTo>
                  <a:pt x="150" y="200"/>
                </a:lnTo>
                <a:lnTo>
                  <a:pt x="152" y="200"/>
                </a:lnTo>
                <a:lnTo>
                  <a:pt x="152" y="200"/>
                </a:lnTo>
                <a:lnTo>
                  <a:pt x="156" y="200"/>
                </a:lnTo>
                <a:lnTo>
                  <a:pt x="198" y="180"/>
                </a:lnTo>
                <a:lnTo>
                  <a:pt x="198" y="180"/>
                </a:lnTo>
                <a:lnTo>
                  <a:pt x="202" y="184"/>
                </a:lnTo>
                <a:lnTo>
                  <a:pt x="208" y="188"/>
                </a:lnTo>
                <a:lnTo>
                  <a:pt x="224" y="196"/>
                </a:lnTo>
                <a:lnTo>
                  <a:pt x="246" y="200"/>
                </a:lnTo>
                <a:lnTo>
                  <a:pt x="272" y="202"/>
                </a:lnTo>
                <a:lnTo>
                  <a:pt x="272" y="202"/>
                </a:lnTo>
                <a:lnTo>
                  <a:pt x="296" y="200"/>
                </a:lnTo>
                <a:lnTo>
                  <a:pt x="318" y="196"/>
                </a:lnTo>
                <a:lnTo>
                  <a:pt x="334" y="190"/>
                </a:lnTo>
                <a:lnTo>
                  <a:pt x="340" y="186"/>
                </a:lnTo>
                <a:lnTo>
                  <a:pt x="344" y="180"/>
                </a:lnTo>
                <a:lnTo>
                  <a:pt x="370" y="168"/>
                </a:lnTo>
                <a:lnTo>
                  <a:pt x="370" y="168"/>
                </a:lnTo>
                <a:lnTo>
                  <a:pt x="374" y="166"/>
                </a:lnTo>
                <a:lnTo>
                  <a:pt x="374" y="162"/>
                </a:lnTo>
                <a:lnTo>
                  <a:pt x="374" y="162"/>
                </a:lnTo>
                <a:lnTo>
                  <a:pt x="374" y="156"/>
                </a:lnTo>
                <a:lnTo>
                  <a:pt x="370" y="154"/>
                </a:lnTo>
                <a:lnTo>
                  <a:pt x="346" y="146"/>
                </a:lnTo>
                <a:lnTo>
                  <a:pt x="372" y="134"/>
                </a:lnTo>
                <a:lnTo>
                  <a:pt x="372" y="134"/>
                </a:lnTo>
                <a:lnTo>
                  <a:pt x="374" y="130"/>
                </a:lnTo>
                <a:lnTo>
                  <a:pt x="376" y="126"/>
                </a:lnTo>
                <a:lnTo>
                  <a:pt x="376" y="126"/>
                </a:lnTo>
                <a:close/>
                <a:moveTo>
                  <a:pt x="202" y="78"/>
                </a:moveTo>
                <a:lnTo>
                  <a:pt x="202" y="78"/>
                </a:lnTo>
                <a:lnTo>
                  <a:pt x="214" y="84"/>
                </a:lnTo>
                <a:lnTo>
                  <a:pt x="230" y="90"/>
                </a:lnTo>
                <a:lnTo>
                  <a:pt x="248" y="94"/>
                </a:lnTo>
                <a:lnTo>
                  <a:pt x="272" y="96"/>
                </a:lnTo>
                <a:lnTo>
                  <a:pt x="272" y="96"/>
                </a:lnTo>
                <a:lnTo>
                  <a:pt x="294" y="94"/>
                </a:lnTo>
                <a:lnTo>
                  <a:pt x="314" y="90"/>
                </a:lnTo>
                <a:lnTo>
                  <a:pt x="330" y="84"/>
                </a:lnTo>
                <a:lnTo>
                  <a:pt x="342" y="78"/>
                </a:lnTo>
                <a:lnTo>
                  <a:pt x="342" y="78"/>
                </a:lnTo>
                <a:lnTo>
                  <a:pt x="346" y="82"/>
                </a:lnTo>
                <a:lnTo>
                  <a:pt x="346" y="88"/>
                </a:lnTo>
                <a:lnTo>
                  <a:pt x="346" y="88"/>
                </a:lnTo>
                <a:lnTo>
                  <a:pt x="346" y="92"/>
                </a:lnTo>
                <a:lnTo>
                  <a:pt x="344" y="96"/>
                </a:lnTo>
                <a:lnTo>
                  <a:pt x="334" y="104"/>
                </a:lnTo>
                <a:lnTo>
                  <a:pt x="334" y="104"/>
                </a:lnTo>
                <a:lnTo>
                  <a:pt x="322" y="108"/>
                </a:lnTo>
                <a:lnTo>
                  <a:pt x="308" y="112"/>
                </a:lnTo>
                <a:lnTo>
                  <a:pt x="290" y="116"/>
                </a:lnTo>
                <a:lnTo>
                  <a:pt x="272" y="116"/>
                </a:lnTo>
                <a:lnTo>
                  <a:pt x="272" y="116"/>
                </a:lnTo>
                <a:lnTo>
                  <a:pt x="254" y="116"/>
                </a:lnTo>
                <a:lnTo>
                  <a:pt x="238" y="114"/>
                </a:lnTo>
                <a:lnTo>
                  <a:pt x="226" y="110"/>
                </a:lnTo>
                <a:lnTo>
                  <a:pt x="214" y="106"/>
                </a:lnTo>
                <a:lnTo>
                  <a:pt x="214" y="106"/>
                </a:lnTo>
                <a:lnTo>
                  <a:pt x="214" y="106"/>
                </a:lnTo>
                <a:lnTo>
                  <a:pt x="210" y="104"/>
                </a:lnTo>
                <a:lnTo>
                  <a:pt x="210" y="104"/>
                </a:lnTo>
                <a:lnTo>
                  <a:pt x="200" y="96"/>
                </a:lnTo>
                <a:lnTo>
                  <a:pt x="198" y="92"/>
                </a:lnTo>
                <a:lnTo>
                  <a:pt x="196" y="88"/>
                </a:lnTo>
                <a:lnTo>
                  <a:pt x="196" y="88"/>
                </a:lnTo>
                <a:lnTo>
                  <a:pt x="198" y="82"/>
                </a:lnTo>
                <a:lnTo>
                  <a:pt x="202" y="78"/>
                </a:lnTo>
                <a:lnTo>
                  <a:pt x="202" y="78"/>
                </a:lnTo>
                <a:close/>
                <a:moveTo>
                  <a:pt x="202" y="114"/>
                </a:moveTo>
                <a:lnTo>
                  <a:pt x="202" y="114"/>
                </a:lnTo>
                <a:lnTo>
                  <a:pt x="214" y="120"/>
                </a:lnTo>
                <a:lnTo>
                  <a:pt x="230" y="126"/>
                </a:lnTo>
                <a:lnTo>
                  <a:pt x="248" y="130"/>
                </a:lnTo>
                <a:lnTo>
                  <a:pt x="272" y="130"/>
                </a:lnTo>
                <a:lnTo>
                  <a:pt x="272" y="130"/>
                </a:lnTo>
                <a:lnTo>
                  <a:pt x="294" y="130"/>
                </a:lnTo>
                <a:lnTo>
                  <a:pt x="314" y="126"/>
                </a:lnTo>
                <a:lnTo>
                  <a:pt x="330" y="120"/>
                </a:lnTo>
                <a:lnTo>
                  <a:pt x="342" y="114"/>
                </a:lnTo>
                <a:lnTo>
                  <a:pt x="342" y="114"/>
                </a:lnTo>
                <a:lnTo>
                  <a:pt x="346" y="118"/>
                </a:lnTo>
                <a:lnTo>
                  <a:pt x="346" y="124"/>
                </a:lnTo>
                <a:lnTo>
                  <a:pt x="346" y="124"/>
                </a:lnTo>
                <a:lnTo>
                  <a:pt x="346" y="128"/>
                </a:lnTo>
                <a:lnTo>
                  <a:pt x="346" y="128"/>
                </a:lnTo>
                <a:lnTo>
                  <a:pt x="342" y="132"/>
                </a:lnTo>
                <a:lnTo>
                  <a:pt x="342" y="132"/>
                </a:lnTo>
                <a:lnTo>
                  <a:pt x="340" y="134"/>
                </a:lnTo>
                <a:lnTo>
                  <a:pt x="340" y="134"/>
                </a:lnTo>
                <a:lnTo>
                  <a:pt x="338" y="136"/>
                </a:lnTo>
                <a:lnTo>
                  <a:pt x="338" y="136"/>
                </a:lnTo>
                <a:lnTo>
                  <a:pt x="334" y="140"/>
                </a:lnTo>
                <a:lnTo>
                  <a:pt x="334" y="140"/>
                </a:lnTo>
                <a:lnTo>
                  <a:pt x="322" y="144"/>
                </a:lnTo>
                <a:lnTo>
                  <a:pt x="308" y="148"/>
                </a:lnTo>
                <a:lnTo>
                  <a:pt x="290" y="150"/>
                </a:lnTo>
                <a:lnTo>
                  <a:pt x="272" y="152"/>
                </a:lnTo>
                <a:lnTo>
                  <a:pt x="272" y="152"/>
                </a:lnTo>
                <a:lnTo>
                  <a:pt x="254" y="152"/>
                </a:lnTo>
                <a:lnTo>
                  <a:pt x="238" y="148"/>
                </a:lnTo>
                <a:lnTo>
                  <a:pt x="226" y="146"/>
                </a:lnTo>
                <a:lnTo>
                  <a:pt x="214" y="142"/>
                </a:lnTo>
                <a:lnTo>
                  <a:pt x="214" y="142"/>
                </a:lnTo>
                <a:lnTo>
                  <a:pt x="214" y="142"/>
                </a:lnTo>
                <a:lnTo>
                  <a:pt x="210" y="140"/>
                </a:lnTo>
                <a:lnTo>
                  <a:pt x="210" y="140"/>
                </a:lnTo>
                <a:lnTo>
                  <a:pt x="200" y="132"/>
                </a:lnTo>
                <a:lnTo>
                  <a:pt x="198" y="128"/>
                </a:lnTo>
                <a:lnTo>
                  <a:pt x="196" y="124"/>
                </a:lnTo>
                <a:lnTo>
                  <a:pt x="196" y="124"/>
                </a:lnTo>
                <a:lnTo>
                  <a:pt x="198" y="118"/>
                </a:lnTo>
                <a:lnTo>
                  <a:pt x="202" y="114"/>
                </a:lnTo>
                <a:lnTo>
                  <a:pt x="202" y="114"/>
                </a:lnTo>
                <a:close/>
                <a:moveTo>
                  <a:pt x="162" y="144"/>
                </a:moveTo>
                <a:lnTo>
                  <a:pt x="162" y="144"/>
                </a:lnTo>
                <a:lnTo>
                  <a:pt x="150" y="150"/>
                </a:lnTo>
                <a:lnTo>
                  <a:pt x="134" y="150"/>
                </a:lnTo>
                <a:lnTo>
                  <a:pt x="134" y="150"/>
                </a:lnTo>
                <a:lnTo>
                  <a:pt x="116" y="150"/>
                </a:lnTo>
                <a:lnTo>
                  <a:pt x="104" y="144"/>
                </a:lnTo>
                <a:lnTo>
                  <a:pt x="104" y="144"/>
                </a:lnTo>
                <a:lnTo>
                  <a:pt x="100" y="142"/>
                </a:lnTo>
                <a:lnTo>
                  <a:pt x="98" y="138"/>
                </a:lnTo>
                <a:lnTo>
                  <a:pt x="98" y="138"/>
                </a:lnTo>
                <a:lnTo>
                  <a:pt x="100" y="136"/>
                </a:lnTo>
                <a:lnTo>
                  <a:pt x="102" y="132"/>
                </a:lnTo>
                <a:lnTo>
                  <a:pt x="110" y="128"/>
                </a:lnTo>
                <a:lnTo>
                  <a:pt x="120" y="126"/>
                </a:lnTo>
                <a:lnTo>
                  <a:pt x="134" y="124"/>
                </a:lnTo>
                <a:lnTo>
                  <a:pt x="134" y="124"/>
                </a:lnTo>
                <a:lnTo>
                  <a:pt x="148" y="126"/>
                </a:lnTo>
                <a:lnTo>
                  <a:pt x="158" y="128"/>
                </a:lnTo>
                <a:lnTo>
                  <a:pt x="166" y="132"/>
                </a:lnTo>
                <a:lnTo>
                  <a:pt x="168" y="136"/>
                </a:lnTo>
                <a:lnTo>
                  <a:pt x="168" y="138"/>
                </a:lnTo>
                <a:lnTo>
                  <a:pt x="168" y="138"/>
                </a:lnTo>
                <a:lnTo>
                  <a:pt x="166" y="142"/>
                </a:lnTo>
                <a:lnTo>
                  <a:pt x="162" y="144"/>
                </a:lnTo>
                <a:lnTo>
                  <a:pt x="162" y="144"/>
                </a:lnTo>
                <a:close/>
                <a:moveTo>
                  <a:pt x="346" y="160"/>
                </a:moveTo>
                <a:lnTo>
                  <a:pt x="346" y="160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4" y="166"/>
                </a:lnTo>
                <a:lnTo>
                  <a:pt x="344" y="166"/>
                </a:lnTo>
                <a:lnTo>
                  <a:pt x="344" y="166"/>
                </a:lnTo>
                <a:lnTo>
                  <a:pt x="344" y="166"/>
                </a:lnTo>
                <a:lnTo>
                  <a:pt x="342" y="168"/>
                </a:lnTo>
                <a:lnTo>
                  <a:pt x="342" y="168"/>
                </a:lnTo>
                <a:lnTo>
                  <a:pt x="340" y="170"/>
                </a:lnTo>
                <a:lnTo>
                  <a:pt x="340" y="170"/>
                </a:lnTo>
                <a:lnTo>
                  <a:pt x="338" y="172"/>
                </a:lnTo>
                <a:lnTo>
                  <a:pt x="338" y="172"/>
                </a:lnTo>
                <a:lnTo>
                  <a:pt x="334" y="174"/>
                </a:lnTo>
                <a:lnTo>
                  <a:pt x="334" y="174"/>
                </a:lnTo>
                <a:lnTo>
                  <a:pt x="322" y="180"/>
                </a:lnTo>
                <a:lnTo>
                  <a:pt x="308" y="184"/>
                </a:lnTo>
                <a:lnTo>
                  <a:pt x="290" y="186"/>
                </a:lnTo>
                <a:lnTo>
                  <a:pt x="272" y="188"/>
                </a:lnTo>
                <a:lnTo>
                  <a:pt x="272" y="188"/>
                </a:lnTo>
                <a:lnTo>
                  <a:pt x="252" y="186"/>
                </a:lnTo>
                <a:lnTo>
                  <a:pt x="236" y="184"/>
                </a:lnTo>
                <a:lnTo>
                  <a:pt x="220" y="180"/>
                </a:lnTo>
                <a:lnTo>
                  <a:pt x="210" y="174"/>
                </a:lnTo>
                <a:lnTo>
                  <a:pt x="210" y="174"/>
                </a:lnTo>
                <a:lnTo>
                  <a:pt x="208" y="174"/>
                </a:lnTo>
                <a:lnTo>
                  <a:pt x="208" y="174"/>
                </a:lnTo>
                <a:lnTo>
                  <a:pt x="208" y="174"/>
                </a:lnTo>
                <a:lnTo>
                  <a:pt x="200" y="168"/>
                </a:lnTo>
                <a:lnTo>
                  <a:pt x="200" y="168"/>
                </a:lnTo>
                <a:lnTo>
                  <a:pt x="200" y="166"/>
                </a:lnTo>
                <a:lnTo>
                  <a:pt x="200" y="166"/>
                </a:lnTo>
                <a:lnTo>
                  <a:pt x="198" y="164"/>
                </a:lnTo>
                <a:lnTo>
                  <a:pt x="198" y="164"/>
                </a:lnTo>
                <a:lnTo>
                  <a:pt x="196" y="160"/>
                </a:lnTo>
                <a:lnTo>
                  <a:pt x="196" y="160"/>
                </a:lnTo>
                <a:lnTo>
                  <a:pt x="198" y="154"/>
                </a:lnTo>
                <a:lnTo>
                  <a:pt x="202" y="148"/>
                </a:lnTo>
                <a:lnTo>
                  <a:pt x="202" y="148"/>
                </a:lnTo>
                <a:lnTo>
                  <a:pt x="214" y="156"/>
                </a:lnTo>
                <a:lnTo>
                  <a:pt x="230" y="162"/>
                </a:lnTo>
                <a:lnTo>
                  <a:pt x="248" y="166"/>
                </a:lnTo>
                <a:lnTo>
                  <a:pt x="272" y="166"/>
                </a:lnTo>
                <a:lnTo>
                  <a:pt x="272" y="166"/>
                </a:lnTo>
                <a:lnTo>
                  <a:pt x="294" y="166"/>
                </a:lnTo>
                <a:lnTo>
                  <a:pt x="314" y="162"/>
                </a:lnTo>
                <a:lnTo>
                  <a:pt x="330" y="156"/>
                </a:lnTo>
                <a:lnTo>
                  <a:pt x="342" y="148"/>
                </a:lnTo>
                <a:lnTo>
                  <a:pt x="342" y="148"/>
                </a:lnTo>
                <a:lnTo>
                  <a:pt x="346" y="154"/>
                </a:lnTo>
                <a:lnTo>
                  <a:pt x="346" y="160"/>
                </a:lnTo>
                <a:lnTo>
                  <a:pt x="346" y="160"/>
                </a:lnTo>
                <a:close/>
                <a:moveTo>
                  <a:pt x="346" y="128"/>
                </a:moveTo>
                <a:lnTo>
                  <a:pt x="346" y="128"/>
                </a:lnTo>
                <a:lnTo>
                  <a:pt x="348" y="128"/>
                </a:lnTo>
                <a:lnTo>
                  <a:pt x="346" y="128"/>
                </a:lnTo>
                <a:close/>
                <a:moveTo>
                  <a:pt x="196" y="28"/>
                </a:moveTo>
                <a:lnTo>
                  <a:pt x="196" y="28"/>
                </a:lnTo>
                <a:lnTo>
                  <a:pt x="198" y="24"/>
                </a:lnTo>
                <a:lnTo>
                  <a:pt x="202" y="18"/>
                </a:lnTo>
                <a:lnTo>
                  <a:pt x="210" y="14"/>
                </a:lnTo>
                <a:lnTo>
                  <a:pt x="218" y="8"/>
                </a:lnTo>
                <a:lnTo>
                  <a:pt x="230" y="6"/>
                </a:lnTo>
                <a:lnTo>
                  <a:pt x="242" y="2"/>
                </a:lnTo>
                <a:lnTo>
                  <a:pt x="272" y="0"/>
                </a:lnTo>
                <a:lnTo>
                  <a:pt x="272" y="0"/>
                </a:lnTo>
                <a:lnTo>
                  <a:pt x="300" y="2"/>
                </a:lnTo>
                <a:lnTo>
                  <a:pt x="314" y="6"/>
                </a:lnTo>
                <a:lnTo>
                  <a:pt x="324" y="8"/>
                </a:lnTo>
                <a:lnTo>
                  <a:pt x="334" y="14"/>
                </a:lnTo>
                <a:lnTo>
                  <a:pt x="340" y="18"/>
                </a:lnTo>
                <a:lnTo>
                  <a:pt x="344" y="24"/>
                </a:lnTo>
                <a:lnTo>
                  <a:pt x="346" y="28"/>
                </a:lnTo>
                <a:lnTo>
                  <a:pt x="346" y="28"/>
                </a:lnTo>
                <a:lnTo>
                  <a:pt x="346" y="34"/>
                </a:lnTo>
                <a:lnTo>
                  <a:pt x="344" y="38"/>
                </a:lnTo>
                <a:lnTo>
                  <a:pt x="334" y="44"/>
                </a:lnTo>
                <a:lnTo>
                  <a:pt x="334" y="44"/>
                </a:lnTo>
                <a:lnTo>
                  <a:pt x="322" y="50"/>
                </a:lnTo>
                <a:lnTo>
                  <a:pt x="308" y="54"/>
                </a:lnTo>
                <a:lnTo>
                  <a:pt x="290" y="56"/>
                </a:lnTo>
                <a:lnTo>
                  <a:pt x="272" y="58"/>
                </a:lnTo>
                <a:lnTo>
                  <a:pt x="272" y="58"/>
                </a:lnTo>
                <a:lnTo>
                  <a:pt x="252" y="56"/>
                </a:lnTo>
                <a:lnTo>
                  <a:pt x="236" y="54"/>
                </a:lnTo>
                <a:lnTo>
                  <a:pt x="220" y="50"/>
                </a:lnTo>
                <a:lnTo>
                  <a:pt x="210" y="44"/>
                </a:lnTo>
                <a:lnTo>
                  <a:pt x="210" y="44"/>
                </a:lnTo>
                <a:lnTo>
                  <a:pt x="200" y="38"/>
                </a:lnTo>
                <a:lnTo>
                  <a:pt x="198" y="34"/>
                </a:lnTo>
                <a:lnTo>
                  <a:pt x="196" y="28"/>
                </a:lnTo>
                <a:lnTo>
                  <a:pt x="196" y="2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0" name="Freeform 437"/>
          <p:cNvSpPr>
            <a:spLocks/>
          </p:cNvSpPr>
          <p:nvPr/>
        </p:nvSpPr>
        <p:spPr bwMode="auto">
          <a:xfrm>
            <a:off x="1926228" y="3459902"/>
            <a:ext cx="80244" cy="143293"/>
          </a:xfrm>
          <a:custGeom>
            <a:avLst/>
            <a:gdLst>
              <a:gd name="T0" fmla="*/ 24 w 140"/>
              <a:gd name="T1" fmla="*/ 249 h 249"/>
              <a:gd name="T2" fmla="*/ 115 w 140"/>
              <a:gd name="T3" fmla="*/ 249 h 249"/>
              <a:gd name="T4" fmla="*/ 115 w 140"/>
              <a:gd name="T5" fmla="*/ 249 h 249"/>
              <a:gd name="T6" fmla="*/ 121 w 140"/>
              <a:gd name="T7" fmla="*/ 249 h 249"/>
              <a:gd name="T8" fmla="*/ 125 w 140"/>
              <a:gd name="T9" fmla="*/ 247 h 249"/>
              <a:gd name="T10" fmla="*/ 129 w 140"/>
              <a:gd name="T11" fmla="*/ 245 h 249"/>
              <a:gd name="T12" fmla="*/ 133 w 140"/>
              <a:gd name="T13" fmla="*/ 242 h 249"/>
              <a:gd name="T14" fmla="*/ 136 w 140"/>
              <a:gd name="T15" fmla="*/ 238 h 249"/>
              <a:gd name="T16" fmla="*/ 138 w 140"/>
              <a:gd name="T17" fmla="*/ 234 h 249"/>
              <a:gd name="T18" fmla="*/ 140 w 140"/>
              <a:gd name="T19" fmla="*/ 230 h 249"/>
              <a:gd name="T20" fmla="*/ 140 w 140"/>
              <a:gd name="T21" fmla="*/ 224 h 249"/>
              <a:gd name="T22" fmla="*/ 140 w 140"/>
              <a:gd name="T23" fmla="*/ 25 h 249"/>
              <a:gd name="T24" fmla="*/ 140 w 140"/>
              <a:gd name="T25" fmla="*/ 25 h 249"/>
              <a:gd name="T26" fmla="*/ 140 w 140"/>
              <a:gd name="T27" fmla="*/ 19 h 249"/>
              <a:gd name="T28" fmla="*/ 138 w 140"/>
              <a:gd name="T29" fmla="*/ 15 h 249"/>
              <a:gd name="T30" fmla="*/ 136 w 140"/>
              <a:gd name="T31" fmla="*/ 11 h 249"/>
              <a:gd name="T32" fmla="*/ 133 w 140"/>
              <a:gd name="T33" fmla="*/ 7 h 249"/>
              <a:gd name="T34" fmla="*/ 129 w 140"/>
              <a:gd name="T35" fmla="*/ 4 h 249"/>
              <a:gd name="T36" fmla="*/ 125 w 140"/>
              <a:gd name="T37" fmla="*/ 2 h 249"/>
              <a:gd name="T38" fmla="*/ 121 w 140"/>
              <a:gd name="T39" fmla="*/ 0 h 249"/>
              <a:gd name="T40" fmla="*/ 115 w 140"/>
              <a:gd name="T41" fmla="*/ 0 h 249"/>
              <a:gd name="T42" fmla="*/ 24 w 140"/>
              <a:gd name="T43" fmla="*/ 0 h 249"/>
              <a:gd name="T44" fmla="*/ 24 w 140"/>
              <a:gd name="T45" fmla="*/ 0 h 249"/>
              <a:gd name="T46" fmla="*/ 20 w 140"/>
              <a:gd name="T47" fmla="*/ 0 h 249"/>
              <a:gd name="T48" fmla="*/ 16 w 140"/>
              <a:gd name="T49" fmla="*/ 2 h 249"/>
              <a:gd name="T50" fmla="*/ 11 w 140"/>
              <a:gd name="T51" fmla="*/ 4 h 249"/>
              <a:gd name="T52" fmla="*/ 7 w 140"/>
              <a:gd name="T53" fmla="*/ 7 h 249"/>
              <a:gd name="T54" fmla="*/ 4 w 140"/>
              <a:gd name="T55" fmla="*/ 11 h 249"/>
              <a:gd name="T56" fmla="*/ 1 w 140"/>
              <a:gd name="T57" fmla="*/ 15 h 249"/>
              <a:gd name="T58" fmla="*/ 0 w 140"/>
              <a:gd name="T59" fmla="*/ 19 h 249"/>
              <a:gd name="T60" fmla="*/ 0 w 140"/>
              <a:gd name="T61" fmla="*/ 25 h 249"/>
              <a:gd name="T62" fmla="*/ 0 w 140"/>
              <a:gd name="T63" fmla="*/ 224 h 249"/>
              <a:gd name="T64" fmla="*/ 0 w 140"/>
              <a:gd name="T65" fmla="*/ 224 h 249"/>
              <a:gd name="T66" fmla="*/ 0 w 140"/>
              <a:gd name="T67" fmla="*/ 230 h 249"/>
              <a:gd name="T68" fmla="*/ 1 w 140"/>
              <a:gd name="T69" fmla="*/ 234 h 249"/>
              <a:gd name="T70" fmla="*/ 4 w 140"/>
              <a:gd name="T71" fmla="*/ 238 h 249"/>
              <a:gd name="T72" fmla="*/ 7 w 140"/>
              <a:gd name="T73" fmla="*/ 242 h 249"/>
              <a:gd name="T74" fmla="*/ 11 w 140"/>
              <a:gd name="T75" fmla="*/ 245 h 249"/>
              <a:gd name="T76" fmla="*/ 16 w 140"/>
              <a:gd name="T77" fmla="*/ 247 h 249"/>
              <a:gd name="T78" fmla="*/ 20 w 140"/>
              <a:gd name="T79" fmla="*/ 249 h 249"/>
              <a:gd name="T80" fmla="*/ 24 w 140"/>
              <a:gd name="T81" fmla="*/ 249 h 249"/>
              <a:gd name="T82" fmla="*/ 24 w 140"/>
              <a:gd name="T83" fmla="*/ 249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40" h="249">
                <a:moveTo>
                  <a:pt x="24" y="249"/>
                </a:moveTo>
                <a:lnTo>
                  <a:pt x="115" y="249"/>
                </a:lnTo>
                <a:lnTo>
                  <a:pt x="115" y="249"/>
                </a:lnTo>
                <a:lnTo>
                  <a:pt x="121" y="249"/>
                </a:lnTo>
                <a:lnTo>
                  <a:pt x="125" y="247"/>
                </a:lnTo>
                <a:lnTo>
                  <a:pt x="129" y="245"/>
                </a:lnTo>
                <a:lnTo>
                  <a:pt x="133" y="242"/>
                </a:lnTo>
                <a:lnTo>
                  <a:pt x="136" y="238"/>
                </a:lnTo>
                <a:lnTo>
                  <a:pt x="138" y="234"/>
                </a:lnTo>
                <a:lnTo>
                  <a:pt x="140" y="230"/>
                </a:lnTo>
                <a:lnTo>
                  <a:pt x="140" y="224"/>
                </a:lnTo>
                <a:lnTo>
                  <a:pt x="140" y="25"/>
                </a:lnTo>
                <a:lnTo>
                  <a:pt x="140" y="25"/>
                </a:lnTo>
                <a:lnTo>
                  <a:pt x="140" y="19"/>
                </a:lnTo>
                <a:lnTo>
                  <a:pt x="138" y="15"/>
                </a:lnTo>
                <a:lnTo>
                  <a:pt x="136" y="11"/>
                </a:lnTo>
                <a:lnTo>
                  <a:pt x="133" y="7"/>
                </a:lnTo>
                <a:lnTo>
                  <a:pt x="129" y="4"/>
                </a:lnTo>
                <a:lnTo>
                  <a:pt x="125" y="2"/>
                </a:lnTo>
                <a:lnTo>
                  <a:pt x="121" y="0"/>
                </a:lnTo>
                <a:lnTo>
                  <a:pt x="115" y="0"/>
                </a:lnTo>
                <a:lnTo>
                  <a:pt x="24" y="0"/>
                </a:lnTo>
                <a:lnTo>
                  <a:pt x="24" y="0"/>
                </a:lnTo>
                <a:lnTo>
                  <a:pt x="20" y="0"/>
                </a:lnTo>
                <a:lnTo>
                  <a:pt x="16" y="2"/>
                </a:lnTo>
                <a:lnTo>
                  <a:pt x="11" y="4"/>
                </a:lnTo>
                <a:lnTo>
                  <a:pt x="7" y="7"/>
                </a:lnTo>
                <a:lnTo>
                  <a:pt x="4" y="11"/>
                </a:lnTo>
                <a:lnTo>
                  <a:pt x="1" y="15"/>
                </a:lnTo>
                <a:lnTo>
                  <a:pt x="0" y="19"/>
                </a:lnTo>
                <a:lnTo>
                  <a:pt x="0" y="25"/>
                </a:lnTo>
                <a:lnTo>
                  <a:pt x="0" y="224"/>
                </a:lnTo>
                <a:lnTo>
                  <a:pt x="0" y="224"/>
                </a:lnTo>
                <a:lnTo>
                  <a:pt x="0" y="230"/>
                </a:lnTo>
                <a:lnTo>
                  <a:pt x="1" y="234"/>
                </a:lnTo>
                <a:lnTo>
                  <a:pt x="4" y="238"/>
                </a:lnTo>
                <a:lnTo>
                  <a:pt x="7" y="242"/>
                </a:lnTo>
                <a:lnTo>
                  <a:pt x="11" y="245"/>
                </a:lnTo>
                <a:lnTo>
                  <a:pt x="16" y="247"/>
                </a:lnTo>
                <a:lnTo>
                  <a:pt x="20" y="249"/>
                </a:lnTo>
                <a:lnTo>
                  <a:pt x="24" y="249"/>
                </a:lnTo>
                <a:lnTo>
                  <a:pt x="24" y="24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1" name="Freeform 438"/>
          <p:cNvSpPr>
            <a:spLocks/>
          </p:cNvSpPr>
          <p:nvPr/>
        </p:nvSpPr>
        <p:spPr bwMode="auto">
          <a:xfrm>
            <a:off x="2293058" y="3459902"/>
            <a:ext cx="80244" cy="143293"/>
          </a:xfrm>
          <a:custGeom>
            <a:avLst/>
            <a:gdLst>
              <a:gd name="T0" fmla="*/ 25 w 141"/>
              <a:gd name="T1" fmla="*/ 249 h 249"/>
              <a:gd name="T2" fmla="*/ 116 w 141"/>
              <a:gd name="T3" fmla="*/ 249 h 249"/>
              <a:gd name="T4" fmla="*/ 116 w 141"/>
              <a:gd name="T5" fmla="*/ 249 h 249"/>
              <a:gd name="T6" fmla="*/ 121 w 141"/>
              <a:gd name="T7" fmla="*/ 249 h 249"/>
              <a:gd name="T8" fmla="*/ 126 w 141"/>
              <a:gd name="T9" fmla="*/ 247 h 249"/>
              <a:gd name="T10" fmla="*/ 130 w 141"/>
              <a:gd name="T11" fmla="*/ 245 h 249"/>
              <a:gd name="T12" fmla="*/ 133 w 141"/>
              <a:gd name="T13" fmla="*/ 242 h 249"/>
              <a:gd name="T14" fmla="*/ 137 w 141"/>
              <a:gd name="T15" fmla="*/ 238 h 249"/>
              <a:gd name="T16" fmla="*/ 139 w 141"/>
              <a:gd name="T17" fmla="*/ 234 h 249"/>
              <a:gd name="T18" fmla="*/ 140 w 141"/>
              <a:gd name="T19" fmla="*/ 230 h 249"/>
              <a:gd name="T20" fmla="*/ 141 w 141"/>
              <a:gd name="T21" fmla="*/ 224 h 249"/>
              <a:gd name="T22" fmla="*/ 141 w 141"/>
              <a:gd name="T23" fmla="*/ 25 h 249"/>
              <a:gd name="T24" fmla="*/ 141 w 141"/>
              <a:gd name="T25" fmla="*/ 25 h 249"/>
              <a:gd name="T26" fmla="*/ 140 w 141"/>
              <a:gd name="T27" fmla="*/ 19 h 249"/>
              <a:gd name="T28" fmla="*/ 139 w 141"/>
              <a:gd name="T29" fmla="*/ 15 h 249"/>
              <a:gd name="T30" fmla="*/ 137 w 141"/>
              <a:gd name="T31" fmla="*/ 11 h 249"/>
              <a:gd name="T32" fmla="*/ 133 w 141"/>
              <a:gd name="T33" fmla="*/ 7 h 249"/>
              <a:gd name="T34" fmla="*/ 130 w 141"/>
              <a:gd name="T35" fmla="*/ 4 h 249"/>
              <a:gd name="T36" fmla="*/ 126 w 141"/>
              <a:gd name="T37" fmla="*/ 2 h 249"/>
              <a:gd name="T38" fmla="*/ 121 w 141"/>
              <a:gd name="T39" fmla="*/ 0 h 249"/>
              <a:gd name="T40" fmla="*/ 116 w 141"/>
              <a:gd name="T41" fmla="*/ 0 h 249"/>
              <a:gd name="T42" fmla="*/ 25 w 141"/>
              <a:gd name="T43" fmla="*/ 0 h 249"/>
              <a:gd name="T44" fmla="*/ 25 w 141"/>
              <a:gd name="T45" fmla="*/ 0 h 249"/>
              <a:gd name="T46" fmla="*/ 21 w 141"/>
              <a:gd name="T47" fmla="*/ 0 h 249"/>
              <a:gd name="T48" fmla="*/ 15 w 141"/>
              <a:gd name="T49" fmla="*/ 2 h 249"/>
              <a:gd name="T50" fmla="*/ 11 w 141"/>
              <a:gd name="T51" fmla="*/ 4 h 249"/>
              <a:gd name="T52" fmla="*/ 8 w 141"/>
              <a:gd name="T53" fmla="*/ 7 h 249"/>
              <a:gd name="T54" fmla="*/ 4 w 141"/>
              <a:gd name="T55" fmla="*/ 11 h 249"/>
              <a:gd name="T56" fmla="*/ 2 w 141"/>
              <a:gd name="T57" fmla="*/ 15 h 249"/>
              <a:gd name="T58" fmla="*/ 1 w 141"/>
              <a:gd name="T59" fmla="*/ 19 h 249"/>
              <a:gd name="T60" fmla="*/ 0 w 141"/>
              <a:gd name="T61" fmla="*/ 25 h 249"/>
              <a:gd name="T62" fmla="*/ 0 w 141"/>
              <a:gd name="T63" fmla="*/ 224 h 249"/>
              <a:gd name="T64" fmla="*/ 0 w 141"/>
              <a:gd name="T65" fmla="*/ 224 h 249"/>
              <a:gd name="T66" fmla="*/ 1 w 141"/>
              <a:gd name="T67" fmla="*/ 230 h 249"/>
              <a:gd name="T68" fmla="*/ 2 w 141"/>
              <a:gd name="T69" fmla="*/ 234 h 249"/>
              <a:gd name="T70" fmla="*/ 4 w 141"/>
              <a:gd name="T71" fmla="*/ 238 h 249"/>
              <a:gd name="T72" fmla="*/ 8 w 141"/>
              <a:gd name="T73" fmla="*/ 242 h 249"/>
              <a:gd name="T74" fmla="*/ 11 w 141"/>
              <a:gd name="T75" fmla="*/ 245 h 249"/>
              <a:gd name="T76" fmla="*/ 15 w 141"/>
              <a:gd name="T77" fmla="*/ 247 h 249"/>
              <a:gd name="T78" fmla="*/ 21 w 141"/>
              <a:gd name="T79" fmla="*/ 249 h 249"/>
              <a:gd name="T80" fmla="*/ 25 w 141"/>
              <a:gd name="T81" fmla="*/ 249 h 249"/>
              <a:gd name="T82" fmla="*/ 25 w 141"/>
              <a:gd name="T83" fmla="*/ 249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41" h="249">
                <a:moveTo>
                  <a:pt x="25" y="249"/>
                </a:moveTo>
                <a:lnTo>
                  <a:pt x="116" y="249"/>
                </a:lnTo>
                <a:lnTo>
                  <a:pt x="116" y="249"/>
                </a:lnTo>
                <a:lnTo>
                  <a:pt x="121" y="249"/>
                </a:lnTo>
                <a:lnTo>
                  <a:pt x="126" y="247"/>
                </a:lnTo>
                <a:lnTo>
                  <a:pt x="130" y="245"/>
                </a:lnTo>
                <a:lnTo>
                  <a:pt x="133" y="242"/>
                </a:lnTo>
                <a:lnTo>
                  <a:pt x="137" y="238"/>
                </a:lnTo>
                <a:lnTo>
                  <a:pt x="139" y="234"/>
                </a:lnTo>
                <a:lnTo>
                  <a:pt x="140" y="230"/>
                </a:lnTo>
                <a:lnTo>
                  <a:pt x="141" y="224"/>
                </a:lnTo>
                <a:lnTo>
                  <a:pt x="141" y="25"/>
                </a:lnTo>
                <a:lnTo>
                  <a:pt x="141" y="25"/>
                </a:lnTo>
                <a:lnTo>
                  <a:pt x="140" y="19"/>
                </a:lnTo>
                <a:lnTo>
                  <a:pt x="139" y="15"/>
                </a:lnTo>
                <a:lnTo>
                  <a:pt x="137" y="11"/>
                </a:lnTo>
                <a:lnTo>
                  <a:pt x="133" y="7"/>
                </a:lnTo>
                <a:lnTo>
                  <a:pt x="130" y="4"/>
                </a:lnTo>
                <a:lnTo>
                  <a:pt x="126" y="2"/>
                </a:lnTo>
                <a:lnTo>
                  <a:pt x="121" y="0"/>
                </a:lnTo>
                <a:lnTo>
                  <a:pt x="116" y="0"/>
                </a:lnTo>
                <a:lnTo>
                  <a:pt x="25" y="0"/>
                </a:lnTo>
                <a:lnTo>
                  <a:pt x="25" y="0"/>
                </a:lnTo>
                <a:lnTo>
                  <a:pt x="21" y="0"/>
                </a:lnTo>
                <a:lnTo>
                  <a:pt x="15" y="2"/>
                </a:lnTo>
                <a:lnTo>
                  <a:pt x="11" y="4"/>
                </a:lnTo>
                <a:lnTo>
                  <a:pt x="8" y="7"/>
                </a:lnTo>
                <a:lnTo>
                  <a:pt x="4" y="11"/>
                </a:lnTo>
                <a:lnTo>
                  <a:pt x="2" y="15"/>
                </a:lnTo>
                <a:lnTo>
                  <a:pt x="1" y="19"/>
                </a:lnTo>
                <a:lnTo>
                  <a:pt x="0" y="25"/>
                </a:lnTo>
                <a:lnTo>
                  <a:pt x="0" y="224"/>
                </a:lnTo>
                <a:lnTo>
                  <a:pt x="0" y="224"/>
                </a:lnTo>
                <a:lnTo>
                  <a:pt x="1" y="230"/>
                </a:lnTo>
                <a:lnTo>
                  <a:pt x="2" y="234"/>
                </a:lnTo>
                <a:lnTo>
                  <a:pt x="4" y="238"/>
                </a:lnTo>
                <a:lnTo>
                  <a:pt x="8" y="242"/>
                </a:lnTo>
                <a:lnTo>
                  <a:pt x="11" y="245"/>
                </a:lnTo>
                <a:lnTo>
                  <a:pt x="15" y="247"/>
                </a:lnTo>
                <a:lnTo>
                  <a:pt x="21" y="249"/>
                </a:lnTo>
                <a:lnTo>
                  <a:pt x="25" y="249"/>
                </a:lnTo>
                <a:lnTo>
                  <a:pt x="25" y="24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2" name="Freeform 439"/>
          <p:cNvSpPr>
            <a:spLocks noEditPoints="1"/>
          </p:cNvSpPr>
          <p:nvPr/>
        </p:nvSpPr>
        <p:spPr bwMode="auto">
          <a:xfrm>
            <a:off x="1794399" y="3514354"/>
            <a:ext cx="707866" cy="633355"/>
          </a:xfrm>
          <a:custGeom>
            <a:avLst/>
            <a:gdLst>
              <a:gd name="T0" fmla="*/ 1058 w 1235"/>
              <a:gd name="T1" fmla="*/ 129 h 1105"/>
              <a:gd name="T2" fmla="*/ 1057 w 1235"/>
              <a:gd name="T3" fmla="*/ 145 h 1105"/>
              <a:gd name="T4" fmla="*/ 1049 w 1235"/>
              <a:gd name="T5" fmla="*/ 165 h 1105"/>
              <a:gd name="T6" fmla="*/ 1036 w 1235"/>
              <a:gd name="T7" fmla="*/ 182 h 1105"/>
              <a:gd name="T8" fmla="*/ 1019 w 1235"/>
              <a:gd name="T9" fmla="*/ 195 h 1105"/>
              <a:gd name="T10" fmla="*/ 998 w 1235"/>
              <a:gd name="T11" fmla="*/ 203 h 1105"/>
              <a:gd name="T12" fmla="*/ 892 w 1235"/>
              <a:gd name="T13" fmla="*/ 205 h 1105"/>
              <a:gd name="T14" fmla="*/ 877 w 1235"/>
              <a:gd name="T15" fmla="*/ 203 h 1105"/>
              <a:gd name="T16" fmla="*/ 856 w 1235"/>
              <a:gd name="T17" fmla="*/ 195 h 1105"/>
              <a:gd name="T18" fmla="*/ 839 w 1235"/>
              <a:gd name="T19" fmla="*/ 182 h 1105"/>
              <a:gd name="T20" fmla="*/ 826 w 1235"/>
              <a:gd name="T21" fmla="*/ 165 h 1105"/>
              <a:gd name="T22" fmla="*/ 818 w 1235"/>
              <a:gd name="T23" fmla="*/ 145 h 1105"/>
              <a:gd name="T24" fmla="*/ 817 w 1235"/>
              <a:gd name="T25" fmla="*/ 0 h 1105"/>
              <a:gd name="T26" fmla="*/ 418 w 1235"/>
              <a:gd name="T27" fmla="*/ 129 h 1105"/>
              <a:gd name="T28" fmla="*/ 414 w 1235"/>
              <a:gd name="T29" fmla="*/ 152 h 1105"/>
              <a:gd name="T30" fmla="*/ 405 w 1235"/>
              <a:gd name="T31" fmla="*/ 172 h 1105"/>
              <a:gd name="T32" fmla="*/ 390 w 1235"/>
              <a:gd name="T33" fmla="*/ 188 h 1105"/>
              <a:gd name="T34" fmla="*/ 372 w 1235"/>
              <a:gd name="T35" fmla="*/ 199 h 1105"/>
              <a:gd name="T36" fmla="*/ 350 w 1235"/>
              <a:gd name="T37" fmla="*/ 204 h 1105"/>
              <a:gd name="T38" fmla="*/ 251 w 1235"/>
              <a:gd name="T39" fmla="*/ 205 h 1105"/>
              <a:gd name="T40" fmla="*/ 230 w 1235"/>
              <a:gd name="T41" fmla="*/ 201 h 1105"/>
              <a:gd name="T42" fmla="*/ 210 w 1235"/>
              <a:gd name="T43" fmla="*/ 192 h 1105"/>
              <a:gd name="T44" fmla="*/ 194 w 1235"/>
              <a:gd name="T45" fmla="*/ 177 h 1105"/>
              <a:gd name="T46" fmla="*/ 183 w 1235"/>
              <a:gd name="T47" fmla="*/ 159 h 1105"/>
              <a:gd name="T48" fmla="*/ 176 w 1235"/>
              <a:gd name="T49" fmla="*/ 137 h 1105"/>
              <a:gd name="T50" fmla="*/ 144 w 1235"/>
              <a:gd name="T51" fmla="*/ 0 h 1105"/>
              <a:gd name="T52" fmla="*/ 116 w 1235"/>
              <a:gd name="T53" fmla="*/ 4 h 1105"/>
              <a:gd name="T54" fmla="*/ 76 w 1235"/>
              <a:gd name="T55" fmla="*/ 18 h 1105"/>
              <a:gd name="T56" fmla="*/ 42 w 1235"/>
              <a:gd name="T57" fmla="*/ 43 h 1105"/>
              <a:gd name="T58" fmla="*/ 17 w 1235"/>
              <a:gd name="T59" fmla="*/ 76 h 1105"/>
              <a:gd name="T60" fmla="*/ 3 w 1235"/>
              <a:gd name="T61" fmla="*/ 116 h 1105"/>
              <a:gd name="T62" fmla="*/ 0 w 1235"/>
              <a:gd name="T63" fmla="*/ 413 h 1105"/>
              <a:gd name="T64" fmla="*/ 1 w 1235"/>
              <a:gd name="T65" fmla="*/ 975 h 1105"/>
              <a:gd name="T66" fmla="*/ 12 w 1235"/>
              <a:gd name="T67" fmla="*/ 1016 h 1105"/>
              <a:gd name="T68" fmla="*/ 33 w 1235"/>
              <a:gd name="T69" fmla="*/ 1052 h 1105"/>
              <a:gd name="T70" fmla="*/ 64 w 1235"/>
              <a:gd name="T71" fmla="*/ 1080 h 1105"/>
              <a:gd name="T72" fmla="*/ 102 w 1235"/>
              <a:gd name="T73" fmla="*/ 1099 h 1105"/>
              <a:gd name="T74" fmla="*/ 144 w 1235"/>
              <a:gd name="T75" fmla="*/ 1105 h 1105"/>
              <a:gd name="T76" fmla="*/ 1104 w 1235"/>
              <a:gd name="T77" fmla="*/ 1104 h 1105"/>
              <a:gd name="T78" fmla="*/ 1147 w 1235"/>
              <a:gd name="T79" fmla="*/ 1093 h 1105"/>
              <a:gd name="T80" fmla="*/ 1183 w 1235"/>
              <a:gd name="T81" fmla="*/ 1072 h 1105"/>
              <a:gd name="T82" fmla="*/ 1210 w 1235"/>
              <a:gd name="T83" fmla="*/ 1041 h 1105"/>
              <a:gd name="T84" fmla="*/ 1228 w 1235"/>
              <a:gd name="T85" fmla="*/ 1003 h 1105"/>
              <a:gd name="T86" fmla="*/ 1235 w 1235"/>
              <a:gd name="T87" fmla="*/ 960 h 1105"/>
              <a:gd name="T88" fmla="*/ 1235 w 1235"/>
              <a:gd name="T89" fmla="*/ 146 h 1105"/>
              <a:gd name="T90" fmla="*/ 1228 w 1235"/>
              <a:gd name="T91" fmla="*/ 102 h 1105"/>
              <a:gd name="T92" fmla="*/ 1210 w 1235"/>
              <a:gd name="T93" fmla="*/ 64 h 1105"/>
              <a:gd name="T94" fmla="*/ 1183 w 1235"/>
              <a:gd name="T95" fmla="*/ 34 h 1105"/>
              <a:gd name="T96" fmla="*/ 1147 w 1235"/>
              <a:gd name="T97" fmla="*/ 12 h 1105"/>
              <a:gd name="T98" fmla="*/ 1104 w 1235"/>
              <a:gd name="T99" fmla="*/ 1 h 1105"/>
              <a:gd name="T100" fmla="*/ 1144 w 1235"/>
              <a:gd name="T101" fmla="*/ 960 h 1105"/>
              <a:gd name="T102" fmla="*/ 1139 w 1235"/>
              <a:gd name="T103" fmla="*/ 980 h 1105"/>
              <a:gd name="T104" fmla="*/ 1120 w 1235"/>
              <a:gd name="T105" fmla="*/ 1004 h 1105"/>
              <a:gd name="T106" fmla="*/ 1090 w 1235"/>
              <a:gd name="T107" fmla="*/ 1013 h 1105"/>
              <a:gd name="T108" fmla="*/ 134 w 1235"/>
              <a:gd name="T109" fmla="*/ 1012 h 1105"/>
              <a:gd name="T110" fmla="*/ 107 w 1235"/>
              <a:gd name="T111" fmla="*/ 998 h 1105"/>
              <a:gd name="T112" fmla="*/ 92 w 1235"/>
              <a:gd name="T113" fmla="*/ 971 h 1105"/>
              <a:gd name="T114" fmla="*/ 1144 w 1235"/>
              <a:gd name="T115" fmla="*/ 413 h 1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235" h="1105">
                <a:moveTo>
                  <a:pt x="1090" y="0"/>
                </a:moveTo>
                <a:lnTo>
                  <a:pt x="1058" y="0"/>
                </a:lnTo>
                <a:lnTo>
                  <a:pt x="1058" y="129"/>
                </a:lnTo>
                <a:lnTo>
                  <a:pt x="1058" y="129"/>
                </a:lnTo>
                <a:lnTo>
                  <a:pt x="1058" y="137"/>
                </a:lnTo>
                <a:lnTo>
                  <a:pt x="1057" y="145"/>
                </a:lnTo>
                <a:lnTo>
                  <a:pt x="1055" y="152"/>
                </a:lnTo>
                <a:lnTo>
                  <a:pt x="1052" y="159"/>
                </a:lnTo>
                <a:lnTo>
                  <a:pt x="1049" y="165"/>
                </a:lnTo>
                <a:lnTo>
                  <a:pt x="1045" y="172"/>
                </a:lnTo>
                <a:lnTo>
                  <a:pt x="1041" y="177"/>
                </a:lnTo>
                <a:lnTo>
                  <a:pt x="1036" y="182"/>
                </a:lnTo>
                <a:lnTo>
                  <a:pt x="1031" y="188"/>
                </a:lnTo>
                <a:lnTo>
                  <a:pt x="1025" y="192"/>
                </a:lnTo>
                <a:lnTo>
                  <a:pt x="1019" y="195"/>
                </a:lnTo>
                <a:lnTo>
                  <a:pt x="1012" y="199"/>
                </a:lnTo>
                <a:lnTo>
                  <a:pt x="1006" y="201"/>
                </a:lnTo>
                <a:lnTo>
                  <a:pt x="998" y="203"/>
                </a:lnTo>
                <a:lnTo>
                  <a:pt x="991" y="204"/>
                </a:lnTo>
                <a:lnTo>
                  <a:pt x="983" y="205"/>
                </a:lnTo>
                <a:lnTo>
                  <a:pt x="892" y="205"/>
                </a:lnTo>
                <a:lnTo>
                  <a:pt x="892" y="205"/>
                </a:lnTo>
                <a:lnTo>
                  <a:pt x="884" y="204"/>
                </a:lnTo>
                <a:lnTo>
                  <a:pt x="877" y="203"/>
                </a:lnTo>
                <a:lnTo>
                  <a:pt x="870" y="201"/>
                </a:lnTo>
                <a:lnTo>
                  <a:pt x="863" y="199"/>
                </a:lnTo>
                <a:lnTo>
                  <a:pt x="856" y="195"/>
                </a:lnTo>
                <a:lnTo>
                  <a:pt x="850" y="192"/>
                </a:lnTo>
                <a:lnTo>
                  <a:pt x="844" y="188"/>
                </a:lnTo>
                <a:lnTo>
                  <a:pt x="839" y="182"/>
                </a:lnTo>
                <a:lnTo>
                  <a:pt x="835" y="177"/>
                </a:lnTo>
                <a:lnTo>
                  <a:pt x="830" y="172"/>
                </a:lnTo>
                <a:lnTo>
                  <a:pt x="826" y="165"/>
                </a:lnTo>
                <a:lnTo>
                  <a:pt x="823" y="159"/>
                </a:lnTo>
                <a:lnTo>
                  <a:pt x="820" y="152"/>
                </a:lnTo>
                <a:lnTo>
                  <a:pt x="818" y="145"/>
                </a:lnTo>
                <a:lnTo>
                  <a:pt x="817" y="137"/>
                </a:lnTo>
                <a:lnTo>
                  <a:pt x="817" y="129"/>
                </a:lnTo>
                <a:lnTo>
                  <a:pt x="817" y="0"/>
                </a:lnTo>
                <a:lnTo>
                  <a:pt x="418" y="0"/>
                </a:lnTo>
                <a:lnTo>
                  <a:pt x="418" y="129"/>
                </a:lnTo>
                <a:lnTo>
                  <a:pt x="418" y="129"/>
                </a:lnTo>
                <a:lnTo>
                  <a:pt x="417" y="137"/>
                </a:lnTo>
                <a:lnTo>
                  <a:pt x="416" y="145"/>
                </a:lnTo>
                <a:lnTo>
                  <a:pt x="414" y="152"/>
                </a:lnTo>
                <a:lnTo>
                  <a:pt x="412" y="159"/>
                </a:lnTo>
                <a:lnTo>
                  <a:pt x="408" y="165"/>
                </a:lnTo>
                <a:lnTo>
                  <a:pt x="405" y="172"/>
                </a:lnTo>
                <a:lnTo>
                  <a:pt x="401" y="177"/>
                </a:lnTo>
                <a:lnTo>
                  <a:pt x="395" y="182"/>
                </a:lnTo>
                <a:lnTo>
                  <a:pt x="390" y="188"/>
                </a:lnTo>
                <a:lnTo>
                  <a:pt x="385" y="192"/>
                </a:lnTo>
                <a:lnTo>
                  <a:pt x="378" y="195"/>
                </a:lnTo>
                <a:lnTo>
                  <a:pt x="372" y="199"/>
                </a:lnTo>
                <a:lnTo>
                  <a:pt x="365" y="201"/>
                </a:lnTo>
                <a:lnTo>
                  <a:pt x="357" y="203"/>
                </a:lnTo>
                <a:lnTo>
                  <a:pt x="350" y="204"/>
                </a:lnTo>
                <a:lnTo>
                  <a:pt x="342" y="205"/>
                </a:lnTo>
                <a:lnTo>
                  <a:pt x="251" y="205"/>
                </a:lnTo>
                <a:lnTo>
                  <a:pt x="251" y="205"/>
                </a:lnTo>
                <a:lnTo>
                  <a:pt x="244" y="204"/>
                </a:lnTo>
                <a:lnTo>
                  <a:pt x="236" y="203"/>
                </a:lnTo>
                <a:lnTo>
                  <a:pt x="230" y="201"/>
                </a:lnTo>
                <a:lnTo>
                  <a:pt x="222" y="199"/>
                </a:lnTo>
                <a:lnTo>
                  <a:pt x="215" y="195"/>
                </a:lnTo>
                <a:lnTo>
                  <a:pt x="210" y="192"/>
                </a:lnTo>
                <a:lnTo>
                  <a:pt x="203" y="188"/>
                </a:lnTo>
                <a:lnTo>
                  <a:pt x="198" y="182"/>
                </a:lnTo>
                <a:lnTo>
                  <a:pt x="194" y="177"/>
                </a:lnTo>
                <a:lnTo>
                  <a:pt x="189" y="172"/>
                </a:lnTo>
                <a:lnTo>
                  <a:pt x="185" y="165"/>
                </a:lnTo>
                <a:lnTo>
                  <a:pt x="183" y="159"/>
                </a:lnTo>
                <a:lnTo>
                  <a:pt x="180" y="152"/>
                </a:lnTo>
                <a:lnTo>
                  <a:pt x="177" y="145"/>
                </a:lnTo>
                <a:lnTo>
                  <a:pt x="176" y="137"/>
                </a:lnTo>
                <a:lnTo>
                  <a:pt x="176" y="129"/>
                </a:lnTo>
                <a:lnTo>
                  <a:pt x="176" y="0"/>
                </a:lnTo>
                <a:lnTo>
                  <a:pt x="144" y="0"/>
                </a:lnTo>
                <a:lnTo>
                  <a:pt x="144" y="0"/>
                </a:lnTo>
                <a:lnTo>
                  <a:pt x="130" y="1"/>
                </a:lnTo>
                <a:lnTo>
                  <a:pt x="116" y="4"/>
                </a:lnTo>
                <a:lnTo>
                  <a:pt x="102" y="7"/>
                </a:lnTo>
                <a:lnTo>
                  <a:pt x="89" y="12"/>
                </a:lnTo>
                <a:lnTo>
                  <a:pt x="76" y="18"/>
                </a:lnTo>
                <a:lnTo>
                  <a:pt x="64" y="25"/>
                </a:lnTo>
                <a:lnTo>
                  <a:pt x="53" y="34"/>
                </a:lnTo>
                <a:lnTo>
                  <a:pt x="42" y="43"/>
                </a:lnTo>
                <a:lnTo>
                  <a:pt x="33" y="53"/>
                </a:lnTo>
                <a:lnTo>
                  <a:pt x="25" y="64"/>
                </a:lnTo>
                <a:lnTo>
                  <a:pt x="17" y="76"/>
                </a:lnTo>
                <a:lnTo>
                  <a:pt x="12" y="89"/>
                </a:lnTo>
                <a:lnTo>
                  <a:pt x="6" y="102"/>
                </a:lnTo>
                <a:lnTo>
                  <a:pt x="3" y="116"/>
                </a:lnTo>
                <a:lnTo>
                  <a:pt x="1" y="130"/>
                </a:lnTo>
                <a:lnTo>
                  <a:pt x="0" y="146"/>
                </a:lnTo>
                <a:lnTo>
                  <a:pt x="0" y="413"/>
                </a:lnTo>
                <a:lnTo>
                  <a:pt x="0" y="960"/>
                </a:lnTo>
                <a:lnTo>
                  <a:pt x="0" y="960"/>
                </a:lnTo>
                <a:lnTo>
                  <a:pt x="1" y="975"/>
                </a:lnTo>
                <a:lnTo>
                  <a:pt x="3" y="989"/>
                </a:lnTo>
                <a:lnTo>
                  <a:pt x="6" y="1003"/>
                </a:lnTo>
                <a:lnTo>
                  <a:pt x="12" y="1016"/>
                </a:lnTo>
                <a:lnTo>
                  <a:pt x="17" y="1029"/>
                </a:lnTo>
                <a:lnTo>
                  <a:pt x="25" y="1041"/>
                </a:lnTo>
                <a:lnTo>
                  <a:pt x="33" y="1052"/>
                </a:lnTo>
                <a:lnTo>
                  <a:pt x="42" y="1063"/>
                </a:lnTo>
                <a:lnTo>
                  <a:pt x="53" y="1072"/>
                </a:lnTo>
                <a:lnTo>
                  <a:pt x="64" y="1080"/>
                </a:lnTo>
                <a:lnTo>
                  <a:pt x="76" y="1088"/>
                </a:lnTo>
                <a:lnTo>
                  <a:pt x="89" y="1093"/>
                </a:lnTo>
                <a:lnTo>
                  <a:pt x="102" y="1099"/>
                </a:lnTo>
                <a:lnTo>
                  <a:pt x="116" y="1102"/>
                </a:lnTo>
                <a:lnTo>
                  <a:pt x="130" y="1104"/>
                </a:lnTo>
                <a:lnTo>
                  <a:pt x="144" y="1105"/>
                </a:lnTo>
                <a:lnTo>
                  <a:pt x="1090" y="1105"/>
                </a:lnTo>
                <a:lnTo>
                  <a:pt x="1090" y="1105"/>
                </a:lnTo>
                <a:lnTo>
                  <a:pt x="1104" y="1104"/>
                </a:lnTo>
                <a:lnTo>
                  <a:pt x="1120" y="1102"/>
                </a:lnTo>
                <a:lnTo>
                  <a:pt x="1134" y="1099"/>
                </a:lnTo>
                <a:lnTo>
                  <a:pt x="1147" y="1093"/>
                </a:lnTo>
                <a:lnTo>
                  <a:pt x="1159" y="1088"/>
                </a:lnTo>
                <a:lnTo>
                  <a:pt x="1171" y="1080"/>
                </a:lnTo>
                <a:lnTo>
                  <a:pt x="1183" y="1072"/>
                </a:lnTo>
                <a:lnTo>
                  <a:pt x="1192" y="1063"/>
                </a:lnTo>
                <a:lnTo>
                  <a:pt x="1202" y="1052"/>
                </a:lnTo>
                <a:lnTo>
                  <a:pt x="1210" y="1041"/>
                </a:lnTo>
                <a:lnTo>
                  <a:pt x="1217" y="1029"/>
                </a:lnTo>
                <a:lnTo>
                  <a:pt x="1224" y="1016"/>
                </a:lnTo>
                <a:lnTo>
                  <a:pt x="1228" y="1003"/>
                </a:lnTo>
                <a:lnTo>
                  <a:pt x="1232" y="989"/>
                </a:lnTo>
                <a:lnTo>
                  <a:pt x="1235" y="975"/>
                </a:lnTo>
                <a:lnTo>
                  <a:pt x="1235" y="960"/>
                </a:lnTo>
                <a:lnTo>
                  <a:pt x="1235" y="413"/>
                </a:lnTo>
                <a:lnTo>
                  <a:pt x="1235" y="146"/>
                </a:lnTo>
                <a:lnTo>
                  <a:pt x="1235" y="146"/>
                </a:lnTo>
                <a:lnTo>
                  <a:pt x="1235" y="130"/>
                </a:lnTo>
                <a:lnTo>
                  <a:pt x="1232" y="116"/>
                </a:lnTo>
                <a:lnTo>
                  <a:pt x="1228" y="102"/>
                </a:lnTo>
                <a:lnTo>
                  <a:pt x="1224" y="89"/>
                </a:lnTo>
                <a:lnTo>
                  <a:pt x="1217" y="76"/>
                </a:lnTo>
                <a:lnTo>
                  <a:pt x="1210" y="64"/>
                </a:lnTo>
                <a:lnTo>
                  <a:pt x="1202" y="53"/>
                </a:lnTo>
                <a:lnTo>
                  <a:pt x="1192" y="43"/>
                </a:lnTo>
                <a:lnTo>
                  <a:pt x="1183" y="34"/>
                </a:lnTo>
                <a:lnTo>
                  <a:pt x="1171" y="25"/>
                </a:lnTo>
                <a:lnTo>
                  <a:pt x="1159" y="18"/>
                </a:lnTo>
                <a:lnTo>
                  <a:pt x="1147" y="12"/>
                </a:lnTo>
                <a:lnTo>
                  <a:pt x="1134" y="7"/>
                </a:lnTo>
                <a:lnTo>
                  <a:pt x="1120" y="4"/>
                </a:lnTo>
                <a:lnTo>
                  <a:pt x="1104" y="1"/>
                </a:lnTo>
                <a:lnTo>
                  <a:pt x="1090" y="0"/>
                </a:lnTo>
                <a:lnTo>
                  <a:pt x="1090" y="0"/>
                </a:lnTo>
                <a:close/>
                <a:moveTo>
                  <a:pt x="1144" y="960"/>
                </a:moveTo>
                <a:lnTo>
                  <a:pt x="1144" y="960"/>
                </a:lnTo>
                <a:lnTo>
                  <a:pt x="1142" y="971"/>
                </a:lnTo>
                <a:lnTo>
                  <a:pt x="1139" y="980"/>
                </a:lnTo>
                <a:lnTo>
                  <a:pt x="1134" y="990"/>
                </a:lnTo>
                <a:lnTo>
                  <a:pt x="1128" y="998"/>
                </a:lnTo>
                <a:lnTo>
                  <a:pt x="1120" y="1004"/>
                </a:lnTo>
                <a:lnTo>
                  <a:pt x="1111" y="1010"/>
                </a:lnTo>
                <a:lnTo>
                  <a:pt x="1101" y="1012"/>
                </a:lnTo>
                <a:lnTo>
                  <a:pt x="1090" y="1013"/>
                </a:lnTo>
                <a:lnTo>
                  <a:pt x="144" y="1013"/>
                </a:lnTo>
                <a:lnTo>
                  <a:pt x="144" y="1013"/>
                </a:lnTo>
                <a:lnTo>
                  <a:pt x="134" y="1012"/>
                </a:lnTo>
                <a:lnTo>
                  <a:pt x="123" y="1010"/>
                </a:lnTo>
                <a:lnTo>
                  <a:pt x="115" y="1004"/>
                </a:lnTo>
                <a:lnTo>
                  <a:pt x="107" y="998"/>
                </a:lnTo>
                <a:lnTo>
                  <a:pt x="100" y="990"/>
                </a:lnTo>
                <a:lnTo>
                  <a:pt x="95" y="980"/>
                </a:lnTo>
                <a:lnTo>
                  <a:pt x="92" y="971"/>
                </a:lnTo>
                <a:lnTo>
                  <a:pt x="91" y="960"/>
                </a:lnTo>
                <a:lnTo>
                  <a:pt x="91" y="413"/>
                </a:lnTo>
                <a:lnTo>
                  <a:pt x="1144" y="413"/>
                </a:lnTo>
                <a:lnTo>
                  <a:pt x="1144" y="96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9" name="Group 7"/>
          <p:cNvGrpSpPr>
            <a:grpSpLocks noChangeAspect="1"/>
          </p:cNvGrpSpPr>
          <p:nvPr/>
        </p:nvGrpSpPr>
        <p:grpSpPr bwMode="auto">
          <a:xfrm>
            <a:off x="6091614" y="3407641"/>
            <a:ext cx="792569" cy="796285"/>
            <a:chOff x="4220" y="538"/>
            <a:chExt cx="2346" cy="2357"/>
          </a:xfrm>
          <a:solidFill>
            <a:schemeClr val="bg1"/>
          </a:solidFill>
        </p:grpSpPr>
        <p:sp>
          <p:nvSpPr>
            <p:cNvPr id="23" name="Freeform 9"/>
            <p:cNvSpPr>
              <a:spLocks/>
            </p:cNvSpPr>
            <p:nvPr/>
          </p:nvSpPr>
          <p:spPr bwMode="auto">
            <a:xfrm>
              <a:off x="4220" y="776"/>
              <a:ext cx="2118" cy="2119"/>
            </a:xfrm>
            <a:custGeom>
              <a:avLst/>
              <a:gdLst>
                <a:gd name="T0" fmla="*/ 2377 w 4237"/>
                <a:gd name="T1" fmla="*/ 15 h 4238"/>
                <a:gd name="T2" fmla="*/ 2748 w 4237"/>
                <a:gd name="T3" fmla="*/ 95 h 4238"/>
                <a:gd name="T4" fmla="*/ 3092 w 4237"/>
                <a:gd name="T5" fmla="*/ 236 h 4238"/>
                <a:gd name="T6" fmla="*/ 3115 w 4237"/>
                <a:gd name="T7" fmla="*/ 619 h 4238"/>
                <a:gd name="T8" fmla="*/ 2753 w 4237"/>
                <a:gd name="T9" fmla="*/ 695 h 4238"/>
                <a:gd name="T10" fmla="*/ 2448 w 4237"/>
                <a:gd name="T11" fmla="*/ 596 h 4238"/>
                <a:gd name="T12" fmla="*/ 2118 w 4237"/>
                <a:gd name="T13" fmla="*/ 561 h 4238"/>
                <a:gd name="T14" fmla="*/ 1778 w 4237"/>
                <a:gd name="T15" fmla="*/ 598 h 4238"/>
                <a:gd name="T16" fmla="*/ 1461 w 4237"/>
                <a:gd name="T17" fmla="*/ 705 h 4238"/>
                <a:gd name="T18" fmla="*/ 1181 w 4237"/>
                <a:gd name="T19" fmla="*/ 874 h 4238"/>
                <a:gd name="T20" fmla="*/ 943 w 4237"/>
                <a:gd name="T21" fmla="*/ 1096 h 4238"/>
                <a:gd name="T22" fmla="*/ 756 w 4237"/>
                <a:gd name="T23" fmla="*/ 1364 h 4238"/>
                <a:gd name="T24" fmla="*/ 627 w 4237"/>
                <a:gd name="T25" fmla="*/ 1669 h 4238"/>
                <a:gd name="T26" fmla="*/ 565 w 4237"/>
                <a:gd name="T27" fmla="*/ 2002 h 4238"/>
                <a:gd name="T28" fmla="*/ 578 w 4237"/>
                <a:gd name="T29" fmla="*/ 2349 h 4238"/>
                <a:gd name="T30" fmla="*/ 663 w 4237"/>
                <a:gd name="T31" fmla="*/ 2674 h 4238"/>
                <a:gd name="T32" fmla="*/ 812 w 4237"/>
                <a:gd name="T33" fmla="*/ 2967 h 4238"/>
                <a:gd name="T34" fmla="*/ 1018 w 4237"/>
                <a:gd name="T35" fmla="*/ 3220 h 4238"/>
                <a:gd name="T36" fmla="*/ 1271 w 4237"/>
                <a:gd name="T37" fmla="*/ 3425 h 4238"/>
                <a:gd name="T38" fmla="*/ 1564 w 4237"/>
                <a:gd name="T39" fmla="*/ 3574 h 4238"/>
                <a:gd name="T40" fmla="*/ 1889 w 4237"/>
                <a:gd name="T41" fmla="*/ 3660 h 4238"/>
                <a:gd name="T42" fmla="*/ 2236 w 4237"/>
                <a:gd name="T43" fmla="*/ 3673 h 4238"/>
                <a:gd name="T44" fmla="*/ 2569 w 4237"/>
                <a:gd name="T45" fmla="*/ 3610 h 4238"/>
                <a:gd name="T46" fmla="*/ 2874 w 4237"/>
                <a:gd name="T47" fmla="*/ 3482 h 4238"/>
                <a:gd name="T48" fmla="*/ 3140 w 4237"/>
                <a:gd name="T49" fmla="*/ 3295 h 4238"/>
                <a:gd name="T50" fmla="*/ 3364 w 4237"/>
                <a:gd name="T51" fmla="*/ 3056 h 4238"/>
                <a:gd name="T52" fmla="*/ 3531 w 4237"/>
                <a:gd name="T53" fmla="*/ 2775 h 4238"/>
                <a:gd name="T54" fmla="*/ 3639 w 4237"/>
                <a:gd name="T55" fmla="*/ 2460 h 4238"/>
                <a:gd name="T56" fmla="*/ 3677 w 4237"/>
                <a:gd name="T57" fmla="*/ 2118 h 4238"/>
                <a:gd name="T58" fmla="*/ 3641 w 4237"/>
                <a:gd name="T59" fmla="*/ 1790 h 4238"/>
                <a:gd name="T60" fmla="*/ 3543 w 4237"/>
                <a:gd name="T61" fmla="*/ 1485 h 4238"/>
                <a:gd name="T62" fmla="*/ 3637 w 4237"/>
                <a:gd name="T63" fmla="*/ 1105 h 4238"/>
                <a:gd name="T64" fmla="*/ 3963 w 4237"/>
                <a:gd name="T65" fmla="*/ 1126 h 4238"/>
                <a:gd name="T66" fmla="*/ 4095 w 4237"/>
                <a:gd name="T67" fmla="*/ 1354 h 4238"/>
                <a:gd name="T68" fmla="*/ 4201 w 4237"/>
                <a:gd name="T69" fmla="*/ 1723 h 4238"/>
                <a:gd name="T70" fmla="*/ 4237 w 4237"/>
                <a:gd name="T71" fmla="*/ 2118 h 4238"/>
                <a:gd name="T72" fmla="*/ 4198 w 4237"/>
                <a:gd name="T73" fmla="*/ 2529 h 4238"/>
                <a:gd name="T74" fmla="*/ 4084 w 4237"/>
                <a:gd name="T75" fmla="*/ 2913 h 4238"/>
                <a:gd name="T76" fmla="*/ 3902 w 4237"/>
                <a:gd name="T77" fmla="*/ 3262 h 4238"/>
                <a:gd name="T78" fmla="*/ 3663 w 4237"/>
                <a:gd name="T79" fmla="*/ 3570 h 4238"/>
                <a:gd name="T80" fmla="*/ 3369 w 4237"/>
                <a:gd name="T81" fmla="*/ 3829 h 4238"/>
                <a:gd name="T82" fmla="*/ 3033 w 4237"/>
                <a:gd name="T83" fmla="*/ 4031 h 4238"/>
                <a:gd name="T84" fmla="*/ 2661 w 4237"/>
                <a:gd name="T85" fmla="*/ 4168 h 4238"/>
                <a:gd name="T86" fmla="*/ 2257 w 4237"/>
                <a:gd name="T87" fmla="*/ 4234 h 4238"/>
                <a:gd name="T88" fmla="*/ 1842 w 4237"/>
                <a:gd name="T89" fmla="*/ 4220 h 4238"/>
                <a:gd name="T90" fmla="*/ 1449 w 4237"/>
                <a:gd name="T91" fmla="*/ 4129 h 4238"/>
                <a:gd name="T92" fmla="*/ 1086 w 4237"/>
                <a:gd name="T93" fmla="*/ 3971 h 4238"/>
                <a:gd name="T94" fmla="*/ 764 w 4237"/>
                <a:gd name="T95" fmla="*/ 3749 h 4238"/>
                <a:gd name="T96" fmla="*/ 488 w 4237"/>
                <a:gd name="T97" fmla="*/ 3472 h 4238"/>
                <a:gd name="T98" fmla="*/ 268 w 4237"/>
                <a:gd name="T99" fmla="*/ 3150 h 4238"/>
                <a:gd name="T100" fmla="*/ 107 w 4237"/>
                <a:gd name="T101" fmla="*/ 2788 h 4238"/>
                <a:gd name="T102" fmla="*/ 17 w 4237"/>
                <a:gd name="T103" fmla="*/ 2394 h 4238"/>
                <a:gd name="T104" fmla="*/ 0 w 4237"/>
                <a:gd name="T105" fmla="*/ 2118 h 4238"/>
                <a:gd name="T106" fmla="*/ 40 w 4237"/>
                <a:gd name="T107" fmla="*/ 1709 h 4238"/>
                <a:gd name="T108" fmla="*/ 153 w 4237"/>
                <a:gd name="T109" fmla="*/ 1324 h 4238"/>
                <a:gd name="T110" fmla="*/ 335 w 4237"/>
                <a:gd name="T111" fmla="*/ 974 h 4238"/>
                <a:gd name="T112" fmla="*/ 575 w 4237"/>
                <a:gd name="T113" fmla="*/ 667 h 4238"/>
                <a:gd name="T114" fmla="*/ 867 w 4237"/>
                <a:gd name="T115" fmla="*/ 409 h 4238"/>
                <a:gd name="T116" fmla="*/ 1204 w 4237"/>
                <a:gd name="T117" fmla="*/ 207 h 4238"/>
                <a:gd name="T118" fmla="*/ 1576 w 4237"/>
                <a:gd name="T119" fmla="*/ 70 h 4238"/>
                <a:gd name="T120" fmla="*/ 1978 w 4237"/>
                <a:gd name="T121" fmla="*/ 4 h 4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37" h="4238">
                  <a:moveTo>
                    <a:pt x="2118" y="0"/>
                  </a:moveTo>
                  <a:lnTo>
                    <a:pt x="2249" y="4"/>
                  </a:lnTo>
                  <a:lnTo>
                    <a:pt x="2377" y="15"/>
                  </a:lnTo>
                  <a:lnTo>
                    <a:pt x="2503" y="34"/>
                  </a:lnTo>
                  <a:lnTo>
                    <a:pt x="2627" y="61"/>
                  </a:lnTo>
                  <a:lnTo>
                    <a:pt x="2748" y="95"/>
                  </a:lnTo>
                  <a:lnTo>
                    <a:pt x="2866" y="136"/>
                  </a:lnTo>
                  <a:lnTo>
                    <a:pt x="2980" y="183"/>
                  </a:lnTo>
                  <a:lnTo>
                    <a:pt x="3092" y="236"/>
                  </a:lnTo>
                  <a:lnTo>
                    <a:pt x="3089" y="273"/>
                  </a:lnTo>
                  <a:lnTo>
                    <a:pt x="3090" y="310"/>
                  </a:lnTo>
                  <a:lnTo>
                    <a:pt x="3115" y="619"/>
                  </a:lnTo>
                  <a:lnTo>
                    <a:pt x="2939" y="794"/>
                  </a:lnTo>
                  <a:lnTo>
                    <a:pt x="2847" y="743"/>
                  </a:lnTo>
                  <a:lnTo>
                    <a:pt x="2753" y="695"/>
                  </a:lnTo>
                  <a:lnTo>
                    <a:pt x="2654" y="655"/>
                  </a:lnTo>
                  <a:lnTo>
                    <a:pt x="2552" y="622"/>
                  </a:lnTo>
                  <a:lnTo>
                    <a:pt x="2448" y="596"/>
                  </a:lnTo>
                  <a:lnTo>
                    <a:pt x="2340" y="576"/>
                  </a:lnTo>
                  <a:lnTo>
                    <a:pt x="2230" y="565"/>
                  </a:lnTo>
                  <a:lnTo>
                    <a:pt x="2118" y="561"/>
                  </a:lnTo>
                  <a:lnTo>
                    <a:pt x="2002" y="565"/>
                  </a:lnTo>
                  <a:lnTo>
                    <a:pt x="1888" y="578"/>
                  </a:lnTo>
                  <a:lnTo>
                    <a:pt x="1778" y="598"/>
                  </a:lnTo>
                  <a:lnTo>
                    <a:pt x="1669" y="627"/>
                  </a:lnTo>
                  <a:lnTo>
                    <a:pt x="1563" y="662"/>
                  </a:lnTo>
                  <a:lnTo>
                    <a:pt x="1461" y="705"/>
                  </a:lnTo>
                  <a:lnTo>
                    <a:pt x="1364" y="755"/>
                  </a:lnTo>
                  <a:lnTo>
                    <a:pt x="1271" y="813"/>
                  </a:lnTo>
                  <a:lnTo>
                    <a:pt x="1181" y="874"/>
                  </a:lnTo>
                  <a:lnTo>
                    <a:pt x="1096" y="943"/>
                  </a:lnTo>
                  <a:lnTo>
                    <a:pt x="1018" y="1017"/>
                  </a:lnTo>
                  <a:lnTo>
                    <a:pt x="943" y="1096"/>
                  </a:lnTo>
                  <a:lnTo>
                    <a:pt x="875" y="1182"/>
                  </a:lnTo>
                  <a:lnTo>
                    <a:pt x="812" y="1271"/>
                  </a:lnTo>
                  <a:lnTo>
                    <a:pt x="756" y="1364"/>
                  </a:lnTo>
                  <a:lnTo>
                    <a:pt x="706" y="1463"/>
                  </a:lnTo>
                  <a:lnTo>
                    <a:pt x="663" y="1564"/>
                  </a:lnTo>
                  <a:lnTo>
                    <a:pt x="627" y="1669"/>
                  </a:lnTo>
                  <a:lnTo>
                    <a:pt x="598" y="1777"/>
                  </a:lnTo>
                  <a:lnTo>
                    <a:pt x="578" y="1889"/>
                  </a:lnTo>
                  <a:lnTo>
                    <a:pt x="565" y="2002"/>
                  </a:lnTo>
                  <a:lnTo>
                    <a:pt x="561" y="2118"/>
                  </a:lnTo>
                  <a:lnTo>
                    <a:pt x="565" y="2236"/>
                  </a:lnTo>
                  <a:lnTo>
                    <a:pt x="578" y="2349"/>
                  </a:lnTo>
                  <a:lnTo>
                    <a:pt x="598" y="2460"/>
                  </a:lnTo>
                  <a:lnTo>
                    <a:pt x="627" y="2569"/>
                  </a:lnTo>
                  <a:lnTo>
                    <a:pt x="663" y="2674"/>
                  </a:lnTo>
                  <a:lnTo>
                    <a:pt x="706" y="2775"/>
                  </a:lnTo>
                  <a:lnTo>
                    <a:pt x="756" y="2873"/>
                  </a:lnTo>
                  <a:lnTo>
                    <a:pt x="812" y="2967"/>
                  </a:lnTo>
                  <a:lnTo>
                    <a:pt x="875" y="3056"/>
                  </a:lnTo>
                  <a:lnTo>
                    <a:pt x="943" y="3140"/>
                  </a:lnTo>
                  <a:lnTo>
                    <a:pt x="1018" y="3220"/>
                  </a:lnTo>
                  <a:lnTo>
                    <a:pt x="1096" y="3295"/>
                  </a:lnTo>
                  <a:lnTo>
                    <a:pt x="1182" y="3362"/>
                  </a:lnTo>
                  <a:lnTo>
                    <a:pt x="1271" y="3425"/>
                  </a:lnTo>
                  <a:lnTo>
                    <a:pt x="1364" y="3482"/>
                  </a:lnTo>
                  <a:lnTo>
                    <a:pt x="1463" y="3531"/>
                  </a:lnTo>
                  <a:lnTo>
                    <a:pt x="1564" y="3574"/>
                  </a:lnTo>
                  <a:lnTo>
                    <a:pt x="1669" y="3610"/>
                  </a:lnTo>
                  <a:lnTo>
                    <a:pt x="1778" y="3638"/>
                  </a:lnTo>
                  <a:lnTo>
                    <a:pt x="1889" y="3660"/>
                  </a:lnTo>
                  <a:lnTo>
                    <a:pt x="2002" y="3673"/>
                  </a:lnTo>
                  <a:lnTo>
                    <a:pt x="2118" y="3676"/>
                  </a:lnTo>
                  <a:lnTo>
                    <a:pt x="2236" y="3673"/>
                  </a:lnTo>
                  <a:lnTo>
                    <a:pt x="2349" y="3660"/>
                  </a:lnTo>
                  <a:lnTo>
                    <a:pt x="2461" y="3638"/>
                  </a:lnTo>
                  <a:lnTo>
                    <a:pt x="2569" y="3610"/>
                  </a:lnTo>
                  <a:lnTo>
                    <a:pt x="2674" y="3574"/>
                  </a:lnTo>
                  <a:lnTo>
                    <a:pt x="2775" y="3531"/>
                  </a:lnTo>
                  <a:lnTo>
                    <a:pt x="2874" y="3482"/>
                  </a:lnTo>
                  <a:lnTo>
                    <a:pt x="2967" y="3425"/>
                  </a:lnTo>
                  <a:lnTo>
                    <a:pt x="3056" y="3362"/>
                  </a:lnTo>
                  <a:lnTo>
                    <a:pt x="3140" y="3295"/>
                  </a:lnTo>
                  <a:lnTo>
                    <a:pt x="3221" y="3220"/>
                  </a:lnTo>
                  <a:lnTo>
                    <a:pt x="3295" y="3140"/>
                  </a:lnTo>
                  <a:lnTo>
                    <a:pt x="3364" y="3056"/>
                  </a:lnTo>
                  <a:lnTo>
                    <a:pt x="3425" y="2967"/>
                  </a:lnTo>
                  <a:lnTo>
                    <a:pt x="3483" y="2873"/>
                  </a:lnTo>
                  <a:lnTo>
                    <a:pt x="3531" y="2775"/>
                  </a:lnTo>
                  <a:lnTo>
                    <a:pt x="3574" y="2674"/>
                  </a:lnTo>
                  <a:lnTo>
                    <a:pt x="3611" y="2569"/>
                  </a:lnTo>
                  <a:lnTo>
                    <a:pt x="3639" y="2460"/>
                  </a:lnTo>
                  <a:lnTo>
                    <a:pt x="3660" y="2349"/>
                  </a:lnTo>
                  <a:lnTo>
                    <a:pt x="3673" y="2236"/>
                  </a:lnTo>
                  <a:lnTo>
                    <a:pt x="3677" y="2118"/>
                  </a:lnTo>
                  <a:lnTo>
                    <a:pt x="3673" y="2007"/>
                  </a:lnTo>
                  <a:lnTo>
                    <a:pt x="3661" y="1898"/>
                  </a:lnTo>
                  <a:lnTo>
                    <a:pt x="3641" y="1790"/>
                  </a:lnTo>
                  <a:lnTo>
                    <a:pt x="3616" y="1686"/>
                  </a:lnTo>
                  <a:lnTo>
                    <a:pt x="3583" y="1583"/>
                  </a:lnTo>
                  <a:lnTo>
                    <a:pt x="3543" y="1485"/>
                  </a:lnTo>
                  <a:lnTo>
                    <a:pt x="3495" y="1390"/>
                  </a:lnTo>
                  <a:lnTo>
                    <a:pt x="3444" y="1298"/>
                  </a:lnTo>
                  <a:lnTo>
                    <a:pt x="3637" y="1105"/>
                  </a:lnTo>
                  <a:lnTo>
                    <a:pt x="3906" y="1125"/>
                  </a:lnTo>
                  <a:lnTo>
                    <a:pt x="3938" y="1126"/>
                  </a:lnTo>
                  <a:lnTo>
                    <a:pt x="3963" y="1126"/>
                  </a:lnTo>
                  <a:lnTo>
                    <a:pt x="3989" y="1123"/>
                  </a:lnTo>
                  <a:lnTo>
                    <a:pt x="4046" y="1236"/>
                  </a:lnTo>
                  <a:lnTo>
                    <a:pt x="4095" y="1354"/>
                  </a:lnTo>
                  <a:lnTo>
                    <a:pt x="4138" y="1474"/>
                  </a:lnTo>
                  <a:lnTo>
                    <a:pt x="4172" y="1597"/>
                  </a:lnTo>
                  <a:lnTo>
                    <a:pt x="4201" y="1723"/>
                  </a:lnTo>
                  <a:lnTo>
                    <a:pt x="4221" y="1853"/>
                  </a:lnTo>
                  <a:lnTo>
                    <a:pt x="4234" y="1985"/>
                  </a:lnTo>
                  <a:lnTo>
                    <a:pt x="4237" y="2118"/>
                  </a:lnTo>
                  <a:lnTo>
                    <a:pt x="4233" y="2258"/>
                  </a:lnTo>
                  <a:lnTo>
                    <a:pt x="4220" y="2394"/>
                  </a:lnTo>
                  <a:lnTo>
                    <a:pt x="4198" y="2529"/>
                  </a:lnTo>
                  <a:lnTo>
                    <a:pt x="4168" y="2661"/>
                  </a:lnTo>
                  <a:lnTo>
                    <a:pt x="4129" y="2788"/>
                  </a:lnTo>
                  <a:lnTo>
                    <a:pt x="4084" y="2913"/>
                  </a:lnTo>
                  <a:lnTo>
                    <a:pt x="4031" y="3034"/>
                  </a:lnTo>
                  <a:lnTo>
                    <a:pt x="3971" y="3150"/>
                  </a:lnTo>
                  <a:lnTo>
                    <a:pt x="3902" y="3262"/>
                  </a:lnTo>
                  <a:lnTo>
                    <a:pt x="3829" y="3371"/>
                  </a:lnTo>
                  <a:lnTo>
                    <a:pt x="3749" y="3472"/>
                  </a:lnTo>
                  <a:lnTo>
                    <a:pt x="3663" y="3570"/>
                  </a:lnTo>
                  <a:lnTo>
                    <a:pt x="3570" y="3663"/>
                  </a:lnTo>
                  <a:lnTo>
                    <a:pt x="3472" y="3749"/>
                  </a:lnTo>
                  <a:lnTo>
                    <a:pt x="3369" y="3829"/>
                  </a:lnTo>
                  <a:lnTo>
                    <a:pt x="3262" y="3903"/>
                  </a:lnTo>
                  <a:lnTo>
                    <a:pt x="3150" y="3971"/>
                  </a:lnTo>
                  <a:lnTo>
                    <a:pt x="3033" y="4031"/>
                  </a:lnTo>
                  <a:lnTo>
                    <a:pt x="2913" y="4084"/>
                  </a:lnTo>
                  <a:lnTo>
                    <a:pt x="2788" y="4129"/>
                  </a:lnTo>
                  <a:lnTo>
                    <a:pt x="2661" y="4168"/>
                  </a:lnTo>
                  <a:lnTo>
                    <a:pt x="2529" y="4198"/>
                  </a:lnTo>
                  <a:lnTo>
                    <a:pt x="2395" y="4220"/>
                  </a:lnTo>
                  <a:lnTo>
                    <a:pt x="2257" y="4234"/>
                  </a:lnTo>
                  <a:lnTo>
                    <a:pt x="2118" y="4238"/>
                  </a:lnTo>
                  <a:lnTo>
                    <a:pt x="1980" y="4234"/>
                  </a:lnTo>
                  <a:lnTo>
                    <a:pt x="1842" y="4220"/>
                  </a:lnTo>
                  <a:lnTo>
                    <a:pt x="1708" y="4198"/>
                  </a:lnTo>
                  <a:lnTo>
                    <a:pt x="1577" y="4168"/>
                  </a:lnTo>
                  <a:lnTo>
                    <a:pt x="1449" y="4129"/>
                  </a:lnTo>
                  <a:lnTo>
                    <a:pt x="1324" y="4084"/>
                  </a:lnTo>
                  <a:lnTo>
                    <a:pt x="1204" y="4031"/>
                  </a:lnTo>
                  <a:lnTo>
                    <a:pt x="1086" y="3971"/>
                  </a:lnTo>
                  <a:lnTo>
                    <a:pt x="975" y="3903"/>
                  </a:lnTo>
                  <a:lnTo>
                    <a:pt x="867" y="3829"/>
                  </a:lnTo>
                  <a:lnTo>
                    <a:pt x="764" y="3749"/>
                  </a:lnTo>
                  <a:lnTo>
                    <a:pt x="667" y="3663"/>
                  </a:lnTo>
                  <a:lnTo>
                    <a:pt x="575" y="3570"/>
                  </a:lnTo>
                  <a:lnTo>
                    <a:pt x="488" y="3472"/>
                  </a:lnTo>
                  <a:lnTo>
                    <a:pt x="408" y="3371"/>
                  </a:lnTo>
                  <a:lnTo>
                    <a:pt x="335" y="3262"/>
                  </a:lnTo>
                  <a:lnTo>
                    <a:pt x="268" y="3150"/>
                  </a:lnTo>
                  <a:lnTo>
                    <a:pt x="208" y="3034"/>
                  </a:lnTo>
                  <a:lnTo>
                    <a:pt x="153" y="2913"/>
                  </a:lnTo>
                  <a:lnTo>
                    <a:pt x="107" y="2788"/>
                  </a:lnTo>
                  <a:lnTo>
                    <a:pt x="70" y="2661"/>
                  </a:lnTo>
                  <a:lnTo>
                    <a:pt x="40" y="2529"/>
                  </a:lnTo>
                  <a:lnTo>
                    <a:pt x="17" y="2394"/>
                  </a:lnTo>
                  <a:lnTo>
                    <a:pt x="4" y="2258"/>
                  </a:lnTo>
                  <a:lnTo>
                    <a:pt x="0" y="2118"/>
                  </a:lnTo>
                  <a:lnTo>
                    <a:pt x="0" y="2118"/>
                  </a:lnTo>
                  <a:lnTo>
                    <a:pt x="4" y="1979"/>
                  </a:lnTo>
                  <a:lnTo>
                    <a:pt x="17" y="1842"/>
                  </a:lnTo>
                  <a:lnTo>
                    <a:pt x="40" y="1709"/>
                  </a:lnTo>
                  <a:lnTo>
                    <a:pt x="70" y="1577"/>
                  </a:lnTo>
                  <a:lnTo>
                    <a:pt x="107" y="1448"/>
                  </a:lnTo>
                  <a:lnTo>
                    <a:pt x="153" y="1324"/>
                  </a:lnTo>
                  <a:lnTo>
                    <a:pt x="208" y="1203"/>
                  </a:lnTo>
                  <a:lnTo>
                    <a:pt x="268" y="1088"/>
                  </a:lnTo>
                  <a:lnTo>
                    <a:pt x="335" y="974"/>
                  </a:lnTo>
                  <a:lnTo>
                    <a:pt x="408" y="867"/>
                  </a:lnTo>
                  <a:lnTo>
                    <a:pt x="488" y="764"/>
                  </a:lnTo>
                  <a:lnTo>
                    <a:pt x="575" y="667"/>
                  </a:lnTo>
                  <a:lnTo>
                    <a:pt x="667" y="575"/>
                  </a:lnTo>
                  <a:lnTo>
                    <a:pt x="764" y="489"/>
                  </a:lnTo>
                  <a:lnTo>
                    <a:pt x="867" y="409"/>
                  </a:lnTo>
                  <a:lnTo>
                    <a:pt x="975" y="335"/>
                  </a:lnTo>
                  <a:lnTo>
                    <a:pt x="1086" y="267"/>
                  </a:lnTo>
                  <a:lnTo>
                    <a:pt x="1204" y="207"/>
                  </a:lnTo>
                  <a:lnTo>
                    <a:pt x="1324" y="154"/>
                  </a:lnTo>
                  <a:lnTo>
                    <a:pt x="1449" y="107"/>
                  </a:lnTo>
                  <a:lnTo>
                    <a:pt x="1576" y="70"/>
                  </a:lnTo>
                  <a:lnTo>
                    <a:pt x="1708" y="40"/>
                  </a:lnTo>
                  <a:lnTo>
                    <a:pt x="1842" y="17"/>
                  </a:lnTo>
                  <a:lnTo>
                    <a:pt x="1978" y="4"/>
                  </a:lnTo>
                  <a:lnTo>
                    <a:pt x="2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Freeform 10"/>
            <p:cNvSpPr>
              <a:spLocks/>
            </p:cNvSpPr>
            <p:nvPr/>
          </p:nvSpPr>
          <p:spPr bwMode="auto">
            <a:xfrm>
              <a:off x="4757" y="1313"/>
              <a:ext cx="1044" cy="1044"/>
            </a:xfrm>
            <a:custGeom>
              <a:avLst/>
              <a:gdLst>
                <a:gd name="T0" fmla="*/ 1138 w 2087"/>
                <a:gd name="T1" fmla="*/ 4 h 2087"/>
                <a:gd name="T2" fmla="*/ 1317 w 2087"/>
                <a:gd name="T3" fmla="*/ 37 h 2087"/>
                <a:gd name="T4" fmla="*/ 1484 w 2087"/>
                <a:gd name="T5" fmla="*/ 98 h 2087"/>
                <a:gd name="T6" fmla="*/ 1085 w 2087"/>
                <a:gd name="T7" fmla="*/ 498 h 2087"/>
                <a:gd name="T8" fmla="*/ 975 w 2087"/>
                <a:gd name="T9" fmla="*/ 501 h 2087"/>
                <a:gd name="T10" fmla="*/ 846 w 2087"/>
                <a:gd name="T11" fmla="*/ 534 h 2087"/>
                <a:gd name="T12" fmla="*/ 731 w 2087"/>
                <a:gd name="T13" fmla="*/ 594 h 2087"/>
                <a:gd name="T14" fmla="*/ 634 w 2087"/>
                <a:gd name="T15" fmla="*/ 680 h 2087"/>
                <a:gd name="T16" fmla="*/ 560 w 2087"/>
                <a:gd name="T17" fmla="*/ 787 h 2087"/>
                <a:gd name="T18" fmla="*/ 512 w 2087"/>
                <a:gd name="T19" fmla="*/ 909 h 2087"/>
                <a:gd name="T20" fmla="*/ 497 w 2087"/>
                <a:gd name="T21" fmla="*/ 1043 h 2087"/>
                <a:gd name="T22" fmla="*/ 512 w 2087"/>
                <a:gd name="T23" fmla="*/ 1178 h 2087"/>
                <a:gd name="T24" fmla="*/ 560 w 2087"/>
                <a:gd name="T25" fmla="*/ 1301 h 2087"/>
                <a:gd name="T26" fmla="*/ 634 w 2087"/>
                <a:gd name="T27" fmla="*/ 1407 h 2087"/>
                <a:gd name="T28" fmla="*/ 730 w 2087"/>
                <a:gd name="T29" fmla="*/ 1493 h 2087"/>
                <a:gd name="T30" fmla="*/ 844 w 2087"/>
                <a:gd name="T31" fmla="*/ 1554 h 2087"/>
                <a:gd name="T32" fmla="*/ 975 w 2087"/>
                <a:gd name="T33" fmla="*/ 1587 h 2087"/>
                <a:gd name="T34" fmla="*/ 1112 w 2087"/>
                <a:gd name="T35" fmla="*/ 1587 h 2087"/>
                <a:gd name="T36" fmla="*/ 1241 w 2087"/>
                <a:gd name="T37" fmla="*/ 1554 h 2087"/>
                <a:gd name="T38" fmla="*/ 1355 w 2087"/>
                <a:gd name="T39" fmla="*/ 1493 h 2087"/>
                <a:gd name="T40" fmla="*/ 1453 w 2087"/>
                <a:gd name="T41" fmla="*/ 1407 h 2087"/>
                <a:gd name="T42" fmla="*/ 1527 w 2087"/>
                <a:gd name="T43" fmla="*/ 1301 h 2087"/>
                <a:gd name="T44" fmla="*/ 1574 w 2087"/>
                <a:gd name="T45" fmla="*/ 1178 h 2087"/>
                <a:gd name="T46" fmla="*/ 1590 w 2087"/>
                <a:gd name="T47" fmla="*/ 1043 h 2087"/>
                <a:gd name="T48" fmla="*/ 1981 w 2087"/>
                <a:gd name="T49" fmla="*/ 611 h 2087"/>
                <a:gd name="T50" fmla="*/ 2022 w 2087"/>
                <a:gd name="T51" fmla="*/ 685 h 2087"/>
                <a:gd name="T52" fmla="*/ 2070 w 2087"/>
                <a:gd name="T53" fmla="*/ 859 h 2087"/>
                <a:gd name="T54" fmla="*/ 2087 w 2087"/>
                <a:gd name="T55" fmla="*/ 1043 h 2087"/>
                <a:gd name="T56" fmla="*/ 2070 w 2087"/>
                <a:gd name="T57" fmla="*/ 1231 h 2087"/>
                <a:gd name="T58" fmla="*/ 2021 w 2087"/>
                <a:gd name="T59" fmla="*/ 1408 h 2087"/>
                <a:gd name="T60" fmla="*/ 1944 w 2087"/>
                <a:gd name="T61" fmla="*/ 1570 h 2087"/>
                <a:gd name="T62" fmla="*/ 1842 w 2087"/>
                <a:gd name="T63" fmla="*/ 1716 h 2087"/>
                <a:gd name="T64" fmla="*/ 1716 w 2087"/>
                <a:gd name="T65" fmla="*/ 1842 h 2087"/>
                <a:gd name="T66" fmla="*/ 1570 w 2087"/>
                <a:gd name="T67" fmla="*/ 1945 h 2087"/>
                <a:gd name="T68" fmla="*/ 1407 w 2087"/>
                <a:gd name="T69" fmla="*/ 2022 h 2087"/>
                <a:gd name="T70" fmla="*/ 1231 w 2087"/>
                <a:gd name="T71" fmla="*/ 2070 h 2087"/>
                <a:gd name="T72" fmla="*/ 1043 w 2087"/>
                <a:gd name="T73" fmla="*/ 2087 h 2087"/>
                <a:gd name="T74" fmla="*/ 856 w 2087"/>
                <a:gd name="T75" fmla="*/ 2070 h 2087"/>
                <a:gd name="T76" fmla="*/ 680 w 2087"/>
                <a:gd name="T77" fmla="*/ 2021 h 2087"/>
                <a:gd name="T78" fmla="*/ 517 w 2087"/>
                <a:gd name="T79" fmla="*/ 1945 h 2087"/>
                <a:gd name="T80" fmla="*/ 372 w 2087"/>
                <a:gd name="T81" fmla="*/ 1842 h 2087"/>
                <a:gd name="T82" fmla="*/ 246 w 2087"/>
                <a:gd name="T83" fmla="*/ 1716 h 2087"/>
                <a:gd name="T84" fmla="*/ 143 w 2087"/>
                <a:gd name="T85" fmla="*/ 1570 h 2087"/>
                <a:gd name="T86" fmla="*/ 66 w 2087"/>
                <a:gd name="T87" fmla="*/ 1407 h 2087"/>
                <a:gd name="T88" fmla="*/ 17 w 2087"/>
                <a:gd name="T89" fmla="*/ 1231 h 2087"/>
                <a:gd name="T90" fmla="*/ 0 w 2087"/>
                <a:gd name="T91" fmla="*/ 1043 h 2087"/>
                <a:gd name="T92" fmla="*/ 17 w 2087"/>
                <a:gd name="T93" fmla="*/ 856 h 2087"/>
                <a:gd name="T94" fmla="*/ 66 w 2087"/>
                <a:gd name="T95" fmla="*/ 680 h 2087"/>
                <a:gd name="T96" fmla="*/ 143 w 2087"/>
                <a:gd name="T97" fmla="*/ 516 h 2087"/>
                <a:gd name="T98" fmla="*/ 246 w 2087"/>
                <a:gd name="T99" fmla="*/ 370 h 2087"/>
                <a:gd name="T100" fmla="*/ 372 w 2087"/>
                <a:gd name="T101" fmla="*/ 246 h 2087"/>
                <a:gd name="T102" fmla="*/ 517 w 2087"/>
                <a:gd name="T103" fmla="*/ 143 h 2087"/>
                <a:gd name="T104" fmla="*/ 680 w 2087"/>
                <a:gd name="T105" fmla="*/ 65 h 2087"/>
                <a:gd name="T106" fmla="*/ 856 w 2087"/>
                <a:gd name="T107" fmla="*/ 17 h 2087"/>
                <a:gd name="T108" fmla="*/ 1043 w 2087"/>
                <a:gd name="T109" fmla="*/ 0 h 2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87" h="2087">
                  <a:moveTo>
                    <a:pt x="1043" y="0"/>
                  </a:moveTo>
                  <a:lnTo>
                    <a:pt x="1138" y="4"/>
                  </a:lnTo>
                  <a:lnTo>
                    <a:pt x="1228" y="17"/>
                  </a:lnTo>
                  <a:lnTo>
                    <a:pt x="1317" y="37"/>
                  </a:lnTo>
                  <a:lnTo>
                    <a:pt x="1403" y="64"/>
                  </a:lnTo>
                  <a:lnTo>
                    <a:pt x="1484" y="98"/>
                  </a:lnTo>
                  <a:lnTo>
                    <a:pt x="1476" y="107"/>
                  </a:lnTo>
                  <a:lnTo>
                    <a:pt x="1085" y="498"/>
                  </a:lnTo>
                  <a:lnTo>
                    <a:pt x="1043" y="496"/>
                  </a:lnTo>
                  <a:lnTo>
                    <a:pt x="975" y="501"/>
                  </a:lnTo>
                  <a:lnTo>
                    <a:pt x="909" y="514"/>
                  </a:lnTo>
                  <a:lnTo>
                    <a:pt x="846" y="534"/>
                  </a:lnTo>
                  <a:lnTo>
                    <a:pt x="786" y="561"/>
                  </a:lnTo>
                  <a:lnTo>
                    <a:pt x="731" y="594"/>
                  </a:lnTo>
                  <a:lnTo>
                    <a:pt x="680" y="634"/>
                  </a:lnTo>
                  <a:lnTo>
                    <a:pt x="634" y="680"/>
                  </a:lnTo>
                  <a:lnTo>
                    <a:pt x="594" y="731"/>
                  </a:lnTo>
                  <a:lnTo>
                    <a:pt x="560" y="787"/>
                  </a:lnTo>
                  <a:lnTo>
                    <a:pt x="532" y="846"/>
                  </a:lnTo>
                  <a:lnTo>
                    <a:pt x="512" y="909"/>
                  </a:lnTo>
                  <a:lnTo>
                    <a:pt x="501" y="974"/>
                  </a:lnTo>
                  <a:lnTo>
                    <a:pt x="497" y="1043"/>
                  </a:lnTo>
                  <a:lnTo>
                    <a:pt x="501" y="1112"/>
                  </a:lnTo>
                  <a:lnTo>
                    <a:pt x="512" y="1178"/>
                  </a:lnTo>
                  <a:lnTo>
                    <a:pt x="532" y="1242"/>
                  </a:lnTo>
                  <a:lnTo>
                    <a:pt x="560" y="1301"/>
                  </a:lnTo>
                  <a:lnTo>
                    <a:pt x="594" y="1357"/>
                  </a:lnTo>
                  <a:lnTo>
                    <a:pt x="634" y="1407"/>
                  </a:lnTo>
                  <a:lnTo>
                    <a:pt x="680" y="1453"/>
                  </a:lnTo>
                  <a:lnTo>
                    <a:pt x="730" y="1493"/>
                  </a:lnTo>
                  <a:lnTo>
                    <a:pt x="786" y="1527"/>
                  </a:lnTo>
                  <a:lnTo>
                    <a:pt x="844" y="1554"/>
                  </a:lnTo>
                  <a:lnTo>
                    <a:pt x="909" y="1574"/>
                  </a:lnTo>
                  <a:lnTo>
                    <a:pt x="975" y="1587"/>
                  </a:lnTo>
                  <a:lnTo>
                    <a:pt x="1043" y="1591"/>
                  </a:lnTo>
                  <a:lnTo>
                    <a:pt x="1112" y="1587"/>
                  </a:lnTo>
                  <a:lnTo>
                    <a:pt x="1178" y="1574"/>
                  </a:lnTo>
                  <a:lnTo>
                    <a:pt x="1241" y="1554"/>
                  </a:lnTo>
                  <a:lnTo>
                    <a:pt x="1301" y="1527"/>
                  </a:lnTo>
                  <a:lnTo>
                    <a:pt x="1355" y="1493"/>
                  </a:lnTo>
                  <a:lnTo>
                    <a:pt x="1407" y="1453"/>
                  </a:lnTo>
                  <a:lnTo>
                    <a:pt x="1453" y="1407"/>
                  </a:lnTo>
                  <a:lnTo>
                    <a:pt x="1493" y="1357"/>
                  </a:lnTo>
                  <a:lnTo>
                    <a:pt x="1527" y="1301"/>
                  </a:lnTo>
                  <a:lnTo>
                    <a:pt x="1554" y="1242"/>
                  </a:lnTo>
                  <a:lnTo>
                    <a:pt x="1574" y="1178"/>
                  </a:lnTo>
                  <a:lnTo>
                    <a:pt x="1586" y="1112"/>
                  </a:lnTo>
                  <a:lnTo>
                    <a:pt x="1590" y="1043"/>
                  </a:lnTo>
                  <a:lnTo>
                    <a:pt x="1589" y="1002"/>
                  </a:lnTo>
                  <a:lnTo>
                    <a:pt x="1981" y="611"/>
                  </a:lnTo>
                  <a:lnTo>
                    <a:pt x="1988" y="602"/>
                  </a:lnTo>
                  <a:lnTo>
                    <a:pt x="2022" y="685"/>
                  </a:lnTo>
                  <a:lnTo>
                    <a:pt x="2051" y="770"/>
                  </a:lnTo>
                  <a:lnTo>
                    <a:pt x="2070" y="859"/>
                  </a:lnTo>
                  <a:lnTo>
                    <a:pt x="2083" y="950"/>
                  </a:lnTo>
                  <a:lnTo>
                    <a:pt x="2087" y="1043"/>
                  </a:lnTo>
                  <a:lnTo>
                    <a:pt x="2083" y="1139"/>
                  </a:lnTo>
                  <a:lnTo>
                    <a:pt x="2070" y="1231"/>
                  </a:lnTo>
                  <a:lnTo>
                    <a:pt x="2050" y="1321"/>
                  </a:lnTo>
                  <a:lnTo>
                    <a:pt x="2021" y="1408"/>
                  </a:lnTo>
                  <a:lnTo>
                    <a:pt x="1987" y="1491"/>
                  </a:lnTo>
                  <a:lnTo>
                    <a:pt x="1944" y="1570"/>
                  </a:lnTo>
                  <a:lnTo>
                    <a:pt x="1897" y="1646"/>
                  </a:lnTo>
                  <a:lnTo>
                    <a:pt x="1842" y="1716"/>
                  </a:lnTo>
                  <a:lnTo>
                    <a:pt x="1781" y="1782"/>
                  </a:lnTo>
                  <a:lnTo>
                    <a:pt x="1716" y="1842"/>
                  </a:lnTo>
                  <a:lnTo>
                    <a:pt x="1645" y="1896"/>
                  </a:lnTo>
                  <a:lnTo>
                    <a:pt x="1570" y="1945"/>
                  </a:lnTo>
                  <a:lnTo>
                    <a:pt x="1491" y="1987"/>
                  </a:lnTo>
                  <a:lnTo>
                    <a:pt x="1407" y="2022"/>
                  </a:lnTo>
                  <a:lnTo>
                    <a:pt x="1321" y="2050"/>
                  </a:lnTo>
                  <a:lnTo>
                    <a:pt x="1231" y="2070"/>
                  </a:lnTo>
                  <a:lnTo>
                    <a:pt x="1138" y="2082"/>
                  </a:lnTo>
                  <a:lnTo>
                    <a:pt x="1043" y="2087"/>
                  </a:lnTo>
                  <a:lnTo>
                    <a:pt x="949" y="2082"/>
                  </a:lnTo>
                  <a:lnTo>
                    <a:pt x="856" y="2070"/>
                  </a:lnTo>
                  <a:lnTo>
                    <a:pt x="766" y="2050"/>
                  </a:lnTo>
                  <a:lnTo>
                    <a:pt x="680" y="2021"/>
                  </a:lnTo>
                  <a:lnTo>
                    <a:pt x="597" y="1987"/>
                  </a:lnTo>
                  <a:lnTo>
                    <a:pt x="517" y="1945"/>
                  </a:lnTo>
                  <a:lnTo>
                    <a:pt x="442" y="1896"/>
                  </a:lnTo>
                  <a:lnTo>
                    <a:pt x="372" y="1842"/>
                  </a:lnTo>
                  <a:lnTo>
                    <a:pt x="306" y="1782"/>
                  </a:lnTo>
                  <a:lnTo>
                    <a:pt x="246" y="1716"/>
                  </a:lnTo>
                  <a:lnTo>
                    <a:pt x="192" y="1644"/>
                  </a:lnTo>
                  <a:lnTo>
                    <a:pt x="143" y="1570"/>
                  </a:lnTo>
                  <a:lnTo>
                    <a:pt x="102" y="1491"/>
                  </a:lnTo>
                  <a:lnTo>
                    <a:pt x="66" y="1407"/>
                  </a:lnTo>
                  <a:lnTo>
                    <a:pt x="37" y="1321"/>
                  </a:lnTo>
                  <a:lnTo>
                    <a:pt x="17" y="1231"/>
                  </a:lnTo>
                  <a:lnTo>
                    <a:pt x="4" y="1138"/>
                  </a:lnTo>
                  <a:lnTo>
                    <a:pt x="0" y="1043"/>
                  </a:lnTo>
                  <a:lnTo>
                    <a:pt x="4" y="949"/>
                  </a:lnTo>
                  <a:lnTo>
                    <a:pt x="17" y="856"/>
                  </a:lnTo>
                  <a:lnTo>
                    <a:pt x="37" y="765"/>
                  </a:lnTo>
                  <a:lnTo>
                    <a:pt x="66" y="680"/>
                  </a:lnTo>
                  <a:lnTo>
                    <a:pt x="102" y="597"/>
                  </a:lnTo>
                  <a:lnTo>
                    <a:pt x="143" y="516"/>
                  </a:lnTo>
                  <a:lnTo>
                    <a:pt x="192" y="442"/>
                  </a:lnTo>
                  <a:lnTo>
                    <a:pt x="246" y="370"/>
                  </a:lnTo>
                  <a:lnTo>
                    <a:pt x="306" y="306"/>
                  </a:lnTo>
                  <a:lnTo>
                    <a:pt x="372" y="246"/>
                  </a:lnTo>
                  <a:lnTo>
                    <a:pt x="442" y="191"/>
                  </a:lnTo>
                  <a:lnTo>
                    <a:pt x="517" y="143"/>
                  </a:lnTo>
                  <a:lnTo>
                    <a:pt x="597" y="100"/>
                  </a:lnTo>
                  <a:lnTo>
                    <a:pt x="680" y="65"/>
                  </a:lnTo>
                  <a:lnTo>
                    <a:pt x="766" y="37"/>
                  </a:lnTo>
                  <a:lnTo>
                    <a:pt x="856" y="17"/>
                  </a:lnTo>
                  <a:lnTo>
                    <a:pt x="949" y="4"/>
                  </a:lnTo>
                  <a:lnTo>
                    <a:pt x="10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" name="Freeform 11"/>
            <p:cNvSpPr>
              <a:spLocks/>
            </p:cNvSpPr>
            <p:nvPr/>
          </p:nvSpPr>
          <p:spPr bwMode="auto">
            <a:xfrm>
              <a:off x="5283" y="538"/>
              <a:ext cx="1283" cy="1291"/>
            </a:xfrm>
            <a:custGeom>
              <a:avLst/>
              <a:gdLst>
                <a:gd name="T0" fmla="*/ 1799 w 2566"/>
                <a:gd name="T1" fmla="*/ 2 h 2583"/>
                <a:gd name="T2" fmla="*/ 1823 w 2566"/>
                <a:gd name="T3" fmla="*/ 17 h 2583"/>
                <a:gd name="T4" fmla="*/ 1835 w 2566"/>
                <a:gd name="T5" fmla="*/ 45 h 2583"/>
                <a:gd name="T6" fmla="*/ 2008 w 2566"/>
                <a:gd name="T7" fmla="*/ 285 h 2583"/>
                <a:gd name="T8" fmla="*/ 2056 w 2566"/>
                <a:gd name="T9" fmla="*/ 252 h 2583"/>
                <a:gd name="T10" fmla="*/ 2111 w 2566"/>
                <a:gd name="T11" fmla="*/ 242 h 2583"/>
                <a:gd name="T12" fmla="*/ 2167 w 2566"/>
                <a:gd name="T13" fmla="*/ 252 h 2583"/>
                <a:gd name="T14" fmla="*/ 2215 w 2566"/>
                <a:gd name="T15" fmla="*/ 285 h 2583"/>
                <a:gd name="T16" fmla="*/ 2323 w 2566"/>
                <a:gd name="T17" fmla="*/ 398 h 2583"/>
                <a:gd name="T18" fmla="*/ 2344 w 2566"/>
                <a:gd name="T19" fmla="*/ 460 h 2583"/>
                <a:gd name="T20" fmla="*/ 2337 w 2566"/>
                <a:gd name="T21" fmla="*/ 523 h 2583"/>
                <a:gd name="T22" fmla="*/ 2301 w 2566"/>
                <a:gd name="T23" fmla="*/ 580 h 2583"/>
                <a:gd name="T24" fmla="*/ 2520 w 2566"/>
                <a:gd name="T25" fmla="*/ 732 h 2583"/>
                <a:gd name="T26" fmla="*/ 2550 w 2566"/>
                <a:gd name="T27" fmla="*/ 745 h 2583"/>
                <a:gd name="T28" fmla="*/ 2565 w 2566"/>
                <a:gd name="T29" fmla="*/ 772 h 2583"/>
                <a:gd name="T30" fmla="*/ 2562 w 2566"/>
                <a:gd name="T31" fmla="*/ 802 h 2583"/>
                <a:gd name="T32" fmla="*/ 1985 w 2566"/>
                <a:gd name="T33" fmla="*/ 1382 h 2583"/>
                <a:gd name="T34" fmla="*/ 1922 w 2566"/>
                <a:gd name="T35" fmla="*/ 1428 h 2583"/>
                <a:gd name="T36" fmla="*/ 1849 w 2566"/>
                <a:gd name="T37" fmla="*/ 1450 h 2583"/>
                <a:gd name="T38" fmla="*/ 1802 w 2566"/>
                <a:gd name="T39" fmla="*/ 1453 h 2583"/>
                <a:gd name="T40" fmla="*/ 1777 w 2566"/>
                <a:gd name="T41" fmla="*/ 1452 h 2583"/>
                <a:gd name="T42" fmla="*/ 340 w 2566"/>
                <a:gd name="T43" fmla="*/ 2541 h 2583"/>
                <a:gd name="T44" fmla="*/ 290 w 2566"/>
                <a:gd name="T45" fmla="*/ 2571 h 2583"/>
                <a:gd name="T46" fmla="*/ 128 w 2566"/>
                <a:gd name="T47" fmla="*/ 2583 h 2583"/>
                <a:gd name="T48" fmla="*/ 93 w 2566"/>
                <a:gd name="T49" fmla="*/ 2580 h 2583"/>
                <a:gd name="T50" fmla="*/ 41 w 2566"/>
                <a:gd name="T51" fmla="*/ 2554 h 2583"/>
                <a:gd name="T52" fmla="*/ 8 w 2566"/>
                <a:gd name="T53" fmla="*/ 2508 h 2583"/>
                <a:gd name="T54" fmla="*/ 0 w 2566"/>
                <a:gd name="T55" fmla="*/ 2450 h 2583"/>
                <a:gd name="T56" fmla="*/ 14 w 2566"/>
                <a:gd name="T57" fmla="*/ 2296 h 2583"/>
                <a:gd name="T58" fmla="*/ 44 w 2566"/>
                <a:gd name="T59" fmla="*/ 2248 h 2583"/>
                <a:gd name="T60" fmla="*/ 559 w 2566"/>
                <a:gd name="T61" fmla="*/ 1732 h 2583"/>
                <a:gd name="T62" fmla="*/ 936 w 2566"/>
                <a:gd name="T63" fmla="*/ 1356 h 2583"/>
                <a:gd name="T64" fmla="*/ 1113 w 2566"/>
                <a:gd name="T65" fmla="*/ 796 h 2583"/>
                <a:gd name="T66" fmla="*/ 1113 w 2566"/>
                <a:gd name="T67" fmla="*/ 732 h 2583"/>
                <a:gd name="T68" fmla="*/ 1135 w 2566"/>
                <a:gd name="T69" fmla="*/ 650 h 2583"/>
                <a:gd name="T70" fmla="*/ 1185 w 2566"/>
                <a:gd name="T71" fmla="*/ 580 h 2583"/>
                <a:gd name="T72" fmla="*/ 1762 w 2566"/>
                <a:gd name="T73" fmla="*/ 6 h 2583"/>
                <a:gd name="T74" fmla="*/ 1784 w 2566"/>
                <a:gd name="T75" fmla="*/ 0 h 2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66" h="2583">
                  <a:moveTo>
                    <a:pt x="1784" y="0"/>
                  </a:moveTo>
                  <a:lnTo>
                    <a:pt x="1799" y="2"/>
                  </a:lnTo>
                  <a:lnTo>
                    <a:pt x="1812" y="7"/>
                  </a:lnTo>
                  <a:lnTo>
                    <a:pt x="1823" y="17"/>
                  </a:lnTo>
                  <a:lnTo>
                    <a:pt x="1830" y="30"/>
                  </a:lnTo>
                  <a:lnTo>
                    <a:pt x="1835" y="45"/>
                  </a:lnTo>
                  <a:lnTo>
                    <a:pt x="1865" y="428"/>
                  </a:lnTo>
                  <a:lnTo>
                    <a:pt x="2008" y="285"/>
                  </a:lnTo>
                  <a:lnTo>
                    <a:pt x="2031" y="265"/>
                  </a:lnTo>
                  <a:lnTo>
                    <a:pt x="2056" y="252"/>
                  </a:lnTo>
                  <a:lnTo>
                    <a:pt x="2084" y="244"/>
                  </a:lnTo>
                  <a:lnTo>
                    <a:pt x="2111" y="242"/>
                  </a:lnTo>
                  <a:lnTo>
                    <a:pt x="2139" y="244"/>
                  </a:lnTo>
                  <a:lnTo>
                    <a:pt x="2167" y="252"/>
                  </a:lnTo>
                  <a:lnTo>
                    <a:pt x="2192" y="265"/>
                  </a:lnTo>
                  <a:lnTo>
                    <a:pt x="2215" y="285"/>
                  </a:lnTo>
                  <a:lnTo>
                    <a:pt x="2301" y="372"/>
                  </a:lnTo>
                  <a:lnTo>
                    <a:pt x="2323" y="398"/>
                  </a:lnTo>
                  <a:lnTo>
                    <a:pt x="2337" y="428"/>
                  </a:lnTo>
                  <a:lnTo>
                    <a:pt x="2344" y="460"/>
                  </a:lnTo>
                  <a:lnTo>
                    <a:pt x="2344" y="491"/>
                  </a:lnTo>
                  <a:lnTo>
                    <a:pt x="2337" y="523"/>
                  </a:lnTo>
                  <a:lnTo>
                    <a:pt x="2323" y="553"/>
                  </a:lnTo>
                  <a:lnTo>
                    <a:pt x="2301" y="580"/>
                  </a:lnTo>
                  <a:lnTo>
                    <a:pt x="2177" y="705"/>
                  </a:lnTo>
                  <a:lnTo>
                    <a:pt x="2520" y="732"/>
                  </a:lnTo>
                  <a:lnTo>
                    <a:pt x="2536" y="736"/>
                  </a:lnTo>
                  <a:lnTo>
                    <a:pt x="2550" y="745"/>
                  </a:lnTo>
                  <a:lnTo>
                    <a:pt x="2559" y="756"/>
                  </a:lnTo>
                  <a:lnTo>
                    <a:pt x="2565" y="772"/>
                  </a:lnTo>
                  <a:lnTo>
                    <a:pt x="2566" y="786"/>
                  </a:lnTo>
                  <a:lnTo>
                    <a:pt x="2562" y="802"/>
                  </a:lnTo>
                  <a:lnTo>
                    <a:pt x="2552" y="816"/>
                  </a:lnTo>
                  <a:lnTo>
                    <a:pt x="1985" y="1382"/>
                  </a:lnTo>
                  <a:lnTo>
                    <a:pt x="1955" y="1407"/>
                  </a:lnTo>
                  <a:lnTo>
                    <a:pt x="1922" y="1428"/>
                  </a:lnTo>
                  <a:lnTo>
                    <a:pt x="1886" y="1442"/>
                  </a:lnTo>
                  <a:lnTo>
                    <a:pt x="1849" y="1450"/>
                  </a:lnTo>
                  <a:lnTo>
                    <a:pt x="1810" y="1455"/>
                  </a:lnTo>
                  <a:lnTo>
                    <a:pt x="1802" y="1453"/>
                  </a:lnTo>
                  <a:lnTo>
                    <a:pt x="1792" y="1453"/>
                  </a:lnTo>
                  <a:lnTo>
                    <a:pt x="1777" y="1452"/>
                  </a:lnTo>
                  <a:lnTo>
                    <a:pt x="1454" y="1428"/>
                  </a:lnTo>
                  <a:lnTo>
                    <a:pt x="340" y="2541"/>
                  </a:lnTo>
                  <a:lnTo>
                    <a:pt x="317" y="2560"/>
                  </a:lnTo>
                  <a:lnTo>
                    <a:pt x="290" y="2571"/>
                  </a:lnTo>
                  <a:lnTo>
                    <a:pt x="260" y="2577"/>
                  </a:lnTo>
                  <a:lnTo>
                    <a:pt x="128" y="2583"/>
                  </a:lnTo>
                  <a:lnTo>
                    <a:pt x="123" y="2583"/>
                  </a:lnTo>
                  <a:lnTo>
                    <a:pt x="93" y="2580"/>
                  </a:lnTo>
                  <a:lnTo>
                    <a:pt x="65" y="2570"/>
                  </a:lnTo>
                  <a:lnTo>
                    <a:pt x="41" y="2554"/>
                  </a:lnTo>
                  <a:lnTo>
                    <a:pt x="22" y="2533"/>
                  </a:lnTo>
                  <a:lnTo>
                    <a:pt x="8" y="2508"/>
                  </a:lnTo>
                  <a:lnTo>
                    <a:pt x="0" y="2480"/>
                  </a:lnTo>
                  <a:lnTo>
                    <a:pt x="0" y="2450"/>
                  </a:lnTo>
                  <a:lnTo>
                    <a:pt x="10" y="2325"/>
                  </a:lnTo>
                  <a:lnTo>
                    <a:pt x="14" y="2296"/>
                  </a:lnTo>
                  <a:lnTo>
                    <a:pt x="27" y="2271"/>
                  </a:lnTo>
                  <a:lnTo>
                    <a:pt x="44" y="2248"/>
                  </a:lnTo>
                  <a:lnTo>
                    <a:pt x="203" y="2090"/>
                  </a:lnTo>
                  <a:lnTo>
                    <a:pt x="559" y="1732"/>
                  </a:lnTo>
                  <a:lnTo>
                    <a:pt x="568" y="1725"/>
                  </a:lnTo>
                  <a:lnTo>
                    <a:pt x="936" y="1356"/>
                  </a:lnTo>
                  <a:lnTo>
                    <a:pt x="1140" y="1151"/>
                  </a:lnTo>
                  <a:lnTo>
                    <a:pt x="1113" y="796"/>
                  </a:lnTo>
                  <a:lnTo>
                    <a:pt x="1112" y="775"/>
                  </a:lnTo>
                  <a:lnTo>
                    <a:pt x="1113" y="732"/>
                  </a:lnTo>
                  <a:lnTo>
                    <a:pt x="1120" y="690"/>
                  </a:lnTo>
                  <a:lnTo>
                    <a:pt x="1135" y="650"/>
                  </a:lnTo>
                  <a:lnTo>
                    <a:pt x="1156" y="613"/>
                  </a:lnTo>
                  <a:lnTo>
                    <a:pt x="1185" y="580"/>
                  </a:lnTo>
                  <a:lnTo>
                    <a:pt x="1750" y="15"/>
                  </a:lnTo>
                  <a:lnTo>
                    <a:pt x="1762" y="6"/>
                  </a:lnTo>
                  <a:lnTo>
                    <a:pt x="1773" y="2"/>
                  </a:lnTo>
                  <a:lnTo>
                    <a:pt x="17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6" name="Group 15"/>
          <p:cNvGrpSpPr>
            <a:grpSpLocks noChangeAspect="1"/>
          </p:cNvGrpSpPr>
          <p:nvPr/>
        </p:nvGrpSpPr>
        <p:grpSpPr bwMode="auto">
          <a:xfrm>
            <a:off x="7515253" y="3407641"/>
            <a:ext cx="923198" cy="755513"/>
            <a:chOff x="-1169" y="1797"/>
            <a:chExt cx="991" cy="811"/>
          </a:xfrm>
          <a:solidFill>
            <a:schemeClr val="bg1"/>
          </a:solidFill>
        </p:grpSpPr>
        <p:sp>
          <p:nvSpPr>
            <p:cNvPr id="33" name="Rectangle 17"/>
            <p:cNvSpPr>
              <a:spLocks noChangeArrowheads="1"/>
            </p:cNvSpPr>
            <p:nvPr/>
          </p:nvSpPr>
          <p:spPr bwMode="auto">
            <a:xfrm>
              <a:off x="-1169" y="1937"/>
              <a:ext cx="26" cy="67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4" name="Freeform 18"/>
            <p:cNvSpPr>
              <a:spLocks/>
            </p:cNvSpPr>
            <p:nvPr/>
          </p:nvSpPr>
          <p:spPr bwMode="auto">
            <a:xfrm>
              <a:off x="-805" y="2143"/>
              <a:ext cx="556" cy="455"/>
            </a:xfrm>
            <a:custGeom>
              <a:avLst/>
              <a:gdLst>
                <a:gd name="T0" fmla="*/ 759 w 2226"/>
                <a:gd name="T1" fmla="*/ 0 h 1818"/>
                <a:gd name="T2" fmla="*/ 946 w 2226"/>
                <a:gd name="T3" fmla="*/ 0 h 1818"/>
                <a:gd name="T4" fmla="*/ 1186 w 2226"/>
                <a:gd name="T5" fmla="*/ 0 h 1818"/>
                <a:gd name="T6" fmla="*/ 1431 w 2226"/>
                <a:gd name="T7" fmla="*/ 2 h 1818"/>
                <a:gd name="T8" fmla="*/ 1597 w 2226"/>
                <a:gd name="T9" fmla="*/ 11 h 1818"/>
                <a:gd name="T10" fmla="*/ 1666 w 2226"/>
                <a:gd name="T11" fmla="*/ 77 h 1818"/>
                <a:gd name="T12" fmla="*/ 1680 w 2226"/>
                <a:gd name="T13" fmla="*/ 172 h 1818"/>
                <a:gd name="T14" fmla="*/ 1639 w 2226"/>
                <a:gd name="T15" fmla="*/ 257 h 1818"/>
                <a:gd name="T16" fmla="*/ 1542 w 2226"/>
                <a:gd name="T17" fmla="*/ 294 h 1818"/>
                <a:gd name="T18" fmla="*/ 1359 w 2226"/>
                <a:gd name="T19" fmla="*/ 295 h 1818"/>
                <a:gd name="T20" fmla="*/ 1176 w 2226"/>
                <a:gd name="T21" fmla="*/ 296 h 1818"/>
                <a:gd name="T22" fmla="*/ 1043 w 2226"/>
                <a:gd name="T23" fmla="*/ 299 h 1818"/>
                <a:gd name="T24" fmla="*/ 1639 w 2226"/>
                <a:gd name="T25" fmla="*/ 1274 h 1818"/>
                <a:gd name="T26" fmla="*/ 2085 w 2226"/>
                <a:gd name="T27" fmla="*/ 1024 h 1818"/>
                <a:gd name="T28" fmla="*/ 2175 w 2226"/>
                <a:gd name="T29" fmla="*/ 1061 h 1818"/>
                <a:gd name="T30" fmla="*/ 2224 w 2226"/>
                <a:gd name="T31" fmla="*/ 1145 h 1818"/>
                <a:gd name="T32" fmla="*/ 2206 w 2226"/>
                <a:gd name="T33" fmla="*/ 1239 h 1818"/>
                <a:gd name="T34" fmla="*/ 2107 w 2226"/>
                <a:gd name="T35" fmla="*/ 1313 h 1818"/>
                <a:gd name="T36" fmla="*/ 1976 w 2226"/>
                <a:gd name="T37" fmla="*/ 1395 h 1818"/>
                <a:gd name="T38" fmla="*/ 1842 w 2226"/>
                <a:gd name="T39" fmla="*/ 1479 h 1818"/>
                <a:gd name="T40" fmla="*/ 1734 w 2226"/>
                <a:gd name="T41" fmla="*/ 1546 h 1818"/>
                <a:gd name="T42" fmla="*/ 1678 w 2226"/>
                <a:gd name="T43" fmla="*/ 1581 h 1818"/>
                <a:gd name="T44" fmla="*/ 1656 w 2226"/>
                <a:gd name="T45" fmla="*/ 1593 h 1818"/>
                <a:gd name="T46" fmla="*/ 1588 w 2226"/>
                <a:gd name="T47" fmla="*/ 1607 h 1818"/>
                <a:gd name="T48" fmla="*/ 1497 w 2226"/>
                <a:gd name="T49" fmla="*/ 1563 h 1818"/>
                <a:gd name="T50" fmla="*/ 1419 w 2226"/>
                <a:gd name="T51" fmla="*/ 1462 h 1818"/>
                <a:gd name="T52" fmla="*/ 1335 w 2226"/>
                <a:gd name="T53" fmla="*/ 1339 h 1818"/>
                <a:gd name="T54" fmla="*/ 1256 w 2226"/>
                <a:gd name="T55" fmla="*/ 1218 h 1818"/>
                <a:gd name="T56" fmla="*/ 1199 w 2226"/>
                <a:gd name="T57" fmla="*/ 1132 h 1818"/>
                <a:gd name="T58" fmla="*/ 519 w 2226"/>
                <a:gd name="T59" fmla="*/ 1299 h 1818"/>
                <a:gd name="T60" fmla="*/ 495 w 2226"/>
                <a:gd name="T61" fmla="*/ 1341 h 1818"/>
                <a:gd name="T62" fmla="*/ 434 w 2226"/>
                <a:gd name="T63" fmla="*/ 1450 h 1818"/>
                <a:gd name="T64" fmla="*/ 354 w 2226"/>
                <a:gd name="T65" fmla="*/ 1593 h 1818"/>
                <a:gd name="T66" fmla="*/ 274 w 2226"/>
                <a:gd name="T67" fmla="*/ 1742 h 1818"/>
                <a:gd name="T68" fmla="*/ 192 w 2226"/>
                <a:gd name="T69" fmla="*/ 1813 h 1818"/>
                <a:gd name="T70" fmla="*/ 94 w 2226"/>
                <a:gd name="T71" fmla="*/ 1806 h 1818"/>
                <a:gd name="T72" fmla="*/ 20 w 2226"/>
                <a:gd name="T73" fmla="*/ 1740 h 1818"/>
                <a:gd name="T74" fmla="*/ 5 w 2226"/>
                <a:gd name="T75" fmla="*/ 1636 h 1818"/>
                <a:gd name="T76" fmla="*/ 107 w 2226"/>
                <a:gd name="T77" fmla="*/ 1437 h 1818"/>
                <a:gd name="T78" fmla="*/ 225 w 2226"/>
                <a:gd name="T79" fmla="*/ 1226 h 1818"/>
                <a:gd name="T80" fmla="*/ 335 w 2226"/>
                <a:gd name="T81" fmla="*/ 1061 h 1818"/>
                <a:gd name="T82" fmla="*/ 451 w 2226"/>
                <a:gd name="T83" fmla="*/ 1014 h 1818"/>
                <a:gd name="T84" fmla="*/ 596 w 2226"/>
                <a:gd name="T85" fmla="*/ 973 h 1818"/>
                <a:gd name="T86" fmla="*/ 733 w 2226"/>
                <a:gd name="T87" fmla="*/ 934 h 1818"/>
                <a:gd name="T88" fmla="*/ 823 w 2226"/>
                <a:gd name="T89" fmla="*/ 908 h 1818"/>
                <a:gd name="T90" fmla="*/ 829 w 2226"/>
                <a:gd name="T91" fmla="*/ 895 h 1818"/>
                <a:gd name="T92" fmla="*/ 780 w 2226"/>
                <a:gd name="T93" fmla="*/ 822 h 1818"/>
                <a:gd name="T94" fmla="*/ 697 w 2226"/>
                <a:gd name="T95" fmla="*/ 700 h 1818"/>
                <a:gd name="T96" fmla="*/ 597 w 2226"/>
                <a:gd name="T97" fmla="*/ 555 h 1818"/>
                <a:gd name="T98" fmla="*/ 498 w 2226"/>
                <a:gd name="T99" fmla="*/ 409 h 1818"/>
                <a:gd name="T100" fmla="*/ 436 w 2226"/>
                <a:gd name="T101" fmla="*/ 273 h 1818"/>
                <a:gd name="T102" fmla="*/ 450 w 2226"/>
                <a:gd name="T103" fmla="*/ 136 h 1818"/>
                <a:gd name="T104" fmla="*/ 550 w 2226"/>
                <a:gd name="T105" fmla="*/ 32 h 1818"/>
                <a:gd name="T106" fmla="*/ 684 w 2226"/>
                <a:gd name="T107" fmla="*/ 0 h 1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26" h="1818">
                  <a:moveTo>
                    <a:pt x="684" y="0"/>
                  </a:moveTo>
                  <a:lnTo>
                    <a:pt x="702" y="0"/>
                  </a:lnTo>
                  <a:lnTo>
                    <a:pt x="727" y="0"/>
                  </a:lnTo>
                  <a:lnTo>
                    <a:pt x="759" y="0"/>
                  </a:lnTo>
                  <a:lnTo>
                    <a:pt x="798" y="0"/>
                  </a:lnTo>
                  <a:lnTo>
                    <a:pt x="843" y="0"/>
                  </a:lnTo>
                  <a:lnTo>
                    <a:pt x="893" y="0"/>
                  </a:lnTo>
                  <a:lnTo>
                    <a:pt x="946" y="0"/>
                  </a:lnTo>
                  <a:lnTo>
                    <a:pt x="1003" y="0"/>
                  </a:lnTo>
                  <a:lnTo>
                    <a:pt x="1062" y="0"/>
                  </a:lnTo>
                  <a:lnTo>
                    <a:pt x="1124" y="0"/>
                  </a:lnTo>
                  <a:lnTo>
                    <a:pt x="1186" y="0"/>
                  </a:lnTo>
                  <a:lnTo>
                    <a:pt x="1249" y="0"/>
                  </a:lnTo>
                  <a:lnTo>
                    <a:pt x="1311" y="0"/>
                  </a:lnTo>
                  <a:lnTo>
                    <a:pt x="1372" y="2"/>
                  </a:lnTo>
                  <a:lnTo>
                    <a:pt x="1431" y="2"/>
                  </a:lnTo>
                  <a:lnTo>
                    <a:pt x="1487" y="2"/>
                  </a:lnTo>
                  <a:lnTo>
                    <a:pt x="1541" y="2"/>
                  </a:lnTo>
                  <a:lnTo>
                    <a:pt x="1570" y="4"/>
                  </a:lnTo>
                  <a:lnTo>
                    <a:pt x="1597" y="11"/>
                  </a:lnTo>
                  <a:lnTo>
                    <a:pt x="1618" y="22"/>
                  </a:lnTo>
                  <a:lnTo>
                    <a:pt x="1638" y="38"/>
                  </a:lnTo>
                  <a:lnTo>
                    <a:pt x="1654" y="56"/>
                  </a:lnTo>
                  <a:lnTo>
                    <a:pt x="1666" y="77"/>
                  </a:lnTo>
                  <a:lnTo>
                    <a:pt x="1674" y="99"/>
                  </a:lnTo>
                  <a:lnTo>
                    <a:pt x="1680" y="123"/>
                  </a:lnTo>
                  <a:lnTo>
                    <a:pt x="1682" y="148"/>
                  </a:lnTo>
                  <a:lnTo>
                    <a:pt x="1680" y="172"/>
                  </a:lnTo>
                  <a:lnTo>
                    <a:pt x="1676" y="195"/>
                  </a:lnTo>
                  <a:lnTo>
                    <a:pt x="1666" y="218"/>
                  </a:lnTo>
                  <a:lnTo>
                    <a:pt x="1654" y="239"/>
                  </a:lnTo>
                  <a:lnTo>
                    <a:pt x="1639" y="257"/>
                  </a:lnTo>
                  <a:lnTo>
                    <a:pt x="1620" y="272"/>
                  </a:lnTo>
                  <a:lnTo>
                    <a:pt x="1597" y="284"/>
                  </a:lnTo>
                  <a:lnTo>
                    <a:pt x="1571" y="291"/>
                  </a:lnTo>
                  <a:lnTo>
                    <a:pt x="1542" y="294"/>
                  </a:lnTo>
                  <a:lnTo>
                    <a:pt x="1499" y="294"/>
                  </a:lnTo>
                  <a:lnTo>
                    <a:pt x="1454" y="294"/>
                  </a:lnTo>
                  <a:lnTo>
                    <a:pt x="1407" y="295"/>
                  </a:lnTo>
                  <a:lnTo>
                    <a:pt x="1359" y="295"/>
                  </a:lnTo>
                  <a:lnTo>
                    <a:pt x="1312" y="295"/>
                  </a:lnTo>
                  <a:lnTo>
                    <a:pt x="1265" y="296"/>
                  </a:lnTo>
                  <a:lnTo>
                    <a:pt x="1220" y="296"/>
                  </a:lnTo>
                  <a:lnTo>
                    <a:pt x="1176" y="296"/>
                  </a:lnTo>
                  <a:lnTo>
                    <a:pt x="1137" y="297"/>
                  </a:lnTo>
                  <a:lnTo>
                    <a:pt x="1101" y="297"/>
                  </a:lnTo>
                  <a:lnTo>
                    <a:pt x="1069" y="297"/>
                  </a:lnTo>
                  <a:lnTo>
                    <a:pt x="1043" y="299"/>
                  </a:lnTo>
                  <a:lnTo>
                    <a:pt x="1024" y="299"/>
                  </a:lnTo>
                  <a:lnTo>
                    <a:pt x="1012" y="299"/>
                  </a:lnTo>
                  <a:lnTo>
                    <a:pt x="1008" y="299"/>
                  </a:lnTo>
                  <a:lnTo>
                    <a:pt x="1639" y="1274"/>
                  </a:lnTo>
                  <a:lnTo>
                    <a:pt x="2005" y="1047"/>
                  </a:lnTo>
                  <a:lnTo>
                    <a:pt x="2032" y="1032"/>
                  </a:lnTo>
                  <a:lnTo>
                    <a:pt x="2059" y="1025"/>
                  </a:lnTo>
                  <a:lnTo>
                    <a:pt x="2085" y="1024"/>
                  </a:lnTo>
                  <a:lnTo>
                    <a:pt x="2110" y="1026"/>
                  </a:lnTo>
                  <a:lnTo>
                    <a:pt x="2134" y="1035"/>
                  </a:lnTo>
                  <a:lnTo>
                    <a:pt x="2156" y="1046"/>
                  </a:lnTo>
                  <a:lnTo>
                    <a:pt x="2175" y="1061"/>
                  </a:lnTo>
                  <a:lnTo>
                    <a:pt x="2192" y="1080"/>
                  </a:lnTo>
                  <a:lnTo>
                    <a:pt x="2206" y="1100"/>
                  </a:lnTo>
                  <a:lnTo>
                    <a:pt x="2217" y="1122"/>
                  </a:lnTo>
                  <a:lnTo>
                    <a:pt x="2224" y="1145"/>
                  </a:lnTo>
                  <a:lnTo>
                    <a:pt x="2226" y="1168"/>
                  </a:lnTo>
                  <a:lnTo>
                    <a:pt x="2225" y="1193"/>
                  </a:lnTo>
                  <a:lnTo>
                    <a:pt x="2218" y="1216"/>
                  </a:lnTo>
                  <a:lnTo>
                    <a:pt x="2206" y="1239"/>
                  </a:lnTo>
                  <a:lnTo>
                    <a:pt x="2187" y="1259"/>
                  </a:lnTo>
                  <a:lnTo>
                    <a:pt x="2164" y="1278"/>
                  </a:lnTo>
                  <a:lnTo>
                    <a:pt x="2138" y="1294"/>
                  </a:lnTo>
                  <a:lnTo>
                    <a:pt x="2107" y="1313"/>
                  </a:lnTo>
                  <a:lnTo>
                    <a:pt x="2077" y="1333"/>
                  </a:lnTo>
                  <a:lnTo>
                    <a:pt x="2044" y="1352"/>
                  </a:lnTo>
                  <a:lnTo>
                    <a:pt x="2010" y="1373"/>
                  </a:lnTo>
                  <a:lnTo>
                    <a:pt x="1976" y="1395"/>
                  </a:lnTo>
                  <a:lnTo>
                    <a:pt x="1942" y="1417"/>
                  </a:lnTo>
                  <a:lnTo>
                    <a:pt x="1908" y="1437"/>
                  </a:lnTo>
                  <a:lnTo>
                    <a:pt x="1875" y="1458"/>
                  </a:lnTo>
                  <a:lnTo>
                    <a:pt x="1842" y="1479"/>
                  </a:lnTo>
                  <a:lnTo>
                    <a:pt x="1812" y="1497"/>
                  </a:lnTo>
                  <a:lnTo>
                    <a:pt x="1784" y="1515"/>
                  </a:lnTo>
                  <a:lnTo>
                    <a:pt x="1757" y="1531"/>
                  </a:lnTo>
                  <a:lnTo>
                    <a:pt x="1734" y="1546"/>
                  </a:lnTo>
                  <a:lnTo>
                    <a:pt x="1713" y="1558"/>
                  </a:lnTo>
                  <a:lnTo>
                    <a:pt x="1697" y="1569"/>
                  </a:lnTo>
                  <a:lnTo>
                    <a:pt x="1685" y="1576"/>
                  </a:lnTo>
                  <a:lnTo>
                    <a:pt x="1678" y="1581"/>
                  </a:lnTo>
                  <a:lnTo>
                    <a:pt x="1674" y="1582"/>
                  </a:lnTo>
                  <a:lnTo>
                    <a:pt x="1673" y="1583"/>
                  </a:lnTo>
                  <a:lnTo>
                    <a:pt x="1666" y="1587"/>
                  </a:lnTo>
                  <a:lnTo>
                    <a:pt x="1656" y="1593"/>
                  </a:lnTo>
                  <a:lnTo>
                    <a:pt x="1643" y="1598"/>
                  </a:lnTo>
                  <a:lnTo>
                    <a:pt x="1627" y="1603"/>
                  </a:lnTo>
                  <a:lnTo>
                    <a:pt x="1609" y="1607"/>
                  </a:lnTo>
                  <a:lnTo>
                    <a:pt x="1588" y="1607"/>
                  </a:lnTo>
                  <a:lnTo>
                    <a:pt x="1566" y="1604"/>
                  </a:lnTo>
                  <a:lnTo>
                    <a:pt x="1543" y="1596"/>
                  </a:lnTo>
                  <a:lnTo>
                    <a:pt x="1520" y="1583"/>
                  </a:lnTo>
                  <a:lnTo>
                    <a:pt x="1497" y="1563"/>
                  </a:lnTo>
                  <a:lnTo>
                    <a:pt x="1473" y="1536"/>
                  </a:lnTo>
                  <a:lnTo>
                    <a:pt x="1457" y="1514"/>
                  </a:lnTo>
                  <a:lnTo>
                    <a:pt x="1439" y="1488"/>
                  </a:lnTo>
                  <a:lnTo>
                    <a:pt x="1419" y="1462"/>
                  </a:lnTo>
                  <a:lnTo>
                    <a:pt x="1400" y="1433"/>
                  </a:lnTo>
                  <a:lnTo>
                    <a:pt x="1379" y="1401"/>
                  </a:lnTo>
                  <a:lnTo>
                    <a:pt x="1357" y="1370"/>
                  </a:lnTo>
                  <a:lnTo>
                    <a:pt x="1335" y="1339"/>
                  </a:lnTo>
                  <a:lnTo>
                    <a:pt x="1314" y="1307"/>
                  </a:lnTo>
                  <a:lnTo>
                    <a:pt x="1294" y="1276"/>
                  </a:lnTo>
                  <a:lnTo>
                    <a:pt x="1274" y="1246"/>
                  </a:lnTo>
                  <a:lnTo>
                    <a:pt x="1256" y="1218"/>
                  </a:lnTo>
                  <a:lnTo>
                    <a:pt x="1239" y="1193"/>
                  </a:lnTo>
                  <a:lnTo>
                    <a:pt x="1223" y="1168"/>
                  </a:lnTo>
                  <a:lnTo>
                    <a:pt x="1210" y="1149"/>
                  </a:lnTo>
                  <a:lnTo>
                    <a:pt x="1199" y="1132"/>
                  </a:lnTo>
                  <a:lnTo>
                    <a:pt x="1192" y="1120"/>
                  </a:lnTo>
                  <a:lnTo>
                    <a:pt x="1187" y="1113"/>
                  </a:lnTo>
                  <a:lnTo>
                    <a:pt x="1184" y="1109"/>
                  </a:lnTo>
                  <a:lnTo>
                    <a:pt x="519" y="1299"/>
                  </a:lnTo>
                  <a:lnTo>
                    <a:pt x="517" y="1302"/>
                  </a:lnTo>
                  <a:lnTo>
                    <a:pt x="513" y="1310"/>
                  </a:lnTo>
                  <a:lnTo>
                    <a:pt x="505" y="1323"/>
                  </a:lnTo>
                  <a:lnTo>
                    <a:pt x="495" y="1341"/>
                  </a:lnTo>
                  <a:lnTo>
                    <a:pt x="483" y="1363"/>
                  </a:lnTo>
                  <a:lnTo>
                    <a:pt x="468" y="1390"/>
                  </a:lnTo>
                  <a:lnTo>
                    <a:pt x="451" y="1418"/>
                  </a:lnTo>
                  <a:lnTo>
                    <a:pt x="434" y="1450"/>
                  </a:lnTo>
                  <a:lnTo>
                    <a:pt x="415" y="1484"/>
                  </a:lnTo>
                  <a:lnTo>
                    <a:pt x="395" y="1519"/>
                  </a:lnTo>
                  <a:lnTo>
                    <a:pt x="375" y="1555"/>
                  </a:lnTo>
                  <a:lnTo>
                    <a:pt x="354" y="1593"/>
                  </a:lnTo>
                  <a:lnTo>
                    <a:pt x="333" y="1631"/>
                  </a:lnTo>
                  <a:lnTo>
                    <a:pt x="313" y="1669"/>
                  </a:lnTo>
                  <a:lnTo>
                    <a:pt x="293" y="1706"/>
                  </a:lnTo>
                  <a:lnTo>
                    <a:pt x="274" y="1742"/>
                  </a:lnTo>
                  <a:lnTo>
                    <a:pt x="257" y="1768"/>
                  </a:lnTo>
                  <a:lnTo>
                    <a:pt x="237" y="1789"/>
                  </a:lnTo>
                  <a:lnTo>
                    <a:pt x="215" y="1804"/>
                  </a:lnTo>
                  <a:lnTo>
                    <a:pt x="192" y="1813"/>
                  </a:lnTo>
                  <a:lnTo>
                    <a:pt x="168" y="1818"/>
                  </a:lnTo>
                  <a:lnTo>
                    <a:pt x="143" y="1818"/>
                  </a:lnTo>
                  <a:lnTo>
                    <a:pt x="118" y="1815"/>
                  </a:lnTo>
                  <a:lnTo>
                    <a:pt x="94" y="1806"/>
                  </a:lnTo>
                  <a:lnTo>
                    <a:pt x="72" y="1794"/>
                  </a:lnTo>
                  <a:lnTo>
                    <a:pt x="51" y="1779"/>
                  </a:lnTo>
                  <a:lnTo>
                    <a:pt x="34" y="1761"/>
                  </a:lnTo>
                  <a:lnTo>
                    <a:pt x="20" y="1740"/>
                  </a:lnTo>
                  <a:lnTo>
                    <a:pt x="9" y="1717"/>
                  </a:lnTo>
                  <a:lnTo>
                    <a:pt x="3" y="1692"/>
                  </a:lnTo>
                  <a:lnTo>
                    <a:pt x="0" y="1665"/>
                  </a:lnTo>
                  <a:lnTo>
                    <a:pt x="5" y="1636"/>
                  </a:lnTo>
                  <a:lnTo>
                    <a:pt x="15" y="1607"/>
                  </a:lnTo>
                  <a:lnTo>
                    <a:pt x="48" y="1547"/>
                  </a:lnTo>
                  <a:lnTo>
                    <a:pt x="78" y="1491"/>
                  </a:lnTo>
                  <a:lnTo>
                    <a:pt x="107" y="1437"/>
                  </a:lnTo>
                  <a:lnTo>
                    <a:pt x="136" y="1385"/>
                  </a:lnTo>
                  <a:lnTo>
                    <a:pt x="166" y="1334"/>
                  </a:lnTo>
                  <a:lnTo>
                    <a:pt x="195" y="1280"/>
                  </a:lnTo>
                  <a:lnTo>
                    <a:pt x="225" y="1226"/>
                  </a:lnTo>
                  <a:lnTo>
                    <a:pt x="259" y="1168"/>
                  </a:lnTo>
                  <a:lnTo>
                    <a:pt x="294" y="1108"/>
                  </a:lnTo>
                  <a:lnTo>
                    <a:pt x="313" y="1083"/>
                  </a:lnTo>
                  <a:lnTo>
                    <a:pt x="335" y="1061"/>
                  </a:lnTo>
                  <a:lnTo>
                    <a:pt x="361" y="1043"/>
                  </a:lnTo>
                  <a:lnTo>
                    <a:pt x="389" y="1031"/>
                  </a:lnTo>
                  <a:lnTo>
                    <a:pt x="420" y="1022"/>
                  </a:lnTo>
                  <a:lnTo>
                    <a:pt x="451" y="1014"/>
                  </a:lnTo>
                  <a:lnTo>
                    <a:pt x="487" y="1004"/>
                  </a:lnTo>
                  <a:lnTo>
                    <a:pt x="522" y="993"/>
                  </a:lnTo>
                  <a:lnTo>
                    <a:pt x="560" y="984"/>
                  </a:lnTo>
                  <a:lnTo>
                    <a:pt x="596" y="973"/>
                  </a:lnTo>
                  <a:lnTo>
                    <a:pt x="632" y="963"/>
                  </a:lnTo>
                  <a:lnTo>
                    <a:pt x="669" y="952"/>
                  </a:lnTo>
                  <a:lnTo>
                    <a:pt x="703" y="942"/>
                  </a:lnTo>
                  <a:lnTo>
                    <a:pt x="733" y="934"/>
                  </a:lnTo>
                  <a:lnTo>
                    <a:pt x="763" y="925"/>
                  </a:lnTo>
                  <a:lnTo>
                    <a:pt x="787" y="919"/>
                  </a:lnTo>
                  <a:lnTo>
                    <a:pt x="808" y="913"/>
                  </a:lnTo>
                  <a:lnTo>
                    <a:pt x="823" y="908"/>
                  </a:lnTo>
                  <a:lnTo>
                    <a:pt x="833" y="906"/>
                  </a:lnTo>
                  <a:lnTo>
                    <a:pt x="835" y="904"/>
                  </a:lnTo>
                  <a:lnTo>
                    <a:pt x="834" y="902"/>
                  </a:lnTo>
                  <a:lnTo>
                    <a:pt x="829" y="895"/>
                  </a:lnTo>
                  <a:lnTo>
                    <a:pt x="821" y="883"/>
                  </a:lnTo>
                  <a:lnTo>
                    <a:pt x="810" y="866"/>
                  </a:lnTo>
                  <a:lnTo>
                    <a:pt x="795" y="846"/>
                  </a:lnTo>
                  <a:lnTo>
                    <a:pt x="780" y="822"/>
                  </a:lnTo>
                  <a:lnTo>
                    <a:pt x="761" y="795"/>
                  </a:lnTo>
                  <a:lnTo>
                    <a:pt x="742" y="766"/>
                  </a:lnTo>
                  <a:lnTo>
                    <a:pt x="720" y="734"/>
                  </a:lnTo>
                  <a:lnTo>
                    <a:pt x="697" y="700"/>
                  </a:lnTo>
                  <a:lnTo>
                    <a:pt x="674" y="666"/>
                  </a:lnTo>
                  <a:lnTo>
                    <a:pt x="648" y="629"/>
                  </a:lnTo>
                  <a:lnTo>
                    <a:pt x="623" y="592"/>
                  </a:lnTo>
                  <a:lnTo>
                    <a:pt x="597" y="555"/>
                  </a:lnTo>
                  <a:lnTo>
                    <a:pt x="572" y="518"/>
                  </a:lnTo>
                  <a:lnTo>
                    <a:pt x="546" y="481"/>
                  </a:lnTo>
                  <a:lnTo>
                    <a:pt x="522" y="445"/>
                  </a:lnTo>
                  <a:lnTo>
                    <a:pt x="498" y="409"/>
                  </a:lnTo>
                  <a:lnTo>
                    <a:pt x="477" y="378"/>
                  </a:lnTo>
                  <a:lnTo>
                    <a:pt x="459" y="344"/>
                  </a:lnTo>
                  <a:lnTo>
                    <a:pt x="445" y="308"/>
                  </a:lnTo>
                  <a:lnTo>
                    <a:pt x="436" y="273"/>
                  </a:lnTo>
                  <a:lnTo>
                    <a:pt x="431" y="238"/>
                  </a:lnTo>
                  <a:lnTo>
                    <a:pt x="432" y="204"/>
                  </a:lnTo>
                  <a:lnTo>
                    <a:pt x="438" y="168"/>
                  </a:lnTo>
                  <a:lnTo>
                    <a:pt x="450" y="136"/>
                  </a:lnTo>
                  <a:lnTo>
                    <a:pt x="470" y="103"/>
                  </a:lnTo>
                  <a:lnTo>
                    <a:pt x="495" y="71"/>
                  </a:lnTo>
                  <a:lnTo>
                    <a:pt x="521" y="50"/>
                  </a:lnTo>
                  <a:lnTo>
                    <a:pt x="550" y="32"/>
                  </a:lnTo>
                  <a:lnTo>
                    <a:pt x="580" y="19"/>
                  </a:lnTo>
                  <a:lnTo>
                    <a:pt x="614" y="9"/>
                  </a:lnTo>
                  <a:lnTo>
                    <a:pt x="648" y="3"/>
                  </a:lnTo>
                  <a:lnTo>
                    <a:pt x="6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5" name="Freeform 19"/>
            <p:cNvSpPr>
              <a:spLocks/>
            </p:cNvSpPr>
            <p:nvPr/>
          </p:nvSpPr>
          <p:spPr bwMode="auto">
            <a:xfrm>
              <a:off x="-778" y="2046"/>
              <a:ext cx="109" cy="110"/>
            </a:xfrm>
            <a:custGeom>
              <a:avLst/>
              <a:gdLst>
                <a:gd name="T0" fmla="*/ 219 w 439"/>
                <a:gd name="T1" fmla="*/ 0 h 439"/>
                <a:gd name="T2" fmla="*/ 259 w 439"/>
                <a:gd name="T3" fmla="*/ 4 h 439"/>
                <a:gd name="T4" fmla="*/ 296 w 439"/>
                <a:gd name="T5" fmla="*/ 14 h 439"/>
                <a:gd name="T6" fmla="*/ 330 w 439"/>
                <a:gd name="T7" fmla="*/ 30 h 439"/>
                <a:gd name="T8" fmla="*/ 360 w 439"/>
                <a:gd name="T9" fmla="*/ 52 h 439"/>
                <a:gd name="T10" fmla="*/ 387 w 439"/>
                <a:gd name="T11" fmla="*/ 78 h 439"/>
                <a:gd name="T12" fmla="*/ 409 w 439"/>
                <a:gd name="T13" fmla="*/ 108 h 439"/>
                <a:gd name="T14" fmla="*/ 425 w 439"/>
                <a:gd name="T15" fmla="*/ 143 h 439"/>
                <a:gd name="T16" fmla="*/ 435 w 439"/>
                <a:gd name="T17" fmla="*/ 180 h 439"/>
                <a:gd name="T18" fmla="*/ 439 w 439"/>
                <a:gd name="T19" fmla="*/ 219 h 439"/>
                <a:gd name="T20" fmla="*/ 435 w 439"/>
                <a:gd name="T21" fmla="*/ 259 h 439"/>
                <a:gd name="T22" fmla="*/ 425 w 439"/>
                <a:gd name="T23" fmla="*/ 296 h 439"/>
                <a:gd name="T24" fmla="*/ 409 w 439"/>
                <a:gd name="T25" fmla="*/ 330 h 439"/>
                <a:gd name="T26" fmla="*/ 387 w 439"/>
                <a:gd name="T27" fmla="*/ 361 h 439"/>
                <a:gd name="T28" fmla="*/ 360 w 439"/>
                <a:gd name="T29" fmla="*/ 387 h 439"/>
                <a:gd name="T30" fmla="*/ 330 w 439"/>
                <a:gd name="T31" fmla="*/ 409 h 439"/>
                <a:gd name="T32" fmla="*/ 296 w 439"/>
                <a:gd name="T33" fmla="*/ 425 h 439"/>
                <a:gd name="T34" fmla="*/ 259 w 439"/>
                <a:gd name="T35" fmla="*/ 435 h 439"/>
                <a:gd name="T36" fmla="*/ 219 w 439"/>
                <a:gd name="T37" fmla="*/ 439 h 439"/>
                <a:gd name="T38" fmla="*/ 180 w 439"/>
                <a:gd name="T39" fmla="*/ 435 h 439"/>
                <a:gd name="T40" fmla="*/ 144 w 439"/>
                <a:gd name="T41" fmla="*/ 425 h 439"/>
                <a:gd name="T42" fmla="*/ 108 w 439"/>
                <a:gd name="T43" fmla="*/ 409 h 439"/>
                <a:gd name="T44" fmla="*/ 78 w 439"/>
                <a:gd name="T45" fmla="*/ 387 h 439"/>
                <a:gd name="T46" fmla="*/ 53 w 439"/>
                <a:gd name="T47" fmla="*/ 361 h 439"/>
                <a:gd name="T48" fmla="*/ 31 w 439"/>
                <a:gd name="T49" fmla="*/ 330 h 439"/>
                <a:gd name="T50" fmla="*/ 15 w 439"/>
                <a:gd name="T51" fmla="*/ 296 h 439"/>
                <a:gd name="T52" fmla="*/ 4 w 439"/>
                <a:gd name="T53" fmla="*/ 259 h 439"/>
                <a:gd name="T54" fmla="*/ 0 w 439"/>
                <a:gd name="T55" fmla="*/ 219 h 439"/>
                <a:gd name="T56" fmla="*/ 4 w 439"/>
                <a:gd name="T57" fmla="*/ 180 h 439"/>
                <a:gd name="T58" fmla="*/ 15 w 439"/>
                <a:gd name="T59" fmla="*/ 143 h 439"/>
                <a:gd name="T60" fmla="*/ 31 w 439"/>
                <a:gd name="T61" fmla="*/ 108 h 439"/>
                <a:gd name="T62" fmla="*/ 53 w 439"/>
                <a:gd name="T63" fmla="*/ 78 h 439"/>
                <a:gd name="T64" fmla="*/ 78 w 439"/>
                <a:gd name="T65" fmla="*/ 52 h 439"/>
                <a:gd name="T66" fmla="*/ 108 w 439"/>
                <a:gd name="T67" fmla="*/ 30 h 439"/>
                <a:gd name="T68" fmla="*/ 144 w 439"/>
                <a:gd name="T69" fmla="*/ 14 h 439"/>
                <a:gd name="T70" fmla="*/ 180 w 439"/>
                <a:gd name="T71" fmla="*/ 4 h 439"/>
                <a:gd name="T72" fmla="*/ 219 w 439"/>
                <a:gd name="T73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39" h="439">
                  <a:moveTo>
                    <a:pt x="219" y="0"/>
                  </a:moveTo>
                  <a:lnTo>
                    <a:pt x="259" y="4"/>
                  </a:lnTo>
                  <a:lnTo>
                    <a:pt x="296" y="14"/>
                  </a:lnTo>
                  <a:lnTo>
                    <a:pt x="330" y="30"/>
                  </a:lnTo>
                  <a:lnTo>
                    <a:pt x="360" y="52"/>
                  </a:lnTo>
                  <a:lnTo>
                    <a:pt x="387" y="78"/>
                  </a:lnTo>
                  <a:lnTo>
                    <a:pt x="409" y="108"/>
                  </a:lnTo>
                  <a:lnTo>
                    <a:pt x="425" y="143"/>
                  </a:lnTo>
                  <a:lnTo>
                    <a:pt x="435" y="180"/>
                  </a:lnTo>
                  <a:lnTo>
                    <a:pt x="439" y="219"/>
                  </a:lnTo>
                  <a:lnTo>
                    <a:pt x="435" y="259"/>
                  </a:lnTo>
                  <a:lnTo>
                    <a:pt x="425" y="296"/>
                  </a:lnTo>
                  <a:lnTo>
                    <a:pt x="409" y="330"/>
                  </a:lnTo>
                  <a:lnTo>
                    <a:pt x="387" y="361"/>
                  </a:lnTo>
                  <a:lnTo>
                    <a:pt x="360" y="387"/>
                  </a:lnTo>
                  <a:lnTo>
                    <a:pt x="330" y="409"/>
                  </a:lnTo>
                  <a:lnTo>
                    <a:pt x="296" y="425"/>
                  </a:lnTo>
                  <a:lnTo>
                    <a:pt x="259" y="435"/>
                  </a:lnTo>
                  <a:lnTo>
                    <a:pt x="219" y="439"/>
                  </a:lnTo>
                  <a:lnTo>
                    <a:pt x="180" y="435"/>
                  </a:lnTo>
                  <a:lnTo>
                    <a:pt x="144" y="425"/>
                  </a:lnTo>
                  <a:lnTo>
                    <a:pt x="108" y="409"/>
                  </a:lnTo>
                  <a:lnTo>
                    <a:pt x="78" y="387"/>
                  </a:lnTo>
                  <a:lnTo>
                    <a:pt x="53" y="361"/>
                  </a:lnTo>
                  <a:lnTo>
                    <a:pt x="31" y="330"/>
                  </a:lnTo>
                  <a:lnTo>
                    <a:pt x="15" y="296"/>
                  </a:lnTo>
                  <a:lnTo>
                    <a:pt x="4" y="259"/>
                  </a:lnTo>
                  <a:lnTo>
                    <a:pt x="0" y="219"/>
                  </a:lnTo>
                  <a:lnTo>
                    <a:pt x="4" y="180"/>
                  </a:lnTo>
                  <a:lnTo>
                    <a:pt x="15" y="143"/>
                  </a:lnTo>
                  <a:lnTo>
                    <a:pt x="31" y="108"/>
                  </a:lnTo>
                  <a:lnTo>
                    <a:pt x="53" y="78"/>
                  </a:lnTo>
                  <a:lnTo>
                    <a:pt x="78" y="52"/>
                  </a:lnTo>
                  <a:lnTo>
                    <a:pt x="108" y="30"/>
                  </a:lnTo>
                  <a:lnTo>
                    <a:pt x="144" y="14"/>
                  </a:lnTo>
                  <a:lnTo>
                    <a:pt x="180" y="4"/>
                  </a:lnTo>
                  <a:lnTo>
                    <a:pt x="2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8" name="Freeform 20"/>
            <p:cNvSpPr>
              <a:spLocks/>
            </p:cNvSpPr>
            <p:nvPr/>
          </p:nvSpPr>
          <p:spPr bwMode="auto">
            <a:xfrm>
              <a:off x="-1099" y="1888"/>
              <a:ext cx="110" cy="109"/>
            </a:xfrm>
            <a:custGeom>
              <a:avLst/>
              <a:gdLst>
                <a:gd name="T0" fmla="*/ 219 w 438"/>
                <a:gd name="T1" fmla="*/ 0 h 438"/>
                <a:gd name="T2" fmla="*/ 258 w 438"/>
                <a:gd name="T3" fmla="*/ 4 h 438"/>
                <a:gd name="T4" fmla="*/ 295 w 438"/>
                <a:gd name="T5" fmla="*/ 14 h 438"/>
                <a:gd name="T6" fmla="*/ 329 w 438"/>
                <a:gd name="T7" fmla="*/ 30 h 438"/>
                <a:gd name="T8" fmla="*/ 360 w 438"/>
                <a:gd name="T9" fmla="*/ 52 h 438"/>
                <a:gd name="T10" fmla="*/ 386 w 438"/>
                <a:gd name="T11" fmla="*/ 78 h 438"/>
                <a:gd name="T12" fmla="*/ 407 w 438"/>
                <a:gd name="T13" fmla="*/ 109 h 438"/>
                <a:gd name="T14" fmla="*/ 424 w 438"/>
                <a:gd name="T15" fmla="*/ 143 h 438"/>
                <a:gd name="T16" fmla="*/ 434 w 438"/>
                <a:gd name="T17" fmla="*/ 179 h 438"/>
                <a:gd name="T18" fmla="*/ 438 w 438"/>
                <a:gd name="T19" fmla="*/ 219 h 438"/>
                <a:gd name="T20" fmla="*/ 434 w 438"/>
                <a:gd name="T21" fmla="*/ 258 h 438"/>
                <a:gd name="T22" fmla="*/ 424 w 438"/>
                <a:gd name="T23" fmla="*/ 296 h 438"/>
                <a:gd name="T24" fmla="*/ 407 w 438"/>
                <a:gd name="T25" fmla="*/ 330 h 438"/>
                <a:gd name="T26" fmla="*/ 386 w 438"/>
                <a:gd name="T27" fmla="*/ 361 h 438"/>
                <a:gd name="T28" fmla="*/ 360 w 438"/>
                <a:gd name="T29" fmla="*/ 387 h 438"/>
                <a:gd name="T30" fmla="*/ 329 w 438"/>
                <a:gd name="T31" fmla="*/ 409 h 438"/>
                <a:gd name="T32" fmla="*/ 295 w 438"/>
                <a:gd name="T33" fmla="*/ 425 h 438"/>
                <a:gd name="T34" fmla="*/ 258 w 438"/>
                <a:gd name="T35" fmla="*/ 435 h 438"/>
                <a:gd name="T36" fmla="*/ 219 w 438"/>
                <a:gd name="T37" fmla="*/ 438 h 438"/>
                <a:gd name="T38" fmla="*/ 179 w 438"/>
                <a:gd name="T39" fmla="*/ 435 h 438"/>
                <a:gd name="T40" fmla="*/ 142 w 438"/>
                <a:gd name="T41" fmla="*/ 425 h 438"/>
                <a:gd name="T42" fmla="*/ 108 w 438"/>
                <a:gd name="T43" fmla="*/ 409 h 438"/>
                <a:gd name="T44" fmla="*/ 78 w 438"/>
                <a:gd name="T45" fmla="*/ 387 h 438"/>
                <a:gd name="T46" fmla="*/ 51 w 438"/>
                <a:gd name="T47" fmla="*/ 361 h 438"/>
                <a:gd name="T48" fmla="*/ 29 w 438"/>
                <a:gd name="T49" fmla="*/ 330 h 438"/>
                <a:gd name="T50" fmla="*/ 13 w 438"/>
                <a:gd name="T51" fmla="*/ 296 h 438"/>
                <a:gd name="T52" fmla="*/ 3 w 438"/>
                <a:gd name="T53" fmla="*/ 258 h 438"/>
                <a:gd name="T54" fmla="*/ 0 w 438"/>
                <a:gd name="T55" fmla="*/ 219 h 438"/>
                <a:gd name="T56" fmla="*/ 3 w 438"/>
                <a:gd name="T57" fmla="*/ 179 h 438"/>
                <a:gd name="T58" fmla="*/ 13 w 438"/>
                <a:gd name="T59" fmla="*/ 143 h 438"/>
                <a:gd name="T60" fmla="*/ 29 w 438"/>
                <a:gd name="T61" fmla="*/ 109 h 438"/>
                <a:gd name="T62" fmla="*/ 51 w 438"/>
                <a:gd name="T63" fmla="*/ 78 h 438"/>
                <a:gd name="T64" fmla="*/ 78 w 438"/>
                <a:gd name="T65" fmla="*/ 52 h 438"/>
                <a:gd name="T66" fmla="*/ 108 w 438"/>
                <a:gd name="T67" fmla="*/ 30 h 438"/>
                <a:gd name="T68" fmla="*/ 142 w 438"/>
                <a:gd name="T69" fmla="*/ 14 h 438"/>
                <a:gd name="T70" fmla="*/ 179 w 438"/>
                <a:gd name="T71" fmla="*/ 4 h 438"/>
                <a:gd name="T72" fmla="*/ 219 w 438"/>
                <a:gd name="T73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38" h="438">
                  <a:moveTo>
                    <a:pt x="219" y="0"/>
                  </a:moveTo>
                  <a:lnTo>
                    <a:pt x="258" y="4"/>
                  </a:lnTo>
                  <a:lnTo>
                    <a:pt x="295" y="14"/>
                  </a:lnTo>
                  <a:lnTo>
                    <a:pt x="329" y="30"/>
                  </a:lnTo>
                  <a:lnTo>
                    <a:pt x="360" y="52"/>
                  </a:lnTo>
                  <a:lnTo>
                    <a:pt x="386" y="78"/>
                  </a:lnTo>
                  <a:lnTo>
                    <a:pt x="407" y="109"/>
                  </a:lnTo>
                  <a:lnTo>
                    <a:pt x="424" y="143"/>
                  </a:lnTo>
                  <a:lnTo>
                    <a:pt x="434" y="179"/>
                  </a:lnTo>
                  <a:lnTo>
                    <a:pt x="438" y="219"/>
                  </a:lnTo>
                  <a:lnTo>
                    <a:pt x="434" y="258"/>
                  </a:lnTo>
                  <a:lnTo>
                    <a:pt x="424" y="296"/>
                  </a:lnTo>
                  <a:lnTo>
                    <a:pt x="407" y="330"/>
                  </a:lnTo>
                  <a:lnTo>
                    <a:pt x="386" y="361"/>
                  </a:lnTo>
                  <a:lnTo>
                    <a:pt x="360" y="387"/>
                  </a:lnTo>
                  <a:lnTo>
                    <a:pt x="329" y="409"/>
                  </a:lnTo>
                  <a:lnTo>
                    <a:pt x="295" y="425"/>
                  </a:lnTo>
                  <a:lnTo>
                    <a:pt x="258" y="435"/>
                  </a:lnTo>
                  <a:lnTo>
                    <a:pt x="219" y="438"/>
                  </a:lnTo>
                  <a:lnTo>
                    <a:pt x="179" y="435"/>
                  </a:lnTo>
                  <a:lnTo>
                    <a:pt x="142" y="425"/>
                  </a:lnTo>
                  <a:lnTo>
                    <a:pt x="108" y="409"/>
                  </a:lnTo>
                  <a:lnTo>
                    <a:pt x="78" y="387"/>
                  </a:lnTo>
                  <a:lnTo>
                    <a:pt x="51" y="361"/>
                  </a:lnTo>
                  <a:lnTo>
                    <a:pt x="29" y="330"/>
                  </a:lnTo>
                  <a:lnTo>
                    <a:pt x="13" y="296"/>
                  </a:lnTo>
                  <a:lnTo>
                    <a:pt x="3" y="258"/>
                  </a:lnTo>
                  <a:lnTo>
                    <a:pt x="0" y="219"/>
                  </a:lnTo>
                  <a:lnTo>
                    <a:pt x="3" y="179"/>
                  </a:lnTo>
                  <a:lnTo>
                    <a:pt x="13" y="143"/>
                  </a:lnTo>
                  <a:lnTo>
                    <a:pt x="29" y="109"/>
                  </a:lnTo>
                  <a:lnTo>
                    <a:pt x="51" y="78"/>
                  </a:lnTo>
                  <a:lnTo>
                    <a:pt x="78" y="52"/>
                  </a:lnTo>
                  <a:lnTo>
                    <a:pt x="108" y="30"/>
                  </a:lnTo>
                  <a:lnTo>
                    <a:pt x="142" y="14"/>
                  </a:lnTo>
                  <a:lnTo>
                    <a:pt x="179" y="4"/>
                  </a:lnTo>
                  <a:lnTo>
                    <a:pt x="2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9" name="Freeform 21"/>
            <p:cNvSpPr>
              <a:spLocks/>
            </p:cNvSpPr>
            <p:nvPr/>
          </p:nvSpPr>
          <p:spPr bwMode="auto">
            <a:xfrm>
              <a:off x="-1126" y="1985"/>
              <a:ext cx="476" cy="455"/>
            </a:xfrm>
            <a:custGeom>
              <a:avLst/>
              <a:gdLst>
                <a:gd name="T0" fmla="*/ 726 w 1903"/>
                <a:gd name="T1" fmla="*/ 0 h 1818"/>
                <a:gd name="T2" fmla="*/ 841 w 1903"/>
                <a:gd name="T3" fmla="*/ 0 h 1818"/>
                <a:gd name="T4" fmla="*/ 1002 w 1903"/>
                <a:gd name="T5" fmla="*/ 0 h 1818"/>
                <a:gd name="T6" fmla="*/ 1185 w 1903"/>
                <a:gd name="T7" fmla="*/ 0 h 1818"/>
                <a:gd name="T8" fmla="*/ 1371 w 1903"/>
                <a:gd name="T9" fmla="*/ 0 h 1818"/>
                <a:gd name="T10" fmla="*/ 1539 w 1903"/>
                <a:gd name="T11" fmla="*/ 0 h 1818"/>
                <a:gd name="T12" fmla="*/ 1619 w 1903"/>
                <a:gd name="T13" fmla="*/ 22 h 1818"/>
                <a:gd name="T14" fmla="*/ 1665 w 1903"/>
                <a:gd name="T15" fmla="*/ 78 h 1818"/>
                <a:gd name="T16" fmla="*/ 1644 w 1903"/>
                <a:gd name="T17" fmla="*/ 119 h 1818"/>
                <a:gd name="T18" fmla="*/ 1515 w 1903"/>
                <a:gd name="T19" fmla="*/ 130 h 1818"/>
                <a:gd name="T20" fmla="*/ 1396 w 1903"/>
                <a:gd name="T21" fmla="*/ 192 h 1818"/>
                <a:gd name="T22" fmla="*/ 1310 w 1903"/>
                <a:gd name="T23" fmla="*/ 293 h 1818"/>
                <a:gd name="T24" fmla="*/ 1174 w 1903"/>
                <a:gd name="T25" fmla="*/ 296 h 1818"/>
                <a:gd name="T26" fmla="*/ 1067 w 1903"/>
                <a:gd name="T27" fmla="*/ 297 h 1818"/>
                <a:gd name="T28" fmla="*/ 1010 w 1903"/>
                <a:gd name="T29" fmla="*/ 297 h 1818"/>
                <a:gd name="T30" fmla="*/ 1743 w 1903"/>
                <a:gd name="T31" fmla="*/ 1207 h 1818"/>
                <a:gd name="T32" fmla="*/ 1636 w 1903"/>
                <a:gd name="T33" fmla="*/ 1544 h 1818"/>
                <a:gd name="T34" fmla="*/ 1541 w 1903"/>
                <a:gd name="T35" fmla="*/ 1594 h 1818"/>
                <a:gd name="T36" fmla="*/ 1472 w 1903"/>
                <a:gd name="T37" fmla="*/ 1534 h 1818"/>
                <a:gd name="T38" fmla="*/ 1419 w 1903"/>
                <a:gd name="T39" fmla="*/ 1460 h 1818"/>
                <a:gd name="T40" fmla="*/ 1357 w 1903"/>
                <a:gd name="T41" fmla="*/ 1369 h 1818"/>
                <a:gd name="T42" fmla="*/ 1293 w 1903"/>
                <a:gd name="T43" fmla="*/ 1275 h 1818"/>
                <a:gd name="T44" fmla="*/ 1237 w 1903"/>
                <a:gd name="T45" fmla="*/ 1191 h 1818"/>
                <a:gd name="T46" fmla="*/ 1199 w 1903"/>
                <a:gd name="T47" fmla="*/ 1132 h 1818"/>
                <a:gd name="T48" fmla="*/ 1183 w 1903"/>
                <a:gd name="T49" fmla="*/ 1108 h 1818"/>
                <a:gd name="T50" fmla="*/ 512 w 1903"/>
                <a:gd name="T51" fmla="*/ 1309 h 1818"/>
                <a:gd name="T52" fmla="*/ 481 w 1903"/>
                <a:gd name="T53" fmla="*/ 1363 h 1818"/>
                <a:gd name="T54" fmla="*/ 433 w 1903"/>
                <a:gd name="T55" fmla="*/ 1449 h 1818"/>
                <a:gd name="T56" fmla="*/ 374 w 1903"/>
                <a:gd name="T57" fmla="*/ 1555 h 1818"/>
                <a:gd name="T58" fmla="*/ 312 w 1903"/>
                <a:gd name="T59" fmla="*/ 1668 h 1818"/>
                <a:gd name="T60" fmla="*/ 256 w 1903"/>
                <a:gd name="T61" fmla="*/ 1767 h 1818"/>
                <a:gd name="T62" fmla="*/ 191 w 1903"/>
                <a:gd name="T63" fmla="*/ 1813 h 1818"/>
                <a:gd name="T64" fmla="*/ 117 w 1903"/>
                <a:gd name="T65" fmla="*/ 1813 h 1818"/>
                <a:gd name="T66" fmla="*/ 51 w 1903"/>
                <a:gd name="T67" fmla="*/ 1778 h 1818"/>
                <a:gd name="T68" fmla="*/ 7 w 1903"/>
                <a:gd name="T69" fmla="*/ 1716 h 1818"/>
                <a:gd name="T70" fmla="*/ 4 w 1903"/>
                <a:gd name="T71" fmla="*/ 1635 h 1818"/>
                <a:gd name="T72" fmla="*/ 78 w 1903"/>
                <a:gd name="T73" fmla="*/ 1490 h 1818"/>
                <a:gd name="T74" fmla="*/ 164 w 1903"/>
                <a:gd name="T75" fmla="*/ 1332 h 1818"/>
                <a:gd name="T76" fmla="*/ 258 w 1903"/>
                <a:gd name="T77" fmla="*/ 1168 h 1818"/>
                <a:gd name="T78" fmla="*/ 333 w 1903"/>
                <a:gd name="T79" fmla="*/ 1061 h 1818"/>
                <a:gd name="T80" fmla="*/ 418 w 1903"/>
                <a:gd name="T81" fmla="*/ 1022 h 1818"/>
                <a:gd name="T82" fmla="*/ 521 w 1903"/>
                <a:gd name="T83" fmla="*/ 993 h 1818"/>
                <a:gd name="T84" fmla="*/ 632 w 1903"/>
                <a:gd name="T85" fmla="*/ 961 h 1818"/>
                <a:gd name="T86" fmla="*/ 733 w 1903"/>
                <a:gd name="T87" fmla="*/ 933 h 1818"/>
                <a:gd name="T88" fmla="*/ 806 w 1903"/>
                <a:gd name="T89" fmla="*/ 911 h 1818"/>
                <a:gd name="T90" fmla="*/ 835 w 1903"/>
                <a:gd name="T91" fmla="*/ 903 h 1818"/>
                <a:gd name="T92" fmla="*/ 819 w 1903"/>
                <a:gd name="T93" fmla="*/ 881 h 1818"/>
                <a:gd name="T94" fmla="*/ 779 w 1903"/>
                <a:gd name="T95" fmla="*/ 821 h 1818"/>
                <a:gd name="T96" fmla="*/ 720 w 1903"/>
                <a:gd name="T97" fmla="*/ 734 h 1818"/>
                <a:gd name="T98" fmla="*/ 648 w 1903"/>
                <a:gd name="T99" fmla="*/ 628 h 1818"/>
                <a:gd name="T100" fmla="*/ 571 w 1903"/>
                <a:gd name="T101" fmla="*/ 516 h 1818"/>
                <a:gd name="T102" fmla="*/ 496 w 1903"/>
                <a:gd name="T103" fmla="*/ 409 h 1818"/>
                <a:gd name="T104" fmla="*/ 445 w 1903"/>
                <a:gd name="T105" fmla="*/ 308 h 1818"/>
                <a:gd name="T106" fmla="*/ 430 w 1903"/>
                <a:gd name="T107" fmla="*/ 202 h 1818"/>
                <a:gd name="T108" fmla="*/ 468 w 1903"/>
                <a:gd name="T109" fmla="*/ 101 h 1818"/>
                <a:gd name="T110" fmla="*/ 548 w 1903"/>
                <a:gd name="T111" fmla="*/ 32 h 1818"/>
                <a:gd name="T112" fmla="*/ 648 w 1903"/>
                <a:gd name="T113" fmla="*/ 1 h 1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03" h="1818">
                  <a:moveTo>
                    <a:pt x="683" y="0"/>
                  </a:moveTo>
                  <a:lnTo>
                    <a:pt x="700" y="0"/>
                  </a:lnTo>
                  <a:lnTo>
                    <a:pt x="726" y="0"/>
                  </a:lnTo>
                  <a:lnTo>
                    <a:pt x="758" y="0"/>
                  </a:lnTo>
                  <a:lnTo>
                    <a:pt x="797" y="0"/>
                  </a:lnTo>
                  <a:lnTo>
                    <a:pt x="841" y="0"/>
                  </a:lnTo>
                  <a:lnTo>
                    <a:pt x="891" y="0"/>
                  </a:lnTo>
                  <a:lnTo>
                    <a:pt x="944" y="0"/>
                  </a:lnTo>
                  <a:lnTo>
                    <a:pt x="1002" y="0"/>
                  </a:lnTo>
                  <a:lnTo>
                    <a:pt x="1061" y="0"/>
                  </a:lnTo>
                  <a:lnTo>
                    <a:pt x="1122" y="0"/>
                  </a:lnTo>
                  <a:lnTo>
                    <a:pt x="1185" y="0"/>
                  </a:lnTo>
                  <a:lnTo>
                    <a:pt x="1247" y="0"/>
                  </a:lnTo>
                  <a:lnTo>
                    <a:pt x="1310" y="0"/>
                  </a:lnTo>
                  <a:lnTo>
                    <a:pt x="1371" y="0"/>
                  </a:lnTo>
                  <a:lnTo>
                    <a:pt x="1430" y="0"/>
                  </a:lnTo>
                  <a:lnTo>
                    <a:pt x="1487" y="0"/>
                  </a:lnTo>
                  <a:lnTo>
                    <a:pt x="1539" y="0"/>
                  </a:lnTo>
                  <a:lnTo>
                    <a:pt x="1569" y="2"/>
                  </a:lnTo>
                  <a:lnTo>
                    <a:pt x="1596" y="10"/>
                  </a:lnTo>
                  <a:lnTo>
                    <a:pt x="1619" y="22"/>
                  </a:lnTo>
                  <a:lnTo>
                    <a:pt x="1637" y="38"/>
                  </a:lnTo>
                  <a:lnTo>
                    <a:pt x="1653" y="57"/>
                  </a:lnTo>
                  <a:lnTo>
                    <a:pt x="1665" y="78"/>
                  </a:lnTo>
                  <a:lnTo>
                    <a:pt x="1674" y="101"/>
                  </a:lnTo>
                  <a:lnTo>
                    <a:pt x="1679" y="125"/>
                  </a:lnTo>
                  <a:lnTo>
                    <a:pt x="1644" y="119"/>
                  </a:lnTo>
                  <a:lnTo>
                    <a:pt x="1607" y="118"/>
                  </a:lnTo>
                  <a:lnTo>
                    <a:pt x="1561" y="120"/>
                  </a:lnTo>
                  <a:lnTo>
                    <a:pt x="1515" y="130"/>
                  </a:lnTo>
                  <a:lnTo>
                    <a:pt x="1472" y="146"/>
                  </a:lnTo>
                  <a:lnTo>
                    <a:pt x="1432" y="167"/>
                  </a:lnTo>
                  <a:lnTo>
                    <a:pt x="1396" y="192"/>
                  </a:lnTo>
                  <a:lnTo>
                    <a:pt x="1363" y="223"/>
                  </a:lnTo>
                  <a:lnTo>
                    <a:pt x="1335" y="257"/>
                  </a:lnTo>
                  <a:lnTo>
                    <a:pt x="1310" y="293"/>
                  </a:lnTo>
                  <a:lnTo>
                    <a:pt x="1263" y="294"/>
                  </a:lnTo>
                  <a:lnTo>
                    <a:pt x="1218" y="294"/>
                  </a:lnTo>
                  <a:lnTo>
                    <a:pt x="1174" y="296"/>
                  </a:lnTo>
                  <a:lnTo>
                    <a:pt x="1135" y="296"/>
                  </a:lnTo>
                  <a:lnTo>
                    <a:pt x="1099" y="296"/>
                  </a:lnTo>
                  <a:lnTo>
                    <a:pt x="1067" y="297"/>
                  </a:lnTo>
                  <a:lnTo>
                    <a:pt x="1042" y="297"/>
                  </a:lnTo>
                  <a:lnTo>
                    <a:pt x="1022" y="297"/>
                  </a:lnTo>
                  <a:lnTo>
                    <a:pt x="1010" y="297"/>
                  </a:lnTo>
                  <a:lnTo>
                    <a:pt x="1007" y="298"/>
                  </a:lnTo>
                  <a:lnTo>
                    <a:pt x="1637" y="1273"/>
                  </a:lnTo>
                  <a:lnTo>
                    <a:pt x="1743" y="1207"/>
                  </a:lnTo>
                  <a:lnTo>
                    <a:pt x="1903" y="1439"/>
                  </a:lnTo>
                  <a:lnTo>
                    <a:pt x="1816" y="1493"/>
                  </a:lnTo>
                  <a:lnTo>
                    <a:pt x="1636" y="1544"/>
                  </a:lnTo>
                  <a:lnTo>
                    <a:pt x="1603" y="1556"/>
                  </a:lnTo>
                  <a:lnTo>
                    <a:pt x="1572" y="1573"/>
                  </a:lnTo>
                  <a:lnTo>
                    <a:pt x="1541" y="1594"/>
                  </a:lnTo>
                  <a:lnTo>
                    <a:pt x="1518" y="1580"/>
                  </a:lnTo>
                  <a:lnTo>
                    <a:pt x="1495" y="1561"/>
                  </a:lnTo>
                  <a:lnTo>
                    <a:pt x="1472" y="1534"/>
                  </a:lnTo>
                  <a:lnTo>
                    <a:pt x="1455" y="1512"/>
                  </a:lnTo>
                  <a:lnTo>
                    <a:pt x="1438" y="1487"/>
                  </a:lnTo>
                  <a:lnTo>
                    <a:pt x="1419" y="1460"/>
                  </a:lnTo>
                  <a:lnTo>
                    <a:pt x="1398" y="1431"/>
                  </a:lnTo>
                  <a:lnTo>
                    <a:pt x="1377" y="1400"/>
                  </a:lnTo>
                  <a:lnTo>
                    <a:pt x="1357" y="1369"/>
                  </a:lnTo>
                  <a:lnTo>
                    <a:pt x="1335" y="1337"/>
                  </a:lnTo>
                  <a:lnTo>
                    <a:pt x="1314" y="1306"/>
                  </a:lnTo>
                  <a:lnTo>
                    <a:pt x="1293" y="1275"/>
                  </a:lnTo>
                  <a:lnTo>
                    <a:pt x="1273" y="1245"/>
                  </a:lnTo>
                  <a:lnTo>
                    <a:pt x="1255" y="1217"/>
                  </a:lnTo>
                  <a:lnTo>
                    <a:pt x="1237" y="1191"/>
                  </a:lnTo>
                  <a:lnTo>
                    <a:pt x="1222" y="1168"/>
                  </a:lnTo>
                  <a:lnTo>
                    <a:pt x="1210" y="1147"/>
                  </a:lnTo>
                  <a:lnTo>
                    <a:pt x="1199" y="1132"/>
                  </a:lnTo>
                  <a:lnTo>
                    <a:pt x="1190" y="1119"/>
                  </a:lnTo>
                  <a:lnTo>
                    <a:pt x="1185" y="1111"/>
                  </a:lnTo>
                  <a:lnTo>
                    <a:pt x="1183" y="1108"/>
                  </a:lnTo>
                  <a:lnTo>
                    <a:pt x="519" y="1297"/>
                  </a:lnTo>
                  <a:lnTo>
                    <a:pt x="517" y="1301"/>
                  </a:lnTo>
                  <a:lnTo>
                    <a:pt x="512" y="1309"/>
                  </a:lnTo>
                  <a:lnTo>
                    <a:pt x="504" y="1323"/>
                  </a:lnTo>
                  <a:lnTo>
                    <a:pt x="495" y="1341"/>
                  </a:lnTo>
                  <a:lnTo>
                    <a:pt x="481" y="1363"/>
                  </a:lnTo>
                  <a:lnTo>
                    <a:pt x="467" y="1388"/>
                  </a:lnTo>
                  <a:lnTo>
                    <a:pt x="451" y="1417"/>
                  </a:lnTo>
                  <a:lnTo>
                    <a:pt x="433" y="1449"/>
                  </a:lnTo>
                  <a:lnTo>
                    <a:pt x="414" y="1482"/>
                  </a:lnTo>
                  <a:lnTo>
                    <a:pt x="394" y="1517"/>
                  </a:lnTo>
                  <a:lnTo>
                    <a:pt x="374" y="1555"/>
                  </a:lnTo>
                  <a:lnTo>
                    <a:pt x="354" y="1593"/>
                  </a:lnTo>
                  <a:lnTo>
                    <a:pt x="333" y="1630"/>
                  </a:lnTo>
                  <a:lnTo>
                    <a:pt x="312" y="1668"/>
                  </a:lnTo>
                  <a:lnTo>
                    <a:pt x="292" y="1705"/>
                  </a:lnTo>
                  <a:lnTo>
                    <a:pt x="273" y="1741"/>
                  </a:lnTo>
                  <a:lnTo>
                    <a:pt x="256" y="1767"/>
                  </a:lnTo>
                  <a:lnTo>
                    <a:pt x="236" y="1787"/>
                  </a:lnTo>
                  <a:lnTo>
                    <a:pt x="214" y="1803"/>
                  </a:lnTo>
                  <a:lnTo>
                    <a:pt x="191" y="1813"/>
                  </a:lnTo>
                  <a:lnTo>
                    <a:pt x="166" y="1817"/>
                  </a:lnTo>
                  <a:lnTo>
                    <a:pt x="142" y="1818"/>
                  </a:lnTo>
                  <a:lnTo>
                    <a:pt x="117" y="1813"/>
                  </a:lnTo>
                  <a:lnTo>
                    <a:pt x="93" y="1804"/>
                  </a:lnTo>
                  <a:lnTo>
                    <a:pt x="72" y="1793"/>
                  </a:lnTo>
                  <a:lnTo>
                    <a:pt x="51" y="1778"/>
                  </a:lnTo>
                  <a:lnTo>
                    <a:pt x="33" y="1759"/>
                  </a:lnTo>
                  <a:lnTo>
                    <a:pt x="18" y="1739"/>
                  </a:lnTo>
                  <a:lnTo>
                    <a:pt x="7" y="1716"/>
                  </a:lnTo>
                  <a:lnTo>
                    <a:pt x="1" y="1690"/>
                  </a:lnTo>
                  <a:lnTo>
                    <a:pt x="0" y="1663"/>
                  </a:lnTo>
                  <a:lnTo>
                    <a:pt x="4" y="1635"/>
                  </a:lnTo>
                  <a:lnTo>
                    <a:pt x="14" y="1605"/>
                  </a:lnTo>
                  <a:lnTo>
                    <a:pt x="46" y="1546"/>
                  </a:lnTo>
                  <a:lnTo>
                    <a:pt x="78" y="1490"/>
                  </a:lnTo>
                  <a:lnTo>
                    <a:pt x="107" y="1437"/>
                  </a:lnTo>
                  <a:lnTo>
                    <a:pt x="135" y="1385"/>
                  </a:lnTo>
                  <a:lnTo>
                    <a:pt x="164" y="1332"/>
                  </a:lnTo>
                  <a:lnTo>
                    <a:pt x="193" y="1280"/>
                  </a:lnTo>
                  <a:lnTo>
                    <a:pt x="225" y="1225"/>
                  </a:lnTo>
                  <a:lnTo>
                    <a:pt x="258" y="1168"/>
                  </a:lnTo>
                  <a:lnTo>
                    <a:pt x="294" y="1106"/>
                  </a:lnTo>
                  <a:lnTo>
                    <a:pt x="311" y="1083"/>
                  </a:lnTo>
                  <a:lnTo>
                    <a:pt x="333" y="1061"/>
                  </a:lnTo>
                  <a:lnTo>
                    <a:pt x="360" y="1043"/>
                  </a:lnTo>
                  <a:lnTo>
                    <a:pt x="389" y="1031"/>
                  </a:lnTo>
                  <a:lnTo>
                    <a:pt x="418" y="1022"/>
                  </a:lnTo>
                  <a:lnTo>
                    <a:pt x="451" y="1014"/>
                  </a:lnTo>
                  <a:lnTo>
                    <a:pt x="485" y="1004"/>
                  </a:lnTo>
                  <a:lnTo>
                    <a:pt x="521" y="993"/>
                  </a:lnTo>
                  <a:lnTo>
                    <a:pt x="558" y="982"/>
                  </a:lnTo>
                  <a:lnTo>
                    <a:pt x="596" y="972"/>
                  </a:lnTo>
                  <a:lnTo>
                    <a:pt x="632" y="961"/>
                  </a:lnTo>
                  <a:lnTo>
                    <a:pt x="667" y="951"/>
                  </a:lnTo>
                  <a:lnTo>
                    <a:pt x="701" y="942"/>
                  </a:lnTo>
                  <a:lnTo>
                    <a:pt x="733" y="933"/>
                  </a:lnTo>
                  <a:lnTo>
                    <a:pt x="761" y="925"/>
                  </a:lnTo>
                  <a:lnTo>
                    <a:pt x="786" y="917"/>
                  </a:lnTo>
                  <a:lnTo>
                    <a:pt x="806" y="911"/>
                  </a:lnTo>
                  <a:lnTo>
                    <a:pt x="822" y="908"/>
                  </a:lnTo>
                  <a:lnTo>
                    <a:pt x="831" y="905"/>
                  </a:lnTo>
                  <a:lnTo>
                    <a:pt x="835" y="903"/>
                  </a:lnTo>
                  <a:lnTo>
                    <a:pt x="833" y="902"/>
                  </a:lnTo>
                  <a:lnTo>
                    <a:pt x="828" y="893"/>
                  </a:lnTo>
                  <a:lnTo>
                    <a:pt x="819" y="881"/>
                  </a:lnTo>
                  <a:lnTo>
                    <a:pt x="808" y="865"/>
                  </a:lnTo>
                  <a:lnTo>
                    <a:pt x="795" y="844"/>
                  </a:lnTo>
                  <a:lnTo>
                    <a:pt x="779" y="821"/>
                  </a:lnTo>
                  <a:lnTo>
                    <a:pt x="761" y="794"/>
                  </a:lnTo>
                  <a:lnTo>
                    <a:pt x="740" y="765"/>
                  </a:lnTo>
                  <a:lnTo>
                    <a:pt x="720" y="734"/>
                  </a:lnTo>
                  <a:lnTo>
                    <a:pt x="696" y="700"/>
                  </a:lnTo>
                  <a:lnTo>
                    <a:pt x="672" y="664"/>
                  </a:lnTo>
                  <a:lnTo>
                    <a:pt x="648" y="628"/>
                  </a:lnTo>
                  <a:lnTo>
                    <a:pt x="622" y="591"/>
                  </a:lnTo>
                  <a:lnTo>
                    <a:pt x="597" y="554"/>
                  </a:lnTo>
                  <a:lnTo>
                    <a:pt x="571" y="516"/>
                  </a:lnTo>
                  <a:lnTo>
                    <a:pt x="546" y="479"/>
                  </a:lnTo>
                  <a:lnTo>
                    <a:pt x="520" y="443"/>
                  </a:lnTo>
                  <a:lnTo>
                    <a:pt x="496" y="409"/>
                  </a:lnTo>
                  <a:lnTo>
                    <a:pt x="475" y="376"/>
                  </a:lnTo>
                  <a:lnTo>
                    <a:pt x="458" y="342"/>
                  </a:lnTo>
                  <a:lnTo>
                    <a:pt x="445" y="308"/>
                  </a:lnTo>
                  <a:lnTo>
                    <a:pt x="435" y="273"/>
                  </a:lnTo>
                  <a:lnTo>
                    <a:pt x="430" y="237"/>
                  </a:lnTo>
                  <a:lnTo>
                    <a:pt x="430" y="202"/>
                  </a:lnTo>
                  <a:lnTo>
                    <a:pt x="436" y="168"/>
                  </a:lnTo>
                  <a:lnTo>
                    <a:pt x="448" y="134"/>
                  </a:lnTo>
                  <a:lnTo>
                    <a:pt x="468" y="101"/>
                  </a:lnTo>
                  <a:lnTo>
                    <a:pt x="495" y="71"/>
                  </a:lnTo>
                  <a:lnTo>
                    <a:pt x="519" y="49"/>
                  </a:lnTo>
                  <a:lnTo>
                    <a:pt x="548" y="32"/>
                  </a:lnTo>
                  <a:lnTo>
                    <a:pt x="580" y="17"/>
                  </a:lnTo>
                  <a:lnTo>
                    <a:pt x="613" y="7"/>
                  </a:lnTo>
                  <a:lnTo>
                    <a:pt x="648" y="1"/>
                  </a:lnTo>
                  <a:lnTo>
                    <a:pt x="68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6" name="Freeform 22"/>
            <p:cNvSpPr>
              <a:spLocks/>
            </p:cNvSpPr>
            <p:nvPr/>
          </p:nvSpPr>
          <p:spPr bwMode="auto">
            <a:xfrm>
              <a:off x="-392" y="2150"/>
              <a:ext cx="214" cy="146"/>
            </a:xfrm>
            <a:custGeom>
              <a:avLst/>
              <a:gdLst>
                <a:gd name="T0" fmla="*/ 740 w 856"/>
                <a:gd name="T1" fmla="*/ 4 h 584"/>
                <a:gd name="T2" fmla="*/ 785 w 856"/>
                <a:gd name="T3" fmla="*/ 23 h 584"/>
                <a:gd name="T4" fmla="*/ 822 w 856"/>
                <a:gd name="T5" fmla="*/ 57 h 584"/>
                <a:gd name="T6" fmla="*/ 847 w 856"/>
                <a:gd name="T7" fmla="*/ 100 h 584"/>
                <a:gd name="T8" fmla="*/ 856 w 856"/>
                <a:gd name="T9" fmla="*/ 147 h 584"/>
                <a:gd name="T10" fmla="*/ 847 w 856"/>
                <a:gd name="T11" fmla="*/ 194 h 584"/>
                <a:gd name="T12" fmla="*/ 818 w 856"/>
                <a:gd name="T13" fmla="*/ 237 h 584"/>
                <a:gd name="T14" fmla="*/ 767 w 856"/>
                <a:gd name="T15" fmla="*/ 273 h 584"/>
                <a:gd name="T16" fmla="*/ 706 w 856"/>
                <a:gd name="T17" fmla="*/ 310 h 584"/>
                <a:gd name="T18" fmla="*/ 640 w 856"/>
                <a:gd name="T19" fmla="*/ 351 h 584"/>
                <a:gd name="T20" fmla="*/ 572 w 856"/>
                <a:gd name="T21" fmla="*/ 393 h 584"/>
                <a:gd name="T22" fmla="*/ 504 w 856"/>
                <a:gd name="T23" fmla="*/ 436 h 584"/>
                <a:gd name="T24" fmla="*/ 442 w 856"/>
                <a:gd name="T25" fmla="*/ 475 h 584"/>
                <a:gd name="T26" fmla="*/ 386 w 856"/>
                <a:gd name="T27" fmla="*/ 509 h 584"/>
                <a:gd name="T28" fmla="*/ 344 w 856"/>
                <a:gd name="T29" fmla="*/ 536 h 584"/>
                <a:gd name="T30" fmla="*/ 315 w 856"/>
                <a:gd name="T31" fmla="*/ 554 h 584"/>
                <a:gd name="T32" fmla="*/ 305 w 856"/>
                <a:gd name="T33" fmla="*/ 560 h 584"/>
                <a:gd name="T34" fmla="*/ 296 w 856"/>
                <a:gd name="T35" fmla="*/ 565 h 584"/>
                <a:gd name="T36" fmla="*/ 273 w 856"/>
                <a:gd name="T37" fmla="*/ 576 h 584"/>
                <a:gd name="T38" fmla="*/ 238 w 856"/>
                <a:gd name="T39" fmla="*/ 583 h 584"/>
                <a:gd name="T40" fmla="*/ 197 w 856"/>
                <a:gd name="T41" fmla="*/ 581 h 584"/>
                <a:gd name="T42" fmla="*/ 150 w 856"/>
                <a:gd name="T43" fmla="*/ 561 h 584"/>
                <a:gd name="T44" fmla="*/ 103 w 856"/>
                <a:gd name="T45" fmla="*/ 514 h 584"/>
                <a:gd name="T46" fmla="*/ 56 w 856"/>
                <a:gd name="T47" fmla="*/ 447 h 584"/>
                <a:gd name="T48" fmla="*/ 0 w 856"/>
                <a:gd name="T49" fmla="*/ 366 h 584"/>
                <a:gd name="T50" fmla="*/ 62 w 856"/>
                <a:gd name="T51" fmla="*/ 326 h 584"/>
                <a:gd name="T52" fmla="*/ 109 w 856"/>
                <a:gd name="T53" fmla="*/ 270 h 584"/>
                <a:gd name="T54" fmla="*/ 141 w 856"/>
                <a:gd name="T55" fmla="*/ 201 h 584"/>
                <a:gd name="T56" fmla="*/ 152 w 856"/>
                <a:gd name="T57" fmla="*/ 121 h 584"/>
                <a:gd name="T58" fmla="*/ 144 w 856"/>
                <a:gd name="T59" fmla="*/ 61 h 584"/>
                <a:gd name="T60" fmla="*/ 452 w 856"/>
                <a:gd name="T61" fmla="*/ 138 h 584"/>
                <a:gd name="T62" fmla="*/ 661 w 856"/>
                <a:gd name="T63" fmla="*/ 10 h 584"/>
                <a:gd name="T64" fmla="*/ 715 w 856"/>
                <a:gd name="T65" fmla="*/ 0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6" h="584">
                  <a:moveTo>
                    <a:pt x="715" y="0"/>
                  </a:moveTo>
                  <a:lnTo>
                    <a:pt x="740" y="4"/>
                  </a:lnTo>
                  <a:lnTo>
                    <a:pt x="763" y="12"/>
                  </a:lnTo>
                  <a:lnTo>
                    <a:pt x="785" y="23"/>
                  </a:lnTo>
                  <a:lnTo>
                    <a:pt x="805" y="39"/>
                  </a:lnTo>
                  <a:lnTo>
                    <a:pt x="822" y="57"/>
                  </a:lnTo>
                  <a:lnTo>
                    <a:pt x="836" y="78"/>
                  </a:lnTo>
                  <a:lnTo>
                    <a:pt x="847" y="100"/>
                  </a:lnTo>
                  <a:lnTo>
                    <a:pt x="853" y="123"/>
                  </a:lnTo>
                  <a:lnTo>
                    <a:pt x="856" y="147"/>
                  </a:lnTo>
                  <a:lnTo>
                    <a:pt x="854" y="171"/>
                  </a:lnTo>
                  <a:lnTo>
                    <a:pt x="847" y="194"/>
                  </a:lnTo>
                  <a:lnTo>
                    <a:pt x="835" y="217"/>
                  </a:lnTo>
                  <a:lnTo>
                    <a:pt x="818" y="237"/>
                  </a:lnTo>
                  <a:lnTo>
                    <a:pt x="794" y="256"/>
                  </a:lnTo>
                  <a:lnTo>
                    <a:pt x="767" y="273"/>
                  </a:lnTo>
                  <a:lnTo>
                    <a:pt x="738" y="291"/>
                  </a:lnTo>
                  <a:lnTo>
                    <a:pt x="706" y="310"/>
                  </a:lnTo>
                  <a:lnTo>
                    <a:pt x="674" y="330"/>
                  </a:lnTo>
                  <a:lnTo>
                    <a:pt x="640" y="351"/>
                  </a:lnTo>
                  <a:lnTo>
                    <a:pt x="606" y="373"/>
                  </a:lnTo>
                  <a:lnTo>
                    <a:pt x="572" y="393"/>
                  </a:lnTo>
                  <a:lnTo>
                    <a:pt x="538" y="415"/>
                  </a:lnTo>
                  <a:lnTo>
                    <a:pt x="504" y="436"/>
                  </a:lnTo>
                  <a:lnTo>
                    <a:pt x="473" y="455"/>
                  </a:lnTo>
                  <a:lnTo>
                    <a:pt x="442" y="475"/>
                  </a:lnTo>
                  <a:lnTo>
                    <a:pt x="413" y="493"/>
                  </a:lnTo>
                  <a:lnTo>
                    <a:pt x="386" y="509"/>
                  </a:lnTo>
                  <a:lnTo>
                    <a:pt x="363" y="523"/>
                  </a:lnTo>
                  <a:lnTo>
                    <a:pt x="344" y="536"/>
                  </a:lnTo>
                  <a:lnTo>
                    <a:pt x="327" y="545"/>
                  </a:lnTo>
                  <a:lnTo>
                    <a:pt x="315" y="554"/>
                  </a:lnTo>
                  <a:lnTo>
                    <a:pt x="307" y="559"/>
                  </a:lnTo>
                  <a:lnTo>
                    <a:pt x="305" y="560"/>
                  </a:lnTo>
                  <a:lnTo>
                    <a:pt x="302" y="561"/>
                  </a:lnTo>
                  <a:lnTo>
                    <a:pt x="296" y="565"/>
                  </a:lnTo>
                  <a:lnTo>
                    <a:pt x="287" y="570"/>
                  </a:lnTo>
                  <a:lnTo>
                    <a:pt x="273" y="576"/>
                  </a:lnTo>
                  <a:lnTo>
                    <a:pt x="256" y="581"/>
                  </a:lnTo>
                  <a:lnTo>
                    <a:pt x="238" y="583"/>
                  </a:lnTo>
                  <a:lnTo>
                    <a:pt x="219" y="584"/>
                  </a:lnTo>
                  <a:lnTo>
                    <a:pt x="197" y="581"/>
                  </a:lnTo>
                  <a:lnTo>
                    <a:pt x="174" y="573"/>
                  </a:lnTo>
                  <a:lnTo>
                    <a:pt x="150" y="561"/>
                  </a:lnTo>
                  <a:lnTo>
                    <a:pt x="126" y="542"/>
                  </a:lnTo>
                  <a:lnTo>
                    <a:pt x="103" y="514"/>
                  </a:lnTo>
                  <a:lnTo>
                    <a:pt x="80" y="483"/>
                  </a:lnTo>
                  <a:lnTo>
                    <a:pt x="56" y="447"/>
                  </a:lnTo>
                  <a:lnTo>
                    <a:pt x="28" y="408"/>
                  </a:lnTo>
                  <a:lnTo>
                    <a:pt x="0" y="366"/>
                  </a:lnTo>
                  <a:lnTo>
                    <a:pt x="33" y="348"/>
                  </a:lnTo>
                  <a:lnTo>
                    <a:pt x="62" y="326"/>
                  </a:lnTo>
                  <a:lnTo>
                    <a:pt x="87" y="300"/>
                  </a:lnTo>
                  <a:lnTo>
                    <a:pt x="109" y="270"/>
                  </a:lnTo>
                  <a:lnTo>
                    <a:pt x="127" y="236"/>
                  </a:lnTo>
                  <a:lnTo>
                    <a:pt x="141" y="201"/>
                  </a:lnTo>
                  <a:lnTo>
                    <a:pt x="149" y="162"/>
                  </a:lnTo>
                  <a:lnTo>
                    <a:pt x="152" y="121"/>
                  </a:lnTo>
                  <a:lnTo>
                    <a:pt x="149" y="90"/>
                  </a:lnTo>
                  <a:lnTo>
                    <a:pt x="144" y="61"/>
                  </a:lnTo>
                  <a:lnTo>
                    <a:pt x="268" y="252"/>
                  </a:lnTo>
                  <a:lnTo>
                    <a:pt x="452" y="138"/>
                  </a:lnTo>
                  <a:lnTo>
                    <a:pt x="634" y="23"/>
                  </a:lnTo>
                  <a:lnTo>
                    <a:pt x="661" y="10"/>
                  </a:lnTo>
                  <a:lnTo>
                    <a:pt x="688" y="3"/>
                  </a:lnTo>
                  <a:lnTo>
                    <a:pt x="7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3" name="Freeform 23"/>
            <p:cNvSpPr>
              <a:spLocks/>
            </p:cNvSpPr>
            <p:nvPr/>
          </p:nvSpPr>
          <p:spPr bwMode="auto">
            <a:xfrm>
              <a:off x="-626" y="1895"/>
              <a:ext cx="312" cy="230"/>
            </a:xfrm>
            <a:custGeom>
              <a:avLst/>
              <a:gdLst>
                <a:gd name="T0" fmla="*/ 270 w 1250"/>
                <a:gd name="T1" fmla="*/ 0 h 920"/>
                <a:gd name="T2" fmla="*/ 328 w 1250"/>
                <a:gd name="T3" fmla="*/ 0 h 920"/>
                <a:gd name="T4" fmla="*/ 411 w 1250"/>
                <a:gd name="T5" fmla="*/ 0 h 920"/>
                <a:gd name="T6" fmla="*/ 514 w 1250"/>
                <a:gd name="T7" fmla="*/ 0 h 920"/>
                <a:gd name="T8" fmla="*/ 631 w 1250"/>
                <a:gd name="T9" fmla="*/ 0 h 920"/>
                <a:gd name="T10" fmla="*/ 755 w 1250"/>
                <a:gd name="T11" fmla="*/ 0 h 920"/>
                <a:gd name="T12" fmla="*/ 879 w 1250"/>
                <a:gd name="T13" fmla="*/ 0 h 920"/>
                <a:gd name="T14" fmla="*/ 999 w 1250"/>
                <a:gd name="T15" fmla="*/ 0 h 920"/>
                <a:gd name="T16" fmla="*/ 1109 w 1250"/>
                <a:gd name="T17" fmla="*/ 0 h 920"/>
                <a:gd name="T18" fmla="*/ 1165 w 1250"/>
                <a:gd name="T19" fmla="*/ 11 h 920"/>
                <a:gd name="T20" fmla="*/ 1207 w 1250"/>
                <a:gd name="T21" fmla="*/ 38 h 920"/>
                <a:gd name="T22" fmla="*/ 1235 w 1250"/>
                <a:gd name="T23" fmla="*/ 77 h 920"/>
                <a:gd name="T24" fmla="*/ 1249 w 1250"/>
                <a:gd name="T25" fmla="*/ 123 h 920"/>
                <a:gd name="T26" fmla="*/ 1249 w 1250"/>
                <a:gd name="T27" fmla="*/ 172 h 920"/>
                <a:gd name="T28" fmla="*/ 1235 w 1250"/>
                <a:gd name="T29" fmla="*/ 218 h 920"/>
                <a:gd name="T30" fmla="*/ 1207 w 1250"/>
                <a:gd name="T31" fmla="*/ 257 h 920"/>
                <a:gd name="T32" fmla="*/ 1166 w 1250"/>
                <a:gd name="T33" fmla="*/ 284 h 920"/>
                <a:gd name="T34" fmla="*/ 1110 w 1250"/>
                <a:gd name="T35" fmla="*/ 293 h 920"/>
                <a:gd name="T36" fmla="*/ 1023 w 1250"/>
                <a:gd name="T37" fmla="*/ 293 h 920"/>
                <a:gd name="T38" fmla="*/ 929 w 1250"/>
                <a:gd name="T39" fmla="*/ 295 h 920"/>
                <a:gd name="T40" fmla="*/ 834 w 1250"/>
                <a:gd name="T41" fmla="*/ 295 h 920"/>
                <a:gd name="T42" fmla="*/ 745 w 1250"/>
                <a:gd name="T43" fmla="*/ 296 h 920"/>
                <a:gd name="T44" fmla="*/ 669 w 1250"/>
                <a:gd name="T45" fmla="*/ 297 h 920"/>
                <a:gd name="T46" fmla="*/ 612 w 1250"/>
                <a:gd name="T47" fmla="*/ 298 h 920"/>
                <a:gd name="T48" fmla="*/ 580 w 1250"/>
                <a:gd name="T49" fmla="*/ 298 h 920"/>
                <a:gd name="T50" fmla="*/ 978 w 1250"/>
                <a:gd name="T51" fmla="*/ 920 h 920"/>
                <a:gd name="T52" fmla="*/ 907 w 1250"/>
                <a:gd name="T53" fmla="*/ 885 h 920"/>
                <a:gd name="T54" fmla="*/ 826 w 1250"/>
                <a:gd name="T55" fmla="*/ 873 h 920"/>
                <a:gd name="T56" fmla="*/ 367 w 1250"/>
                <a:gd name="T57" fmla="*/ 849 h 920"/>
                <a:gd name="T58" fmla="*/ 326 w 1250"/>
                <a:gd name="T59" fmla="*/ 789 h 920"/>
                <a:gd name="T60" fmla="*/ 275 w 1250"/>
                <a:gd name="T61" fmla="*/ 713 h 920"/>
                <a:gd name="T62" fmla="*/ 218 w 1250"/>
                <a:gd name="T63" fmla="*/ 628 h 920"/>
                <a:gd name="T64" fmla="*/ 156 w 1250"/>
                <a:gd name="T65" fmla="*/ 539 h 920"/>
                <a:gd name="T66" fmla="*/ 95 w 1250"/>
                <a:gd name="T67" fmla="*/ 452 h 920"/>
                <a:gd name="T68" fmla="*/ 45 w 1250"/>
                <a:gd name="T69" fmla="*/ 376 h 920"/>
                <a:gd name="T70" fmla="*/ 15 w 1250"/>
                <a:gd name="T71" fmla="*/ 308 h 920"/>
                <a:gd name="T72" fmla="*/ 0 w 1250"/>
                <a:gd name="T73" fmla="*/ 239 h 920"/>
                <a:gd name="T74" fmla="*/ 6 w 1250"/>
                <a:gd name="T75" fmla="*/ 168 h 920"/>
                <a:gd name="T76" fmla="*/ 38 w 1250"/>
                <a:gd name="T77" fmla="*/ 102 h 920"/>
                <a:gd name="T78" fmla="*/ 89 w 1250"/>
                <a:gd name="T79" fmla="*/ 50 h 920"/>
                <a:gd name="T80" fmla="*/ 150 w 1250"/>
                <a:gd name="T81" fmla="*/ 18 h 920"/>
                <a:gd name="T82" fmla="*/ 218 w 1250"/>
                <a:gd name="T83" fmla="*/ 3 h 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0" h="920">
                  <a:moveTo>
                    <a:pt x="253" y="0"/>
                  </a:moveTo>
                  <a:lnTo>
                    <a:pt x="270" y="0"/>
                  </a:lnTo>
                  <a:lnTo>
                    <a:pt x="296" y="0"/>
                  </a:lnTo>
                  <a:lnTo>
                    <a:pt x="328" y="0"/>
                  </a:lnTo>
                  <a:lnTo>
                    <a:pt x="367" y="0"/>
                  </a:lnTo>
                  <a:lnTo>
                    <a:pt x="411" y="0"/>
                  </a:lnTo>
                  <a:lnTo>
                    <a:pt x="461" y="0"/>
                  </a:lnTo>
                  <a:lnTo>
                    <a:pt x="514" y="0"/>
                  </a:lnTo>
                  <a:lnTo>
                    <a:pt x="572" y="0"/>
                  </a:lnTo>
                  <a:lnTo>
                    <a:pt x="631" y="0"/>
                  </a:lnTo>
                  <a:lnTo>
                    <a:pt x="692" y="0"/>
                  </a:lnTo>
                  <a:lnTo>
                    <a:pt x="755" y="0"/>
                  </a:lnTo>
                  <a:lnTo>
                    <a:pt x="817" y="0"/>
                  </a:lnTo>
                  <a:lnTo>
                    <a:pt x="879" y="0"/>
                  </a:lnTo>
                  <a:lnTo>
                    <a:pt x="941" y="0"/>
                  </a:lnTo>
                  <a:lnTo>
                    <a:pt x="999" y="0"/>
                  </a:lnTo>
                  <a:lnTo>
                    <a:pt x="1057" y="0"/>
                  </a:lnTo>
                  <a:lnTo>
                    <a:pt x="1109" y="0"/>
                  </a:lnTo>
                  <a:lnTo>
                    <a:pt x="1139" y="4"/>
                  </a:lnTo>
                  <a:lnTo>
                    <a:pt x="1165" y="11"/>
                  </a:lnTo>
                  <a:lnTo>
                    <a:pt x="1188" y="22"/>
                  </a:lnTo>
                  <a:lnTo>
                    <a:pt x="1207" y="38"/>
                  </a:lnTo>
                  <a:lnTo>
                    <a:pt x="1222" y="56"/>
                  </a:lnTo>
                  <a:lnTo>
                    <a:pt x="1235" y="77"/>
                  </a:lnTo>
                  <a:lnTo>
                    <a:pt x="1244" y="99"/>
                  </a:lnTo>
                  <a:lnTo>
                    <a:pt x="1249" y="123"/>
                  </a:lnTo>
                  <a:lnTo>
                    <a:pt x="1250" y="147"/>
                  </a:lnTo>
                  <a:lnTo>
                    <a:pt x="1249" y="172"/>
                  </a:lnTo>
                  <a:lnTo>
                    <a:pt x="1244" y="195"/>
                  </a:lnTo>
                  <a:lnTo>
                    <a:pt x="1235" y="218"/>
                  </a:lnTo>
                  <a:lnTo>
                    <a:pt x="1223" y="239"/>
                  </a:lnTo>
                  <a:lnTo>
                    <a:pt x="1207" y="257"/>
                  </a:lnTo>
                  <a:lnTo>
                    <a:pt x="1188" y="272"/>
                  </a:lnTo>
                  <a:lnTo>
                    <a:pt x="1166" y="284"/>
                  </a:lnTo>
                  <a:lnTo>
                    <a:pt x="1139" y="291"/>
                  </a:lnTo>
                  <a:lnTo>
                    <a:pt x="1110" y="293"/>
                  </a:lnTo>
                  <a:lnTo>
                    <a:pt x="1068" y="293"/>
                  </a:lnTo>
                  <a:lnTo>
                    <a:pt x="1023" y="293"/>
                  </a:lnTo>
                  <a:lnTo>
                    <a:pt x="976" y="293"/>
                  </a:lnTo>
                  <a:lnTo>
                    <a:pt x="929" y="295"/>
                  </a:lnTo>
                  <a:lnTo>
                    <a:pt x="880" y="295"/>
                  </a:lnTo>
                  <a:lnTo>
                    <a:pt x="834" y="295"/>
                  </a:lnTo>
                  <a:lnTo>
                    <a:pt x="788" y="296"/>
                  </a:lnTo>
                  <a:lnTo>
                    <a:pt x="745" y="296"/>
                  </a:lnTo>
                  <a:lnTo>
                    <a:pt x="705" y="297"/>
                  </a:lnTo>
                  <a:lnTo>
                    <a:pt x="669" y="297"/>
                  </a:lnTo>
                  <a:lnTo>
                    <a:pt x="638" y="297"/>
                  </a:lnTo>
                  <a:lnTo>
                    <a:pt x="612" y="298"/>
                  </a:lnTo>
                  <a:lnTo>
                    <a:pt x="592" y="298"/>
                  </a:lnTo>
                  <a:lnTo>
                    <a:pt x="580" y="298"/>
                  </a:lnTo>
                  <a:lnTo>
                    <a:pt x="576" y="298"/>
                  </a:lnTo>
                  <a:lnTo>
                    <a:pt x="978" y="920"/>
                  </a:lnTo>
                  <a:lnTo>
                    <a:pt x="944" y="899"/>
                  </a:lnTo>
                  <a:lnTo>
                    <a:pt x="907" y="885"/>
                  </a:lnTo>
                  <a:lnTo>
                    <a:pt x="867" y="875"/>
                  </a:lnTo>
                  <a:lnTo>
                    <a:pt x="826" y="873"/>
                  </a:lnTo>
                  <a:lnTo>
                    <a:pt x="382" y="873"/>
                  </a:lnTo>
                  <a:lnTo>
                    <a:pt x="367" y="849"/>
                  </a:lnTo>
                  <a:lnTo>
                    <a:pt x="348" y="821"/>
                  </a:lnTo>
                  <a:lnTo>
                    <a:pt x="326" y="789"/>
                  </a:lnTo>
                  <a:lnTo>
                    <a:pt x="302" y="752"/>
                  </a:lnTo>
                  <a:lnTo>
                    <a:pt x="275" y="713"/>
                  </a:lnTo>
                  <a:lnTo>
                    <a:pt x="247" y="672"/>
                  </a:lnTo>
                  <a:lnTo>
                    <a:pt x="218" y="628"/>
                  </a:lnTo>
                  <a:lnTo>
                    <a:pt x="187" y="584"/>
                  </a:lnTo>
                  <a:lnTo>
                    <a:pt x="156" y="539"/>
                  </a:lnTo>
                  <a:lnTo>
                    <a:pt x="125" y="495"/>
                  </a:lnTo>
                  <a:lnTo>
                    <a:pt x="95" y="452"/>
                  </a:lnTo>
                  <a:lnTo>
                    <a:pt x="66" y="409"/>
                  </a:lnTo>
                  <a:lnTo>
                    <a:pt x="45" y="376"/>
                  </a:lnTo>
                  <a:lnTo>
                    <a:pt x="28" y="343"/>
                  </a:lnTo>
                  <a:lnTo>
                    <a:pt x="15" y="308"/>
                  </a:lnTo>
                  <a:lnTo>
                    <a:pt x="5" y="273"/>
                  </a:lnTo>
                  <a:lnTo>
                    <a:pt x="0" y="239"/>
                  </a:lnTo>
                  <a:lnTo>
                    <a:pt x="0" y="203"/>
                  </a:lnTo>
                  <a:lnTo>
                    <a:pt x="6" y="168"/>
                  </a:lnTo>
                  <a:lnTo>
                    <a:pt x="18" y="135"/>
                  </a:lnTo>
                  <a:lnTo>
                    <a:pt x="38" y="102"/>
                  </a:lnTo>
                  <a:lnTo>
                    <a:pt x="65" y="71"/>
                  </a:lnTo>
                  <a:lnTo>
                    <a:pt x="89" y="50"/>
                  </a:lnTo>
                  <a:lnTo>
                    <a:pt x="118" y="32"/>
                  </a:lnTo>
                  <a:lnTo>
                    <a:pt x="150" y="18"/>
                  </a:lnTo>
                  <a:lnTo>
                    <a:pt x="182" y="9"/>
                  </a:lnTo>
                  <a:lnTo>
                    <a:pt x="218" y="3"/>
                  </a:lnTo>
                  <a:lnTo>
                    <a:pt x="2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4" name="Freeform 24"/>
            <p:cNvSpPr>
              <a:spLocks/>
            </p:cNvSpPr>
            <p:nvPr/>
          </p:nvSpPr>
          <p:spPr bwMode="auto">
            <a:xfrm>
              <a:off x="-707" y="1797"/>
              <a:ext cx="109" cy="110"/>
            </a:xfrm>
            <a:custGeom>
              <a:avLst/>
              <a:gdLst>
                <a:gd name="T0" fmla="*/ 219 w 437"/>
                <a:gd name="T1" fmla="*/ 0 h 439"/>
                <a:gd name="T2" fmla="*/ 257 w 437"/>
                <a:gd name="T3" fmla="*/ 3 h 439"/>
                <a:gd name="T4" fmla="*/ 295 w 437"/>
                <a:gd name="T5" fmla="*/ 13 h 439"/>
                <a:gd name="T6" fmla="*/ 329 w 437"/>
                <a:gd name="T7" fmla="*/ 30 h 439"/>
                <a:gd name="T8" fmla="*/ 360 w 437"/>
                <a:gd name="T9" fmla="*/ 52 h 439"/>
                <a:gd name="T10" fmla="*/ 386 w 437"/>
                <a:gd name="T11" fmla="*/ 78 h 439"/>
                <a:gd name="T12" fmla="*/ 407 w 437"/>
                <a:gd name="T13" fmla="*/ 108 h 439"/>
                <a:gd name="T14" fmla="*/ 424 w 437"/>
                <a:gd name="T15" fmla="*/ 142 h 439"/>
                <a:gd name="T16" fmla="*/ 434 w 437"/>
                <a:gd name="T17" fmla="*/ 180 h 439"/>
                <a:gd name="T18" fmla="*/ 437 w 437"/>
                <a:gd name="T19" fmla="*/ 219 h 439"/>
                <a:gd name="T20" fmla="*/ 434 w 437"/>
                <a:gd name="T21" fmla="*/ 259 h 439"/>
                <a:gd name="T22" fmla="*/ 424 w 437"/>
                <a:gd name="T23" fmla="*/ 295 h 439"/>
                <a:gd name="T24" fmla="*/ 407 w 437"/>
                <a:gd name="T25" fmla="*/ 329 h 439"/>
                <a:gd name="T26" fmla="*/ 386 w 437"/>
                <a:gd name="T27" fmla="*/ 361 h 439"/>
                <a:gd name="T28" fmla="*/ 360 w 437"/>
                <a:gd name="T29" fmla="*/ 387 h 439"/>
                <a:gd name="T30" fmla="*/ 329 w 437"/>
                <a:gd name="T31" fmla="*/ 408 h 439"/>
                <a:gd name="T32" fmla="*/ 295 w 437"/>
                <a:gd name="T33" fmla="*/ 424 h 439"/>
                <a:gd name="T34" fmla="*/ 257 w 437"/>
                <a:gd name="T35" fmla="*/ 435 h 439"/>
                <a:gd name="T36" fmla="*/ 219 w 437"/>
                <a:gd name="T37" fmla="*/ 439 h 439"/>
                <a:gd name="T38" fmla="*/ 178 w 437"/>
                <a:gd name="T39" fmla="*/ 435 h 439"/>
                <a:gd name="T40" fmla="*/ 142 w 437"/>
                <a:gd name="T41" fmla="*/ 424 h 439"/>
                <a:gd name="T42" fmla="*/ 108 w 437"/>
                <a:gd name="T43" fmla="*/ 408 h 439"/>
                <a:gd name="T44" fmla="*/ 78 w 437"/>
                <a:gd name="T45" fmla="*/ 387 h 439"/>
                <a:gd name="T46" fmla="*/ 51 w 437"/>
                <a:gd name="T47" fmla="*/ 361 h 439"/>
                <a:gd name="T48" fmla="*/ 29 w 437"/>
                <a:gd name="T49" fmla="*/ 329 h 439"/>
                <a:gd name="T50" fmla="*/ 13 w 437"/>
                <a:gd name="T51" fmla="*/ 295 h 439"/>
                <a:gd name="T52" fmla="*/ 3 w 437"/>
                <a:gd name="T53" fmla="*/ 259 h 439"/>
                <a:gd name="T54" fmla="*/ 0 w 437"/>
                <a:gd name="T55" fmla="*/ 219 h 439"/>
                <a:gd name="T56" fmla="*/ 3 w 437"/>
                <a:gd name="T57" fmla="*/ 180 h 439"/>
                <a:gd name="T58" fmla="*/ 13 w 437"/>
                <a:gd name="T59" fmla="*/ 142 h 439"/>
                <a:gd name="T60" fmla="*/ 29 w 437"/>
                <a:gd name="T61" fmla="*/ 108 h 439"/>
                <a:gd name="T62" fmla="*/ 51 w 437"/>
                <a:gd name="T63" fmla="*/ 78 h 439"/>
                <a:gd name="T64" fmla="*/ 78 w 437"/>
                <a:gd name="T65" fmla="*/ 52 h 439"/>
                <a:gd name="T66" fmla="*/ 108 w 437"/>
                <a:gd name="T67" fmla="*/ 30 h 439"/>
                <a:gd name="T68" fmla="*/ 142 w 437"/>
                <a:gd name="T69" fmla="*/ 13 h 439"/>
                <a:gd name="T70" fmla="*/ 178 w 437"/>
                <a:gd name="T71" fmla="*/ 3 h 439"/>
                <a:gd name="T72" fmla="*/ 219 w 437"/>
                <a:gd name="T73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37" h="439">
                  <a:moveTo>
                    <a:pt x="219" y="0"/>
                  </a:moveTo>
                  <a:lnTo>
                    <a:pt x="257" y="3"/>
                  </a:lnTo>
                  <a:lnTo>
                    <a:pt x="295" y="13"/>
                  </a:lnTo>
                  <a:lnTo>
                    <a:pt x="329" y="30"/>
                  </a:lnTo>
                  <a:lnTo>
                    <a:pt x="360" y="52"/>
                  </a:lnTo>
                  <a:lnTo>
                    <a:pt x="386" y="78"/>
                  </a:lnTo>
                  <a:lnTo>
                    <a:pt x="407" y="108"/>
                  </a:lnTo>
                  <a:lnTo>
                    <a:pt x="424" y="142"/>
                  </a:lnTo>
                  <a:lnTo>
                    <a:pt x="434" y="180"/>
                  </a:lnTo>
                  <a:lnTo>
                    <a:pt x="437" y="219"/>
                  </a:lnTo>
                  <a:lnTo>
                    <a:pt x="434" y="259"/>
                  </a:lnTo>
                  <a:lnTo>
                    <a:pt x="424" y="295"/>
                  </a:lnTo>
                  <a:lnTo>
                    <a:pt x="407" y="329"/>
                  </a:lnTo>
                  <a:lnTo>
                    <a:pt x="386" y="361"/>
                  </a:lnTo>
                  <a:lnTo>
                    <a:pt x="360" y="387"/>
                  </a:lnTo>
                  <a:lnTo>
                    <a:pt x="329" y="408"/>
                  </a:lnTo>
                  <a:lnTo>
                    <a:pt x="295" y="424"/>
                  </a:lnTo>
                  <a:lnTo>
                    <a:pt x="257" y="435"/>
                  </a:lnTo>
                  <a:lnTo>
                    <a:pt x="219" y="439"/>
                  </a:lnTo>
                  <a:lnTo>
                    <a:pt x="178" y="435"/>
                  </a:lnTo>
                  <a:lnTo>
                    <a:pt x="142" y="424"/>
                  </a:lnTo>
                  <a:lnTo>
                    <a:pt x="108" y="408"/>
                  </a:lnTo>
                  <a:lnTo>
                    <a:pt x="78" y="387"/>
                  </a:lnTo>
                  <a:lnTo>
                    <a:pt x="51" y="361"/>
                  </a:lnTo>
                  <a:lnTo>
                    <a:pt x="29" y="329"/>
                  </a:lnTo>
                  <a:lnTo>
                    <a:pt x="13" y="295"/>
                  </a:lnTo>
                  <a:lnTo>
                    <a:pt x="3" y="259"/>
                  </a:lnTo>
                  <a:lnTo>
                    <a:pt x="0" y="219"/>
                  </a:lnTo>
                  <a:lnTo>
                    <a:pt x="3" y="180"/>
                  </a:lnTo>
                  <a:lnTo>
                    <a:pt x="13" y="142"/>
                  </a:lnTo>
                  <a:lnTo>
                    <a:pt x="29" y="108"/>
                  </a:lnTo>
                  <a:lnTo>
                    <a:pt x="51" y="78"/>
                  </a:lnTo>
                  <a:lnTo>
                    <a:pt x="78" y="52"/>
                  </a:lnTo>
                  <a:lnTo>
                    <a:pt x="108" y="30"/>
                  </a:lnTo>
                  <a:lnTo>
                    <a:pt x="142" y="13"/>
                  </a:lnTo>
                  <a:lnTo>
                    <a:pt x="178" y="3"/>
                  </a:lnTo>
                  <a:lnTo>
                    <a:pt x="2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80" name="Picture 7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55" y="2365970"/>
            <a:ext cx="525752" cy="381594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72895" y="412003"/>
            <a:ext cx="7137706" cy="914400"/>
          </a:xfrm>
        </p:spPr>
        <p:txBody>
          <a:bodyPr/>
          <a:lstStyle/>
          <a:p>
            <a:r>
              <a:rPr lang="ru-RU" dirty="0" smtClean="0"/>
              <a:t>Непрерывный контроль за маркетинговыми расходами</a:t>
            </a:r>
            <a:r>
              <a:rPr dirty="0"/>
              <a:t/>
            </a:r>
            <a:br>
              <a:rPr dirty="0"/>
            </a:br>
            <a:endParaRPr lang="ru-RU" dirty="0"/>
          </a:p>
        </p:txBody>
      </p:sp>
      <p:sp>
        <p:nvSpPr>
          <p:cNvPr id="94" name="Rectangle 17"/>
          <p:cNvSpPr>
            <a:spLocks/>
          </p:cNvSpPr>
          <p:nvPr/>
        </p:nvSpPr>
        <p:spPr bwMode="auto">
          <a:xfrm>
            <a:off x="142451" y="1299162"/>
            <a:ext cx="73896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 err="1" smtClean="0">
                <a:solidFill>
                  <a:schemeClr val="bg1"/>
                </a:solidFill>
                <a:latin typeface="+mj-lt"/>
                <a:sym typeface="Helvetica Neue" charset="0"/>
              </a:rPr>
              <a:t>Геоаналитика</a:t>
            </a:r>
            <a:endParaRPr lang="ru-RU" sz="8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95" name="Rectangle 17"/>
          <p:cNvSpPr>
            <a:spLocks/>
          </p:cNvSpPr>
          <p:nvPr/>
        </p:nvSpPr>
        <p:spPr bwMode="auto">
          <a:xfrm>
            <a:off x="142451" y="1684774"/>
            <a:ext cx="7389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A/B-тестирование</a:t>
            </a:r>
            <a:endParaRPr lang="ru-RU" sz="8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96" name="Rectangle 17"/>
          <p:cNvSpPr>
            <a:spLocks/>
          </p:cNvSpPr>
          <p:nvPr/>
        </p:nvSpPr>
        <p:spPr bwMode="auto">
          <a:xfrm>
            <a:off x="142451" y="2062691"/>
            <a:ext cx="7389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Разбивка на кластеры</a:t>
            </a:r>
            <a:endParaRPr lang="ru-RU" sz="8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147993" y="4464828"/>
            <a:ext cx="727877" cy="569812"/>
            <a:chOff x="147993" y="4263727"/>
            <a:chExt cx="727877" cy="569812"/>
          </a:xfrm>
        </p:grpSpPr>
        <p:sp>
          <p:nvSpPr>
            <p:cNvPr id="117" name="Rectangle 17"/>
            <p:cNvSpPr>
              <a:spLocks/>
            </p:cNvSpPr>
            <p:nvPr/>
          </p:nvSpPr>
          <p:spPr bwMode="auto">
            <a:xfrm>
              <a:off x="147993" y="4556540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нешние данные</a:t>
              </a:r>
            </a:p>
          </p:txBody>
        </p:sp>
        <p:grpSp>
          <p:nvGrpSpPr>
            <p:cNvPr id="118" name="Group 201"/>
            <p:cNvGrpSpPr>
              <a:grpSpLocks noChangeAspect="1"/>
            </p:cNvGrpSpPr>
            <p:nvPr/>
          </p:nvGrpSpPr>
          <p:grpSpPr bwMode="auto">
            <a:xfrm>
              <a:off x="417906" y="4263727"/>
              <a:ext cx="202275" cy="226804"/>
              <a:chOff x="4176" y="3243"/>
              <a:chExt cx="602" cy="675"/>
            </a:xfrm>
            <a:solidFill>
              <a:schemeClr val="bg1"/>
            </a:solidFill>
          </p:grpSpPr>
          <p:sp>
            <p:nvSpPr>
              <p:cNvPr id="119" name="Freeform 203"/>
              <p:cNvSpPr>
                <a:spLocks/>
              </p:cNvSpPr>
              <p:nvPr/>
            </p:nvSpPr>
            <p:spPr bwMode="auto">
              <a:xfrm>
                <a:off x="4184" y="3243"/>
                <a:ext cx="594" cy="675"/>
              </a:xfrm>
              <a:custGeom>
                <a:avLst/>
                <a:gdLst>
                  <a:gd name="T0" fmla="*/ 2818 w 2971"/>
                  <a:gd name="T1" fmla="*/ 0 h 3374"/>
                  <a:gd name="T2" fmla="*/ 2877 w 2971"/>
                  <a:gd name="T3" fmla="*/ 12 h 3374"/>
                  <a:gd name="T4" fmla="*/ 2926 w 2971"/>
                  <a:gd name="T5" fmla="*/ 45 h 3374"/>
                  <a:gd name="T6" fmla="*/ 2958 w 2971"/>
                  <a:gd name="T7" fmla="*/ 93 h 3374"/>
                  <a:gd name="T8" fmla="*/ 2971 w 2971"/>
                  <a:gd name="T9" fmla="*/ 154 h 3374"/>
                  <a:gd name="T10" fmla="*/ 2960 w 2971"/>
                  <a:gd name="T11" fmla="*/ 207 h 3374"/>
                  <a:gd name="T12" fmla="*/ 2934 w 2971"/>
                  <a:gd name="T13" fmla="*/ 252 h 3374"/>
                  <a:gd name="T14" fmla="*/ 2894 w 2971"/>
                  <a:gd name="T15" fmla="*/ 285 h 3374"/>
                  <a:gd name="T16" fmla="*/ 2892 w 2971"/>
                  <a:gd name="T17" fmla="*/ 2091 h 3374"/>
                  <a:gd name="T18" fmla="*/ 2872 w 2971"/>
                  <a:gd name="T19" fmla="*/ 2124 h 3374"/>
                  <a:gd name="T20" fmla="*/ 2838 w 2971"/>
                  <a:gd name="T21" fmla="*/ 2145 h 3374"/>
                  <a:gd name="T22" fmla="*/ 2197 w 2971"/>
                  <a:gd name="T23" fmla="*/ 2147 h 3374"/>
                  <a:gd name="T24" fmla="*/ 2475 w 2971"/>
                  <a:gd name="T25" fmla="*/ 3208 h 3374"/>
                  <a:gd name="T26" fmla="*/ 2469 w 2971"/>
                  <a:gd name="T27" fmla="*/ 3261 h 3374"/>
                  <a:gd name="T28" fmla="*/ 2448 w 2971"/>
                  <a:gd name="T29" fmla="*/ 3309 h 3374"/>
                  <a:gd name="T30" fmla="*/ 2411 w 2971"/>
                  <a:gd name="T31" fmla="*/ 3346 h 3374"/>
                  <a:gd name="T32" fmla="*/ 2362 w 2971"/>
                  <a:gd name="T33" fmla="*/ 3370 h 3374"/>
                  <a:gd name="T34" fmla="*/ 2323 w 2971"/>
                  <a:gd name="T35" fmla="*/ 3374 h 3374"/>
                  <a:gd name="T36" fmla="*/ 2267 w 2971"/>
                  <a:gd name="T37" fmla="*/ 3363 h 3374"/>
                  <a:gd name="T38" fmla="*/ 2220 w 2971"/>
                  <a:gd name="T39" fmla="*/ 3334 h 3374"/>
                  <a:gd name="T40" fmla="*/ 2186 w 2971"/>
                  <a:gd name="T41" fmla="*/ 3288 h 3374"/>
                  <a:gd name="T42" fmla="*/ 1902 w 2971"/>
                  <a:gd name="T43" fmla="*/ 2224 h 3374"/>
                  <a:gd name="T44" fmla="*/ 794 w 2971"/>
                  <a:gd name="T45" fmla="*/ 3260 h 3374"/>
                  <a:gd name="T46" fmla="*/ 771 w 2971"/>
                  <a:gd name="T47" fmla="*/ 3309 h 3374"/>
                  <a:gd name="T48" fmla="*/ 734 w 2971"/>
                  <a:gd name="T49" fmla="*/ 3346 h 3374"/>
                  <a:gd name="T50" fmla="*/ 687 w 2971"/>
                  <a:gd name="T51" fmla="*/ 3369 h 3374"/>
                  <a:gd name="T52" fmla="*/ 635 w 2971"/>
                  <a:gd name="T53" fmla="*/ 3374 h 3374"/>
                  <a:gd name="T54" fmla="*/ 581 w 2971"/>
                  <a:gd name="T55" fmla="*/ 3360 h 3374"/>
                  <a:gd name="T56" fmla="*/ 538 w 2971"/>
                  <a:gd name="T57" fmla="*/ 3329 h 3374"/>
                  <a:gd name="T58" fmla="*/ 509 w 2971"/>
                  <a:gd name="T59" fmla="*/ 3286 h 3374"/>
                  <a:gd name="T60" fmla="*/ 495 w 2971"/>
                  <a:gd name="T61" fmla="*/ 3236 h 3374"/>
                  <a:gd name="T62" fmla="*/ 500 w 2971"/>
                  <a:gd name="T63" fmla="*/ 3181 h 3374"/>
                  <a:gd name="T64" fmla="*/ 639 w 2971"/>
                  <a:gd name="T65" fmla="*/ 2147 h 3374"/>
                  <a:gd name="T66" fmla="*/ 729 w 2971"/>
                  <a:gd name="T67" fmla="*/ 2048 h 3374"/>
                  <a:gd name="T68" fmla="*/ 2742 w 2971"/>
                  <a:gd name="T69" fmla="*/ 1994 h 3374"/>
                  <a:gd name="T70" fmla="*/ 227 w 2971"/>
                  <a:gd name="T71" fmla="*/ 307 h 3374"/>
                  <a:gd name="T72" fmla="*/ 184 w 2971"/>
                  <a:gd name="T73" fmla="*/ 1953 h 3374"/>
                  <a:gd name="T74" fmla="*/ 108 w 2971"/>
                  <a:gd name="T75" fmla="*/ 2023 h 3374"/>
                  <a:gd name="T76" fmla="*/ 76 w 2971"/>
                  <a:gd name="T77" fmla="*/ 285 h 3374"/>
                  <a:gd name="T78" fmla="*/ 36 w 2971"/>
                  <a:gd name="T79" fmla="*/ 252 h 3374"/>
                  <a:gd name="T80" fmla="*/ 9 w 2971"/>
                  <a:gd name="T81" fmla="*/ 207 h 3374"/>
                  <a:gd name="T82" fmla="*/ 0 w 2971"/>
                  <a:gd name="T83" fmla="*/ 154 h 3374"/>
                  <a:gd name="T84" fmla="*/ 12 w 2971"/>
                  <a:gd name="T85" fmla="*/ 93 h 3374"/>
                  <a:gd name="T86" fmla="*/ 44 w 2971"/>
                  <a:gd name="T87" fmla="*/ 45 h 3374"/>
                  <a:gd name="T88" fmla="*/ 93 w 2971"/>
                  <a:gd name="T89" fmla="*/ 12 h 3374"/>
                  <a:gd name="T90" fmla="*/ 152 w 2971"/>
                  <a:gd name="T91" fmla="*/ 0 h 3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1" h="3374">
                    <a:moveTo>
                      <a:pt x="152" y="0"/>
                    </a:moveTo>
                    <a:lnTo>
                      <a:pt x="2818" y="0"/>
                    </a:lnTo>
                    <a:lnTo>
                      <a:pt x="2849" y="3"/>
                    </a:lnTo>
                    <a:lnTo>
                      <a:pt x="2877" y="12"/>
                    </a:lnTo>
                    <a:lnTo>
                      <a:pt x="2904" y="27"/>
                    </a:lnTo>
                    <a:lnTo>
                      <a:pt x="2926" y="45"/>
                    </a:lnTo>
                    <a:lnTo>
                      <a:pt x="2945" y="68"/>
                    </a:lnTo>
                    <a:lnTo>
                      <a:pt x="2958" y="93"/>
                    </a:lnTo>
                    <a:lnTo>
                      <a:pt x="2968" y="123"/>
                    </a:lnTo>
                    <a:lnTo>
                      <a:pt x="2971" y="154"/>
                    </a:lnTo>
                    <a:lnTo>
                      <a:pt x="2968" y="181"/>
                    </a:lnTo>
                    <a:lnTo>
                      <a:pt x="2960" y="207"/>
                    </a:lnTo>
                    <a:lnTo>
                      <a:pt x="2950" y="231"/>
                    </a:lnTo>
                    <a:lnTo>
                      <a:pt x="2934" y="252"/>
                    </a:lnTo>
                    <a:lnTo>
                      <a:pt x="2916" y="271"/>
                    </a:lnTo>
                    <a:lnTo>
                      <a:pt x="2894" y="285"/>
                    </a:lnTo>
                    <a:lnTo>
                      <a:pt x="2894" y="2070"/>
                    </a:lnTo>
                    <a:lnTo>
                      <a:pt x="2892" y="2091"/>
                    </a:lnTo>
                    <a:lnTo>
                      <a:pt x="2883" y="2110"/>
                    </a:lnTo>
                    <a:lnTo>
                      <a:pt x="2872" y="2124"/>
                    </a:lnTo>
                    <a:lnTo>
                      <a:pt x="2856" y="2137"/>
                    </a:lnTo>
                    <a:lnTo>
                      <a:pt x="2838" y="2145"/>
                    </a:lnTo>
                    <a:lnTo>
                      <a:pt x="2818" y="2147"/>
                    </a:lnTo>
                    <a:lnTo>
                      <a:pt x="2197" y="2147"/>
                    </a:lnTo>
                    <a:lnTo>
                      <a:pt x="2470" y="3181"/>
                    </a:lnTo>
                    <a:lnTo>
                      <a:pt x="2475" y="3208"/>
                    </a:lnTo>
                    <a:lnTo>
                      <a:pt x="2475" y="3235"/>
                    </a:lnTo>
                    <a:lnTo>
                      <a:pt x="2469" y="3261"/>
                    </a:lnTo>
                    <a:lnTo>
                      <a:pt x="2461" y="3286"/>
                    </a:lnTo>
                    <a:lnTo>
                      <a:pt x="2448" y="3309"/>
                    </a:lnTo>
                    <a:lnTo>
                      <a:pt x="2432" y="3329"/>
                    </a:lnTo>
                    <a:lnTo>
                      <a:pt x="2411" y="3346"/>
                    </a:lnTo>
                    <a:lnTo>
                      <a:pt x="2388" y="3360"/>
                    </a:lnTo>
                    <a:lnTo>
                      <a:pt x="2362" y="3370"/>
                    </a:lnTo>
                    <a:lnTo>
                      <a:pt x="2343" y="3373"/>
                    </a:lnTo>
                    <a:lnTo>
                      <a:pt x="2323" y="3374"/>
                    </a:lnTo>
                    <a:lnTo>
                      <a:pt x="2295" y="3372"/>
                    </a:lnTo>
                    <a:lnTo>
                      <a:pt x="2267" y="3363"/>
                    </a:lnTo>
                    <a:lnTo>
                      <a:pt x="2243" y="3351"/>
                    </a:lnTo>
                    <a:lnTo>
                      <a:pt x="2220" y="3334"/>
                    </a:lnTo>
                    <a:lnTo>
                      <a:pt x="2201" y="3313"/>
                    </a:lnTo>
                    <a:lnTo>
                      <a:pt x="2186" y="3288"/>
                    </a:lnTo>
                    <a:lnTo>
                      <a:pt x="2176" y="3260"/>
                    </a:lnTo>
                    <a:lnTo>
                      <a:pt x="1902" y="2224"/>
                    </a:lnTo>
                    <a:lnTo>
                      <a:pt x="1069" y="2224"/>
                    </a:lnTo>
                    <a:lnTo>
                      <a:pt x="794" y="3260"/>
                    </a:lnTo>
                    <a:lnTo>
                      <a:pt x="785" y="3287"/>
                    </a:lnTo>
                    <a:lnTo>
                      <a:pt x="771" y="3309"/>
                    </a:lnTo>
                    <a:lnTo>
                      <a:pt x="754" y="3329"/>
                    </a:lnTo>
                    <a:lnTo>
                      <a:pt x="734" y="3346"/>
                    </a:lnTo>
                    <a:lnTo>
                      <a:pt x="712" y="3360"/>
                    </a:lnTo>
                    <a:lnTo>
                      <a:pt x="687" y="3369"/>
                    </a:lnTo>
                    <a:lnTo>
                      <a:pt x="662" y="3374"/>
                    </a:lnTo>
                    <a:lnTo>
                      <a:pt x="635" y="3374"/>
                    </a:lnTo>
                    <a:lnTo>
                      <a:pt x="608" y="3370"/>
                    </a:lnTo>
                    <a:lnTo>
                      <a:pt x="581" y="3360"/>
                    </a:lnTo>
                    <a:lnTo>
                      <a:pt x="558" y="3346"/>
                    </a:lnTo>
                    <a:lnTo>
                      <a:pt x="538" y="3329"/>
                    </a:lnTo>
                    <a:lnTo>
                      <a:pt x="522" y="3309"/>
                    </a:lnTo>
                    <a:lnTo>
                      <a:pt x="509" y="3286"/>
                    </a:lnTo>
                    <a:lnTo>
                      <a:pt x="500" y="3261"/>
                    </a:lnTo>
                    <a:lnTo>
                      <a:pt x="495" y="3236"/>
                    </a:lnTo>
                    <a:lnTo>
                      <a:pt x="495" y="3208"/>
                    </a:lnTo>
                    <a:lnTo>
                      <a:pt x="500" y="3181"/>
                    </a:lnTo>
                    <a:lnTo>
                      <a:pt x="773" y="2147"/>
                    </a:lnTo>
                    <a:lnTo>
                      <a:pt x="639" y="2147"/>
                    </a:lnTo>
                    <a:lnTo>
                      <a:pt x="683" y="2099"/>
                    </a:lnTo>
                    <a:lnTo>
                      <a:pt x="729" y="2048"/>
                    </a:lnTo>
                    <a:lnTo>
                      <a:pt x="778" y="1994"/>
                    </a:lnTo>
                    <a:lnTo>
                      <a:pt x="2742" y="1994"/>
                    </a:lnTo>
                    <a:lnTo>
                      <a:pt x="2742" y="307"/>
                    </a:lnTo>
                    <a:lnTo>
                      <a:pt x="227" y="307"/>
                    </a:lnTo>
                    <a:lnTo>
                      <a:pt x="227" y="1912"/>
                    </a:lnTo>
                    <a:lnTo>
                      <a:pt x="184" y="1953"/>
                    </a:lnTo>
                    <a:lnTo>
                      <a:pt x="144" y="1989"/>
                    </a:lnTo>
                    <a:lnTo>
                      <a:pt x="108" y="2023"/>
                    </a:lnTo>
                    <a:lnTo>
                      <a:pt x="76" y="2052"/>
                    </a:lnTo>
                    <a:lnTo>
                      <a:pt x="76" y="285"/>
                    </a:lnTo>
                    <a:lnTo>
                      <a:pt x="55" y="271"/>
                    </a:lnTo>
                    <a:lnTo>
                      <a:pt x="36" y="252"/>
                    </a:lnTo>
                    <a:lnTo>
                      <a:pt x="21" y="231"/>
                    </a:lnTo>
                    <a:lnTo>
                      <a:pt x="9" y="207"/>
                    </a:lnTo>
                    <a:lnTo>
                      <a:pt x="2" y="181"/>
                    </a:lnTo>
                    <a:lnTo>
                      <a:pt x="0" y="154"/>
                    </a:lnTo>
                    <a:lnTo>
                      <a:pt x="3" y="123"/>
                    </a:lnTo>
                    <a:lnTo>
                      <a:pt x="12" y="93"/>
                    </a:lnTo>
                    <a:lnTo>
                      <a:pt x="25" y="68"/>
                    </a:lnTo>
                    <a:lnTo>
                      <a:pt x="44" y="45"/>
                    </a:lnTo>
                    <a:lnTo>
                      <a:pt x="66" y="27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0" name="Freeform 204"/>
              <p:cNvSpPr>
                <a:spLocks/>
              </p:cNvSpPr>
              <p:nvPr/>
            </p:nvSpPr>
            <p:spPr bwMode="auto">
              <a:xfrm>
                <a:off x="4443" y="3439"/>
                <a:ext cx="60" cy="176"/>
              </a:xfrm>
              <a:custGeom>
                <a:avLst/>
                <a:gdLst>
                  <a:gd name="T0" fmla="*/ 153 w 304"/>
                  <a:gd name="T1" fmla="*/ 0 h 881"/>
                  <a:gd name="T2" fmla="*/ 183 w 304"/>
                  <a:gd name="T3" fmla="*/ 3 h 881"/>
                  <a:gd name="T4" fmla="*/ 211 w 304"/>
                  <a:gd name="T5" fmla="*/ 12 h 881"/>
                  <a:gd name="T6" fmla="*/ 237 w 304"/>
                  <a:gd name="T7" fmla="*/ 25 h 881"/>
                  <a:gd name="T8" fmla="*/ 260 w 304"/>
                  <a:gd name="T9" fmla="*/ 44 h 881"/>
                  <a:gd name="T10" fmla="*/ 278 w 304"/>
                  <a:gd name="T11" fmla="*/ 68 h 881"/>
                  <a:gd name="T12" fmla="*/ 293 w 304"/>
                  <a:gd name="T13" fmla="*/ 93 h 881"/>
                  <a:gd name="T14" fmla="*/ 301 w 304"/>
                  <a:gd name="T15" fmla="*/ 122 h 881"/>
                  <a:gd name="T16" fmla="*/ 304 w 304"/>
                  <a:gd name="T17" fmla="*/ 154 h 881"/>
                  <a:gd name="T18" fmla="*/ 304 w 304"/>
                  <a:gd name="T19" fmla="*/ 729 h 881"/>
                  <a:gd name="T20" fmla="*/ 301 w 304"/>
                  <a:gd name="T21" fmla="*/ 759 h 881"/>
                  <a:gd name="T22" fmla="*/ 293 w 304"/>
                  <a:gd name="T23" fmla="*/ 788 h 881"/>
                  <a:gd name="T24" fmla="*/ 278 w 304"/>
                  <a:gd name="T25" fmla="*/ 814 h 881"/>
                  <a:gd name="T26" fmla="*/ 260 w 304"/>
                  <a:gd name="T27" fmla="*/ 837 h 881"/>
                  <a:gd name="T28" fmla="*/ 237 w 304"/>
                  <a:gd name="T29" fmla="*/ 856 h 881"/>
                  <a:gd name="T30" fmla="*/ 211 w 304"/>
                  <a:gd name="T31" fmla="*/ 870 h 881"/>
                  <a:gd name="T32" fmla="*/ 183 w 304"/>
                  <a:gd name="T33" fmla="*/ 878 h 881"/>
                  <a:gd name="T34" fmla="*/ 153 w 304"/>
                  <a:gd name="T35" fmla="*/ 881 h 881"/>
                  <a:gd name="T36" fmla="*/ 121 w 304"/>
                  <a:gd name="T37" fmla="*/ 878 h 881"/>
                  <a:gd name="T38" fmla="*/ 92 w 304"/>
                  <a:gd name="T39" fmla="*/ 870 h 881"/>
                  <a:gd name="T40" fmla="*/ 67 w 304"/>
                  <a:gd name="T41" fmla="*/ 856 h 881"/>
                  <a:gd name="T42" fmla="*/ 44 w 304"/>
                  <a:gd name="T43" fmla="*/ 837 h 881"/>
                  <a:gd name="T44" fmla="*/ 26 w 304"/>
                  <a:gd name="T45" fmla="*/ 814 h 881"/>
                  <a:gd name="T46" fmla="*/ 11 w 304"/>
                  <a:gd name="T47" fmla="*/ 788 h 881"/>
                  <a:gd name="T48" fmla="*/ 3 w 304"/>
                  <a:gd name="T49" fmla="*/ 759 h 881"/>
                  <a:gd name="T50" fmla="*/ 0 w 304"/>
                  <a:gd name="T51" fmla="*/ 729 h 881"/>
                  <a:gd name="T52" fmla="*/ 0 w 304"/>
                  <a:gd name="T53" fmla="*/ 154 h 881"/>
                  <a:gd name="T54" fmla="*/ 3 w 304"/>
                  <a:gd name="T55" fmla="*/ 122 h 881"/>
                  <a:gd name="T56" fmla="*/ 11 w 304"/>
                  <a:gd name="T57" fmla="*/ 93 h 881"/>
                  <a:gd name="T58" fmla="*/ 26 w 304"/>
                  <a:gd name="T59" fmla="*/ 68 h 881"/>
                  <a:gd name="T60" fmla="*/ 44 w 304"/>
                  <a:gd name="T61" fmla="*/ 44 h 881"/>
                  <a:gd name="T62" fmla="*/ 67 w 304"/>
                  <a:gd name="T63" fmla="*/ 25 h 881"/>
                  <a:gd name="T64" fmla="*/ 92 w 304"/>
                  <a:gd name="T65" fmla="*/ 12 h 881"/>
                  <a:gd name="T66" fmla="*/ 121 w 304"/>
                  <a:gd name="T67" fmla="*/ 3 h 881"/>
                  <a:gd name="T68" fmla="*/ 153 w 304"/>
                  <a:gd name="T69" fmla="*/ 0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881">
                    <a:moveTo>
                      <a:pt x="153" y="0"/>
                    </a:moveTo>
                    <a:lnTo>
                      <a:pt x="183" y="3"/>
                    </a:lnTo>
                    <a:lnTo>
                      <a:pt x="211" y="12"/>
                    </a:lnTo>
                    <a:lnTo>
                      <a:pt x="237" y="25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4" y="154"/>
                    </a:lnTo>
                    <a:lnTo>
                      <a:pt x="304" y="729"/>
                    </a:lnTo>
                    <a:lnTo>
                      <a:pt x="301" y="759"/>
                    </a:lnTo>
                    <a:lnTo>
                      <a:pt x="293" y="788"/>
                    </a:lnTo>
                    <a:lnTo>
                      <a:pt x="278" y="814"/>
                    </a:lnTo>
                    <a:lnTo>
                      <a:pt x="260" y="837"/>
                    </a:lnTo>
                    <a:lnTo>
                      <a:pt x="237" y="856"/>
                    </a:lnTo>
                    <a:lnTo>
                      <a:pt x="211" y="870"/>
                    </a:lnTo>
                    <a:lnTo>
                      <a:pt x="183" y="878"/>
                    </a:lnTo>
                    <a:lnTo>
                      <a:pt x="153" y="881"/>
                    </a:lnTo>
                    <a:lnTo>
                      <a:pt x="121" y="878"/>
                    </a:lnTo>
                    <a:lnTo>
                      <a:pt x="92" y="870"/>
                    </a:lnTo>
                    <a:lnTo>
                      <a:pt x="67" y="856"/>
                    </a:lnTo>
                    <a:lnTo>
                      <a:pt x="44" y="837"/>
                    </a:lnTo>
                    <a:lnTo>
                      <a:pt x="26" y="814"/>
                    </a:lnTo>
                    <a:lnTo>
                      <a:pt x="11" y="788"/>
                    </a:lnTo>
                    <a:lnTo>
                      <a:pt x="3" y="759"/>
                    </a:lnTo>
                    <a:lnTo>
                      <a:pt x="0" y="729"/>
                    </a:lnTo>
                    <a:lnTo>
                      <a:pt x="0" y="154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5"/>
                    </a:lnTo>
                    <a:lnTo>
                      <a:pt x="92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1" name="Freeform 205"/>
              <p:cNvSpPr>
                <a:spLocks/>
              </p:cNvSpPr>
              <p:nvPr/>
            </p:nvSpPr>
            <p:spPr bwMode="auto">
              <a:xfrm>
                <a:off x="4542" y="3331"/>
                <a:ext cx="60" cy="284"/>
              </a:xfrm>
              <a:custGeom>
                <a:avLst/>
                <a:gdLst>
                  <a:gd name="T0" fmla="*/ 153 w 304"/>
                  <a:gd name="T1" fmla="*/ 0 h 1418"/>
                  <a:gd name="T2" fmla="*/ 183 w 304"/>
                  <a:gd name="T3" fmla="*/ 3 h 1418"/>
                  <a:gd name="T4" fmla="*/ 212 w 304"/>
                  <a:gd name="T5" fmla="*/ 12 h 1418"/>
                  <a:gd name="T6" fmla="*/ 237 w 304"/>
                  <a:gd name="T7" fmla="*/ 26 h 1418"/>
                  <a:gd name="T8" fmla="*/ 260 w 304"/>
                  <a:gd name="T9" fmla="*/ 45 h 1418"/>
                  <a:gd name="T10" fmla="*/ 278 w 304"/>
                  <a:gd name="T11" fmla="*/ 67 h 1418"/>
                  <a:gd name="T12" fmla="*/ 293 w 304"/>
                  <a:gd name="T13" fmla="*/ 94 h 1418"/>
                  <a:gd name="T14" fmla="*/ 301 w 304"/>
                  <a:gd name="T15" fmla="*/ 122 h 1418"/>
                  <a:gd name="T16" fmla="*/ 304 w 304"/>
                  <a:gd name="T17" fmla="*/ 153 h 1418"/>
                  <a:gd name="T18" fmla="*/ 304 w 304"/>
                  <a:gd name="T19" fmla="*/ 1266 h 1418"/>
                  <a:gd name="T20" fmla="*/ 301 w 304"/>
                  <a:gd name="T21" fmla="*/ 1296 h 1418"/>
                  <a:gd name="T22" fmla="*/ 293 w 304"/>
                  <a:gd name="T23" fmla="*/ 1325 h 1418"/>
                  <a:gd name="T24" fmla="*/ 278 w 304"/>
                  <a:gd name="T25" fmla="*/ 1351 h 1418"/>
                  <a:gd name="T26" fmla="*/ 260 w 304"/>
                  <a:gd name="T27" fmla="*/ 1374 h 1418"/>
                  <a:gd name="T28" fmla="*/ 237 w 304"/>
                  <a:gd name="T29" fmla="*/ 1393 h 1418"/>
                  <a:gd name="T30" fmla="*/ 212 w 304"/>
                  <a:gd name="T31" fmla="*/ 1407 h 1418"/>
                  <a:gd name="T32" fmla="*/ 183 w 304"/>
                  <a:gd name="T33" fmla="*/ 1415 h 1418"/>
                  <a:gd name="T34" fmla="*/ 153 w 304"/>
                  <a:gd name="T35" fmla="*/ 1418 h 1418"/>
                  <a:gd name="T36" fmla="*/ 121 w 304"/>
                  <a:gd name="T37" fmla="*/ 1415 h 1418"/>
                  <a:gd name="T38" fmla="*/ 93 w 304"/>
                  <a:gd name="T39" fmla="*/ 1407 h 1418"/>
                  <a:gd name="T40" fmla="*/ 67 w 304"/>
                  <a:gd name="T41" fmla="*/ 1393 h 1418"/>
                  <a:gd name="T42" fmla="*/ 44 w 304"/>
                  <a:gd name="T43" fmla="*/ 1374 h 1418"/>
                  <a:gd name="T44" fmla="*/ 26 w 304"/>
                  <a:gd name="T45" fmla="*/ 1351 h 1418"/>
                  <a:gd name="T46" fmla="*/ 11 w 304"/>
                  <a:gd name="T47" fmla="*/ 1325 h 1418"/>
                  <a:gd name="T48" fmla="*/ 3 w 304"/>
                  <a:gd name="T49" fmla="*/ 1296 h 1418"/>
                  <a:gd name="T50" fmla="*/ 0 w 304"/>
                  <a:gd name="T51" fmla="*/ 1266 h 1418"/>
                  <a:gd name="T52" fmla="*/ 0 w 304"/>
                  <a:gd name="T53" fmla="*/ 153 h 1418"/>
                  <a:gd name="T54" fmla="*/ 3 w 304"/>
                  <a:gd name="T55" fmla="*/ 122 h 1418"/>
                  <a:gd name="T56" fmla="*/ 11 w 304"/>
                  <a:gd name="T57" fmla="*/ 94 h 1418"/>
                  <a:gd name="T58" fmla="*/ 26 w 304"/>
                  <a:gd name="T59" fmla="*/ 67 h 1418"/>
                  <a:gd name="T60" fmla="*/ 44 w 304"/>
                  <a:gd name="T61" fmla="*/ 45 h 1418"/>
                  <a:gd name="T62" fmla="*/ 67 w 304"/>
                  <a:gd name="T63" fmla="*/ 26 h 1418"/>
                  <a:gd name="T64" fmla="*/ 93 w 304"/>
                  <a:gd name="T65" fmla="*/ 12 h 1418"/>
                  <a:gd name="T66" fmla="*/ 121 w 304"/>
                  <a:gd name="T67" fmla="*/ 3 h 1418"/>
                  <a:gd name="T68" fmla="*/ 153 w 304"/>
                  <a:gd name="T69" fmla="*/ 0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1418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2"/>
                    </a:lnTo>
                    <a:lnTo>
                      <a:pt x="237" y="26"/>
                    </a:lnTo>
                    <a:lnTo>
                      <a:pt x="260" y="45"/>
                    </a:lnTo>
                    <a:lnTo>
                      <a:pt x="278" y="67"/>
                    </a:lnTo>
                    <a:lnTo>
                      <a:pt x="293" y="94"/>
                    </a:lnTo>
                    <a:lnTo>
                      <a:pt x="301" y="122"/>
                    </a:lnTo>
                    <a:lnTo>
                      <a:pt x="304" y="153"/>
                    </a:lnTo>
                    <a:lnTo>
                      <a:pt x="304" y="1266"/>
                    </a:lnTo>
                    <a:lnTo>
                      <a:pt x="301" y="1296"/>
                    </a:lnTo>
                    <a:lnTo>
                      <a:pt x="293" y="1325"/>
                    </a:lnTo>
                    <a:lnTo>
                      <a:pt x="278" y="1351"/>
                    </a:lnTo>
                    <a:lnTo>
                      <a:pt x="260" y="1374"/>
                    </a:lnTo>
                    <a:lnTo>
                      <a:pt x="237" y="1393"/>
                    </a:lnTo>
                    <a:lnTo>
                      <a:pt x="212" y="1407"/>
                    </a:lnTo>
                    <a:lnTo>
                      <a:pt x="183" y="1415"/>
                    </a:lnTo>
                    <a:lnTo>
                      <a:pt x="153" y="1418"/>
                    </a:lnTo>
                    <a:lnTo>
                      <a:pt x="121" y="1415"/>
                    </a:lnTo>
                    <a:lnTo>
                      <a:pt x="93" y="1407"/>
                    </a:lnTo>
                    <a:lnTo>
                      <a:pt x="67" y="1393"/>
                    </a:lnTo>
                    <a:lnTo>
                      <a:pt x="44" y="1374"/>
                    </a:lnTo>
                    <a:lnTo>
                      <a:pt x="26" y="1351"/>
                    </a:lnTo>
                    <a:lnTo>
                      <a:pt x="11" y="1325"/>
                    </a:lnTo>
                    <a:lnTo>
                      <a:pt x="3" y="1296"/>
                    </a:lnTo>
                    <a:lnTo>
                      <a:pt x="0" y="1266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4"/>
                    </a:lnTo>
                    <a:lnTo>
                      <a:pt x="26" y="67"/>
                    </a:lnTo>
                    <a:lnTo>
                      <a:pt x="44" y="45"/>
                    </a:lnTo>
                    <a:lnTo>
                      <a:pt x="67" y="26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2" name="Freeform 206"/>
              <p:cNvSpPr>
                <a:spLocks/>
              </p:cNvSpPr>
              <p:nvPr/>
            </p:nvSpPr>
            <p:spPr bwMode="auto">
              <a:xfrm>
                <a:off x="4641" y="3393"/>
                <a:ext cx="61" cy="222"/>
              </a:xfrm>
              <a:custGeom>
                <a:avLst/>
                <a:gdLst>
                  <a:gd name="T0" fmla="*/ 153 w 305"/>
                  <a:gd name="T1" fmla="*/ 0 h 1111"/>
                  <a:gd name="T2" fmla="*/ 183 w 305"/>
                  <a:gd name="T3" fmla="*/ 3 h 1111"/>
                  <a:gd name="T4" fmla="*/ 212 w 305"/>
                  <a:gd name="T5" fmla="*/ 11 h 1111"/>
                  <a:gd name="T6" fmla="*/ 237 w 305"/>
                  <a:gd name="T7" fmla="*/ 26 h 1111"/>
                  <a:gd name="T8" fmla="*/ 260 w 305"/>
                  <a:gd name="T9" fmla="*/ 44 h 1111"/>
                  <a:gd name="T10" fmla="*/ 278 w 305"/>
                  <a:gd name="T11" fmla="*/ 68 h 1111"/>
                  <a:gd name="T12" fmla="*/ 293 w 305"/>
                  <a:gd name="T13" fmla="*/ 93 h 1111"/>
                  <a:gd name="T14" fmla="*/ 301 w 305"/>
                  <a:gd name="T15" fmla="*/ 122 h 1111"/>
                  <a:gd name="T16" fmla="*/ 305 w 305"/>
                  <a:gd name="T17" fmla="*/ 153 h 1111"/>
                  <a:gd name="T18" fmla="*/ 305 w 305"/>
                  <a:gd name="T19" fmla="*/ 959 h 1111"/>
                  <a:gd name="T20" fmla="*/ 301 w 305"/>
                  <a:gd name="T21" fmla="*/ 989 h 1111"/>
                  <a:gd name="T22" fmla="*/ 293 w 305"/>
                  <a:gd name="T23" fmla="*/ 1018 h 1111"/>
                  <a:gd name="T24" fmla="*/ 278 w 305"/>
                  <a:gd name="T25" fmla="*/ 1044 h 1111"/>
                  <a:gd name="T26" fmla="*/ 260 w 305"/>
                  <a:gd name="T27" fmla="*/ 1067 h 1111"/>
                  <a:gd name="T28" fmla="*/ 237 w 305"/>
                  <a:gd name="T29" fmla="*/ 1086 h 1111"/>
                  <a:gd name="T30" fmla="*/ 212 w 305"/>
                  <a:gd name="T31" fmla="*/ 1100 h 1111"/>
                  <a:gd name="T32" fmla="*/ 183 w 305"/>
                  <a:gd name="T33" fmla="*/ 1108 h 1111"/>
                  <a:gd name="T34" fmla="*/ 153 w 305"/>
                  <a:gd name="T35" fmla="*/ 1111 h 1111"/>
                  <a:gd name="T36" fmla="*/ 121 w 305"/>
                  <a:gd name="T37" fmla="*/ 1108 h 1111"/>
                  <a:gd name="T38" fmla="*/ 93 w 305"/>
                  <a:gd name="T39" fmla="*/ 1100 h 1111"/>
                  <a:gd name="T40" fmla="*/ 67 w 305"/>
                  <a:gd name="T41" fmla="*/ 1086 h 1111"/>
                  <a:gd name="T42" fmla="*/ 44 w 305"/>
                  <a:gd name="T43" fmla="*/ 1067 h 1111"/>
                  <a:gd name="T44" fmla="*/ 26 w 305"/>
                  <a:gd name="T45" fmla="*/ 1044 h 1111"/>
                  <a:gd name="T46" fmla="*/ 12 w 305"/>
                  <a:gd name="T47" fmla="*/ 1018 h 1111"/>
                  <a:gd name="T48" fmla="*/ 3 w 305"/>
                  <a:gd name="T49" fmla="*/ 989 h 1111"/>
                  <a:gd name="T50" fmla="*/ 0 w 305"/>
                  <a:gd name="T51" fmla="*/ 959 h 1111"/>
                  <a:gd name="T52" fmla="*/ 0 w 305"/>
                  <a:gd name="T53" fmla="*/ 153 h 1111"/>
                  <a:gd name="T54" fmla="*/ 3 w 305"/>
                  <a:gd name="T55" fmla="*/ 122 h 1111"/>
                  <a:gd name="T56" fmla="*/ 12 w 305"/>
                  <a:gd name="T57" fmla="*/ 93 h 1111"/>
                  <a:gd name="T58" fmla="*/ 26 w 305"/>
                  <a:gd name="T59" fmla="*/ 68 h 1111"/>
                  <a:gd name="T60" fmla="*/ 44 w 305"/>
                  <a:gd name="T61" fmla="*/ 44 h 1111"/>
                  <a:gd name="T62" fmla="*/ 67 w 305"/>
                  <a:gd name="T63" fmla="*/ 26 h 1111"/>
                  <a:gd name="T64" fmla="*/ 93 w 305"/>
                  <a:gd name="T65" fmla="*/ 11 h 1111"/>
                  <a:gd name="T66" fmla="*/ 121 w 305"/>
                  <a:gd name="T67" fmla="*/ 3 h 1111"/>
                  <a:gd name="T68" fmla="*/ 153 w 305"/>
                  <a:gd name="T69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5" h="1111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1"/>
                    </a:lnTo>
                    <a:lnTo>
                      <a:pt x="237" y="26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5" y="153"/>
                    </a:lnTo>
                    <a:lnTo>
                      <a:pt x="305" y="959"/>
                    </a:lnTo>
                    <a:lnTo>
                      <a:pt x="301" y="989"/>
                    </a:lnTo>
                    <a:lnTo>
                      <a:pt x="293" y="1018"/>
                    </a:lnTo>
                    <a:lnTo>
                      <a:pt x="278" y="1044"/>
                    </a:lnTo>
                    <a:lnTo>
                      <a:pt x="260" y="1067"/>
                    </a:lnTo>
                    <a:lnTo>
                      <a:pt x="237" y="1086"/>
                    </a:lnTo>
                    <a:lnTo>
                      <a:pt x="212" y="1100"/>
                    </a:lnTo>
                    <a:lnTo>
                      <a:pt x="183" y="1108"/>
                    </a:lnTo>
                    <a:lnTo>
                      <a:pt x="153" y="1111"/>
                    </a:lnTo>
                    <a:lnTo>
                      <a:pt x="121" y="1108"/>
                    </a:lnTo>
                    <a:lnTo>
                      <a:pt x="93" y="1100"/>
                    </a:lnTo>
                    <a:lnTo>
                      <a:pt x="67" y="1086"/>
                    </a:lnTo>
                    <a:lnTo>
                      <a:pt x="44" y="1067"/>
                    </a:lnTo>
                    <a:lnTo>
                      <a:pt x="26" y="1044"/>
                    </a:lnTo>
                    <a:lnTo>
                      <a:pt x="12" y="1018"/>
                    </a:lnTo>
                    <a:lnTo>
                      <a:pt x="3" y="989"/>
                    </a:lnTo>
                    <a:lnTo>
                      <a:pt x="0" y="959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2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6"/>
                    </a:lnTo>
                    <a:lnTo>
                      <a:pt x="93" y="11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6" name="Freeform 207"/>
              <p:cNvSpPr>
                <a:spLocks/>
              </p:cNvSpPr>
              <p:nvPr/>
            </p:nvSpPr>
            <p:spPr bwMode="auto">
              <a:xfrm>
                <a:off x="4176" y="3520"/>
                <a:ext cx="223" cy="225"/>
              </a:xfrm>
              <a:custGeom>
                <a:avLst/>
                <a:gdLst>
                  <a:gd name="T0" fmla="*/ 1085 w 1117"/>
                  <a:gd name="T1" fmla="*/ 0 h 1123"/>
                  <a:gd name="T2" fmla="*/ 1106 w 1117"/>
                  <a:gd name="T3" fmla="*/ 10 h 1123"/>
                  <a:gd name="T4" fmla="*/ 1117 w 1117"/>
                  <a:gd name="T5" fmla="*/ 31 h 1123"/>
                  <a:gd name="T6" fmla="*/ 1113 w 1117"/>
                  <a:gd name="T7" fmla="*/ 53 h 1123"/>
                  <a:gd name="T8" fmla="*/ 1104 w 1117"/>
                  <a:gd name="T9" fmla="*/ 66 h 1123"/>
                  <a:gd name="T10" fmla="*/ 1089 w 1117"/>
                  <a:gd name="T11" fmla="*/ 82 h 1123"/>
                  <a:gd name="T12" fmla="*/ 1062 w 1117"/>
                  <a:gd name="T13" fmla="*/ 112 h 1123"/>
                  <a:gd name="T14" fmla="*/ 1023 w 1117"/>
                  <a:gd name="T15" fmla="*/ 155 h 1123"/>
                  <a:gd name="T16" fmla="*/ 973 w 1117"/>
                  <a:gd name="T17" fmla="*/ 209 h 1123"/>
                  <a:gd name="T18" fmla="*/ 917 w 1117"/>
                  <a:gd name="T19" fmla="*/ 272 h 1123"/>
                  <a:gd name="T20" fmla="*/ 853 w 1117"/>
                  <a:gd name="T21" fmla="*/ 342 h 1123"/>
                  <a:gd name="T22" fmla="*/ 785 w 1117"/>
                  <a:gd name="T23" fmla="*/ 417 h 1123"/>
                  <a:gd name="T24" fmla="*/ 712 w 1117"/>
                  <a:gd name="T25" fmla="*/ 497 h 1123"/>
                  <a:gd name="T26" fmla="*/ 640 w 1117"/>
                  <a:gd name="T27" fmla="*/ 577 h 1123"/>
                  <a:gd name="T28" fmla="*/ 566 w 1117"/>
                  <a:gd name="T29" fmla="*/ 658 h 1123"/>
                  <a:gd name="T30" fmla="*/ 494 w 1117"/>
                  <a:gd name="T31" fmla="*/ 737 h 1123"/>
                  <a:gd name="T32" fmla="*/ 425 w 1117"/>
                  <a:gd name="T33" fmla="*/ 813 h 1123"/>
                  <a:gd name="T34" fmla="*/ 361 w 1117"/>
                  <a:gd name="T35" fmla="*/ 884 h 1123"/>
                  <a:gd name="T36" fmla="*/ 303 w 1117"/>
                  <a:gd name="T37" fmla="*/ 946 h 1123"/>
                  <a:gd name="T38" fmla="*/ 254 w 1117"/>
                  <a:gd name="T39" fmla="*/ 1001 h 1123"/>
                  <a:gd name="T40" fmla="*/ 215 w 1117"/>
                  <a:gd name="T41" fmla="*/ 1045 h 1123"/>
                  <a:gd name="T42" fmla="*/ 186 w 1117"/>
                  <a:gd name="T43" fmla="*/ 1076 h 1123"/>
                  <a:gd name="T44" fmla="*/ 171 w 1117"/>
                  <a:gd name="T45" fmla="*/ 1093 h 1123"/>
                  <a:gd name="T46" fmla="*/ 151 w 1117"/>
                  <a:gd name="T47" fmla="*/ 1110 h 1123"/>
                  <a:gd name="T48" fmla="*/ 110 w 1117"/>
                  <a:gd name="T49" fmla="*/ 1123 h 1123"/>
                  <a:gd name="T50" fmla="*/ 66 w 1117"/>
                  <a:gd name="T51" fmla="*/ 1119 h 1123"/>
                  <a:gd name="T52" fmla="*/ 28 w 1117"/>
                  <a:gd name="T53" fmla="*/ 1095 h 1123"/>
                  <a:gd name="T54" fmla="*/ 5 w 1117"/>
                  <a:gd name="T55" fmla="*/ 1057 h 1123"/>
                  <a:gd name="T56" fmla="*/ 0 w 1117"/>
                  <a:gd name="T57" fmla="*/ 1013 h 1123"/>
                  <a:gd name="T58" fmla="*/ 14 w 1117"/>
                  <a:gd name="T59" fmla="*/ 972 h 1123"/>
                  <a:gd name="T60" fmla="*/ 31 w 1117"/>
                  <a:gd name="T61" fmla="*/ 952 h 1123"/>
                  <a:gd name="T62" fmla="*/ 47 w 1117"/>
                  <a:gd name="T63" fmla="*/ 936 h 1123"/>
                  <a:gd name="T64" fmla="*/ 78 w 1117"/>
                  <a:gd name="T65" fmla="*/ 908 h 1123"/>
                  <a:gd name="T66" fmla="*/ 122 w 1117"/>
                  <a:gd name="T67" fmla="*/ 868 h 1123"/>
                  <a:gd name="T68" fmla="*/ 176 w 1117"/>
                  <a:gd name="T69" fmla="*/ 818 h 1123"/>
                  <a:gd name="T70" fmla="*/ 238 w 1117"/>
                  <a:gd name="T71" fmla="*/ 761 h 1123"/>
                  <a:gd name="T72" fmla="*/ 309 w 1117"/>
                  <a:gd name="T73" fmla="*/ 696 h 1123"/>
                  <a:gd name="T74" fmla="*/ 383 w 1117"/>
                  <a:gd name="T75" fmla="*/ 627 h 1123"/>
                  <a:gd name="T76" fmla="*/ 463 w 1117"/>
                  <a:gd name="T77" fmla="*/ 554 h 1123"/>
                  <a:gd name="T78" fmla="*/ 543 w 1117"/>
                  <a:gd name="T79" fmla="*/ 481 h 1123"/>
                  <a:gd name="T80" fmla="*/ 623 w 1117"/>
                  <a:gd name="T81" fmla="*/ 406 h 1123"/>
                  <a:gd name="T82" fmla="*/ 702 w 1117"/>
                  <a:gd name="T83" fmla="*/ 334 h 1123"/>
                  <a:gd name="T84" fmla="*/ 776 w 1117"/>
                  <a:gd name="T85" fmla="*/ 265 h 1123"/>
                  <a:gd name="T86" fmla="*/ 846 w 1117"/>
                  <a:gd name="T87" fmla="*/ 201 h 1123"/>
                  <a:gd name="T88" fmla="*/ 908 w 1117"/>
                  <a:gd name="T89" fmla="*/ 143 h 1123"/>
                  <a:gd name="T90" fmla="*/ 962 w 1117"/>
                  <a:gd name="T91" fmla="*/ 95 h 1123"/>
                  <a:gd name="T92" fmla="*/ 1005 w 1117"/>
                  <a:gd name="T93" fmla="*/ 54 h 1123"/>
                  <a:gd name="T94" fmla="*/ 1036 w 1117"/>
                  <a:gd name="T95" fmla="*/ 27 h 1123"/>
                  <a:gd name="T96" fmla="*/ 1051 w 1117"/>
                  <a:gd name="T97" fmla="*/ 12 h 1123"/>
                  <a:gd name="T98" fmla="*/ 1063 w 1117"/>
                  <a:gd name="T99" fmla="*/ 3 h 1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17" h="1123">
                    <a:moveTo>
                      <a:pt x="1074" y="0"/>
                    </a:moveTo>
                    <a:lnTo>
                      <a:pt x="1085" y="0"/>
                    </a:lnTo>
                    <a:lnTo>
                      <a:pt x="1096" y="3"/>
                    </a:lnTo>
                    <a:lnTo>
                      <a:pt x="1106" y="10"/>
                    </a:lnTo>
                    <a:lnTo>
                      <a:pt x="1113" y="20"/>
                    </a:lnTo>
                    <a:lnTo>
                      <a:pt x="1117" y="31"/>
                    </a:lnTo>
                    <a:lnTo>
                      <a:pt x="1117" y="43"/>
                    </a:lnTo>
                    <a:lnTo>
                      <a:pt x="1113" y="53"/>
                    </a:lnTo>
                    <a:lnTo>
                      <a:pt x="1106" y="64"/>
                    </a:lnTo>
                    <a:lnTo>
                      <a:pt x="1104" y="66"/>
                    </a:lnTo>
                    <a:lnTo>
                      <a:pt x="1099" y="71"/>
                    </a:lnTo>
                    <a:lnTo>
                      <a:pt x="1089" y="82"/>
                    </a:lnTo>
                    <a:lnTo>
                      <a:pt x="1077" y="96"/>
                    </a:lnTo>
                    <a:lnTo>
                      <a:pt x="1062" y="112"/>
                    </a:lnTo>
                    <a:lnTo>
                      <a:pt x="1043" y="132"/>
                    </a:lnTo>
                    <a:lnTo>
                      <a:pt x="1023" y="155"/>
                    </a:lnTo>
                    <a:lnTo>
                      <a:pt x="999" y="181"/>
                    </a:lnTo>
                    <a:lnTo>
                      <a:pt x="973" y="209"/>
                    </a:lnTo>
                    <a:lnTo>
                      <a:pt x="946" y="240"/>
                    </a:lnTo>
                    <a:lnTo>
                      <a:pt x="917" y="272"/>
                    </a:lnTo>
                    <a:lnTo>
                      <a:pt x="885" y="306"/>
                    </a:lnTo>
                    <a:lnTo>
                      <a:pt x="853" y="342"/>
                    </a:lnTo>
                    <a:lnTo>
                      <a:pt x="820" y="379"/>
                    </a:lnTo>
                    <a:lnTo>
                      <a:pt x="785" y="417"/>
                    </a:lnTo>
                    <a:lnTo>
                      <a:pt x="749" y="456"/>
                    </a:lnTo>
                    <a:lnTo>
                      <a:pt x="712" y="497"/>
                    </a:lnTo>
                    <a:lnTo>
                      <a:pt x="676" y="537"/>
                    </a:lnTo>
                    <a:lnTo>
                      <a:pt x="640" y="577"/>
                    </a:lnTo>
                    <a:lnTo>
                      <a:pt x="603" y="617"/>
                    </a:lnTo>
                    <a:lnTo>
                      <a:pt x="566" y="658"/>
                    </a:lnTo>
                    <a:lnTo>
                      <a:pt x="529" y="698"/>
                    </a:lnTo>
                    <a:lnTo>
                      <a:pt x="494" y="737"/>
                    </a:lnTo>
                    <a:lnTo>
                      <a:pt x="458" y="776"/>
                    </a:lnTo>
                    <a:lnTo>
                      <a:pt x="425" y="813"/>
                    </a:lnTo>
                    <a:lnTo>
                      <a:pt x="392" y="849"/>
                    </a:lnTo>
                    <a:lnTo>
                      <a:pt x="361" y="884"/>
                    </a:lnTo>
                    <a:lnTo>
                      <a:pt x="332" y="917"/>
                    </a:lnTo>
                    <a:lnTo>
                      <a:pt x="303" y="946"/>
                    </a:lnTo>
                    <a:lnTo>
                      <a:pt x="278" y="975"/>
                    </a:lnTo>
                    <a:lnTo>
                      <a:pt x="254" y="1001"/>
                    </a:lnTo>
                    <a:lnTo>
                      <a:pt x="233" y="1024"/>
                    </a:lnTo>
                    <a:lnTo>
                      <a:pt x="215" y="1045"/>
                    </a:lnTo>
                    <a:lnTo>
                      <a:pt x="199" y="1062"/>
                    </a:lnTo>
                    <a:lnTo>
                      <a:pt x="186" y="1076"/>
                    </a:lnTo>
                    <a:lnTo>
                      <a:pt x="177" y="1086"/>
                    </a:lnTo>
                    <a:lnTo>
                      <a:pt x="171" y="1093"/>
                    </a:lnTo>
                    <a:lnTo>
                      <a:pt x="169" y="1095"/>
                    </a:lnTo>
                    <a:lnTo>
                      <a:pt x="151" y="1110"/>
                    </a:lnTo>
                    <a:lnTo>
                      <a:pt x="131" y="1119"/>
                    </a:lnTo>
                    <a:lnTo>
                      <a:pt x="110" y="1123"/>
                    </a:lnTo>
                    <a:lnTo>
                      <a:pt x="87" y="1123"/>
                    </a:lnTo>
                    <a:lnTo>
                      <a:pt x="66" y="1119"/>
                    </a:lnTo>
                    <a:lnTo>
                      <a:pt x="46" y="1110"/>
                    </a:lnTo>
                    <a:lnTo>
                      <a:pt x="28" y="1095"/>
                    </a:lnTo>
                    <a:lnTo>
                      <a:pt x="14" y="1077"/>
                    </a:lnTo>
                    <a:lnTo>
                      <a:pt x="5" y="1057"/>
                    </a:lnTo>
                    <a:lnTo>
                      <a:pt x="0" y="1035"/>
                    </a:lnTo>
                    <a:lnTo>
                      <a:pt x="0" y="1013"/>
                    </a:lnTo>
                    <a:lnTo>
                      <a:pt x="5" y="992"/>
                    </a:lnTo>
                    <a:lnTo>
                      <a:pt x="14" y="972"/>
                    </a:lnTo>
                    <a:lnTo>
                      <a:pt x="28" y="954"/>
                    </a:lnTo>
                    <a:lnTo>
                      <a:pt x="31" y="952"/>
                    </a:lnTo>
                    <a:lnTo>
                      <a:pt x="37" y="945"/>
                    </a:lnTo>
                    <a:lnTo>
                      <a:pt x="47" y="936"/>
                    </a:lnTo>
                    <a:lnTo>
                      <a:pt x="61" y="924"/>
                    </a:lnTo>
                    <a:lnTo>
                      <a:pt x="78" y="908"/>
                    </a:lnTo>
                    <a:lnTo>
                      <a:pt x="99" y="889"/>
                    </a:lnTo>
                    <a:lnTo>
                      <a:pt x="122" y="868"/>
                    </a:lnTo>
                    <a:lnTo>
                      <a:pt x="147" y="844"/>
                    </a:lnTo>
                    <a:lnTo>
                      <a:pt x="176" y="818"/>
                    </a:lnTo>
                    <a:lnTo>
                      <a:pt x="206" y="790"/>
                    </a:lnTo>
                    <a:lnTo>
                      <a:pt x="238" y="761"/>
                    </a:lnTo>
                    <a:lnTo>
                      <a:pt x="273" y="729"/>
                    </a:lnTo>
                    <a:lnTo>
                      <a:pt x="309" y="696"/>
                    </a:lnTo>
                    <a:lnTo>
                      <a:pt x="346" y="662"/>
                    </a:lnTo>
                    <a:lnTo>
                      <a:pt x="383" y="627"/>
                    </a:lnTo>
                    <a:lnTo>
                      <a:pt x="422" y="591"/>
                    </a:lnTo>
                    <a:lnTo>
                      <a:pt x="463" y="554"/>
                    </a:lnTo>
                    <a:lnTo>
                      <a:pt x="503" y="518"/>
                    </a:lnTo>
                    <a:lnTo>
                      <a:pt x="543" y="481"/>
                    </a:lnTo>
                    <a:lnTo>
                      <a:pt x="583" y="444"/>
                    </a:lnTo>
                    <a:lnTo>
                      <a:pt x="623" y="406"/>
                    </a:lnTo>
                    <a:lnTo>
                      <a:pt x="663" y="369"/>
                    </a:lnTo>
                    <a:lnTo>
                      <a:pt x="702" y="334"/>
                    </a:lnTo>
                    <a:lnTo>
                      <a:pt x="740" y="299"/>
                    </a:lnTo>
                    <a:lnTo>
                      <a:pt x="776" y="265"/>
                    </a:lnTo>
                    <a:lnTo>
                      <a:pt x="812" y="232"/>
                    </a:lnTo>
                    <a:lnTo>
                      <a:pt x="846" y="201"/>
                    </a:lnTo>
                    <a:lnTo>
                      <a:pt x="879" y="171"/>
                    </a:lnTo>
                    <a:lnTo>
                      <a:pt x="908" y="143"/>
                    </a:lnTo>
                    <a:lnTo>
                      <a:pt x="937" y="118"/>
                    </a:lnTo>
                    <a:lnTo>
                      <a:pt x="962" y="95"/>
                    </a:lnTo>
                    <a:lnTo>
                      <a:pt x="985" y="73"/>
                    </a:lnTo>
                    <a:lnTo>
                      <a:pt x="1005" y="54"/>
                    </a:lnTo>
                    <a:lnTo>
                      <a:pt x="1022" y="39"/>
                    </a:lnTo>
                    <a:lnTo>
                      <a:pt x="1036" y="27"/>
                    </a:lnTo>
                    <a:lnTo>
                      <a:pt x="1045" y="18"/>
                    </a:lnTo>
                    <a:lnTo>
                      <a:pt x="1051" y="12"/>
                    </a:lnTo>
                    <a:lnTo>
                      <a:pt x="1054" y="10"/>
                    </a:lnTo>
                    <a:lnTo>
                      <a:pt x="1063" y="3"/>
                    </a:lnTo>
                    <a:lnTo>
                      <a:pt x="107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27" name="Group 126"/>
          <p:cNvGrpSpPr/>
          <p:nvPr/>
        </p:nvGrpSpPr>
        <p:grpSpPr>
          <a:xfrm>
            <a:off x="147993" y="6027959"/>
            <a:ext cx="727877" cy="515892"/>
            <a:chOff x="1249818" y="5235335"/>
            <a:chExt cx="727877" cy="515892"/>
          </a:xfrm>
        </p:grpSpPr>
        <p:sp>
          <p:nvSpPr>
            <p:cNvPr id="128" name="Freeform 4831"/>
            <p:cNvSpPr>
              <a:spLocks noEditPoints="1"/>
            </p:cNvSpPr>
            <p:nvPr/>
          </p:nvSpPr>
          <p:spPr bwMode="auto">
            <a:xfrm>
              <a:off x="1470864" y="5235335"/>
              <a:ext cx="273263" cy="147454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9" name="Rectangle 17"/>
            <p:cNvSpPr>
              <a:spLocks/>
            </p:cNvSpPr>
            <p:nvPr/>
          </p:nvSpPr>
          <p:spPr bwMode="auto">
            <a:xfrm>
              <a:off x="1249818" y="5474228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Бизнес-партнеры</a:t>
              </a: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147993" y="5329888"/>
            <a:ext cx="727877" cy="472072"/>
            <a:chOff x="163212" y="5096992"/>
            <a:chExt cx="727877" cy="472072"/>
          </a:xfrm>
        </p:grpSpPr>
        <p:sp>
          <p:nvSpPr>
            <p:cNvPr id="131" name="Rectangle 17"/>
            <p:cNvSpPr>
              <a:spLocks/>
            </p:cNvSpPr>
            <p:nvPr/>
          </p:nvSpPr>
          <p:spPr bwMode="auto">
            <a:xfrm>
              <a:off x="163212" y="5292065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Рыночные данные</a:t>
              </a:r>
            </a:p>
          </p:txBody>
        </p:sp>
        <p:grpSp>
          <p:nvGrpSpPr>
            <p:cNvPr id="132" name="Group 165"/>
            <p:cNvGrpSpPr>
              <a:grpSpLocks noChangeAspect="1"/>
            </p:cNvGrpSpPr>
            <p:nvPr/>
          </p:nvGrpSpPr>
          <p:grpSpPr bwMode="auto">
            <a:xfrm>
              <a:off x="377865" y="5096992"/>
              <a:ext cx="253587" cy="198314"/>
              <a:chOff x="-1919" y="3510"/>
              <a:chExt cx="679" cy="531"/>
            </a:xfrm>
            <a:solidFill>
              <a:schemeClr val="bg1"/>
            </a:solidFill>
          </p:grpSpPr>
          <p:sp>
            <p:nvSpPr>
              <p:cNvPr id="133" name="Freeform 167"/>
              <p:cNvSpPr>
                <a:spLocks/>
              </p:cNvSpPr>
              <p:nvPr/>
            </p:nvSpPr>
            <p:spPr bwMode="auto">
              <a:xfrm>
                <a:off x="-1803" y="3980"/>
                <a:ext cx="447" cy="61"/>
              </a:xfrm>
              <a:custGeom>
                <a:avLst/>
                <a:gdLst>
                  <a:gd name="T0" fmla="*/ 154 w 2237"/>
                  <a:gd name="T1" fmla="*/ 0 h 304"/>
                  <a:gd name="T2" fmla="*/ 2082 w 2237"/>
                  <a:gd name="T3" fmla="*/ 0 h 304"/>
                  <a:gd name="T4" fmla="*/ 2113 w 2237"/>
                  <a:gd name="T5" fmla="*/ 3 h 304"/>
                  <a:gd name="T6" fmla="*/ 2142 w 2237"/>
                  <a:gd name="T7" fmla="*/ 12 h 304"/>
                  <a:gd name="T8" fmla="*/ 2168 w 2237"/>
                  <a:gd name="T9" fmla="*/ 27 h 304"/>
                  <a:gd name="T10" fmla="*/ 2191 w 2237"/>
                  <a:gd name="T11" fmla="*/ 45 h 304"/>
                  <a:gd name="T12" fmla="*/ 2210 w 2237"/>
                  <a:gd name="T13" fmla="*/ 68 h 304"/>
                  <a:gd name="T14" fmla="*/ 2224 w 2237"/>
                  <a:gd name="T15" fmla="*/ 93 h 304"/>
                  <a:gd name="T16" fmla="*/ 2234 w 2237"/>
                  <a:gd name="T17" fmla="*/ 122 h 304"/>
                  <a:gd name="T18" fmla="*/ 2237 w 2237"/>
                  <a:gd name="T19" fmla="*/ 153 h 304"/>
                  <a:gd name="T20" fmla="*/ 2234 w 2237"/>
                  <a:gd name="T21" fmla="*/ 183 h 304"/>
                  <a:gd name="T22" fmla="*/ 2224 w 2237"/>
                  <a:gd name="T23" fmla="*/ 212 h 304"/>
                  <a:gd name="T24" fmla="*/ 2210 w 2237"/>
                  <a:gd name="T25" fmla="*/ 237 h 304"/>
                  <a:gd name="T26" fmla="*/ 2191 w 2237"/>
                  <a:gd name="T27" fmla="*/ 260 h 304"/>
                  <a:gd name="T28" fmla="*/ 2168 w 2237"/>
                  <a:gd name="T29" fmla="*/ 278 h 304"/>
                  <a:gd name="T30" fmla="*/ 2142 w 2237"/>
                  <a:gd name="T31" fmla="*/ 293 h 304"/>
                  <a:gd name="T32" fmla="*/ 2113 w 2237"/>
                  <a:gd name="T33" fmla="*/ 301 h 304"/>
                  <a:gd name="T34" fmla="*/ 2082 w 2237"/>
                  <a:gd name="T35" fmla="*/ 304 h 304"/>
                  <a:gd name="T36" fmla="*/ 154 w 2237"/>
                  <a:gd name="T37" fmla="*/ 304 h 304"/>
                  <a:gd name="T38" fmla="*/ 123 w 2237"/>
                  <a:gd name="T39" fmla="*/ 301 h 304"/>
                  <a:gd name="T40" fmla="*/ 93 w 2237"/>
                  <a:gd name="T41" fmla="*/ 293 h 304"/>
                  <a:gd name="T42" fmla="*/ 68 w 2237"/>
                  <a:gd name="T43" fmla="*/ 278 h 304"/>
                  <a:gd name="T44" fmla="*/ 45 w 2237"/>
                  <a:gd name="T45" fmla="*/ 260 h 304"/>
                  <a:gd name="T46" fmla="*/ 26 w 2237"/>
                  <a:gd name="T47" fmla="*/ 237 h 304"/>
                  <a:gd name="T48" fmla="*/ 11 w 2237"/>
                  <a:gd name="T49" fmla="*/ 212 h 304"/>
                  <a:gd name="T50" fmla="*/ 3 w 2237"/>
                  <a:gd name="T51" fmla="*/ 183 h 304"/>
                  <a:gd name="T52" fmla="*/ 0 w 2237"/>
                  <a:gd name="T53" fmla="*/ 153 h 304"/>
                  <a:gd name="T54" fmla="*/ 3 w 2237"/>
                  <a:gd name="T55" fmla="*/ 122 h 304"/>
                  <a:gd name="T56" fmla="*/ 11 w 2237"/>
                  <a:gd name="T57" fmla="*/ 93 h 304"/>
                  <a:gd name="T58" fmla="*/ 26 w 2237"/>
                  <a:gd name="T59" fmla="*/ 68 h 304"/>
                  <a:gd name="T60" fmla="*/ 45 w 2237"/>
                  <a:gd name="T61" fmla="*/ 45 h 304"/>
                  <a:gd name="T62" fmla="*/ 68 w 2237"/>
                  <a:gd name="T63" fmla="*/ 27 h 304"/>
                  <a:gd name="T64" fmla="*/ 93 w 2237"/>
                  <a:gd name="T65" fmla="*/ 12 h 304"/>
                  <a:gd name="T66" fmla="*/ 123 w 2237"/>
                  <a:gd name="T67" fmla="*/ 3 h 304"/>
                  <a:gd name="T68" fmla="*/ 154 w 2237"/>
                  <a:gd name="T69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37" h="304">
                    <a:moveTo>
                      <a:pt x="154" y="0"/>
                    </a:moveTo>
                    <a:lnTo>
                      <a:pt x="2082" y="0"/>
                    </a:lnTo>
                    <a:lnTo>
                      <a:pt x="2113" y="3"/>
                    </a:lnTo>
                    <a:lnTo>
                      <a:pt x="2142" y="12"/>
                    </a:lnTo>
                    <a:lnTo>
                      <a:pt x="2168" y="27"/>
                    </a:lnTo>
                    <a:lnTo>
                      <a:pt x="2191" y="45"/>
                    </a:lnTo>
                    <a:lnTo>
                      <a:pt x="2210" y="68"/>
                    </a:lnTo>
                    <a:lnTo>
                      <a:pt x="2224" y="93"/>
                    </a:lnTo>
                    <a:lnTo>
                      <a:pt x="2234" y="122"/>
                    </a:lnTo>
                    <a:lnTo>
                      <a:pt x="2237" y="153"/>
                    </a:lnTo>
                    <a:lnTo>
                      <a:pt x="2234" y="183"/>
                    </a:lnTo>
                    <a:lnTo>
                      <a:pt x="2224" y="212"/>
                    </a:lnTo>
                    <a:lnTo>
                      <a:pt x="2210" y="237"/>
                    </a:lnTo>
                    <a:lnTo>
                      <a:pt x="2191" y="260"/>
                    </a:lnTo>
                    <a:lnTo>
                      <a:pt x="2168" y="278"/>
                    </a:lnTo>
                    <a:lnTo>
                      <a:pt x="2142" y="293"/>
                    </a:lnTo>
                    <a:lnTo>
                      <a:pt x="2113" y="301"/>
                    </a:lnTo>
                    <a:lnTo>
                      <a:pt x="2082" y="304"/>
                    </a:lnTo>
                    <a:lnTo>
                      <a:pt x="154" y="304"/>
                    </a:lnTo>
                    <a:lnTo>
                      <a:pt x="123" y="301"/>
                    </a:lnTo>
                    <a:lnTo>
                      <a:pt x="93" y="293"/>
                    </a:lnTo>
                    <a:lnTo>
                      <a:pt x="68" y="278"/>
                    </a:lnTo>
                    <a:lnTo>
                      <a:pt x="45" y="260"/>
                    </a:lnTo>
                    <a:lnTo>
                      <a:pt x="26" y="237"/>
                    </a:lnTo>
                    <a:lnTo>
                      <a:pt x="11" y="212"/>
                    </a:lnTo>
                    <a:lnTo>
                      <a:pt x="3" y="183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5" y="45"/>
                    </a:lnTo>
                    <a:lnTo>
                      <a:pt x="68" y="27"/>
                    </a:lnTo>
                    <a:lnTo>
                      <a:pt x="93" y="12"/>
                    </a:lnTo>
                    <a:lnTo>
                      <a:pt x="123" y="3"/>
                    </a:lnTo>
                    <a:lnTo>
                      <a:pt x="1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4" name="Freeform 168"/>
              <p:cNvSpPr>
                <a:spLocks/>
              </p:cNvSpPr>
              <p:nvPr/>
            </p:nvSpPr>
            <p:spPr bwMode="auto">
              <a:xfrm>
                <a:off x="-1811" y="3730"/>
                <a:ext cx="46" cy="121"/>
              </a:xfrm>
              <a:custGeom>
                <a:avLst/>
                <a:gdLst>
                  <a:gd name="T0" fmla="*/ 117 w 232"/>
                  <a:gd name="T1" fmla="*/ 0 h 607"/>
                  <a:gd name="T2" fmla="*/ 143 w 232"/>
                  <a:gd name="T3" fmla="*/ 3 h 607"/>
                  <a:gd name="T4" fmla="*/ 168 w 232"/>
                  <a:gd name="T5" fmla="*/ 12 h 607"/>
                  <a:gd name="T6" fmla="*/ 190 w 232"/>
                  <a:gd name="T7" fmla="*/ 25 h 607"/>
                  <a:gd name="T8" fmla="*/ 207 w 232"/>
                  <a:gd name="T9" fmla="*/ 43 h 607"/>
                  <a:gd name="T10" fmla="*/ 221 w 232"/>
                  <a:gd name="T11" fmla="*/ 64 h 607"/>
                  <a:gd name="T12" fmla="*/ 229 w 232"/>
                  <a:gd name="T13" fmla="*/ 88 h 607"/>
                  <a:gd name="T14" fmla="*/ 232 w 232"/>
                  <a:gd name="T15" fmla="*/ 114 h 607"/>
                  <a:gd name="T16" fmla="*/ 232 w 232"/>
                  <a:gd name="T17" fmla="*/ 494 h 607"/>
                  <a:gd name="T18" fmla="*/ 229 w 232"/>
                  <a:gd name="T19" fmla="*/ 520 h 607"/>
                  <a:gd name="T20" fmla="*/ 221 w 232"/>
                  <a:gd name="T21" fmla="*/ 544 h 607"/>
                  <a:gd name="T22" fmla="*/ 207 w 232"/>
                  <a:gd name="T23" fmla="*/ 565 h 607"/>
                  <a:gd name="T24" fmla="*/ 190 w 232"/>
                  <a:gd name="T25" fmla="*/ 583 h 607"/>
                  <a:gd name="T26" fmla="*/ 168 w 232"/>
                  <a:gd name="T27" fmla="*/ 596 h 607"/>
                  <a:gd name="T28" fmla="*/ 143 w 232"/>
                  <a:gd name="T29" fmla="*/ 605 h 607"/>
                  <a:gd name="T30" fmla="*/ 117 w 232"/>
                  <a:gd name="T31" fmla="*/ 607 h 607"/>
                  <a:gd name="T32" fmla="*/ 90 w 232"/>
                  <a:gd name="T33" fmla="*/ 605 h 607"/>
                  <a:gd name="T34" fmla="*/ 66 w 232"/>
                  <a:gd name="T35" fmla="*/ 596 h 607"/>
                  <a:gd name="T36" fmla="*/ 44 w 232"/>
                  <a:gd name="T37" fmla="*/ 583 h 607"/>
                  <a:gd name="T38" fmla="*/ 26 w 232"/>
                  <a:gd name="T39" fmla="*/ 565 h 607"/>
                  <a:gd name="T40" fmla="*/ 13 w 232"/>
                  <a:gd name="T41" fmla="*/ 544 h 607"/>
                  <a:gd name="T42" fmla="*/ 4 w 232"/>
                  <a:gd name="T43" fmla="*/ 520 h 607"/>
                  <a:gd name="T44" fmla="*/ 0 w 232"/>
                  <a:gd name="T45" fmla="*/ 494 h 607"/>
                  <a:gd name="T46" fmla="*/ 0 w 232"/>
                  <a:gd name="T47" fmla="*/ 114 h 607"/>
                  <a:gd name="T48" fmla="*/ 4 w 232"/>
                  <a:gd name="T49" fmla="*/ 88 h 607"/>
                  <a:gd name="T50" fmla="*/ 13 w 232"/>
                  <a:gd name="T51" fmla="*/ 64 h 607"/>
                  <a:gd name="T52" fmla="*/ 26 w 232"/>
                  <a:gd name="T53" fmla="*/ 43 h 607"/>
                  <a:gd name="T54" fmla="*/ 44 w 232"/>
                  <a:gd name="T55" fmla="*/ 25 h 607"/>
                  <a:gd name="T56" fmla="*/ 66 w 232"/>
                  <a:gd name="T57" fmla="*/ 12 h 607"/>
                  <a:gd name="T58" fmla="*/ 90 w 232"/>
                  <a:gd name="T59" fmla="*/ 3 h 607"/>
                  <a:gd name="T60" fmla="*/ 117 w 232"/>
                  <a:gd name="T61" fmla="*/ 0 h 6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2" h="607">
                    <a:moveTo>
                      <a:pt x="117" y="0"/>
                    </a:moveTo>
                    <a:lnTo>
                      <a:pt x="143" y="3"/>
                    </a:lnTo>
                    <a:lnTo>
                      <a:pt x="168" y="12"/>
                    </a:lnTo>
                    <a:lnTo>
                      <a:pt x="190" y="25"/>
                    </a:lnTo>
                    <a:lnTo>
                      <a:pt x="207" y="43"/>
                    </a:lnTo>
                    <a:lnTo>
                      <a:pt x="221" y="64"/>
                    </a:lnTo>
                    <a:lnTo>
                      <a:pt x="229" y="88"/>
                    </a:lnTo>
                    <a:lnTo>
                      <a:pt x="232" y="114"/>
                    </a:lnTo>
                    <a:lnTo>
                      <a:pt x="232" y="494"/>
                    </a:lnTo>
                    <a:lnTo>
                      <a:pt x="229" y="520"/>
                    </a:lnTo>
                    <a:lnTo>
                      <a:pt x="221" y="544"/>
                    </a:lnTo>
                    <a:lnTo>
                      <a:pt x="207" y="565"/>
                    </a:lnTo>
                    <a:lnTo>
                      <a:pt x="190" y="583"/>
                    </a:lnTo>
                    <a:lnTo>
                      <a:pt x="168" y="596"/>
                    </a:lnTo>
                    <a:lnTo>
                      <a:pt x="143" y="605"/>
                    </a:lnTo>
                    <a:lnTo>
                      <a:pt x="117" y="607"/>
                    </a:lnTo>
                    <a:lnTo>
                      <a:pt x="90" y="605"/>
                    </a:lnTo>
                    <a:lnTo>
                      <a:pt x="66" y="596"/>
                    </a:lnTo>
                    <a:lnTo>
                      <a:pt x="44" y="583"/>
                    </a:lnTo>
                    <a:lnTo>
                      <a:pt x="26" y="565"/>
                    </a:lnTo>
                    <a:lnTo>
                      <a:pt x="13" y="544"/>
                    </a:lnTo>
                    <a:lnTo>
                      <a:pt x="4" y="520"/>
                    </a:lnTo>
                    <a:lnTo>
                      <a:pt x="0" y="494"/>
                    </a:lnTo>
                    <a:lnTo>
                      <a:pt x="0" y="114"/>
                    </a:lnTo>
                    <a:lnTo>
                      <a:pt x="4" y="88"/>
                    </a:lnTo>
                    <a:lnTo>
                      <a:pt x="13" y="64"/>
                    </a:lnTo>
                    <a:lnTo>
                      <a:pt x="26" y="43"/>
                    </a:lnTo>
                    <a:lnTo>
                      <a:pt x="44" y="25"/>
                    </a:lnTo>
                    <a:lnTo>
                      <a:pt x="66" y="12"/>
                    </a:lnTo>
                    <a:lnTo>
                      <a:pt x="90" y="3"/>
                    </a:lnTo>
                    <a:lnTo>
                      <a:pt x="11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5" name="Freeform 169"/>
              <p:cNvSpPr>
                <a:spLocks/>
              </p:cNvSpPr>
              <p:nvPr/>
            </p:nvSpPr>
            <p:spPr bwMode="auto">
              <a:xfrm>
                <a:off x="-1734" y="3699"/>
                <a:ext cx="46" cy="152"/>
              </a:xfrm>
              <a:custGeom>
                <a:avLst/>
                <a:gdLst>
                  <a:gd name="T0" fmla="*/ 116 w 232"/>
                  <a:gd name="T1" fmla="*/ 0 h 759"/>
                  <a:gd name="T2" fmla="*/ 142 w 232"/>
                  <a:gd name="T3" fmla="*/ 3 h 759"/>
                  <a:gd name="T4" fmla="*/ 167 w 232"/>
                  <a:gd name="T5" fmla="*/ 12 h 759"/>
                  <a:gd name="T6" fmla="*/ 188 w 232"/>
                  <a:gd name="T7" fmla="*/ 25 h 759"/>
                  <a:gd name="T8" fmla="*/ 207 w 232"/>
                  <a:gd name="T9" fmla="*/ 43 h 759"/>
                  <a:gd name="T10" fmla="*/ 220 w 232"/>
                  <a:gd name="T11" fmla="*/ 64 h 759"/>
                  <a:gd name="T12" fmla="*/ 229 w 232"/>
                  <a:gd name="T13" fmla="*/ 88 h 759"/>
                  <a:gd name="T14" fmla="*/ 232 w 232"/>
                  <a:gd name="T15" fmla="*/ 115 h 759"/>
                  <a:gd name="T16" fmla="*/ 232 w 232"/>
                  <a:gd name="T17" fmla="*/ 646 h 759"/>
                  <a:gd name="T18" fmla="*/ 229 w 232"/>
                  <a:gd name="T19" fmla="*/ 672 h 759"/>
                  <a:gd name="T20" fmla="*/ 220 w 232"/>
                  <a:gd name="T21" fmla="*/ 696 h 759"/>
                  <a:gd name="T22" fmla="*/ 207 w 232"/>
                  <a:gd name="T23" fmla="*/ 717 h 759"/>
                  <a:gd name="T24" fmla="*/ 188 w 232"/>
                  <a:gd name="T25" fmla="*/ 735 h 759"/>
                  <a:gd name="T26" fmla="*/ 167 w 232"/>
                  <a:gd name="T27" fmla="*/ 748 h 759"/>
                  <a:gd name="T28" fmla="*/ 142 w 232"/>
                  <a:gd name="T29" fmla="*/ 757 h 759"/>
                  <a:gd name="T30" fmla="*/ 116 w 232"/>
                  <a:gd name="T31" fmla="*/ 759 h 759"/>
                  <a:gd name="T32" fmla="*/ 89 w 232"/>
                  <a:gd name="T33" fmla="*/ 757 h 759"/>
                  <a:gd name="T34" fmla="*/ 66 w 232"/>
                  <a:gd name="T35" fmla="*/ 748 h 759"/>
                  <a:gd name="T36" fmla="*/ 44 w 232"/>
                  <a:gd name="T37" fmla="*/ 735 h 759"/>
                  <a:gd name="T38" fmla="*/ 26 w 232"/>
                  <a:gd name="T39" fmla="*/ 717 h 759"/>
                  <a:gd name="T40" fmla="*/ 13 w 232"/>
                  <a:gd name="T41" fmla="*/ 696 h 759"/>
                  <a:gd name="T42" fmla="*/ 3 w 232"/>
                  <a:gd name="T43" fmla="*/ 672 h 759"/>
                  <a:gd name="T44" fmla="*/ 0 w 232"/>
                  <a:gd name="T45" fmla="*/ 646 h 759"/>
                  <a:gd name="T46" fmla="*/ 0 w 232"/>
                  <a:gd name="T47" fmla="*/ 115 h 759"/>
                  <a:gd name="T48" fmla="*/ 3 w 232"/>
                  <a:gd name="T49" fmla="*/ 88 h 759"/>
                  <a:gd name="T50" fmla="*/ 13 w 232"/>
                  <a:gd name="T51" fmla="*/ 64 h 759"/>
                  <a:gd name="T52" fmla="*/ 26 w 232"/>
                  <a:gd name="T53" fmla="*/ 43 h 759"/>
                  <a:gd name="T54" fmla="*/ 44 w 232"/>
                  <a:gd name="T55" fmla="*/ 25 h 759"/>
                  <a:gd name="T56" fmla="*/ 66 w 232"/>
                  <a:gd name="T57" fmla="*/ 12 h 759"/>
                  <a:gd name="T58" fmla="*/ 89 w 232"/>
                  <a:gd name="T59" fmla="*/ 3 h 759"/>
                  <a:gd name="T60" fmla="*/ 116 w 232"/>
                  <a:gd name="T61" fmla="*/ 0 h 7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2" h="759">
                    <a:moveTo>
                      <a:pt x="116" y="0"/>
                    </a:moveTo>
                    <a:lnTo>
                      <a:pt x="142" y="3"/>
                    </a:lnTo>
                    <a:lnTo>
                      <a:pt x="167" y="12"/>
                    </a:lnTo>
                    <a:lnTo>
                      <a:pt x="188" y="25"/>
                    </a:lnTo>
                    <a:lnTo>
                      <a:pt x="207" y="43"/>
                    </a:lnTo>
                    <a:lnTo>
                      <a:pt x="220" y="64"/>
                    </a:lnTo>
                    <a:lnTo>
                      <a:pt x="229" y="88"/>
                    </a:lnTo>
                    <a:lnTo>
                      <a:pt x="232" y="115"/>
                    </a:lnTo>
                    <a:lnTo>
                      <a:pt x="232" y="646"/>
                    </a:lnTo>
                    <a:lnTo>
                      <a:pt x="229" y="672"/>
                    </a:lnTo>
                    <a:lnTo>
                      <a:pt x="220" y="696"/>
                    </a:lnTo>
                    <a:lnTo>
                      <a:pt x="207" y="717"/>
                    </a:lnTo>
                    <a:lnTo>
                      <a:pt x="188" y="735"/>
                    </a:lnTo>
                    <a:lnTo>
                      <a:pt x="167" y="748"/>
                    </a:lnTo>
                    <a:lnTo>
                      <a:pt x="142" y="757"/>
                    </a:lnTo>
                    <a:lnTo>
                      <a:pt x="116" y="759"/>
                    </a:lnTo>
                    <a:lnTo>
                      <a:pt x="89" y="757"/>
                    </a:lnTo>
                    <a:lnTo>
                      <a:pt x="66" y="748"/>
                    </a:lnTo>
                    <a:lnTo>
                      <a:pt x="44" y="735"/>
                    </a:lnTo>
                    <a:lnTo>
                      <a:pt x="26" y="717"/>
                    </a:lnTo>
                    <a:lnTo>
                      <a:pt x="13" y="696"/>
                    </a:lnTo>
                    <a:lnTo>
                      <a:pt x="3" y="672"/>
                    </a:lnTo>
                    <a:lnTo>
                      <a:pt x="0" y="646"/>
                    </a:lnTo>
                    <a:lnTo>
                      <a:pt x="0" y="115"/>
                    </a:lnTo>
                    <a:lnTo>
                      <a:pt x="3" y="88"/>
                    </a:lnTo>
                    <a:lnTo>
                      <a:pt x="13" y="64"/>
                    </a:lnTo>
                    <a:lnTo>
                      <a:pt x="26" y="43"/>
                    </a:lnTo>
                    <a:lnTo>
                      <a:pt x="44" y="25"/>
                    </a:lnTo>
                    <a:lnTo>
                      <a:pt x="66" y="12"/>
                    </a:lnTo>
                    <a:lnTo>
                      <a:pt x="89" y="3"/>
                    </a:lnTo>
                    <a:lnTo>
                      <a:pt x="11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6" name="Freeform 170"/>
              <p:cNvSpPr>
                <a:spLocks/>
              </p:cNvSpPr>
              <p:nvPr/>
            </p:nvSpPr>
            <p:spPr bwMode="auto">
              <a:xfrm>
                <a:off x="-1657" y="3669"/>
                <a:ext cx="46" cy="182"/>
              </a:xfrm>
              <a:custGeom>
                <a:avLst/>
                <a:gdLst>
                  <a:gd name="T0" fmla="*/ 115 w 230"/>
                  <a:gd name="T1" fmla="*/ 0 h 911"/>
                  <a:gd name="T2" fmla="*/ 141 w 230"/>
                  <a:gd name="T3" fmla="*/ 3 h 911"/>
                  <a:gd name="T4" fmla="*/ 166 w 230"/>
                  <a:gd name="T5" fmla="*/ 12 h 911"/>
                  <a:gd name="T6" fmla="*/ 187 w 230"/>
                  <a:gd name="T7" fmla="*/ 25 h 911"/>
                  <a:gd name="T8" fmla="*/ 206 w 230"/>
                  <a:gd name="T9" fmla="*/ 43 h 911"/>
                  <a:gd name="T10" fmla="*/ 219 w 230"/>
                  <a:gd name="T11" fmla="*/ 64 h 911"/>
                  <a:gd name="T12" fmla="*/ 227 w 230"/>
                  <a:gd name="T13" fmla="*/ 88 h 911"/>
                  <a:gd name="T14" fmla="*/ 230 w 230"/>
                  <a:gd name="T15" fmla="*/ 114 h 911"/>
                  <a:gd name="T16" fmla="*/ 230 w 230"/>
                  <a:gd name="T17" fmla="*/ 798 h 911"/>
                  <a:gd name="T18" fmla="*/ 227 w 230"/>
                  <a:gd name="T19" fmla="*/ 824 h 911"/>
                  <a:gd name="T20" fmla="*/ 219 w 230"/>
                  <a:gd name="T21" fmla="*/ 848 h 911"/>
                  <a:gd name="T22" fmla="*/ 206 w 230"/>
                  <a:gd name="T23" fmla="*/ 869 h 911"/>
                  <a:gd name="T24" fmla="*/ 187 w 230"/>
                  <a:gd name="T25" fmla="*/ 887 h 911"/>
                  <a:gd name="T26" fmla="*/ 166 w 230"/>
                  <a:gd name="T27" fmla="*/ 900 h 911"/>
                  <a:gd name="T28" fmla="*/ 141 w 230"/>
                  <a:gd name="T29" fmla="*/ 909 h 911"/>
                  <a:gd name="T30" fmla="*/ 115 w 230"/>
                  <a:gd name="T31" fmla="*/ 911 h 911"/>
                  <a:gd name="T32" fmla="*/ 88 w 230"/>
                  <a:gd name="T33" fmla="*/ 909 h 911"/>
                  <a:gd name="T34" fmla="*/ 64 w 230"/>
                  <a:gd name="T35" fmla="*/ 900 h 911"/>
                  <a:gd name="T36" fmla="*/ 42 w 230"/>
                  <a:gd name="T37" fmla="*/ 887 h 911"/>
                  <a:gd name="T38" fmla="*/ 25 w 230"/>
                  <a:gd name="T39" fmla="*/ 869 h 911"/>
                  <a:gd name="T40" fmla="*/ 11 w 230"/>
                  <a:gd name="T41" fmla="*/ 848 h 911"/>
                  <a:gd name="T42" fmla="*/ 3 w 230"/>
                  <a:gd name="T43" fmla="*/ 824 h 911"/>
                  <a:gd name="T44" fmla="*/ 0 w 230"/>
                  <a:gd name="T45" fmla="*/ 798 h 911"/>
                  <a:gd name="T46" fmla="*/ 0 w 230"/>
                  <a:gd name="T47" fmla="*/ 114 h 911"/>
                  <a:gd name="T48" fmla="*/ 3 w 230"/>
                  <a:gd name="T49" fmla="*/ 88 h 911"/>
                  <a:gd name="T50" fmla="*/ 11 w 230"/>
                  <a:gd name="T51" fmla="*/ 64 h 911"/>
                  <a:gd name="T52" fmla="*/ 25 w 230"/>
                  <a:gd name="T53" fmla="*/ 43 h 911"/>
                  <a:gd name="T54" fmla="*/ 42 w 230"/>
                  <a:gd name="T55" fmla="*/ 25 h 911"/>
                  <a:gd name="T56" fmla="*/ 64 w 230"/>
                  <a:gd name="T57" fmla="*/ 12 h 911"/>
                  <a:gd name="T58" fmla="*/ 88 w 230"/>
                  <a:gd name="T59" fmla="*/ 3 h 911"/>
                  <a:gd name="T60" fmla="*/ 115 w 230"/>
                  <a:gd name="T61" fmla="*/ 0 h 9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0" h="911">
                    <a:moveTo>
                      <a:pt x="115" y="0"/>
                    </a:moveTo>
                    <a:lnTo>
                      <a:pt x="141" y="3"/>
                    </a:lnTo>
                    <a:lnTo>
                      <a:pt x="166" y="12"/>
                    </a:lnTo>
                    <a:lnTo>
                      <a:pt x="187" y="25"/>
                    </a:lnTo>
                    <a:lnTo>
                      <a:pt x="206" y="43"/>
                    </a:lnTo>
                    <a:lnTo>
                      <a:pt x="219" y="64"/>
                    </a:lnTo>
                    <a:lnTo>
                      <a:pt x="227" y="88"/>
                    </a:lnTo>
                    <a:lnTo>
                      <a:pt x="230" y="114"/>
                    </a:lnTo>
                    <a:lnTo>
                      <a:pt x="230" y="798"/>
                    </a:lnTo>
                    <a:lnTo>
                      <a:pt x="227" y="824"/>
                    </a:lnTo>
                    <a:lnTo>
                      <a:pt x="219" y="848"/>
                    </a:lnTo>
                    <a:lnTo>
                      <a:pt x="206" y="869"/>
                    </a:lnTo>
                    <a:lnTo>
                      <a:pt x="187" y="887"/>
                    </a:lnTo>
                    <a:lnTo>
                      <a:pt x="166" y="900"/>
                    </a:lnTo>
                    <a:lnTo>
                      <a:pt x="141" y="909"/>
                    </a:lnTo>
                    <a:lnTo>
                      <a:pt x="115" y="911"/>
                    </a:lnTo>
                    <a:lnTo>
                      <a:pt x="88" y="909"/>
                    </a:lnTo>
                    <a:lnTo>
                      <a:pt x="64" y="900"/>
                    </a:lnTo>
                    <a:lnTo>
                      <a:pt x="42" y="887"/>
                    </a:lnTo>
                    <a:lnTo>
                      <a:pt x="25" y="869"/>
                    </a:lnTo>
                    <a:lnTo>
                      <a:pt x="11" y="848"/>
                    </a:lnTo>
                    <a:lnTo>
                      <a:pt x="3" y="824"/>
                    </a:lnTo>
                    <a:lnTo>
                      <a:pt x="0" y="798"/>
                    </a:lnTo>
                    <a:lnTo>
                      <a:pt x="0" y="114"/>
                    </a:lnTo>
                    <a:lnTo>
                      <a:pt x="3" y="88"/>
                    </a:lnTo>
                    <a:lnTo>
                      <a:pt x="11" y="64"/>
                    </a:lnTo>
                    <a:lnTo>
                      <a:pt x="25" y="43"/>
                    </a:lnTo>
                    <a:lnTo>
                      <a:pt x="42" y="25"/>
                    </a:lnTo>
                    <a:lnTo>
                      <a:pt x="64" y="12"/>
                    </a:lnTo>
                    <a:lnTo>
                      <a:pt x="88" y="3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7" name="Freeform 171"/>
              <p:cNvSpPr>
                <a:spLocks/>
              </p:cNvSpPr>
              <p:nvPr/>
            </p:nvSpPr>
            <p:spPr bwMode="auto">
              <a:xfrm>
                <a:off x="-1919" y="3510"/>
                <a:ext cx="679" cy="440"/>
              </a:xfrm>
              <a:custGeom>
                <a:avLst/>
                <a:gdLst>
                  <a:gd name="T0" fmla="*/ 3240 w 3394"/>
                  <a:gd name="T1" fmla="*/ 0 h 2203"/>
                  <a:gd name="T2" fmla="*/ 3300 w 3394"/>
                  <a:gd name="T3" fmla="*/ 11 h 2203"/>
                  <a:gd name="T4" fmla="*/ 3349 w 3394"/>
                  <a:gd name="T5" fmla="*/ 44 h 2203"/>
                  <a:gd name="T6" fmla="*/ 3382 w 3394"/>
                  <a:gd name="T7" fmla="*/ 92 h 2203"/>
                  <a:gd name="T8" fmla="*/ 3394 w 3394"/>
                  <a:gd name="T9" fmla="*/ 152 h 2203"/>
                  <a:gd name="T10" fmla="*/ 3187 w 3394"/>
                  <a:gd name="T11" fmla="*/ 1669 h 2203"/>
                  <a:gd name="T12" fmla="*/ 3245 w 3394"/>
                  <a:gd name="T13" fmla="*/ 1543 h 2203"/>
                  <a:gd name="T14" fmla="*/ 3281 w 3394"/>
                  <a:gd name="T15" fmla="*/ 1409 h 2203"/>
                  <a:gd name="T16" fmla="*/ 3294 w 3394"/>
                  <a:gd name="T17" fmla="*/ 1271 h 2203"/>
                  <a:gd name="T18" fmla="*/ 3282 w 3394"/>
                  <a:gd name="T19" fmla="*/ 1139 h 2203"/>
                  <a:gd name="T20" fmla="*/ 3251 w 3394"/>
                  <a:gd name="T21" fmla="*/ 1012 h 2203"/>
                  <a:gd name="T22" fmla="*/ 3199 w 3394"/>
                  <a:gd name="T23" fmla="*/ 894 h 2203"/>
                  <a:gd name="T24" fmla="*/ 3128 w 3394"/>
                  <a:gd name="T25" fmla="*/ 783 h 2203"/>
                  <a:gd name="T26" fmla="*/ 3085 w 3394"/>
                  <a:gd name="T27" fmla="*/ 304 h 2203"/>
                  <a:gd name="T28" fmla="*/ 309 w 3394"/>
                  <a:gd name="T29" fmla="*/ 1899 h 2203"/>
                  <a:gd name="T30" fmla="*/ 1989 w 3394"/>
                  <a:gd name="T31" fmla="*/ 1937 h 2203"/>
                  <a:gd name="T32" fmla="*/ 2097 w 3394"/>
                  <a:gd name="T33" fmla="*/ 2001 h 2203"/>
                  <a:gd name="T34" fmla="*/ 2214 w 3394"/>
                  <a:gd name="T35" fmla="*/ 2048 h 2203"/>
                  <a:gd name="T36" fmla="*/ 2338 w 3394"/>
                  <a:gd name="T37" fmla="*/ 2077 h 2203"/>
                  <a:gd name="T38" fmla="*/ 2465 w 3394"/>
                  <a:gd name="T39" fmla="*/ 2086 h 2203"/>
                  <a:gd name="T40" fmla="*/ 2607 w 3394"/>
                  <a:gd name="T41" fmla="*/ 2074 h 2203"/>
                  <a:gd name="T42" fmla="*/ 2743 w 3394"/>
                  <a:gd name="T43" fmla="*/ 2039 h 2203"/>
                  <a:gd name="T44" fmla="*/ 2871 w 3394"/>
                  <a:gd name="T45" fmla="*/ 1980 h 2203"/>
                  <a:gd name="T46" fmla="*/ 3089 w 3394"/>
                  <a:gd name="T47" fmla="*/ 2195 h 2203"/>
                  <a:gd name="T48" fmla="*/ 3098 w 3394"/>
                  <a:gd name="T49" fmla="*/ 2203 h 2203"/>
                  <a:gd name="T50" fmla="*/ 124 w 3394"/>
                  <a:gd name="T51" fmla="*/ 2199 h 2203"/>
                  <a:gd name="T52" fmla="*/ 69 w 3394"/>
                  <a:gd name="T53" fmla="*/ 2177 h 2203"/>
                  <a:gd name="T54" fmla="*/ 26 w 3394"/>
                  <a:gd name="T55" fmla="*/ 2135 h 2203"/>
                  <a:gd name="T56" fmla="*/ 3 w 3394"/>
                  <a:gd name="T57" fmla="*/ 2081 h 2203"/>
                  <a:gd name="T58" fmla="*/ 0 w 3394"/>
                  <a:gd name="T59" fmla="*/ 152 h 2203"/>
                  <a:gd name="T60" fmla="*/ 12 w 3394"/>
                  <a:gd name="T61" fmla="*/ 93 h 2203"/>
                  <a:gd name="T62" fmla="*/ 46 w 3394"/>
                  <a:gd name="T63" fmla="*/ 44 h 2203"/>
                  <a:gd name="T64" fmla="*/ 95 w 3394"/>
                  <a:gd name="T65" fmla="*/ 11 h 2203"/>
                  <a:gd name="T66" fmla="*/ 155 w 3394"/>
                  <a:gd name="T67" fmla="*/ 0 h 2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394" h="2203">
                    <a:moveTo>
                      <a:pt x="155" y="0"/>
                    </a:moveTo>
                    <a:lnTo>
                      <a:pt x="3240" y="0"/>
                    </a:lnTo>
                    <a:lnTo>
                      <a:pt x="3271" y="3"/>
                    </a:lnTo>
                    <a:lnTo>
                      <a:pt x="3300" y="11"/>
                    </a:lnTo>
                    <a:lnTo>
                      <a:pt x="3326" y="26"/>
                    </a:lnTo>
                    <a:lnTo>
                      <a:pt x="3349" y="44"/>
                    </a:lnTo>
                    <a:lnTo>
                      <a:pt x="3368" y="67"/>
                    </a:lnTo>
                    <a:lnTo>
                      <a:pt x="3382" y="92"/>
                    </a:lnTo>
                    <a:lnTo>
                      <a:pt x="3391" y="121"/>
                    </a:lnTo>
                    <a:lnTo>
                      <a:pt x="3394" y="152"/>
                    </a:lnTo>
                    <a:lnTo>
                      <a:pt x="3394" y="1874"/>
                    </a:lnTo>
                    <a:lnTo>
                      <a:pt x="3187" y="1669"/>
                    </a:lnTo>
                    <a:lnTo>
                      <a:pt x="3219" y="1608"/>
                    </a:lnTo>
                    <a:lnTo>
                      <a:pt x="3245" y="1543"/>
                    </a:lnTo>
                    <a:lnTo>
                      <a:pt x="3266" y="1478"/>
                    </a:lnTo>
                    <a:lnTo>
                      <a:pt x="3281" y="1409"/>
                    </a:lnTo>
                    <a:lnTo>
                      <a:pt x="3291" y="1341"/>
                    </a:lnTo>
                    <a:lnTo>
                      <a:pt x="3294" y="1271"/>
                    </a:lnTo>
                    <a:lnTo>
                      <a:pt x="3291" y="1205"/>
                    </a:lnTo>
                    <a:lnTo>
                      <a:pt x="3282" y="1139"/>
                    </a:lnTo>
                    <a:lnTo>
                      <a:pt x="3269" y="1075"/>
                    </a:lnTo>
                    <a:lnTo>
                      <a:pt x="3251" y="1012"/>
                    </a:lnTo>
                    <a:lnTo>
                      <a:pt x="3227" y="952"/>
                    </a:lnTo>
                    <a:lnTo>
                      <a:pt x="3199" y="894"/>
                    </a:lnTo>
                    <a:lnTo>
                      <a:pt x="3166" y="836"/>
                    </a:lnTo>
                    <a:lnTo>
                      <a:pt x="3128" y="783"/>
                    </a:lnTo>
                    <a:lnTo>
                      <a:pt x="3085" y="732"/>
                    </a:lnTo>
                    <a:lnTo>
                      <a:pt x="3085" y="304"/>
                    </a:lnTo>
                    <a:lnTo>
                      <a:pt x="309" y="304"/>
                    </a:lnTo>
                    <a:lnTo>
                      <a:pt x="309" y="1899"/>
                    </a:lnTo>
                    <a:lnTo>
                      <a:pt x="1938" y="1899"/>
                    </a:lnTo>
                    <a:lnTo>
                      <a:pt x="1989" y="1937"/>
                    </a:lnTo>
                    <a:lnTo>
                      <a:pt x="2042" y="1971"/>
                    </a:lnTo>
                    <a:lnTo>
                      <a:pt x="2097" y="2001"/>
                    </a:lnTo>
                    <a:lnTo>
                      <a:pt x="2155" y="2027"/>
                    </a:lnTo>
                    <a:lnTo>
                      <a:pt x="2214" y="2048"/>
                    </a:lnTo>
                    <a:lnTo>
                      <a:pt x="2275" y="2064"/>
                    </a:lnTo>
                    <a:lnTo>
                      <a:pt x="2338" y="2077"/>
                    </a:lnTo>
                    <a:lnTo>
                      <a:pt x="2401" y="2084"/>
                    </a:lnTo>
                    <a:lnTo>
                      <a:pt x="2465" y="2086"/>
                    </a:lnTo>
                    <a:lnTo>
                      <a:pt x="2537" y="2083"/>
                    </a:lnTo>
                    <a:lnTo>
                      <a:pt x="2607" y="2074"/>
                    </a:lnTo>
                    <a:lnTo>
                      <a:pt x="2675" y="2059"/>
                    </a:lnTo>
                    <a:lnTo>
                      <a:pt x="2743" y="2039"/>
                    </a:lnTo>
                    <a:lnTo>
                      <a:pt x="2808" y="2012"/>
                    </a:lnTo>
                    <a:lnTo>
                      <a:pt x="2871" y="1980"/>
                    </a:lnTo>
                    <a:lnTo>
                      <a:pt x="3085" y="2191"/>
                    </a:lnTo>
                    <a:lnTo>
                      <a:pt x="3089" y="2195"/>
                    </a:lnTo>
                    <a:lnTo>
                      <a:pt x="3094" y="2198"/>
                    </a:lnTo>
                    <a:lnTo>
                      <a:pt x="3098" y="2203"/>
                    </a:lnTo>
                    <a:lnTo>
                      <a:pt x="155" y="2203"/>
                    </a:lnTo>
                    <a:lnTo>
                      <a:pt x="124" y="2199"/>
                    </a:lnTo>
                    <a:lnTo>
                      <a:pt x="95" y="2190"/>
                    </a:lnTo>
                    <a:lnTo>
                      <a:pt x="69" y="2177"/>
                    </a:lnTo>
                    <a:lnTo>
                      <a:pt x="46" y="2158"/>
                    </a:lnTo>
                    <a:lnTo>
                      <a:pt x="26" y="2135"/>
                    </a:lnTo>
                    <a:lnTo>
                      <a:pt x="12" y="2109"/>
                    </a:lnTo>
                    <a:lnTo>
                      <a:pt x="3" y="2081"/>
                    </a:lnTo>
                    <a:lnTo>
                      <a:pt x="0" y="2051"/>
                    </a:lnTo>
                    <a:lnTo>
                      <a:pt x="0" y="152"/>
                    </a:lnTo>
                    <a:lnTo>
                      <a:pt x="3" y="121"/>
                    </a:lnTo>
                    <a:lnTo>
                      <a:pt x="12" y="93"/>
                    </a:lnTo>
                    <a:lnTo>
                      <a:pt x="26" y="67"/>
                    </a:lnTo>
                    <a:lnTo>
                      <a:pt x="46" y="44"/>
                    </a:lnTo>
                    <a:lnTo>
                      <a:pt x="69" y="26"/>
                    </a:lnTo>
                    <a:lnTo>
                      <a:pt x="95" y="11"/>
                    </a:lnTo>
                    <a:lnTo>
                      <a:pt x="124" y="3"/>
                    </a:lnTo>
                    <a:lnTo>
                      <a:pt x="1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8" name="Freeform 172"/>
              <p:cNvSpPr>
                <a:spLocks noEditPoints="1"/>
              </p:cNvSpPr>
              <p:nvPr/>
            </p:nvSpPr>
            <p:spPr bwMode="auto">
              <a:xfrm>
                <a:off x="-1561" y="3631"/>
                <a:ext cx="304" cy="299"/>
              </a:xfrm>
              <a:custGeom>
                <a:avLst/>
                <a:gdLst>
                  <a:gd name="T0" fmla="*/ 568 w 1520"/>
                  <a:gd name="T1" fmla="*/ 146 h 1495"/>
                  <a:gd name="T2" fmla="*/ 422 w 1520"/>
                  <a:gd name="T3" fmla="*/ 198 h 1495"/>
                  <a:gd name="T4" fmla="*/ 295 w 1520"/>
                  <a:gd name="T5" fmla="*/ 291 h 1495"/>
                  <a:gd name="T6" fmla="*/ 202 w 1520"/>
                  <a:gd name="T7" fmla="*/ 415 h 1495"/>
                  <a:gd name="T8" fmla="*/ 149 w 1520"/>
                  <a:gd name="T9" fmla="*/ 560 h 1495"/>
                  <a:gd name="T10" fmla="*/ 141 w 1520"/>
                  <a:gd name="T11" fmla="*/ 715 h 1495"/>
                  <a:gd name="T12" fmla="*/ 179 w 1520"/>
                  <a:gd name="T13" fmla="*/ 865 h 1495"/>
                  <a:gd name="T14" fmla="*/ 260 w 1520"/>
                  <a:gd name="T15" fmla="*/ 997 h 1495"/>
                  <a:gd name="T16" fmla="*/ 377 w 1520"/>
                  <a:gd name="T17" fmla="*/ 1101 h 1495"/>
                  <a:gd name="T18" fmla="*/ 518 w 1520"/>
                  <a:gd name="T19" fmla="*/ 1168 h 1495"/>
                  <a:gd name="T20" fmla="*/ 673 w 1520"/>
                  <a:gd name="T21" fmla="*/ 1190 h 1495"/>
                  <a:gd name="T22" fmla="*/ 829 w 1520"/>
                  <a:gd name="T23" fmla="*/ 1168 h 1495"/>
                  <a:gd name="T24" fmla="*/ 971 w 1520"/>
                  <a:gd name="T25" fmla="*/ 1101 h 1495"/>
                  <a:gd name="T26" fmla="*/ 1088 w 1520"/>
                  <a:gd name="T27" fmla="*/ 997 h 1495"/>
                  <a:gd name="T28" fmla="*/ 1168 w 1520"/>
                  <a:gd name="T29" fmla="*/ 865 h 1495"/>
                  <a:gd name="T30" fmla="*/ 1207 w 1520"/>
                  <a:gd name="T31" fmla="*/ 715 h 1495"/>
                  <a:gd name="T32" fmla="*/ 1198 w 1520"/>
                  <a:gd name="T33" fmla="*/ 560 h 1495"/>
                  <a:gd name="T34" fmla="*/ 1146 w 1520"/>
                  <a:gd name="T35" fmla="*/ 415 h 1495"/>
                  <a:gd name="T36" fmla="*/ 1053 w 1520"/>
                  <a:gd name="T37" fmla="*/ 291 h 1495"/>
                  <a:gd name="T38" fmla="*/ 926 w 1520"/>
                  <a:gd name="T39" fmla="*/ 198 h 1495"/>
                  <a:gd name="T40" fmla="*/ 779 w 1520"/>
                  <a:gd name="T41" fmla="*/ 146 h 1495"/>
                  <a:gd name="T42" fmla="*/ 673 w 1520"/>
                  <a:gd name="T43" fmla="*/ 0 h 1495"/>
                  <a:gd name="T44" fmla="*/ 849 w 1520"/>
                  <a:gd name="T45" fmla="*/ 23 h 1495"/>
                  <a:gd name="T46" fmla="*/ 1010 w 1520"/>
                  <a:gd name="T47" fmla="*/ 88 h 1495"/>
                  <a:gd name="T48" fmla="*/ 1151 w 1520"/>
                  <a:gd name="T49" fmla="*/ 195 h 1495"/>
                  <a:gd name="T50" fmla="*/ 1258 w 1520"/>
                  <a:gd name="T51" fmla="*/ 332 h 1495"/>
                  <a:gd name="T52" fmla="*/ 1324 w 1520"/>
                  <a:gd name="T53" fmla="*/ 490 h 1495"/>
                  <a:gd name="T54" fmla="*/ 1347 w 1520"/>
                  <a:gd name="T55" fmla="*/ 663 h 1495"/>
                  <a:gd name="T56" fmla="*/ 1322 w 1520"/>
                  <a:gd name="T57" fmla="*/ 841 h 1495"/>
                  <a:gd name="T58" fmla="*/ 1251 w 1520"/>
                  <a:gd name="T59" fmla="*/ 1004 h 1495"/>
                  <a:gd name="T60" fmla="*/ 1211 w 1520"/>
                  <a:gd name="T61" fmla="*/ 1132 h 1495"/>
                  <a:gd name="T62" fmla="*/ 1256 w 1520"/>
                  <a:gd name="T63" fmla="*/ 1142 h 1495"/>
                  <a:gd name="T64" fmla="*/ 1511 w 1520"/>
                  <a:gd name="T65" fmla="*/ 1395 h 1495"/>
                  <a:gd name="T66" fmla="*/ 1517 w 1520"/>
                  <a:gd name="T67" fmla="*/ 1445 h 1495"/>
                  <a:gd name="T68" fmla="*/ 1485 w 1520"/>
                  <a:gd name="T69" fmla="*/ 1487 h 1495"/>
                  <a:gd name="T70" fmla="*/ 1433 w 1520"/>
                  <a:gd name="T71" fmla="*/ 1493 h 1495"/>
                  <a:gd name="T72" fmla="*/ 1170 w 1520"/>
                  <a:gd name="T73" fmla="*/ 1248 h 1495"/>
                  <a:gd name="T74" fmla="*/ 1151 w 1520"/>
                  <a:gd name="T75" fmla="*/ 1208 h 1495"/>
                  <a:gd name="T76" fmla="*/ 1070 w 1520"/>
                  <a:gd name="T77" fmla="*/ 1198 h 1495"/>
                  <a:gd name="T78" fmla="*/ 911 w 1520"/>
                  <a:gd name="T79" fmla="*/ 1283 h 1495"/>
                  <a:gd name="T80" fmla="*/ 735 w 1520"/>
                  <a:gd name="T81" fmla="*/ 1323 h 1495"/>
                  <a:gd name="T82" fmla="*/ 556 w 1520"/>
                  <a:gd name="T83" fmla="*/ 1316 h 1495"/>
                  <a:gd name="T84" fmla="*/ 390 w 1520"/>
                  <a:gd name="T85" fmla="*/ 1264 h 1495"/>
                  <a:gd name="T86" fmla="*/ 242 w 1520"/>
                  <a:gd name="T87" fmla="*/ 1172 h 1495"/>
                  <a:gd name="T88" fmla="*/ 122 w 1520"/>
                  <a:gd name="T89" fmla="*/ 1043 h 1495"/>
                  <a:gd name="T90" fmla="*/ 40 w 1520"/>
                  <a:gd name="T91" fmla="*/ 890 h 1495"/>
                  <a:gd name="T92" fmla="*/ 3 w 1520"/>
                  <a:gd name="T93" fmla="*/ 722 h 1495"/>
                  <a:gd name="T94" fmla="*/ 10 w 1520"/>
                  <a:gd name="T95" fmla="*/ 547 h 1495"/>
                  <a:gd name="T96" fmla="*/ 63 w 1520"/>
                  <a:gd name="T97" fmla="*/ 383 h 1495"/>
                  <a:gd name="T98" fmla="*/ 157 w 1520"/>
                  <a:gd name="T99" fmla="*/ 238 h 1495"/>
                  <a:gd name="T100" fmla="*/ 288 w 1520"/>
                  <a:gd name="T101" fmla="*/ 119 h 1495"/>
                  <a:gd name="T102" fmla="*/ 443 w 1520"/>
                  <a:gd name="T103" fmla="*/ 40 h 1495"/>
                  <a:gd name="T104" fmla="*/ 614 w 1520"/>
                  <a:gd name="T105" fmla="*/ 2 h 1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20" h="1495">
                    <a:moveTo>
                      <a:pt x="673" y="136"/>
                    </a:moveTo>
                    <a:lnTo>
                      <a:pt x="620" y="138"/>
                    </a:lnTo>
                    <a:lnTo>
                      <a:pt x="568" y="146"/>
                    </a:lnTo>
                    <a:lnTo>
                      <a:pt x="518" y="159"/>
                    </a:lnTo>
                    <a:lnTo>
                      <a:pt x="469" y="176"/>
                    </a:lnTo>
                    <a:lnTo>
                      <a:pt x="422" y="198"/>
                    </a:lnTo>
                    <a:lnTo>
                      <a:pt x="377" y="224"/>
                    </a:lnTo>
                    <a:lnTo>
                      <a:pt x="335" y="255"/>
                    </a:lnTo>
                    <a:lnTo>
                      <a:pt x="295" y="291"/>
                    </a:lnTo>
                    <a:lnTo>
                      <a:pt x="260" y="330"/>
                    </a:lnTo>
                    <a:lnTo>
                      <a:pt x="229" y="371"/>
                    </a:lnTo>
                    <a:lnTo>
                      <a:pt x="202" y="415"/>
                    </a:lnTo>
                    <a:lnTo>
                      <a:pt x="179" y="462"/>
                    </a:lnTo>
                    <a:lnTo>
                      <a:pt x="161" y="510"/>
                    </a:lnTo>
                    <a:lnTo>
                      <a:pt x="149" y="560"/>
                    </a:lnTo>
                    <a:lnTo>
                      <a:pt x="141" y="611"/>
                    </a:lnTo>
                    <a:lnTo>
                      <a:pt x="138" y="663"/>
                    </a:lnTo>
                    <a:lnTo>
                      <a:pt x="141" y="715"/>
                    </a:lnTo>
                    <a:lnTo>
                      <a:pt x="149" y="767"/>
                    </a:lnTo>
                    <a:lnTo>
                      <a:pt x="161" y="817"/>
                    </a:lnTo>
                    <a:lnTo>
                      <a:pt x="179" y="865"/>
                    </a:lnTo>
                    <a:lnTo>
                      <a:pt x="202" y="911"/>
                    </a:lnTo>
                    <a:lnTo>
                      <a:pt x="229" y="955"/>
                    </a:lnTo>
                    <a:lnTo>
                      <a:pt x="260" y="997"/>
                    </a:lnTo>
                    <a:lnTo>
                      <a:pt x="295" y="1036"/>
                    </a:lnTo>
                    <a:lnTo>
                      <a:pt x="335" y="1071"/>
                    </a:lnTo>
                    <a:lnTo>
                      <a:pt x="377" y="1101"/>
                    </a:lnTo>
                    <a:lnTo>
                      <a:pt x="422" y="1128"/>
                    </a:lnTo>
                    <a:lnTo>
                      <a:pt x="469" y="1150"/>
                    </a:lnTo>
                    <a:lnTo>
                      <a:pt x="518" y="1168"/>
                    </a:lnTo>
                    <a:lnTo>
                      <a:pt x="568" y="1180"/>
                    </a:lnTo>
                    <a:lnTo>
                      <a:pt x="620" y="1187"/>
                    </a:lnTo>
                    <a:lnTo>
                      <a:pt x="673" y="1190"/>
                    </a:lnTo>
                    <a:lnTo>
                      <a:pt x="726" y="1187"/>
                    </a:lnTo>
                    <a:lnTo>
                      <a:pt x="779" y="1180"/>
                    </a:lnTo>
                    <a:lnTo>
                      <a:pt x="829" y="1168"/>
                    </a:lnTo>
                    <a:lnTo>
                      <a:pt x="879" y="1150"/>
                    </a:lnTo>
                    <a:lnTo>
                      <a:pt x="926" y="1128"/>
                    </a:lnTo>
                    <a:lnTo>
                      <a:pt x="971" y="1101"/>
                    </a:lnTo>
                    <a:lnTo>
                      <a:pt x="1013" y="1071"/>
                    </a:lnTo>
                    <a:lnTo>
                      <a:pt x="1053" y="1036"/>
                    </a:lnTo>
                    <a:lnTo>
                      <a:pt x="1088" y="997"/>
                    </a:lnTo>
                    <a:lnTo>
                      <a:pt x="1119" y="955"/>
                    </a:lnTo>
                    <a:lnTo>
                      <a:pt x="1146" y="911"/>
                    </a:lnTo>
                    <a:lnTo>
                      <a:pt x="1168" y="865"/>
                    </a:lnTo>
                    <a:lnTo>
                      <a:pt x="1186" y="817"/>
                    </a:lnTo>
                    <a:lnTo>
                      <a:pt x="1198" y="767"/>
                    </a:lnTo>
                    <a:lnTo>
                      <a:pt x="1207" y="715"/>
                    </a:lnTo>
                    <a:lnTo>
                      <a:pt x="1209" y="663"/>
                    </a:lnTo>
                    <a:lnTo>
                      <a:pt x="1207" y="611"/>
                    </a:lnTo>
                    <a:lnTo>
                      <a:pt x="1198" y="560"/>
                    </a:lnTo>
                    <a:lnTo>
                      <a:pt x="1186" y="510"/>
                    </a:lnTo>
                    <a:lnTo>
                      <a:pt x="1168" y="462"/>
                    </a:lnTo>
                    <a:lnTo>
                      <a:pt x="1146" y="415"/>
                    </a:lnTo>
                    <a:lnTo>
                      <a:pt x="1119" y="371"/>
                    </a:lnTo>
                    <a:lnTo>
                      <a:pt x="1088" y="330"/>
                    </a:lnTo>
                    <a:lnTo>
                      <a:pt x="1053" y="291"/>
                    </a:lnTo>
                    <a:lnTo>
                      <a:pt x="1013" y="255"/>
                    </a:lnTo>
                    <a:lnTo>
                      <a:pt x="971" y="224"/>
                    </a:lnTo>
                    <a:lnTo>
                      <a:pt x="926" y="198"/>
                    </a:lnTo>
                    <a:lnTo>
                      <a:pt x="879" y="176"/>
                    </a:lnTo>
                    <a:lnTo>
                      <a:pt x="829" y="159"/>
                    </a:lnTo>
                    <a:lnTo>
                      <a:pt x="779" y="146"/>
                    </a:lnTo>
                    <a:lnTo>
                      <a:pt x="726" y="138"/>
                    </a:lnTo>
                    <a:lnTo>
                      <a:pt x="673" y="136"/>
                    </a:lnTo>
                    <a:close/>
                    <a:moveTo>
                      <a:pt x="673" y="0"/>
                    </a:moveTo>
                    <a:lnTo>
                      <a:pt x="734" y="2"/>
                    </a:lnTo>
                    <a:lnTo>
                      <a:pt x="792" y="10"/>
                    </a:lnTo>
                    <a:lnTo>
                      <a:pt x="849" y="23"/>
                    </a:lnTo>
                    <a:lnTo>
                      <a:pt x="904" y="40"/>
                    </a:lnTo>
                    <a:lnTo>
                      <a:pt x="958" y="61"/>
                    </a:lnTo>
                    <a:lnTo>
                      <a:pt x="1010" y="88"/>
                    </a:lnTo>
                    <a:lnTo>
                      <a:pt x="1059" y="119"/>
                    </a:lnTo>
                    <a:lnTo>
                      <a:pt x="1106" y="155"/>
                    </a:lnTo>
                    <a:lnTo>
                      <a:pt x="1151" y="195"/>
                    </a:lnTo>
                    <a:lnTo>
                      <a:pt x="1190" y="238"/>
                    </a:lnTo>
                    <a:lnTo>
                      <a:pt x="1226" y="284"/>
                    </a:lnTo>
                    <a:lnTo>
                      <a:pt x="1258" y="332"/>
                    </a:lnTo>
                    <a:lnTo>
                      <a:pt x="1285" y="383"/>
                    </a:lnTo>
                    <a:lnTo>
                      <a:pt x="1306" y="436"/>
                    </a:lnTo>
                    <a:lnTo>
                      <a:pt x="1324" y="490"/>
                    </a:lnTo>
                    <a:lnTo>
                      <a:pt x="1337" y="547"/>
                    </a:lnTo>
                    <a:lnTo>
                      <a:pt x="1345" y="604"/>
                    </a:lnTo>
                    <a:lnTo>
                      <a:pt x="1347" y="663"/>
                    </a:lnTo>
                    <a:lnTo>
                      <a:pt x="1344" y="724"/>
                    </a:lnTo>
                    <a:lnTo>
                      <a:pt x="1337" y="783"/>
                    </a:lnTo>
                    <a:lnTo>
                      <a:pt x="1322" y="841"/>
                    </a:lnTo>
                    <a:lnTo>
                      <a:pt x="1303" y="898"/>
                    </a:lnTo>
                    <a:lnTo>
                      <a:pt x="1279" y="952"/>
                    </a:lnTo>
                    <a:lnTo>
                      <a:pt x="1251" y="1004"/>
                    </a:lnTo>
                    <a:lnTo>
                      <a:pt x="1217" y="1053"/>
                    </a:lnTo>
                    <a:lnTo>
                      <a:pt x="1179" y="1100"/>
                    </a:lnTo>
                    <a:lnTo>
                      <a:pt x="1211" y="1132"/>
                    </a:lnTo>
                    <a:lnTo>
                      <a:pt x="1226" y="1132"/>
                    </a:lnTo>
                    <a:lnTo>
                      <a:pt x="1241" y="1135"/>
                    </a:lnTo>
                    <a:lnTo>
                      <a:pt x="1256" y="1142"/>
                    </a:lnTo>
                    <a:lnTo>
                      <a:pt x="1268" y="1151"/>
                    </a:lnTo>
                    <a:lnTo>
                      <a:pt x="1500" y="1381"/>
                    </a:lnTo>
                    <a:lnTo>
                      <a:pt x="1511" y="1395"/>
                    </a:lnTo>
                    <a:lnTo>
                      <a:pt x="1517" y="1411"/>
                    </a:lnTo>
                    <a:lnTo>
                      <a:pt x="1520" y="1428"/>
                    </a:lnTo>
                    <a:lnTo>
                      <a:pt x="1517" y="1445"/>
                    </a:lnTo>
                    <a:lnTo>
                      <a:pt x="1511" y="1462"/>
                    </a:lnTo>
                    <a:lnTo>
                      <a:pt x="1500" y="1476"/>
                    </a:lnTo>
                    <a:lnTo>
                      <a:pt x="1485" y="1487"/>
                    </a:lnTo>
                    <a:lnTo>
                      <a:pt x="1469" y="1493"/>
                    </a:lnTo>
                    <a:lnTo>
                      <a:pt x="1451" y="1495"/>
                    </a:lnTo>
                    <a:lnTo>
                      <a:pt x="1433" y="1493"/>
                    </a:lnTo>
                    <a:lnTo>
                      <a:pt x="1417" y="1487"/>
                    </a:lnTo>
                    <a:lnTo>
                      <a:pt x="1402" y="1476"/>
                    </a:lnTo>
                    <a:lnTo>
                      <a:pt x="1170" y="1248"/>
                    </a:lnTo>
                    <a:lnTo>
                      <a:pt x="1160" y="1235"/>
                    </a:lnTo>
                    <a:lnTo>
                      <a:pt x="1154" y="1222"/>
                    </a:lnTo>
                    <a:lnTo>
                      <a:pt x="1151" y="1208"/>
                    </a:lnTo>
                    <a:lnTo>
                      <a:pt x="1151" y="1192"/>
                    </a:lnTo>
                    <a:lnTo>
                      <a:pt x="1118" y="1161"/>
                    </a:lnTo>
                    <a:lnTo>
                      <a:pt x="1070" y="1198"/>
                    </a:lnTo>
                    <a:lnTo>
                      <a:pt x="1020" y="1231"/>
                    </a:lnTo>
                    <a:lnTo>
                      <a:pt x="967" y="1260"/>
                    </a:lnTo>
                    <a:lnTo>
                      <a:pt x="911" y="1283"/>
                    </a:lnTo>
                    <a:lnTo>
                      <a:pt x="854" y="1302"/>
                    </a:lnTo>
                    <a:lnTo>
                      <a:pt x="796" y="1315"/>
                    </a:lnTo>
                    <a:lnTo>
                      <a:pt x="735" y="1323"/>
                    </a:lnTo>
                    <a:lnTo>
                      <a:pt x="673" y="1326"/>
                    </a:lnTo>
                    <a:lnTo>
                      <a:pt x="614" y="1323"/>
                    </a:lnTo>
                    <a:lnTo>
                      <a:pt x="556" y="1316"/>
                    </a:lnTo>
                    <a:lnTo>
                      <a:pt x="499" y="1304"/>
                    </a:lnTo>
                    <a:lnTo>
                      <a:pt x="443" y="1287"/>
                    </a:lnTo>
                    <a:lnTo>
                      <a:pt x="390" y="1264"/>
                    </a:lnTo>
                    <a:lnTo>
                      <a:pt x="338" y="1238"/>
                    </a:lnTo>
                    <a:lnTo>
                      <a:pt x="288" y="1207"/>
                    </a:lnTo>
                    <a:lnTo>
                      <a:pt x="242" y="1172"/>
                    </a:lnTo>
                    <a:lnTo>
                      <a:pt x="197" y="1132"/>
                    </a:lnTo>
                    <a:lnTo>
                      <a:pt x="157" y="1089"/>
                    </a:lnTo>
                    <a:lnTo>
                      <a:pt x="122" y="1043"/>
                    </a:lnTo>
                    <a:lnTo>
                      <a:pt x="90" y="994"/>
                    </a:lnTo>
                    <a:lnTo>
                      <a:pt x="63" y="943"/>
                    </a:lnTo>
                    <a:lnTo>
                      <a:pt x="40" y="890"/>
                    </a:lnTo>
                    <a:lnTo>
                      <a:pt x="23" y="835"/>
                    </a:lnTo>
                    <a:lnTo>
                      <a:pt x="10" y="779"/>
                    </a:lnTo>
                    <a:lnTo>
                      <a:pt x="3" y="722"/>
                    </a:lnTo>
                    <a:lnTo>
                      <a:pt x="0" y="663"/>
                    </a:lnTo>
                    <a:lnTo>
                      <a:pt x="3" y="604"/>
                    </a:lnTo>
                    <a:lnTo>
                      <a:pt x="10" y="547"/>
                    </a:lnTo>
                    <a:lnTo>
                      <a:pt x="23" y="490"/>
                    </a:lnTo>
                    <a:lnTo>
                      <a:pt x="40" y="436"/>
                    </a:lnTo>
                    <a:lnTo>
                      <a:pt x="63" y="383"/>
                    </a:lnTo>
                    <a:lnTo>
                      <a:pt x="90" y="332"/>
                    </a:lnTo>
                    <a:lnTo>
                      <a:pt x="122" y="284"/>
                    </a:lnTo>
                    <a:lnTo>
                      <a:pt x="157" y="238"/>
                    </a:lnTo>
                    <a:lnTo>
                      <a:pt x="197" y="195"/>
                    </a:lnTo>
                    <a:lnTo>
                      <a:pt x="242" y="155"/>
                    </a:lnTo>
                    <a:lnTo>
                      <a:pt x="288" y="119"/>
                    </a:lnTo>
                    <a:lnTo>
                      <a:pt x="338" y="88"/>
                    </a:lnTo>
                    <a:lnTo>
                      <a:pt x="390" y="61"/>
                    </a:lnTo>
                    <a:lnTo>
                      <a:pt x="443" y="40"/>
                    </a:lnTo>
                    <a:lnTo>
                      <a:pt x="499" y="23"/>
                    </a:lnTo>
                    <a:lnTo>
                      <a:pt x="556" y="10"/>
                    </a:lnTo>
                    <a:lnTo>
                      <a:pt x="614" y="2"/>
                    </a:lnTo>
                    <a:lnTo>
                      <a:pt x="6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39" name="Group 138"/>
          <p:cNvGrpSpPr/>
          <p:nvPr/>
        </p:nvGrpSpPr>
        <p:grpSpPr>
          <a:xfrm>
            <a:off x="148422" y="3705243"/>
            <a:ext cx="727019" cy="533587"/>
            <a:chOff x="148422" y="3578812"/>
            <a:chExt cx="727019" cy="533587"/>
          </a:xfrm>
        </p:grpSpPr>
        <p:sp>
          <p:nvSpPr>
            <p:cNvPr id="140" name="Rectangle 17"/>
            <p:cNvSpPr>
              <a:spLocks/>
            </p:cNvSpPr>
            <p:nvPr/>
          </p:nvSpPr>
          <p:spPr bwMode="auto">
            <a:xfrm>
              <a:off x="148422" y="3835400"/>
              <a:ext cx="7270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Социальные сети</a:t>
              </a:r>
            </a:p>
          </p:txBody>
        </p:sp>
        <p:grpSp>
          <p:nvGrpSpPr>
            <p:cNvPr id="142" name="Group 16"/>
            <p:cNvGrpSpPr>
              <a:grpSpLocks noChangeAspect="1"/>
            </p:cNvGrpSpPr>
            <p:nvPr/>
          </p:nvGrpSpPr>
          <p:grpSpPr bwMode="auto">
            <a:xfrm>
              <a:off x="389395" y="3578812"/>
              <a:ext cx="259829" cy="259829"/>
              <a:chOff x="-783" y="2303"/>
              <a:chExt cx="491" cy="491"/>
            </a:xfrm>
            <a:solidFill>
              <a:schemeClr val="bg1"/>
            </a:solidFill>
          </p:grpSpPr>
          <p:sp>
            <p:nvSpPr>
              <p:cNvPr id="143" name="Freeform 18"/>
              <p:cNvSpPr>
                <a:spLocks/>
              </p:cNvSpPr>
              <p:nvPr/>
            </p:nvSpPr>
            <p:spPr bwMode="auto">
              <a:xfrm>
                <a:off x="-415" y="2395"/>
                <a:ext cx="36" cy="29"/>
              </a:xfrm>
              <a:custGeom>
                <a:avLst/>
                <a:gdLst>
                  <a:gd name="T0" fmla="*/ 131 w 252"/>
                  <a:gd name="T1" fmla="*/ 0 h 201"/>
                  <a:gd name="T2" fmla="*/ 146 w 252"/>
                  <a:gd name="T3" fmla="*/ 2 h 201"/>
                  <a:gd name="T4" fmla="*/ 160 w 252"/>
                  <a:gd name="T5" fmla="*/ 5 h 201"/>
                  <a:gd name="T6" fmla="*/ 173 w 252"/>
                  <a:gd name="T7" fmla="*/ 9 h 201"/>
                  <a:gd name="T8" fmla="*/ 181 w 252"/>
                  <a:gd name="T9" fmla="*/ 10 h 201"/>
                  <a:gd name="T10" fmla="*/ 199 w 252"/>
                  <a:gd name="T11" fmla="*/ 22 h 201"/>
                  <a:gd name="T12" fmla="*/ 217 w 252"/>
                  <a:gd name="T13" fmla="*/ 35 h 201"/>
                  <a:gd name="T14" fmla="*/ 232 w 252"/>
                  <a:gd name="T15" fmla="*/ 48 h 201"/>
                  <a:gd name="T16" fmla="*/ 244 w 252"/>
                  <a:gd name="T17" fmla="*/ 63 h 201"/>
                  <a:gd name="T18" fmla="*/ 252 w 252"/>
                  <a:gd name="T19" fmla="*/ 80 h 201"/>
                  <a:gd name="T20" fmla="*/ 252 w 252"/>
                  <a:gd name="T21" fmla="*/ 101 h 201"/>
                  <a:gd name="T22" fmla="*/ 251 w 252"/>
                  <a:gd name="T23" fmla="*/ 120 h 201"/>
                  <a:gd name="T24" fmla="*/ 247 w 252"/>
                  <a:gd name="T25" fmla="*/ 137 h 201"/>
                  <a:gd name="T26" fmla="*/ 240 w 252"/>
                  <a:gd name="T27" fmla="*/ 153 h 201"/>
                  <a:gd name="T28" fmla="*/ 231 w 252"/>
                  <a:gd name="T29" fmla="*/ 167 h 201"/>
                  <a:gd name="T30" fmla="*/ 217 w 252"/>
                  <a:gd name="T31" fmla="*/ 179 h 201"/>
                  <a:gd name="T32" fmla="*/ 199 w 252"/>
                  <a:gd name="T33" fmla="*/ 188 h 201"/>
                  <a:gd name="T34" fmla="*/ 178 w 252"/>
                  <a:gd name="T35" fmla="*/ 195 h 201"/>
                  <a:gd name="T36" fmla="*/ 152 w 252"/>
                  <a:gd name="T37" fmla="*/ 199 h 201"/>
                  <a:gd name="T38" fmla="*/ 121 w 252"/>
                  <a:gd name="T39" fmla="*/ 201 h 201"/>
                  <a:gd name="T40" fmla="*/ 95 w 252"/>
                  <a:gd name="T41" fmla="*/ 199 h 201"/>
                  <a:gd name="T42" fmla="*/ 73 w 252"/>
                  <a:gd name="T43" fmla="*/ 192 h 201"/>
                  <a:gd name="T44" fmla="*/ 51 w 252"/>
                  <a:gd name="T45" fmla="*/ 182 h 201"/>
                  <a:gd name="T46" fmla="*/ 34 w 252"/>
                  <a:gd name="T47" fmla="*/ 169 h 201"/>
                  <a:gd name="T48" fmla="*/ 19 w 252"/>
                  <a:gd name="T49" fmla="*/ 154 h 201"/>
                  <a:gd name="T50" fmla="*/ 9 w 252"/>
                  <a:gd name="T51" fmla="*/ 137 h 201"/>
                  <a:gd name="T52" fmla="*/ 2 w 252"/>
                  <a:gd name="T53" fmla="*/ 119 h 201"/>
                  <a:gd name="T54" fmla="*/ 0 w 252"/>
                  <a:gd name="T55" fmla="*/ 101 h 201"/>
                  <a:gd name="T56" fmla="*/ 3 w 252"/>
                  <a:gd name="T57" fmla="*/ 79 h 201"/>
                  <a:gd name="T58" fmla="*/ 11 w 252"/>
                  <a:gd name="T59" fmla="*/ 60 h 201"/>
                  <a:gd name="T60" fmla="*/ 22 w 252"/>
                  <a:gd name="T61" fmla="*/ 43 h 201"/>
                  <a:gd name="T62" fmla="*/ 40 w 252"/>
                  <a:gd name="T63" fmla="*/ 28 h 201"/>
                  <a:gd name="T64" fmla="*/ 59 w 252"/>
                  <a:gd name="T65" fmla="*/ 16 h 201"/>
                  <a:gd name="T66" fmla="*/ 80 w 252"/>
                  <a:gd name="T67" fmla="*/ 7 h 201"/>
                  <a:gd name="T68" fmla="*/ 105 w 252"/>
                  <a:gd name="T69" fmla="*/ 2 h 201"/>
                  <a:gd name="T70" fmla="*/ 131 w 252"/>
                  <a:gd name="T71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52" h="201">
                    <a:moveTo>
                      <a:pt x="131" y="0"/>
                    </a:moveTo>
                    <a:lnTo>
                      <a:pt x="146" y="2"/>
                    </a:lnTo>
                    <a:lnTo>
                      <a:pt x="160" y="5"/>
                    </a:lnTo>
                    <a:lnTo>
                      <a:pt x="173" y="9"/>
                    </a:lnTo>
                    <a:lnTo>
                      <a:pt x="181" y="10"/>
                    </a:lnTo>
                    <a:lnTo>
                      <a:pt x="199" y="22"/>
                    </a:lnTo>
                    <a:lnTo>
                      <a:pt x="217" y="35"/>
                    </a:lnTo>
                    <a:lnTo>
                      <a:pt x="232" y="48"/>
                    </a:lnTo>
                    <a:lnTo>
                      <a:pt x="244" y="63"/>
                    </a:lnTo>
                    <a:lnTo>
                      <a:pt x="252" y="80"/>
                    </a:lnTo>
                    <a:lnTo>
                      <a:pt x="252" y="101"/>
                    </a:lnTo>
                    <a:lnTo>
                      <a:pt x="251" y="120"/>
                    </a:lnTo>
                    <a:lnTo>
                      <a:pt x="247" y="137"/>
                    </a:lnTo>
                    <a:lnTo>
                      <a:pt x="240" y="153"/>
                    </a:lnTo>
                    <a:lnTo>
                      <a:pt x="231" y="167"/>
                    </a:lnTo>
                    <a:lnTo>
                      <a:pt x="217" y="179"/>
                    </a:lnTo>
                    <a:lnTo>
                      <a:pt x="199" y="188"/>
                    </a:lnTo>
                    <a:lnTo>
                      <a:pt x="178" y="195"/>
                    </a:lnTo>
                    <a:lnTo>
                      <a:pt x="152" y="199"/>
                    </a:lnTo>
                    <a:lnTo>
                      <a:pt x="121" y="201"/>
                    </a:lnTo>
                    <a:lnTo>
                      <a:pt x="95" y="199"/>
                    </a:lnTo>
                    <a:lnTo>
                      <a:pt x="73" y="192"/>
                    </a:lnTo>
                    <a:lnTo>
                      <a:pt x="51" y="182"/>
                    </a:lnTo>
                    <a:lnTo>
                      <a:pt x="34" y="169"/>
                    </a:lnTo>
                    <a:lnTo>
                      <a:pt x="19" y="154"/>
                    </a:lnTo>
                    <a:lnTo>
                      <a:pt x="9" y="137"/>
                    </a:lnTo>
                    <a:lnTo>
                      <a:pt x="2" y="119"/>
                    </a:lnTo>
                    <a:lnTo>
                      <a:pt x="0" y="101"/>
                    </a:lnTo>
                    <a:lnTo>
                      <a:pt x="3" y="79"/>
                    </a:lnTo>
                    <a:lnTo>
                      <a:pt x="11" y="60"/>
                    </a:lnTo>
                    <a:lnTo>
                      <a:pt x="22" y="43"/>
                    </a:lnTo>
                    <a:lnTo>
                      <a:pt x="40" y="28"/>
                    </a:lnTo>
                    <a:lnTo>
                      <a:pt x="59" y="16"/>
                    </a:lnTo>
                    <a:lnTo>
                      <a:pt x="80" y="7"/>
                    </a:lnTo>
                    <a:lnTo>
                      <a:pt x="105" y="2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5" name="Freeform 19"/>
              <p:cNvSpPr>
                <a:spLocks/>
              </p:cNvSpPr>
              <p:nvPr/>
            </p:nvSpPr>
            <p:spPr bwMode="auto">
              <a:xfrm>
                <a:off x="-409" y="2347"/>
                <a:ext cx="25" cy="31"/>
              </a:xfrm>
              <a:custGeom>
                <a:avLst/>
                <a:gdLst>
                  <a:gd name="T0" fmla="*/ 73 w 175"/>
                  <a:gd name="T1" fmla="*/ 0 h 220"/>
                  <a:gd name="T2" fmla="*/ 94 w 175"/>
                  <a:gd name="T3" fmla="*/ 3 h 220"/>
                  <a:gd name="T4" fmla="*/ 113 w 175"/>
                  <a:gd name="T5" fmla="*/ 11 h 220"/>
                  <a:gd name="T6" fmla="*/ 130 w 175"/>
                  <a:gd name="T7" fmla="*/ 25 h 220"/>
                  <a:gd name="T8" fmla="*/ 145 w 175"/>
                  <a:gd name="T9" fmla="*/ 42 h 220"/>
                  <a:gd name="T10" fmla="*/ 158 w 175"/>
                  <a:gd name="T11" fmla="*/ 62 h 220"/>
                  <a:gd name="T12" fmla="*/ 168 w 175"/>
                  <a:gd name="T13" fmla="*/ 85 h 220"/>
                  <a:gd name="T14" fmla="*/ 173 w 175"/>
                  <a:gd name="T15" fmla="*/ 110 h 220"/>
                  <a:gd name="T16" fmla="*/ 175 w 175"/>
                  <a:gd name="T17" fmla="*/ 136 h 220"/>
                  <a:gd name="T18" fmla="*/ 171 w 175"/>
                  <a:gd name="T19" fmla="*/ 158 h 220"/>
                  <a:gd name="T20" fmla="*/ 163 w 175"/>
                  <a:gd name="T21" fmla="*/ 179 h 220"/>
                  <a:gd name="T22" fmla="*/ 151 w 175"/>
                  <a:gd name="T23" fmla="*/ 196 h 220"/>
                  <a:gd name="T24" fmla="*/ 137 w 175"/>
                  <a:gd name="T25" fmla="*/ 210 h 220"/>
                  <a:gd name="T26" fmla="*/ 121 w 175"/>
                  <a:gd name="T27" fmla="*/ 218 h 220"/>
                  <a:gd name="T28" fmla="*/ 104 w 175"/>
                  <a:gd name="T29" fmla="*/ 220 h 220"/>
                  <a:gd name="T30" fmla="*/ 82 w 175"/>
                  <a:gd name="T31" fmla="*/ 218 h 220"/>
                  <a:gd name="T32" fmla="*/ 63 w 175"/>
                  <a:gd name="T33" fmla="*/ 210 h 220"/>
                  <a:gd name="T34" fmla="*/ 46 w 175"/>
                  <a:gd name="T35" fmla="*/ 196 h 220"/>
                  <a:gd name="T36" fmla="*/ 31 w 175"/>
                  <a:gd name="T37" fmla="*/ 179 h 220"/>
                  <a:gd name="T38" fmla="*/ 18 w 175"/>
                  <a:gd name="T39" fmla="*/ 158 h 220"/>
                  <a:gd name="T40" fmla="*/ 9 w 175"/>
                  <a:gd name="T41" fmla="*/ 136 h 220"/>
                  <a:gd name="T42" fmla="*/ 3 w 175"/>
                  <a:gd name="T43" fmla="*/ 110 h 220"/>
                  <a:gd name="T44" fmla="*/ 0 w 175"/>
                  <a:gd name="T45" fmla="*/ 89 h 220"/>
                  <a:gd name="T46" fmla="*/ 2 w 175"/>
                  <a:gd name="T47" fmla="*/ 67 h 220"/>
                  <a:gd name="T48" fmla="*/ 7 w 175"/>
                  <a:gd name="T49" fmla="*/ 49 h 220"/>
                  <a:gd name="T50" fmla="*/ 14 w 175"/>
                  <a:gd name="T51" fmla="*/ 32 h 220"/>
                  <a:gd name="T52" fmla="*/ 26 w 175"/>
                  <a:gd name="T53" fmla="*/ 19 h 220"/>
                  <a:gd name="T54" fmla="*/ 39 w 175"/>
                  <a:gd name="T55" fmla="*/ 9 h 220"/>
                  <a:gd name="T56" fmla="*/ 55 w 175"/>
                  <a:gd name="T57" fmla="*/ 2 h 220"/>
                  <a:gd name="T58" fmla="*/ 73 w 175"/>
                  <a:gd name="T59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75" h="220">
                    <a:moveTo>
                      <a:pt x="73" y="0"/>
                    </a:moveTo>
                    <a:lnTo>
                      <a:pt x="94" y="3"/>
                    </a:lnTo>
                    <a:lnTo>
                      <a:pt x="113" y="11"/>
                    </a:lnTo>
                    <a:lnTo>
                      <a:pt x="130" y="25"/>
                    </a:lnTo>
                    <a:lnTo>
                      <a:pt x="145" y="42"/>
                    </a:lnTo>
                    <a:lnTo>
                      <a:pt x="158" y="62"/>
                    </a:lnTo>
                    <a:lnTo>
                      <a:pt x="168" y="85"/>
                    </a:lnTo>
                    <a:lnTo>
                      <a:pt x="173" y="110"/>
                    </a:lnTo>
                    <a:lnTo>
                      <a:pt x="175" y="136"/>
                    </a:lnTo>
                    <a:lnTo>
                      <a:pt x="171" y="158"/>
                    </a:lnTo>
                    <a:lnTo>
                      <a:pt x="163" y="179"/>
                    </a:lnTo>
                    <a:lnTo>
                      <a:pt x="151" y="196"/>
                    </a:lnTo>
                    <a:lnTo>
                      <a:pt x="137" y="210"/>
                    </a:lnTo>
                    <a:lnTo>
                      <a:pt x="121" y="218"/>
                    </a:lnTo>
                    <a:lnTo>
                      <a:pt x="104" y="220"/>
                    </a:lnTo>
                    <a:lnTo>
                      <a:pt x="82" y="218"/>
                    </a:lnTo>
                    <a:lnTo>
                      <a:pt x="63" y="210"/>
                    </a:lnTo>
                    <a:lnTo>
                      <a:pt x="46" y="196"/>
                    </a:lnTo>
                    <a:lnTo>
                      <a:pt x="31" y="179"/>
                    </a:lnTo>
                    <a:lnTo>
                      <a:pt x="18" y="158"/>
                    </a:lnTo>
                    <a:lnTo>
                      <a:pt x="9" y="136"/>
                    </a:lnTo>
                    <a:lnTo>
                      <a:pt x="3" y="110"/>
                    </a:lnTo>
                    <a:lnTo>
                      <a:pt x="0" y="89"/>
                    </a:lnTo>
                    <a:lnTo>
                      <a:pt x="2" y="67"/>
                    </a:lnTo>
                    <a:lnTo>
                      <a:pt x="7" y="49"/>
                    </a:lnTo>
                    <a:lnTo>
                      <a:pt x="14" y="32"/>
                    </a:lnTo>
                    <a:lnTo>
                      <a:pt x="26" y="19"/>
                    </a:lnTo>
                    <a:lnTo>
                      <a:pt x="39" y="9"/>
                    </a:lnTo>
                    <a:lnTo>
                      <a:pt x="55" y="2"/>
                    </a:lnTo>
                    <a:lnTo>
                      <a:pt x="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6" name="Freeform 20"/>
              <p:cNvSpPr>
                <a:spLocks noEditPoints="1"/>
              </p:cNvSpPr>
              <p:nvPr/>
            </p:nvSpPr>
            <p:spPr bwMode="auto">
              <a:xfrm>
                <a:off x="-461" y="2303"/>
                <a:ext cx="167" cy="167"/>
              </a:xfrm>
              <a:custGeom>
                <a:avLst/>
                <a:gdLst>
                  <a:gd name="T0" fmla="*/ 394 w 1169"/>
                  <a:gd name="T1" fmla="*/ 292 h 1165"/>
                  <a:gd name="T2" fmla="*/ 322 w 1169"/>
                  <a:gd name="T3" fmla="*/ 340 h 1165"/>
                  <a:gd name="T4" fmla="*/ 292 w 1169"/>
                  <a:gd name="T5" fmla="*/ 412 h 1165"/>
                  <a:gd name="T6" fmla="*/ 315 w 1169"/>
                  <a:gd name="T7" fmla="*/ 485 h 1165"/>
                  <a:gd name="T8" fmla="*/ 377 w 1169"/>
                  <a:gd name="T9" fmla="*/ 532 h 1165"/>
                  <a:gd name="T10" fmla="*/ 453 w 1169"/>
                  <a:gd name="T11" fmla="*/ 543 h 1165"/>
                  <a:gd name="T12" fmla="*/ 443 w 1169"/>
                  <a:gd name="T13" fmla="*/ 572 h 1165"/>
                  <a:gd name="T14" fmla="*/ 452 w 1169"/>
                  <a:gd name="T15" fmla="*/ 623 h 1165"/>
                  <a:gd name="T16" fmla="*/ 386 w 1169"/>
                  <a:gd name="T17" fmla="*/ 646 h 1165"/>
                  <a:gd name="T18" fmla="*/ 294 w 1169"/>
                  <a:gd name="T19" fmla="*/ 681 h 1165"/>
                  <a:gd name="T20" fmla="*/ 245 w 1169"/>
                  <a:gd name="T21" fmla="*/ 748 h 1165"/>
                  <a:gd name="T22" fmla="*/ 252 w 1169"/>
                  <a:gd name="T23" fmla="*/ 812 h 1165"/>
                  <a:gd name="T24" fmla="*/ 299 w 1169"/>
                  <a:gd name="T25" fmla="*/ 855 h 1165"/>
                  <a:gd name="T26" fmla="*/ 374 w 1169"/>
                  <a:gd name="T27" fmla="*/ 879 h 1165"/>
                  <a:gd name="T28" fmla="*/ 468 w 1169"/>
                  <a:gd name="T29" fmla="*/ 882 h 1165"/>
                  <a:gd name="T30" fmla="*/ 549 w 1169"/>
                  <a:gd name="T31" fmla="*/ 858 h 1165"/>
                  <a:gd name="T32" fmla="*/ 598 w 1169"/>
                  <a:gd name="T33" fmla="*/ 813 h 1165"/>
                  <a:gd name="T34" fmla="*/ 614 w 1169"/>
                  <a:gd name="T35" fmla="*/ 753 h 1165"/>
                  <a:gd name="T36" fmla="*/ 603 w 1169"/>
                  <a:gd name="T37" fmla="*/ 686 h 1165"/>
                  <a:gd name="T38" fmla="*/ 554 w 1169"/>
                  <a:gd name="T39" fmla="*/ 633 h 1165"/>
                  <a:gd name="T40" fmla="*/ 521 w 1169"/>
                  <a:gd name="T41" fmla="*/ 607 h 1165"/>
                  <a:gd name="T42" fmla="*/ 503 w 1169"/>
                  <a:gd name="T43" fmla="*/ 572 h 1165"/>
                  <a:gd name="T44" fmla="*/ 516 w 1169"/>
                  <a:gd name="T45" fmla="*/ 544 h 1165"/>
                  <a:gd name="T46" fmla="*/ 560 w 1169"/>
                  <a:gd name="T47" fmla="*/ 504 h 1165"/>
                  <a:gd name="T48" fmla="*/ 592 w 1169"/>
                  <a:gd name="T49" fmla="*/ 445 h 1165"/>
                  <a:gd name="T50" fmla="*/ 589 w 1169"/>
                  <a:gd name="T51" fmla="*/ 380 h 1165"/>
                  <a:gd name="T52" fmla="*/ 563 w 1169"/>
                  <a:gd name="T53" fmla="*/ 330 h 1165"/>
                  <a:gd name="T54" fmla="*/ 594 w 1169"/>
                  <a:gd name="T55" fmla="*/ 312 h 1165"/>
                  <a:gd name="T56" fmla="*/ 806 w 1169"/>
                  <a:gd name="T57" fmla="*/ 272 h 1165"/>
                  <a:gd name="T58" fmla="*/ 694 w 1169"/>
                  <a:gd name="T59" fmla="*/ 423 h 1165"/>
                  <a:gd name="T60" fmla="*/ 846 w 1169"/>
                  <a:gd name="T61" fmla="*/ 533 h 1165"/>
                  <a:gd name="T62" fmla="*/ 956 w 1169"/>
                  <a:gd name="T63" fmla="*/ 382 h 1165"/>
                  <a:gd name="T64" fmla="*/ 806 w 1169"/>
                  <a:gd name="T65" fmla="*/ 272 h 1165"/>
                  <a:gd name="T66" fmla="*/ 725 w 1169"/>
                  <a:gd name="T67" fmla="*/ 13 h 1165"/>
                  <a:gd name="T68" fmla="*/ 890 w 1169"/>
                  <a:gd name="T69" fmla="*/ 77 h 1165"/>
                  <a:gd name="T70" fmla="*/ 1024 w 1169"/>
                  <a:gd name="T71" fmla="*/ 185 h 1165"/>
                  <a:gd name="T72" fmla="*/ 1118 w 1169"/>
                  <a:gd name="T73" fmla="*/ 331 h 1165"/>
                  <a:gd name="T74" fmla="*/ 1166 w 1169"/>
                  <a:gd name="T75" fmla="*/ 502 h 1165"/>
                  <a:gd name="T76" fmla="*/ 1156 w 1169"/>
                  <a:gd name="T77" fmla="*/ 684 h 1165"/>
                  <a:gd name="T78" fmla="*/ 1092 w 1169"/>
                  <a:gd name="T79" fmla="*/ 847 h 1165"/>
                  <a:gd name="T80" fmla="*/ 983 w 1169"/>
                  <a:gd name="T81" fmla="*/ 980 h 1165"/>
                  <a:gd name="T82" fmla="*/ 837 w 1169"/>
                  <a:gd name="T83" fmla="*/ 1075 h 1165"/>
                  <a:gd name="T84" fmla="*/ 666 w 1169"/>
                  <a:gd name="T85" fmla="*/ 1122 h 1165"/>
                  <a:gd name="T86" fmla="*/ 495 w 1169"/>
                  <a:gd name="T87" fmla="*/ 1113 h 1165"/>
                  <a:gd name="T88" fmla="*/ 342 w 1169"/>
                  <a:gd name="T89" fmla="*/ 1055 h 1165"/>
                  <a:gd name="T90" fmla="*/ 80 w 1169"/>
                  <a:gd name="T91" fmla="*/ 1165 h 1165"/>
                  <a:gd name="T92" fmla="*/ 22 w 1169"/>
                  <a:gd name="T93" fmla="*/ 1107 h 1165"/>
                  <a:gd name="T94" fmla="*/ 143 w 1169"/>
                  <a:gd name="T95" fmla="*/ 879 h 1165"/>
                  <a:gd name="T96" fmla="*/ 75 w 1169"/>
                  <a:gd name="T97" fmla="*/ 757 h 1165"/>
                  <a:gd name="T98" fmla="*/ 43 w 1169"/>
                  <a:gd name="T99" fmla="*/ 614 h 1165"/>
                  <a:gd name="T100" fmla="*/ 53 w 1169"/>
                  <a:gd name="T101" fmla="*/ 442 h 1165"/>
                  <a:gd name="T102" fmla="*/ 117 w 1169"/>
                  <a:gd name="T103" fmla="*/ 278 h 1165"/>
                  <a:gd name="T104" fmla="*/ 226 w 1169"/>
                  <a:gd name="T105" fmla="*/ 145 h 1165"/>
                  <a:gd name="T106" fmla="*/ 371 w 1169"/>
                  <a:gd name="T107" fmla="*/ 51 h 1165"/>
                  <a:gd name="T108" fmla="*/ 543 w 1169"/>
                  <a:gd name="T109" fmla="*/ 4 h 1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69" h="1165">
                    <a:moveTo>
                      <a:pt x="453" y="282"/>
                    </a:moveTo>
                    <a:lnTo>
                      <a:pt x="423" y="285"/>
                    </a:lnTo>
                    <a:lnTo>
                      <a:pt x="394" y="292"/>
                    </a:lnTo>
                    <a:lnTo>
                      <a:pt x="367" y="304"/>
                    </a:lnTo>
                    <a:lnTo>
                      <a:pt x="342" y="320"/>
                    </a:lnTo>
                    <a:lnTo>
                      <a:pt x="322" y="340"/>
                    </a:lnTo>
                    <a:lnTo>
                      <a:pt x="306" y="362"/>
                    </a:lnTo>
                    <a:lnTo>
                      <a:pt x="296" y="386"/>
                    </a:lnTo>
                    <a:lnTo>
                      <a:pt x="292" y="412"/>
                    </a:lnTo>
                    <a:lnTo>
                      <a:pt x="295" y="438"/>
                    </a:lnTo>
                    <a:lnTo>
                      <a:pt x="302" y="462"/>
                    </a:lnTo>
                    <a:lnTo>
                      <a:pt x="315" y="485"/>
                    </a:lnTo>
                    <a:lnTo>
                      <a:pt x="333" y="504"/>
                    </a:lnTo>
                    <a:lnTo>
                      <a:pt x="353" y="520"/>
                    </a:lnTo>
                    <a:lnTo>
                      <a:pt x="377" y="532"/>
                    </a:lnTo>
                    <a:lnTo>
                      <a:pt x="403" y="540"/>
                    </a:lnTo>
                    <a:lnTo>
                      <a:pt x="433" y="543"/>
                    </a:lnTo>
                    <a:lnTo>
                      <a:pt x="453" y="543"/>
                    </a:lnTo>
                    <a:lnTo>
                      <a:pt x="446" y="553"/>
                    </a:lnTo>
                    <a:lnTo>
                      <a:pt x="443" y="563"/>
                    </a:lnTo>
                    <a:lnTo>
                      <a:pt x="443" y="572"/>
                    </a:lnTo>
                    <a:lnTo>
                      <a:pt x="444" y="588"/>
                    </a:lnTo>
                    <a:lnTo>
                      <a:pt x="448" y="605"/>
                    </a:lnTo>
                    <a:lnTo>
                      <a:pt x="452" y="623"/>
                    </a:lnTo>
                    <a:lnTo>
                      <a:pt x="453" y="643"/>
                    </a:lnTo>
                    <a:lnTo>
                      <a:pt x="423" y="643"/>
                    </a:lnTo>
                    <a:lnTo>
                      <a:pt x="386" y="646"/>
                    </a:lnTo>
                    <a:lnTo>
                      <a:pt x="352" y="654"/>
                    </a:lnTo>
                    <a:lnTo>
                      <a:pt x="321" y="665"/>
                    </a:lnTo>
                    <a:lnTo>
                      <a:pt x="294" y="681"/>
                    </a:lnTo>
                    <a:lnTo>
                      <a:pt x="272" y="702"/>
                    </a:lnTo>
                    <a:lnTo>
                      <a:pt x="255" y="723"/>
                    </a:lnTo>
                    <a:lnTo>
                      <a:pt x="245" y="748"/>
                    </a:lnTo>
                    <a:lnTo>
                      <a:pt x="241" y="773"/>
                    </a:lnTo>
                    <a:lnTo>
                      <a:pt x="245" y="794"/>
                    </a:lnTo>
                    <a:lnTo>
                      <a:pt x="252" y="812"/>
                    </a:lnTo>
                    <a:lnTo>
                      <a:pt x="264" y="828"/>
                    </a:lnTo>
                    <a:lnTo>
                      <a:pt x="280" y="843"/>
                    </a:lnTo>
                    <a:lnTo>
                      <a:pt x="299" y="855"/>
                    </a:lnTo>
                    <a:lnTo>
                      <a:pt x="322" y="865"/>
                    </a:lnTo>
                    <a:lnTo>
                      <a:pt x="348" y="873"/>
                    </a:lnTo>
                    <a:lnTo>
                      <a:pt x="374" y="879"/>
                    </a:lnTo>
                    <a:lnTo>
                      <a:pt x="403" y="882"/>
                    </a:lnTo>
                    <a:lnTo>
                      <a:pt x="433" y="884"/>
                    </a:lnTo>
                    <a:lnTo>
                      <a:pt x="468" y="882"/>
                    </a:lnTo>
                    <a:lnTo>
                      <a:pt x="498" y="877"/>
                    </a:lnTo>
                    <a:lnTo>
                      <a:pt x="526" y="869"/>
                    </a:lnTo>
                    <a:lnTo>
                      <a:pt x="549" y="858"/>
                    </a:lnTo>
                    <a:lnTo>
                      <a:pt x="569" y="845"/>
                    </a:lnTo>
                    <a:lnTo>
                      <a:pt x="585" y="830"/>
                    </a:lnTo>
                    <a:lnTo>
                      <a:pt x="598" y="813"/>
                    </a:lnTo>
                    <a:lnTo>
                      <a:pt x="607" y="794"/>
                    </a:lnTo>
                    <a:lnTo>
                      <a:pt x="613" y="775"/>
                    </a:lnTo>
                    <a:lnTo>
                      <a:pt x="614" y="753"/>
                    </a:lnTo>
                    <a:lnTo>
                      <a:pt x="613" y="730"/>
                    </a:lnTo>
                    <a:lnTo>
                      <a:pt x="610" y="706"/>
                    </a:lnTo>
                    <a:lnTo>
                      <a:pt x="603" y="686"/>
                    </a:lnTo>
                    <a:lnTo>
                      <a:pt x="591" y="667"/>
                    </a:lnTo>
                    <a:lnTo>
                      <a:pt x="575" y="649"/>
                    </a:lnTo>
                    <a:lnTo>
                      <a:pt x="554" y="633"/>
                    </a:lnTo>
                    <a:lnTo>
                      <a:pt x="543" y="626"/>
                    </a:lnTo>
                    <a:lnTo>
                      <a:pt x="532" y="617"/>
                    </a:lnTo>
                    <a:lnTo>
                      <a:pt x="521" y="607"/>
                    </a:lnTo>
                    <a:lnTo>
                      <a:pt x="512" y="595"/>
                    </a:lnTo>
                    <a:lnTo>
                      <a:pt x="505" y="583"/>
                    </a:lnTo>
                    <a:lnTo>
                      <a:pt x="503" y="572"/>
                    </a:lnTo>
                    <a:lnTo>
                      <a:pt x="504" y="562"/>
                    </a:lnTo>
                    <a:lnTo>
                      <a:pt x="509" y="552"/>
                    </a:lnTo>
                    <a:lnTo>
                      <a:pt x="516" y="544"/>
                    </a:lnTo>
                    <a:lnTo>
                      <a:pt x="528" y="534"/>
                    </a:lnTo>
                    <a:lnTo>
                      <a:pt x="544" y="522"/>
                    </a:lnTo>
                    <a:lnTo>
                      <a:pt x="560" y="504"/>
                    </a:lnTo>
                    <a:lnTo>
                      <a:pt x="574" y="486"/>
                    </a:lnTo>
                    <a:lnTo>
                      <a:pt x="585" y="467"/>
                    </a:lnTo>
                    <a:lnTo>
                      <a:pt x="592" y="445"/>
                    </a:lnTo>
                    <a:lnTo>
                      <a:pt x="594" y="423"/>
                    </a:lnTo>
                    <a:lnTo>
                      <a:pt x="593" y="401"/>
                    </a:lnTo>
                    <a:lnTo>
                      <a:pt x="589" y="380"/>
                    </a:lnTo>
                    <a:lnTo>
                      <a:pt x="583" y="361"/>
                    </a:lnTo>
                    <a:lnTo>
                      <a:pt x="574" y="344"/>
                    </a:lnTo>
                    <a:lnTo>
                      <a:pt x="563" y="330"/>
                    </a:lnTo>
                    <a:lnTo>
                      <a:pt x="549" y="318"/>
                    </a:lnTo>
                    <a:lnTo>
                      <a:pt x="533" y="312"/>
                    </a:lnTo>
                    <a:lnTo>
                      <a:pt x="594" y="312"/>
                    </a:lnTo>
                    <a:lnTo>
                      <a:pt x="634" y="282"/>
                    </a:lnTo>
                    <a:lnTo>
                      <a:pt x="453" y="282"/>
                    </a:lnTo>
                    <a:close/>
                    <a:moveTo>
                      <a:pt x="806" y="272"/>
                    </a:moveTo>
                    <a:lnTo>
                      <a:pt x="806" y="382"/>
                    </a:lnTo>
                    <a:lnTo>
                      <a:pt x="694" y="382"/>
                    </a:lnTo>
                    <a:lnTo>
                      <a:pt x="694" y="423"/>
                    </a:lnTo>
                    <a:lnTo>
                      <a:pt x="806" y="423"/>
                    </a:lnTo>
                    <a:lnTo>
                      <a:pt x="806" y="533"/>
                    </a:lnTo>
                    <a:lnTo>
                      <a:pt x="846" y="533"/>
                    </a:lnTo>
                    <a:lnTo>
                      <a:pt x="846" y="423"/>
                    </a:lnTo>
                    <a:lnTo>
                      <a:pt x="956" y="423"/>
                    </a:lnTo>
                    <a:lnTo>
                      <a:pt x="956" y="382"/>
                    </a:lnTo>
                    <a:lnTo>
                      <a:pt x="846" y="382"/>
                    </a:lnTo>
                    <a:lnTo>
                      <a:pt x="846" y="272"/>
                    </a:lnTo>
                    <a:lnTo>
                      <a:pt x="806" y="272"/>
                    </a:lnTo>
                    <a:close/>
                    <a:moveTo>
                      <a:pt x="604" y="0"/>
                    </a:moveTo>
                    <a:lnTo>
                      <a:pt x="666" y="4"/>
                    </a:lnTo>
                    <a:lnTo>
                      <a:pt x="725" y="13"/>
                    </a:lnTo>
                    <a:lnTo>
                      <a:pt x="783" y="29"/>
                    </a:lnTo>
                    <a:lnTo>
                      <a:pt x="837" y="51"/>
                    </a:lnTo>
                    <a:lnTo>
                      <a:pt x="890" y="77"/>
                    </a:lnTo>
                    <a:lnTo>
                      <a:pt x="938" y="110"/>
                    </a:lnTo>
                    <a:lnTo>
                      <a:pt x="983" y="145"/>
                    </a:lnTo>
                    <a:lnTo>
                      <a:pt x="1024" y="185"/>
                    </a:lnTo>
                    <a:lnTo>
                      <a:pt x="1060" y="230"/>
                    </a:lnTo>
                    <a:lnTo>
                      <a:pt x="1092" y="278"/>
                    </a:lnTo>
                    <a:lnTo>
                      <a:pt x="1118" y="331"/>
                    </a:lnTo>
                    <a:lnTo>
                      <a:pt x="1140" y="385"/>
                    </a:lnTo>
                    <a:lnTo>
                      <a:pt x="1156" y="442"/>
                    </a:lnTo>
                    <a:lnTo>
                      <a:pt x="1166" y="502"/>
                    </a:lnTo>
                    <a:lnTo>
                      <a:pt x="1169" y="563"/>
                    </a:lnTo>
                    <a:lnTo>
                      <a:pt x="1166" y="624"/>
                    </a:lnTo>
                    <a:lnTo>
                      <a:pt x="1156" y="684"/>
                    </a:lnTo>
                    <a:lnTo>
                      <a:pt x="1140" y="740"/>
                    </a:lnTo>
                    <a:lnTo>
                      <a:pt x="1118" y="795"/>
                    </a:lnTo>
                    <a:lnTo>
                      <a:pt x="1092" y="847"/>
                    </a:lnTo>
                    <a:lnTo>
                      <a:pt x="1060" y="895"/>
                    </a:lnTo>
                    <a:lnTo>
                      <a:pt x="1024" y="939"/>
                    </a:lnTo>
                    <a:lnTo>
                      <a:pt x="983" y="980"/>
                    </a:lnTo>
                    <a:lnTo>
                      <a:pt x="938" y="1016"/>
                    </a:lnTo>
                    <a:lnTo>
                      <a:pt x="890" y="1048"/>
                    </a:lnTo>
                    <a:lnTo>
                      <a:pt x="837" y="1075"/>
                    </a:lnTo>
                    <a:lnTo>
                      <a:pt x="783" y="1096"/>
                    </a:lnTo>
                    <a:lnTo>
                      <a:pt x="725" y="1111"/>
                    </a:lnTo>
                    <a:lnTo>
                      <a:pt x="666" y="1122"/>
                    </a:lnTo>
                    <a:lnTo>
                      <a:pt x="604" y="1125"/>
                    </a:lnTo>
                    <a:lnTo>
                      <a:pt x="548" y="1122"/>
                    </a:lnTo>
                    <a:lnTo>
                      <a:pt x="495" y="1113"/>
                    </a:lnTo>
                    <a:lnTo>
                      <a:pt x="442" y="1098"/>
                    </a:lnTo>
                    <a:lnTo>
                      <a:pt x="392" y="1079"/>
                    </a:lnTo>
                    <a:lnTo>
                      <a:pt x="342" y="1055"/>
                    </a:lnTo>
                    <a:lnTo>
                      <a:pt x="296" y="1027"/>
                    </a:lnTo>
                    <a:lnTo>
                      <a:pt x="251" y="994"/>
                    </a:lnTo>
                    <a:lnTo>
                      <a:pt x="80" y="1165"/>
                    </a:lnTo>
                    <a:lnTo>
                      <a:pt x="63" y="1148"/>
                    </a:lnTo>
                    <a:lnTo>
                      <a:pt x="44" y="1128"/>
                    </a:lnTo>
                    <a:lnTo>
                      <a:pt x="22" y="1107"/>
                    </a:lnTo>
                    <a:lnTo>
                      <a:pt x="0" y="1085"/>
                    </a:lnTo>
                    <a:lnTo>
                      <a:pt x="170" y="915"/>
                    </a:lnTo>
                    <a:lnTo>
                      <a:pt x="143" y="879"/>
                    </a:lnTo>
                    <a:lnTo>
                      <a:pt x="117" y="841"/>
                    </a:lnTo>
                    <a:lnTo>
                      <a:pt x="94" y="800"/>
                    </a:lnTo>
                    <a:lnTo>
                      <a:pt x="75" y="757"/>
                    </a:lnTo>
                    <a:lnTo>
                      <a:pt x="60" y="711"/>
                    </a:lnTo>
                    <a:lnTo>
                      <a:pt x="49" y="664"/>
                    </a:lnTo>
                    <a:lnTo>
                      <a:pt x="43" y="614"/>
                    </a:lnTo>
                    <a:lnTo>
                      <a:pt x="39" y="563"/>
                    </a:lnTo>
                    <a:lnTo>
                      <a:pt x="44" y="502"/>
                    </a:lnTo>
                    <a:lnTo>
                      <a:pt x="53" y="442"/>
                    </a:lnTo>
                    <a:lnTo>
                      <a:pt x="68" y="385"/>
                    </a:lnTo>
                    <a:lnTo>
                      <a:pt x="90" y="331"/>
                    </a:lnTo>
                    <a:lnTo>
                      <a:pt x="117" y="278"/>
                    </a:lnTo>
                    <a:lnTo>
                      <a:pt x="149" y="230"/>
                    </a:lnTo>
                    <a:lnTo>
                      <a:pt x="185" y="185"/>
                    </a:lnTo>
                    <a:lnTo>
                      <a:pt x="226" y="145"/>
                    </a:lnTo>
                    <a:lnTo>
                      <a:pt x="270" y="110"/>
                    </a:lnTo>
                    <a:lnTo>
                      <a:pt x="320" y="77"/>
                    </a:lnTo>
                    <a:lnTo>
                      <a:pt x="371" y="51"/>
                    </a:lnTo>
                    <a:lnTo>
                      <a:pt x="426" y="29"/>
                    </a:lnTo>
                    <a:lnTo>
                      <a:pt x="483" y="13"/>
                    </a:lnTo>
                    <a:lnTo>
                      <a:pt x="543" y="4"/>
                    </a:lnTo>
                    <a:lnTo>
                      <a:pt x="60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5" name="Freeform 21"/>
              <p:cNvSpPr>
                <a:spLocks noEditPoints="1"/>
              </p:cNvSpPr>
              <p:nvPr/>
            </p:nvSpPr>
            <p:spPr bwMode="auto">
              <a:xfrm>
                <a:off x="-459" y="2628"/>
                <a:ext cx="167" cy="164"/>
              </a:xfrm>
              <a:custGeom>
                <a:avLst/>
                <a:gdLst>
                  <a:gd name="T0" fmla="*/ 434 w 1170"/>
                  <a:gd name="T1" fmla="*/ 852 h 1154"/>
                  <a:gd name="T2" fmla="*/ 747 w 1170"/>
                  <a:gd name="T3" fmla="*/ 492 h 1154"/>
                  <a:gd name="T4" fmla="*/ 680 w 1170"/>
                  <a:gd name="T5" fmla="*/ 509 h 1154"/>
                  <a:gd name="T6" fmla="*/ 641 w 1170"/>
                  <a:gd name="T7" fmla="*/ 542 h 1154"/>
                  <a:gd name="T8" fmla="*/ 515 w 1170"/>
                  <a:gd name="T9" fmla="*/ 502 h 1154"/>
                  <a:gd name="T10" fmla="*/ 636 w 1170"/>
                  <a:gd name="T11" fmla="*/ 632 h 1154"/>
                  <a:gd name="T12" fmla="*/ 665 w 1170"/>
                  <a:gd name="T13" fmla="*/ 600 h 1154"/>
                  <a:gd name="T14" fmla="*/ 714 w 1170"/>
                  <a:gd name="T15" fmla="*/ 595 h 1154"/>
                  <a:gd name="T16" fmla="*/ 750 w 1170"/>
                  <a:gd name="T17" fmla="*/ 629 h 1154"/>
                  <a:gd name="T18" fmla="*/ 756 w 1170"/>
                  <a:gd name="T19" fmla="*/ 852 h 1154"/>
                  <a:gd name="T20" fmla="*/ 886 w 1170"/>
                  <a:gd name="T21" fmla="*/ 621 h 1154"/>
                  <a:gd name="T22" fmla="*/ 861 w 1170"/>
                  <a:gd name="T23" fmla="*/ 547 h 1154"/>
                  <a:gd name="T24" fmla="*/ 812 w 1170"/>
                  <a:gd name="T25" fmla="*/ 506 h 1154"/>
                  <a:gd name="T26" fmla="*/ 747 w 1170"/>
                  <a:gd name="T27" fmla="*/ 492 h 1154"/>
                  <a:gd name="T28" fmla="*/ 347 w 1170"/>
                  <a:gd name="T29" fmla="*/ 340 h 1154"/>
                  <a:gd name="T30" fmla="*/ 315 w 1170"/>
                  <a:gd name="T31" fmla="*/ 376 h 1154"/>
                  <a:gd name="T32" fmla="*/ 322 w 1170"/>
                  <a:gd name="T33" fmla="*/ 420 h 1154"/>
                  <a:gd name="T34" fmla="*/ 364 w 1170"/>
                  <a:gd name="T35" fmla="*/ 449 h 1154"/>
                  <a:gd name="T36" fmla="*/ 418 w 1170"/>
                  <a:gd name="T37" fmla="*/ 445 h 1154"/>
                  <a:gd name="T38" fmla="*/ 448 w 1170"/>
                  <a:gd name="T39" fmla="*/ 410 h 1154"/>
                  <a:gd name="T40" fmla="*/ 445 w 1170"/>
                  <a:gd name="T41" fmla="*/ 363 h 1154"/>
                  <a:gd name="T42" fmla="*/ 403 w 1170"/>
                  <a:gd name="T43" fmla="*/ 334 h 1154"/>
                  <a:gd name="T44" fmla="*/ 242 w 1170"/>
                  <a:gd name="T45" fmla="*/ 170 h 1154"/>
                  <a:gd name="T46" fmla="*/ 359 w 1170"/>
                  <a:gd name="T47" fmla="*/ 94 h 1154"/>
                  <a:gd name="T48" fmla="*/ 497 w 1170"/>
                  <a:gd name="T49" fmla="*/ 49 h 1154"/>
                  <a:gd name="T50" fmla="*/ 657 w 1170"/>
                  <a:gd name="T51" fmla="*/ 43 h 1154"/>
                  <a:gd name="T52" fmla="*/ 829 w 1170"/>
                  <a:gd name="T53" fmla="*/ 88 h 1154"/>
                  <a:gd name="T54" fmla="*/ 975 w 1170"/>
                  <a:gd name="T55" fmla="*/ 180 h 1154"/>
                  <a:gd name="T56" fmla="*/ 1086 w 1170"/>
                  <a:gd name="T57" fmla="*/ 310 h 1154"/>
                  <a:gd name="T58" fmla="*/ 1153 w 1170"/>
                  <a:gd name="T59" fmla="*/ 472 h 1154"/>
                  <a:gd name="T60" fmla="*/ 1166 w 1170"/>
                  <a:gd name="T61" fmla="*/ 653 h 1154"/>
                  <a:gd name="T62" fmla="*/ 1119 w 1170"/>
                  <a:gd name="T63" fmla="*/ 824 h 1154"/>
                  <a:gd name="T64" fmla="*/ 1025 w 1170"/>
                  <a:gd name="T65" fmla="*/ 969 h 1154"/>
                  <a:gd name="T66" fmla="*/ 890 w 1170"/>
                  <a:gd name="T67" fmla="*/ 1077 h 1154"/>
                  <a:gd name="T68" fmla="*/ 726 w 1170"/>
                  <a:gd name="T69" fmla="*/ 1141 h 1154"/>
                  <a:gd name="T70" fmla="*/ 544 w 1170"/>
                  <a:gd name="T71" fmla="*/ 1150 h 1154"/>
                  <a:gd name="T72" fmla="*/ 372 w 1170"/>
                  <a:gd name="T73" fmla="*/ 1103 h 1154"/>
                  <a:gd name="T74" fmla="*/ 227 w 1170"/>
                  <a:gd name="T75" fmla="*/ 1009 h 1154"/>
                  <a:gd name="T76" fmla="*/ 117 w 1170"/>
                  <a:gd name="T77" fmla="*/ 876 h 1154"/>
                  <a:gd name="T78" fmla="*/ 54 w 1170"/>
                  <a:gd name="T79" fmla="*/ 712 h 1154"/>
                  <a:gd name="T80" fmla="*/ 44 w 1170"/>
                  <a:gd name="T81" fmla="*/ 537 h 1154"/>
                  <a:gd name="T82" fmla="*/ 86 w 1170"/>
                  <a:gd name="T83" fmla="*/ 380 h 1154"/>
                  <a:gd name="T84" fmla="*/ 172 w 1170"/>
                  <a:gd name="T85" fmla="*/ 241 h 1154"/>
                  <a:gd name="T86" fmla="*/ 36 w 1170"/>
                  <a:gd name="T87" fmla="*/ 39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70" h="1154">
                    <a:moveTo>
                      <a:pt x="324" y="502"/>
                    </a:moveTo>
                    <a:lnTo>
                      <a:pt x="324" y="852"/>
                    </a:lnTo>
                    <a:lnTo>
                      <a:pt x="434" y="852"/>
                    </a:lnTo>
                    <a:lnTo>
                      <a:pt x="434" y="502"/>
                    </a:lnTo>
                    <a:lnTo>
                      <a:pt x="324" y="502"/>
                    </a:lnTo>
                    <a:close/>
                    <a:moveTo>
                      <a:pt x="747" y="492"/>
                    </a:moveTo>
                    <a:lnTo>
                      <a:pt x="722" y="494"/>
                    </a:lnTo>
                    <a:lnTo>
                      <a:pt x="699" y="500"/>
                    </a:lnTo>
                    <a:lnTo>
                      <a:pt x="680" y="509"/>
                    </a:lnTo>
                    <a:lnTo>
                      <a:pt x="664" y="520"/>
                    </a:lnTo>
                    <a:lnTo>
                      <a:pt x="651" y="531"/>
                    </a:lnTo>
                    <a:lnTo>
                      <a:pt x="641" y="542"/>
                    </a:lnTo>
                    <a:lnTo>
                      <a:pt x="636" y="552"/>
                    </a:lnTo>
                    <a:lnTo>
                      <a:pt x="636" y="502"/>
                    </a:lnTo>
                    <a:lnTo>
                      <a:pt x="515" y="502"/>
                    </a:lnTo>
                    <a:lnTo>
                      <a:pt x="515" y="853"/>
                    </a:lnTo>
                    <a:lnTo>
                      <a:pt x="636" y="853"/>
                    </a:lnTo>
                    <a:lnTo>
                      <a:pt x="636" y="632"/>
                    </a:lnTo>
                    <a:lnTo>
                      <a:pt x="642" y="620"/>
                    </a:lnTo>
                    <a:lnTo>
                      <a:pt x="652" y="609"/>
                    </a:lnTo>
                    <a:lnTo>
                      <a:pt x="665" y="600"/>
                    </a:lnTo>
                    <a:lnTo>
                      <a:pt x="679" y="595"/>
                    </a:lnTo>
                    <a:lnTo>
                      <a:pt x="696" y="592"/>
                    </a:lnTo>
                    <a:lnTo>
                      <a:pt x="714" y="595"/>
                    </a:lnTo>
                    <a:lnTo>
                      <a:pt x="729" y="602"/>
                    </a:lnTo>
                    <a:lnTo>
                      <a:pt x="741" y="613"/>
                    </a:lnTo>
                    <a:lnTo>
                      <a:pt x="750" y="629"/>
                    </a:lnTo>
                    <a:lnTo>
                      <a:pt x="755" y="649"/>
                    </a:lnTo>
                    <a:lnTo>
                      <a:pt x="756" y="673"/>
                    </a:lnTo>
                    <a:lnTo>
                      <a:pt x="756" y="852"/>
                    </a:lnTo>
                    <a:lnTo>
                      <a:pt x="887" y="852"/>
                    </a:lnTo>
                    <a:lnTo>
                      <a:pt x="887" y="652"/>
                    </a:lnTo>
                    <a:lnTo>
                      <a:pt x="886" y="621"/>
                    </a:lnTo>
                    <a:lnTo>
                      <a:pt x="881" y="593"/>
                    </a:lnTo>
                    <a:lnTo>
                      <a:pt x="872" y="569"/>
                    </a:lnTo>
                    <a:lnTo>
                      <a:pt x="861" y="547"/>
                    </a:lnTo>
                    <a:lnTo>
                      <a:pt x="847" y="530"/>
                    </a:lnTo>
                    <a:lnTo>
                      <a:pt x="830" y="516"/>
                    </a:lnTo>
                    <a:lnTo>
                      <a:pt x="812" y="506"/>
                    </a:lnTo>
                    <a:lnTo>
                      <a:pt x="792" y="497"/>
                    </a:lnTo>
                    <a:lnTo>
                      <a:pt x="770" y="493"/>
                    </a:lnTo>
                    <a:lnTo>
                      <a:pt x="747" y="492"/>
                    </a:lnTo>
                    <a:close/>
                    <a:moveTo>
                      <a:pt x="384" y="330"/>
                    </a:moveTo>
                    <a:lnTo>
                      <a:pt x="364" y="334"/>
                    </a:lnTo>
                    <a:lnTo>
                      <a:pt x="347" y="340"/>
                    </a:lnTo>
                    <a:lnTo>
                      <a:pt x="333" y="350"/>
                    </a:lnTo>
                    <a:lnTo>
                      <a:pt x="322" y="363"/>
                    </a:lnTo>
                    <a:lnTo>
                      <a:pt x="315" y="376"/>
                    </a:lnTo>
                    <a:lnTo>
                      <a:pt x="313" y="391"/>
                    </a:lnTo>
                    <a:lnTo>
                      <a:pt x="315" y="406"/>
                    </a:lnTo>
                    <a:lnTo>
                      <a:pt x="322" y="420"/>
                    </a:lnTo>
                    <a:lnTo>
                      <a:pt x="333" y="432"/>
                    </a:lnTo>
                    <a:lnTo>
                      <a:pt x="347" y="443"/>
                    </a:lnTo>
                    <a:lnTo>
                      <a:pt x="364" y="449"/>
                    </a:lnTo>
                    <a:lnTo>
                      <a:pt x="384" y="451"/>
                    </a:lnTo>
                    <a:lnTo>
                      <a:pt x="402" y="449"/>
                    </a:lnTo>
                    <a:lnTo>
                      <a:pt x="418" y="445"/>
                    </a:lnTo>
                    <a:lnTo>
                      <a:pt x="430" y="436"/>
                    </a:lnTo>
                    <a:lnTo>
                      <a:pt x="441" y="425"/>
                    </a:lnTo>
                    <a:lnTo>
                      <a:pt x="448" y="410"/>
                    </a:lnTo>
                    <a:lnTo>
                      <a:pt x="455" y="391"/>
                    </a:lnTo>
                    <a:lnTo>
                      <a:pt x="451" y="376"/>
                    </a:lnTo>
                    <a:lnTo>
                      <a:pt x="445" y="363"/>
                    </a:lnTo>
                    <a:lnTo>
                      <a:pt x="434" y="350"/>
                    </a:lnTo>
                    <a:lnTo>
                      <a:pt x="420" y="340"/>
                    </a:lnTo>
                    <a:lnTo>
                      <a:pt x="403" y="334"/>
                    </a:lnTo>
                    <a:lnTo>
                      <a:pt x="384" y="330"/>
                    </a:lnTo>
                    <a:close/>
                    <a:moveTo>
                      <a:pt x="71" y="0"/>
                    </a:moveTo>
                    <a:lnTo>
                      <a:pt x="242" y="170"/>
                    </a:lnTo>
                    <a:lnTo>
                      <a:pt x="278" y="141"/>
                    </a:lnTo>
                    <a:lnTo>
                      <a:pt x="317" y="116"/>
                    </a:lnTo>
                    <a:lnTo>
                      <a:pt x="359" y="94"/>
                    </a:lnTo>
                    <a:lnTo>
                      <a:pt x="404" y="75"/>
                    </a:lnTo>
                    <a:lnTo>
                      <a:pt x="450" y="60"/>
                    </a:lnTo>
                    <a:lnTo>
                      <a:pt x="497" y="49"/>
                    </a:lnTo>
                    <a:lnTo>
                      <a:pt x="546" y="42"/>
                    </a:lnTo>
                    <a:lnTo>
                      <a:pt x="595" y="40"/>
                    </a:lnTo>
                    <a:lnTo>
                      <a:pt x="657" y="43"/>
                    </a:lnTo>
                    <a:lnTo>
                      <a:pt x="716" y="52"/>
                    </a:lnTo>
                    <a:lnTo>
                      <a:pt x="774" y="67"/>
                    </a:lnTo>
                    <a:lnTo>
                      <a:pt x="829" y="88"/>
                    </a:lnTo>
                    <a:lnTo>
                      <a:pt x="881" y="113"/>
                    </a:lnTo>
                    <a:lnTo>
                      <a:pt x="929" y="144"/>
                    </a:lnTo>
                    <a:lnTo>
                      <a:pt x="975" y="180"/>
                    </a:lnTo>
                    <a:lnTo>
                      <a:pt x="1016" y="219"/>
                    </a:lnTo>
                    <a:lnTo>
                      <a:pt x="1054" y="263"/>
                    </a:lnTo>
                    <a:lnTo>
                      <a:pt x="1086" y="310"/>
                    </a:lnTo>
                    <a:lnTo>
                      <a:pt x="1114" y="361"/>
                    </a:lnTo>
                    <a:lnTo>
                      <a:pt x="1136" y="415"/>
                    </a:lnTo>
                    <a:lnTo>
                      <a:pt x="1153" y="472"/>
                    </a:lnTo>
                    <a:lnTo>
                      <a:pt x="1164" y="530"/>
                    </a:lnTo>
                    <a:lnTo>
                      <a:pt x="1170" y="591"/>
                    </a:lnTo>
                    <a:lnTo>
                      <a:pt x="1166" y="653"/>
                    </a:lnTo>
                    <a:lnTo>
                      <a:pt x="1157" y="712"/>
                    </a:lnTo>
                    <a:lnTo>
                      <a:pt x="1141" y="770"/>
                    </a:lnTo>
                    <a:lnTo>
                      <a:pt x="1119" y="824"/>
                    </a:lnTo>
                    <a:lnTo>
                      <a:pt x="1093" y="876"/>
                    </a:lnTo>
                    <a:lnTo>
                      <a:pt x="1061" y="924"/>
                    </a:lnTo>
                    <a:lnTo>
                      <a:pt x="1025" y="969"/>
                    </a:lnTo>
                    <a:lnTo>
                      <a:pt x="984" y="1009"/>
                    </a:lnTo>
                    <a:lnTo>
                      <a:pt x="939" y="1046"/>
                    </a:lnTo>
                    <a:lnTo>
                      <a:pt x="890" y="1077"/>
                    </a:lnTo>
                    <a:lnTo>
                      <a:pt x="839" y="1103"/>
                    </a:lnTo>
                    <a:lnTo>
                      <a:pt x="784" y="1125"/>
                    </a:lnTo>
                    <a:lnTo>
                      <a:pt x="726" y="1141"/>
                    </a:lnTo>
                    <a:lnTo>
                      <a:pt x="667" y="1150"/>
                    </a:lnTo>
                    <a:lnTo>
                      <a:pt x="605" y="1154"/>
                    </a:lnTo>
                    <a:lnTo>
                      <a:pt x="544" y="1150"/>
                    </a:lnTo>
                    <a:lnTo>
                      <a:pt x="485" y="1141"/>
                    </a:lnTo>
                    <a:lnTo>
                      <a:pt x="427" y="1125"/>
                    </a:lnTo>
                    <a:lnTo>
                      <a:pt x="372" y="1103"/>
                    </a:lnTo>
                    <a:lnTo>
                      <a:pt x="320" y="1077"/>
                    </a:lnTo>
                    <a:lnTo>
                      <a:pt x="272" y="1046"/>
                    </a:lnTo>
                    <a:lnTo>
                      <a:pt x="227" y="1009"/>
                    </a:lnTo>
                    <a:lnTo>
                      <a:pt x="186" y="969"/>
                    </a:lnTo>
                    <a:lnTo>
                      <a:pt x="150" y="924"/>
                    </a:lnTo>
                    <a:lnTo>
                      <a:pt x="117" y="876"/>
                    </a:lnTo>
                    <a:lnTo>
                      <a:pt x="92" y="824"/>
                    </a:lnTo>
                    <a:lnTo>
                      <a:pt x="70" y="770"/>
                    </a:lnTo>
                    <a:lnTo>
                      <a:pt x="54" y="712"/>
                    </a:lnTo>
                    <a:lnTo>
                      <a:pt x="44" y="653"/>
                    </a:lnTo>
                    <a:lnTo>
                      <a:pt x="41" y="591"/>
                    </a:lnTo>
                    <a:lnTo>
                      <a:pt x="44" y="537"/>
                    </a:lnTo>
                    <a:lnTo>
                      <a:pt x="53" y="482"/>
                    </a:lnTo>
                    <a:lnTo>
                      <a:pt x="67" y="430"/>
                    </a:lnTo>
                    <a:lnTo>
                      <a:pt x="86" y="380"/>
                    </a:lnTo>
                    <a:lnTo>
                      <a:pt x="111" y="332"/>
                    </a:lnTo>
                    <a:lnTo>
                      <a:pt x="139" y="284"/>
                    </a:lnTo>
                    <a:lnTo>
                      <a:pt x="172" y="241"/>
                    </a:lnTo>
                    <a:lnTo>
                      <a:pt x="0" y="70"/>
                    </a:lnTo>
                    <a:lnTo>
                      <a:pt x="18" y="55"/>
                    </a:lnTo>
                    <a:lnTo>
                      <a:pt x="36" y="39"/>
                    </a:lnTo>
                    <a:lnTo>
                      <a:pt x="54" y="20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6" name="Freeform 22"/>
              <p:cNvSpPr>
                <a:spLocks noEditPoints="1"/>
              </p:cNvSpPr>
              <p:nvPr/>
            </p:nvSpPr>
            <p:spPr bwMode="auto">
              <a:xfrm>
                <a:off x="-783" y="2628"/>
                <a:ext cx="167" cy="166"/>
              </a:xfrm>
              <a:custGeom>
                <a:avLst/>
                <a:gdLst>
                  <a:gd name="T0" fmla="*/ 636 w 1169"/>
                  <a:gd name="T1" fmla="*/ 391 h 1164"/>
                  <a:gd name="T2" fmla="*/ 578 w 1169"/>
                  <a:gd name="T3" fmla="*/ 439 h 1164"/>
                  <a:gd name="T4" fmla="*/ 554 w 1169"/>
                  <a:gd name="T5" fmla="*/ 511 h 1164"/>
                  <a:gd name="T6" fmla="*/ 476 w 1169"/>
                  <a:gd name="T7" fmla="*/ 533 h 1164"/>
                  <a:gd name="T8" fmla="*/ 372 w 1169"/>
                  <a:gd name="T9" fmla="*/ 488 h 1164"/>
                  <a:gd name="T10" fmla="*/ 293 w 1169"/>
                  <a:gd name="T11" fmla="*/ 411 h 1164"/>
                  <a:gd name="T12" fmla="*/ 273 w 1169"/>
                  <a:gd name="T13" fmla="*/ 472 h 1164"/>
                  <a:gd name="T14" fmla="*/ 298 w 1169"/>
                  <a:gd name="T15" fmla="*/ 539 h 1164"/>
                  <a:gd name="T16" fmla="*/ 312 w 1169"/>
                  <a:gd name="T17" fmla="*/ 569 h 1164"/>
                  <a:gd name="T18" fmla="*/ 275 w 1169"/>
                  <a:gd name="T19" fmla="*/ 576 h 1164"/>
                  <a:gd name="T20" fmla="*/ 308 w 1169"/>
                  <a:gd name="T21" fmla="*/ 639 h 1164"/>
                  <a:gd name="T22" fmla="*/ 374 w 1169"/>
                  <a:gd name="T23" fmla="*/ 673 h 1164"/>
                  <a:gd name="T24" fmla="*/ 352 w 1169"/>
                  <a:gd name="T25" fmla="*/ 717 h 1164"/>
                  <a:gd name="T26" fmla="*/ 419 w 1169"/>
                  <a:gd name="T27" fmla="*/ 759 h 1164"/>
                  <a:gd name="T28" fmla="*/ 382 w 1169"/>
                  <a:gd name="T29" fmla="*/ 793 h 1164"/>
                  <a:gd name="T30" fmla="*/ 282 w 1169"/>
                  <a:gd name="T31" fmla="*/ 813 h 1164"/>
                  <a:gd name="T32" fmla="*/ 308 w 1169"/>
                  <a:gd name="T33" fmla="*/ 846 h 1164"/>
                  <a:gd name="T34" fmla="*/ 409 w 1169"/>
                  <a:gd name="T35" fmla="*/ 871 h 1164"/>
                  <a:gd name="T36" fmla="*/ 531 w 1169"/>
                  <a:gd name="T37" fmla="*/ 863 h 1164"/>
                  <a:gd name="T38" fmla="*/ 641 w 1169"/>
                  <a:gd name="T39" fmla="*/ 817 h 1164"/>
                  <a:gd name="T40" fmla="*/ 724 w 1169"/>
                  <a:gd name="T41" fmla="*/ 742 h 1164"/>
                  <a:gd name="T42" fmla="*/ 779 w 1169"/>
                  <a:gd name="T43" fmla="*/ 648 h 1164"/>
                  <a:gd name="T44" fmla="*/ 805 w 1169"/>
                  <a:gd name="T45" fmla="*/ 545 h 1164"/>
                  <a:gd name="T46" fmla="*/ 806 w 1169"/>
                  <a:gd name="T47" fmla="*/ 502 h 1164"/>
                  <a:gd name="T48" fmla="*/ 827 w 1169"/>
                  <a:gd name="T49" fmla="*/ 488 h 1164"/>
                  <a:gd name="T50" fmla="*/ 851 w 1169"/>
                  <a:gd name="T51" fmla="*/ 448 h 1164"/>
                  <a:gd name="T52" fmla="*/ 797 w 1169"/>
                  <a:gd name="T53" fmla="*/ 461 h 1164"/>
                  <a:gd name="T54" fmla="*/ 847 w 1169"/>
                  <a:gd name="T55" fmla="*/ 412 h 1164"/>
                  <a:gd name="T56" fmla="*/ 806 w 1169"/>
                  <a:gd name="T57" fmla="*/ 411 h 1164"/>
                  <a:gd name="T58" fmla="*/ 747 w 1169"/>
                  <a:gd name="T59" fmla="*/ 398 h 1164"/>
                  <a:gd name="T60" fmla="*/ 686 w 1169"/>
                  <a:gd name="T61" fmla="*/ 381 h 1164"/>
                  <a:gd name="T62" fmla="*/ 1125 w 1169"/>
                  <a:gd name="T63" fmla="*/ 36 h 1164"/>
                  <a:gd name="T64" fmla="*/ 998 w 1169"/>
                  <a:gd name="T65" fmla="*/ 250 h 1164"/>
                  <a:gd name="T66" fmla="*/ 1075 w 1169"/>
                  <a:gd name="T67" fmla="*/ 367 h 1164"/>
                  <a:gd name="T68" fmla="*/ 1120 w 1169"/>
                  <a:gd name="T69" fmla="*/ 505 h 1164"/>
                  <a:gd name="T70" fmla="*/ 1125 w 1169"/>
                  <a:gd name="T71" fmla="*/ 663 h 1164"/>
                  <a:gd name="T72" fmla="*/ 1079 w 1169"/>
                  <a:gd name="T73" fmla="*/ 834 h 1164"/>
                  <a:gd name="T74" fmla="*/ 983 w 1169"/>
                  <a:gd name="T75" fmla="*/ 978 h 1164"/>
                  <a:gd name="T76" fmla="*/ 849 w 1169"/>
                  <a:gd name="T77" fmla="*/ 1087 h 1164"/>
                  <a:gd name="T78" fmla="*/ 686 w 1169"/>
                  <a:gd name="T79" fmla="*/ 1152 h 1164"/>
                  <a:gd name="T80" fmla="*/ 502 w 1169"/>
                  <a:gd name="T81" fmla="*/ 1161 h 1164"/>
                  <a:gd name="T82" fmla="*/ 331 w 1169"/>
                  <a:gd name="T83" fmla="*/ 1114 h 1164"/>
                  <a:gd name="T84" fmla="*/ 186 w 1169"/>
                  <a:gd name="T85" fmla="*/ 1019 h 1164"/>
                  <a:gd name="T86" fmla="*/ 77 w 1169"/>
                  <a:gd name="T87" fmla="*/ 886 h 1164"/>
                  <a:gd name="T88" fmla="*/ 13 w 1169"/>
                  <a:gd name="T89" fmla="*/ 723 h 1164"/>
                  <a:gd name="T90" fmla="*/ 3 w 1169"/>
                  <a:gd name="T91" fmla="*/ 541 h 1164"/>
                  <a:gd name="T92" fmla="*/ 50 w 1169"/>
                  <a:gd name="T93" fmla="*/ 370 h 1164"/>
                  <a:gd name="T94" fmla="*/ 145 w 1169"/>
                  <a:gd name="T95" fmla="*/ 226 h 1164"/>
                  <a:gd name="T96" fmla="*/ 279 w 1169"/>
                  <a:gd name="T97" fmla="*/ 117 h 1164"/>
                  <a:gd name="T98" fmla="*/ 443 w 1169"/>
                  <a:gd name="T99" fmla="*/ 52 h 1164"/>
                  <a:gd name="T100" fmla="*/ 620 w 1169"/>
                  <a:gd name="T101" fmla="*/ 43 h 1164"/>
                  <a:gd name="T102" fmla="*/ 777 w 1169"/>
                  <a:gd name="T103" fmla="*/ 86 h 1164"/>
                  <a:gd name="T104" fmla="*/ 917 w 1169"/>
                  <a:gd name="T105" fmla="*/ 170 h 1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69" h="1164">
                    <a:moveTo>
                      <a:pt x="686" y="381"/>
                    </a:moveTo>
                    <a:lnTo>
                      <a:pt x="659" y="384"/>
                    </a:lnTo>
                    <a:lnTo>
                      <a:pt x="636" y="391"/>
                    </a:lnTo>
                    <a:lnTo>
                      <a:pt x="613" y="404"/>
                    </a:lnTo>
                    <a:lnTo>
                      <a:pt x="594" y="420"/>
                    </a:lnTo>
                    <a:lnTo>
                      <a:pt x="578" y="439"/>
                    </a:lnTo>
                    <a:lnTo>
                      <a:pt x="565" y="462"/>
                    </a:lnTo>
                    <a:lnTo>
                      <a:pt x="557" y="485"/>
                    </a:lnTo>
                    <a:lnTo>
                      <a:pt x="554" y="511"/>
                    </a:lnTo>
                    <a:lnTo>
                      <a:pt x="554" y="541"/>
                    </a:lnTo>
                    <a:lnTo>
                      <a:pt x="514" y="539"/>
                    </a:lnTo>
                    <a:lnTo>
                      <a:pt x="476" y="533"/>
                    </a:lnTo>
                    <a:lnTo>
                      <a:pt x="439" y="522"/>
                    </a:lnTo>
                    <a:lnTo>
                      <a:pt x="405" y="507"/>
                    </a:lnTo>
                    <a:lnTo>
                      <a:pt x="372" y="488"/>
                    </a:lnTo>
                    <a:lnTo>
                      <a:pt x="343" y="465"/>
                    </a:lnTo>
                    <a:lnTo>
                      <a:pt x="317" y="439"/>
                    </a:lnTo>
                    <a:lnTo>
                      <a:pt x="293" y="411"/>
                    </a:lnTo>
                    <a:lnTo>
                      <a:pt x="282" y="431"/>
                    </a:lnTo>
                    <a:lnTo>
                      <a:pt x="276" y="451"/>
                    </a:lnTo>
                    <a:lnTo>
                      <a:pt x="273" y="472"/>
                    </a:lnTo>
                    <a:lnTo>
                      <a:pt x="276" y="495"/>
                    </a:lnTo>
                    <a:lnTo>
                      <a:pt x="284" y="519"/>
                    </a:lnTo>
                    <a:lnTo>
                      <a:pt x="298" y="539"/>
                    </a:lnTo>
                    <a:lnTo>
                      <a:pt x="314" y="557"/>
                    </a:lnTo>
                    <a:lnTo>
                      <a:pt x="333" y="572"/>
                    </a:lnTo>
                    <a:lnTo>
                      <a:pt x="312" y="569"/>
                    </a:lnTo>
                    <a:lnTo>
                      <a:pt x="292" y="561"/>
                    </a:lnTo>
                    <a:lnTo>
                      <a:pt x="273" y="552"/>
                    </a:lnTo>
                    <a:lnTo>
                      <a:pt x="275" y="576"/>
                    </a:lnTo>
                    <a:lnTo>
                      <a:pt x="281" y="600"/>
                    </a:lnTo>
                    <a:lnTo>
                      <a:pt x="293" y="621"/>
                    </a:lnTo>
                    <a:lnTo>
                      <a:pt x="308" y="639"/>
                    </a:lnTo>
                    <a:lnTo>
                      <a:pt x="326" y="654"/>
                    </a:lnTo>
                    <a:lnTo>
                      <a:pt x="349" y="665"/>
                    </a:lnTo>
                    <a:lnTo>
                      <a:pt x="374" y="673"/>
                    </a:lnTo>
                    <a:lnTo>
                      <a:pt x="323" y="673"/>
                    </a:lnTo>
                    <a:lnTo>
                      <a:pt x="335" y="696"/>
                    </a:lnTo>
                    <a:lnTo>
                      <a:pt x="352" y="717"/>
                    </a:lnTo>
                    <a:lnTo>
                      <a:pt x="371" y="736"/>
                    </a:lnTo>
                    <a:lnTo>
                      <a:pt x="394" y="750"/>
                    </a:lnTo>
                    <a:lnTo>
                      <a:pt x="419" y="759"/>
                    </a:lnTo>
                    <a:lnTo>
                      <a:pt x="443" y="762"/>
                    </a:lnTo>
                    <a:lnTo>
                      <a:pt x="413" y="779"/>
                    </a:lnTo>
                    <a:lnTo>
                      <a:pt x="382" y="793"/>
                    </a:lnTo>
                    <a:lnTo>
                      <a:pt x="351" y="804"/>
                    </a:lnTo>
                    <a:lnTo>
                      <a:pt x="318" y="810"/>
                    </a:lnTo>
                    <a:lnTo>
                      <a:pt x="282" y="813"/>
                    </a:lnTo>
                    <a:lnTo>
                      <a:pt x="252" y="813"/>
                    </a:lnTo>
                    <a:lnTo>
                      <a:pt x="279" y="831"/>
                    </a:lnTo>
                    <a:lnTo>
                      <a:pt x="308" y="846"/>
                    </a:lnTo>
                    <a:lnTo>
                      <a:pt x="340" y="858"/>
                    </a:lnTo>
                    <a:lnTo>
                      <a:pt x="374" y="866"/>
                    </a:lnTo>
                    <a:lnTo>
                      <a:pt x="409" y="871"/>
                    </a:lnTo>
                    <a:lnTo>
                      <a:pt x="443" y="872"/>
                    </a:lnTo>
                    <a:lnTo>
                      <a:pt x="488" y="870"/>
                    </a:lnTo>
                    <a:lnTo>
                      <a:pt x="531" y="863"/>
                    </a:lnTo>
                    <a:lnTo>
                      <a:pt x="570" y="852"/>
                    </a:lnTo>
                    <a:lnTo>
                      <a:pt x="607" y="836"/>
                    </a:lnTo>
                    <a:lnTo>
                      <a:pt x="641" y="817"/>
                    </a:lnTo>
                    <a:lnTo>
                      <a:pt x="671" y="794"/>
                    </a:lnTo>
                    <a:lnTo>
                      <a:pt x="699" y="770"/>
                    </a:lnTo>
                    <a:lnTo>
                      <a:pt x="724" y="742"/>
                    </a:lnTo>
                    <a:lnTo>
                      <a:pt x="745" y="712"/>
                    </a:lnTo>
                    <a:lnTo>
                      <a:pt x="764" y="681"/>
                    </a:lnTo>
                    <a:lnTo>
                      <a:pt x="779" y="648"/>
                    </a:lnTo>
                    <a:lnTo>
                      <a:pt x="791" y="615"/>
                    </a:lnTo>
                    <a:lnTo>
                      <a:pt x="800" y="581"/>
                    </a:lnTo>
                    <a:lnTo>
                      <a:pt x="805" y="545"/>
                    </a:lnTo>
                    <a:lnTo>
                      <a:pt x="806" y="511"/>
                    </a:lnTo>
                    <a:lnTo>
                      <a:pt x="806" y="503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27" y="488"/>
                    </a:lnTo>
                    <a:lnTo>
                      <a:pt x="847" y="468"/>
                    </a:lnTo>
                    <a:lnTo>
                      <a:pt x="866" y="441"/>
                    </a:lnTo>
                    <a:lnTo>
                      <a:pt x="851" y="448"/>
                    </a:lnTo>
                    <a:lnTo>
                      <a:pt x="835" y="454"/>
                    </a:lnTo>
                    <a:lnTo>
                      <a:pt x="817" y="460"/>
                    </a:lnTo>
                    <a:lnTo>
                      <a:pt x="797" y="461"/>
                    </a:lnTo>
                    <a:lnTo>
                      <a:pt x="817" y="446"/>
                    </a:lnTo>
                    <a:lnTo>
                      <a:pt x="834" y="430"/>
                    </a:lnTo>
                    <a:lnTo>
                      <a:pt x="847" y="412"/>
                    </a:lnTo>
                    <a:lnTo>
                      <a:pt x="857" y="391"/>
                    </a:lnTo>
                    <a:lnTo>
                      <a:pt x="834" y="401"/>
                    </a:lnTo>
                    <a:lnTo>
                      <a:pt x="806" y="411"/>
                    </a:lnTo>
                    <a:lnTo>
                      <a:pt x="776" y="421"/>
                    </a:lnTo>
                    <a:lnTo>
                      <a:pt x="763" y="410"/>
                    </a:lnTo>
                    <a:lnTo>
                      <a:pt x="747" y="398"/>
                    </a:lnTo>
                    <a:lnTo>
                      <a:pt x="729" y="389"/>
                    </a:lnTo>
                    <a:lnTo>
                      <a:pt x="709" y="383"/>
                    </a:lnTo>
                    <a:lnTo>
                      <a:pt x="686" y="381"/>
                    </a:lnTo>
                    <a:close/>
                    <a:moveTo>
                      <a:pt x="1089" y="0"/>
                    </a:moveTo>
                    <a:lnTo>
                      <a:pt x="1106" y="16"/>
                    </a:lnTo>
                    <a:lnTo>
                      <a:pt x="1125" y="36"/>
                    </a:lnTo>
                    <a:lnTo>
                      <a:pt x="1147" y="58"/>
                    </a:lnTo>
                    <a:lnTo>
                      <a:pt x="1169" y="80"/>
                    </a:lnTo>
                    <a:lnTo>
                      <a:pt x="998" y="250"/>
                    </a:lnTo>
                    <a:lnTo>
                      <a:pt x="1026" y="287"/>
                    </a:lnTo>
                    <a:lnTo>
                      <a:pt x="1052" y="325"/>
                    </a:lnTo>
                    <a:lnTo>
                      <a:pt x="1075" y="367"/>
                    </a:lnTo>
                    <a:lnTo>
                      <a:pt x="1094" y="412"/>
                    </a:lnTo>
                    <a:lnTo>
                      <a:pt x="1109" y="458"/>
                    </a:lnTo>
                    <a:lnTo>
                      <a:pt x="1120" y="505"/>
                    </a:lnTo>
                    <a:lnTo>
                      <a:pt x="1126" y="553"/>
                    </a:lnTo>
                    <a:lnTo>
                      <a:pt x="1128" y="602"/>
                    </a:lnTo>
                    <a:lnTo>
                      <a:pt x="1125" y="663"/>
                    </a:lnTo>
                    <a:lnTo>
                      <a:pt x="1115" y="723"/>
                    </a:lnTo>
                    <a:lnTo>
                      <a:pt x="1100" y="779"/>
                    </a:lnTo>
                    <a:lnTo>
                      <a:pt x="1079" y="834"/>
                    </a:lnTo>
                    <a:lnTo>
                      <a:pt x="1052" y="886"/>
                    </a:lnTo>
                    <a:lnTo>
                      <a:pt x="1020" y="934"/>
                    </a:lnTo>
                    <a:lnTo>
                      <a:pt x="983" y="978"/>
                    </a:lnTo>
                    <a:lnTo>
                      <a:pt x="943" y="1019"/>
                    </a:lnTo>
                    <a:lnTo>
                      <a:pt x="899" y="1055"/>
                    </a:lnTo>
                    <a:lnTo>
                      <a:pt x="849" y="1087"/>
                    </a:lnTo>
                    <a:lnTo>
                      <a:pt x="798" y="1114"/>
                    </a:lnTo>
                    <a:lnTo>
                      <a:pt x="743" y="1135"/>
                    </a:lnTo>
                    <a:lnTo>
                      <a:pt x="686" y="1152"/>
                    </a:lnTo>
                    <a:lnTo>
                      <a:pt x="626" y="1161"/>
                    </a:lnTo>
                    <a:lnTo>
                      <a:pt x="565" y="1164"/>
                    </a:lnTo>
                    <a:lnTo>
                      <a:pt x="502" y="1161"/>
                    </a:lnTo>
                    <a:lnTo>
                      <a:pt x="443" y="1152"/>
                    </a:lnTo>
                    <a:lnTo>
                      <a:pt x="385" y="1135"/>
                    </a:lnTo>
                    <a:lnTo>
                      <a:pt x="331" y="1114"/>
                    </a:lnTo>
                    <a:lnTo>
                      <a:pt x="279" y="1087"/>
                    </a:lnTo>
                    <a:lnTo>
                      <a:pt x="231" y="1055"/>
                    </a:lnTo>
                    <a:lnTo>
                      <a:pt x="186" y="1019"/>
                    </a:lnTo>
                    <a:lnTo>
                      <a:pt x="145" y="978"/>
                    </a:lnTo>
                    <a:lnTo>
                      <a:pt x="108" y="934"/>
                    </a:lnTo>
                    <a:lnTo>
                      <a:pt x="77" y="886"/>
                    </a:lnTo>
                    <a:lnTo>
                      <a:pt x="50" y="834"/>
                    </a:lnTo>
                    <a:lnTo>
                      <a:pt x="29" y="779"/>
                    </a:lnTo>
                    <a:lnTo>
                      <a:pt x="13" y="723"/>
                    </a:lnTo>
                    <a:lnTo>
                      <a:pt x="3" y="663"/>
                    </a:lnTo>
                    <a:lnTo>
                      <a:pt x="0" y="602"/>
                    </a:lnTo>
                    <a:lnTo>
                      <a:pt x="3" y="541"/>
                    </a:lnTo>
                    <a:lnTo>
                      <a:pt x="13" y="481"/>
                    </a:lnTo>
                    <a:lnTo>
                      <a:pt x="29" y="425"/>
                    </a:lnTo>
                    <a:lnTo>
                      <a:pt x="50" y="370"/>
                    </a:lnTo>
                    <a:lnTo>
                      <a:pt x="77" y="318"/>
                    </a:lnTo>
                    <a:lnTo>
                      <a:pt x="108" y="270"/>
                    </a:lnTo>
                    <a:lnTo>
                      <a:pt x="145" y="226"/>
                    </a:lnTo>
                    <a:lnTo>
                      <a:pt x="186" y="185"/>
                    </a:lnTo>
                    <a:lnTo>
                      <a:pt x="231" y="149"/>
                    </a:lnTo>
                    <a:lnTo>
                      <a:pt x="279" y="117"/>
                    </a:lnTo>
                    <a:lnTo>
                      <a:pt x="331" y="90"/>
                    </a:lnTo>
                    <a:lnTo>
                      <a:pt x="385" y="69"/>
                    </a:lnTo>
                    <a:lnTo>
                      <a:pt x="443" y="52"/>
                    </a:lnTo>
                    <a:lnTo>
                      <a:pt x="502" y="43"/>
                    </a:lnTo>
                    <a:lnTo>
                      <a:pt x="565" y="40"/>
                    </a:lnTo>
                    <a:lnTo>
                      <a:pt x="620" y="43"/>
                    </a:lnTo>
                    <a:lnTo>
                      <a:pt x="674" y="51"/>
                    </a:lnTo>
                    <a:lnTo>
                      <a:pt x="727" y="66"/>
                    </a:lnTo>
                    <a:lnTo>
                      <a:pt x="777" y="86"/>
                    </a:lnTo>
                    <a:lnTo>
                      <a:pt x="827" y="109"/>
                    </a:lnTo>
                    <a:lnTo>
                      <a:pt x="873" y="138"/>
                    </a:lnTo>
                    <a:lnTo>
                      <a:pt x="917" y="170"/>
                    </a:lnTo>
                    <a:lnTo>
                      <a:pt x="108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7" name="Freeform 23"/>
              <p:cNvSpPr>
                <a:spLocks noEditPoints="1"/>
              </p:cNvSpPr>
              <p:nvPr/>
            </p:nvSpPr>
            <p:spPr bwMode="auto">
              <a:xfrm>
                <a:off x="-783" y="2305"/>
                <a:ext cx="165" cy="165"/>
              </a:xfrm>
              <a:custGeom>
                <a:avLst/>
                <a:gdLst>
                  <a:gd name="T0" fmla="*/ 597 w 1159"/>
                  <a:gd name="T1" fmla="*/ 272 h 1154"/>
                  <a:gd name="T2" fmla="*/ 552 w 1159"/>
                  <a:gd name="T3" fmla="*/ 283 h 1154"/>
                  <a:gd name="T4" fmla="*/ 522 w 1159"/>
                  <a:gd name="T5" fmla="*/ 306 h 1154"/>
                  <a:gd name="T6" fmla="*/ 503 w 1159"/>
                  <a:gd name="T7" fmla="*/ 338 h 1154"/>
                  <a:gd name="T8" fmla="*/ 495 w 1159"/>
                  <a:gd name="T9" fmla="*/ 379 h 1154"/>
                  <a:gd name="T10" fmla="*/ 494 w 1159"/>
                  <a:gd name="T11" fmla="*/ 461 h 1154"/>
                  <a:gd name="T12" fmla="*/ 423 w 1159"/>
                  <a:gd name="T13" fmla="*/ 561 h 1154"/>
                  <a:gd name="T14" fmla="*/ 484 w 1159"/>
                  <a:gd name="T15" fmla="*/ 843 h 1154"/>
                  <a:gd name="T16" fmla="*/ 604 w 1159"/>
                  <a:gd name="T17" fmla="*/ 561 h 1154"/>
                  <a:gd name="T18" fmla="*/ 705 w 1159"/>
                  <a:gd name="T19" fmla="*/ 461 h 1154"/>
                  <a:gd name="T20" fmla="*/ 615 w 1159"/>
                  <a:gd name="T21" fmla="*/ 412 h 1154"/>
                  <a:gd name="T22" fmla="*/ 616 w 1159"/>
                  <a:gd name="T23" fmla="*/ 387 h 1154"/>
                  <a:gd name="T24" fmla="*/ 627 w 1159"/>
                  <a:gd name="T25" fmla="*/ 374 h 1154"/>
                  <a:gd name="T26" fmla="*/ 655 w 1159"/>
                  <a:gd name="T27" fmla="*/ 371 h 1154"/>
                  <a:gd name="T28" fmla="*/ 705 w 1159"/>
                  <a:gd name="T29" fmla="*/ 271 h 1154"/>
                  <a:gd name="T30" fmla="*/ 554 w 1159"/>
                  <a:gd name="T31" fmla="*/ 0 h 1154"/>
                  <a:gd name="T32" fmla="*/ 675 w 1159"/>
                  <a:gd name="T33" fmla="*/ 13 h 1154"/>
                  <a:gd name="T34" fmla="*/ 788 w 1159"/>
                  <a:gd name="T35" fmla="*/ 49 h 1154"/>
                  <a:gd name="T36" fmla="*/ 888 w 1159"/>
                  <a:gd name="T37" fmla="*/ 108 h 1154"/>
                  <a:gd name="T38" fmla="*/ 974 w 1159"/>
                  <a:gd name="T39" fmla="*/ 185 h 1154"/>
                  <a:gd name="T40" fmla="*/ 1041 w 1159"/>
                  <a:gd name="T41" fmla="*/ 278 h 1154"/>
                  <a:gd name="T42" fmla="*/ 1090 w 1159"/>
                  <a:gd name="T43" fmla="*/ 384 h 1154"/>
                  <a:gd name="T44" fmla="*/ 1115 w 1159"/>
                  <a:gd name="T45" fmla="*/ 501 h 1154"/>
                  <a:gd name="T46" fmla="*/ 1115 w 1159"/>
                  <a:gd name="T47" fmla="*/ 617 h 1154"/>
                  <a:gd name="T48" fmla="*/ 1093 w 1159"/>
                  <a:gd name="T49" fmla="*/ 723 h 1154"/>
                  <a:gd name="T50" fmla="*/ 1049 w 1159"/>
                  <a:gd name="T51" fmla="*/ 822 h 1154"/>
                  <a:gd name="T52" fmla="*/ 988 w 1159"/>
                  <a:gd name="T53" fmla="*/ 913 h 1154"/>
                  <a:gd name="T54" fmla="*/ 1142 w 1159"/>
                  <a:gd name="T55" fmla="*/ 1099 h 1154"/>
                  <a:gd name="T56" fmla="*/ 1106 w 1159"/>
                  <a:gd name="T57" fmla="*/ 1133 h 1154"/>
                  <a:gd name="T58" fmla="*/ 917 w 1159"/>
                  <a:gd name="T59" fmla="*/ 984 h 1154"/>
                  <a:gd name="T60" fmla="*/ 843 w 1159"/>
                  <a:gd name="T61" fmla="*/ 1037 h 1154"/>
                  <a:gd name="T62" fmla="*/ 756 w 1159"/>
                  <a:gd name="T63" fmla="*/ 1079 h 1154"/>
                  <a:gd name="T64" fmla="*/ 662 w 1159"/>
                  <a:gd name="T65" fmla="*/ 1105 h 1154"/>
                  <a:gd name="T66" fmla="*/ 565 w 1159"/>
                  <a:gd name="T67" fmla="*/ 1114 h 1154"/>
                  <a:gd name="T68" fmla="*/ 443 w 1159"/>
                  <a:gd name="T69" fmla="*/ 1101 h 1154"/>
                  <a:gd name="T70" fmla="*/ 331 w 1159"/>
                  <a:gd name="T71" fmla="*/ 1064 h 1154"/>
                  <a:gd name="T72" fmla="*/ 231 w 1159"/>
                  <a:gd name="T73" fmla="*/ 1006 h 1154"/>
                  <a:gd name="T74" fmla="*/ 145 w 1159"/>
                  <a:gd name="T75" fmla="*/ 930 h 1154"/>
                  <a:gd name="T76" fmla="*/ 77 w 1159"/>
                  <a:gd name="T77" fmla="*/ 838 h 1154"/>
                  <a:gd name="T78" fmla="*/ 29 w 1159"/>
                  <a:gd name="T79" fmla="*/ 735 h 1154"/>
                  <a:gd name="T80" fmla="*/ 3 w 1159"/>
                  <a:gd name="T81" fmla="*/ 621 h 1154"/>
                  <a:gd name="T82" fmla="*/ 3 w 1159"/>
                  <a:gd name="T83" fmla="*/ 505 h 1154"/>
                  <a:gd name="T84" fmla="*/ 25 w 1159"/>
                  <a:gd name="T85" fmla="*/ 395 h 1154"/>
                  <a:gd name="T86" fmla="*/ 65 w 1159"/>
                  <a:gd name="T87" fmla="*/ 294 h 1154"/>
                  <a:gd name="T88" fmla="*/ 124 w 1159"/>
                  <a:gd name="T89" fmla="*/ 204 h 1154"/>
                  <a:gd name="T90" fmla="*/ 200 w 1159"/>
                  <a:gd name="T91" fmla="*/ 128 h 1154"/>
                  <a:gd name="T92" fmla="*/ 288 w 1159"/>
                  <a:gd name="T93" fmla="*/ 68 h 1154"/>
                  <a:gd name="T94" fmla="*/ 387 w 1159"/>
                  <a:gd name="T95" fmla="*/ 25 h 1154"/>
                  <a:gd name="T96" fmla="*/ 497 w 1159"/>
                  <a:gd name="T97" fmla="*/ 2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59" h="1154">
                    <a:moveTo>
                      <a:pt x="625" y="271"/>
                    </a:moveTo>
                    <a:lnTo>
                      <a:pt x="597" y="272"/>
                    </a:lnTo>
                    <a:lnTo>
                      <a:pt x="572" y="277"/>
                    </a:lnTo>
                    <a:lnTo>
                      <a:pt x="552" y="283"/>
                    </a:lnTo>
                    <a:lnTo>
                      <a:pt x="536" y="293"/>
                    </a:lnTo>
                    <a:lnTo>
                      <a:pt x="522" y="306"/>
                    </a:lnTo>
                    <a:lnTo>
                      <a:pt x="511" y="321"/>
                    </a:lnTo>
                    <a:lnTo>
                      <a:pt x="503" y="338"/>
                    </a:lnTo>
                    <a:lnTo>
                      <a:pt x="498" y="357"/>
                    </a:lnTo>
                    <a:lnTo>
                      <a:pt x="495" y="379"/>
                    </a:lnTo>
                    <a:lnTo>
                      <a:pt x="494" y="401"/>
                    </a:lnTo>
                    <a:lnTo>
                      <a:pt x="494" y="461"/>
                    </a:lnTo>
                    <a:lnTo>
                      <a:pt x="423" y="461"/>
                    </a:lnTo>
                    <a:lnTo>
                      <a:pt x="423" y="561"/>
                    </a:lnTo>
                    <a:lnTo>
                      <a:pt x="484" y="561"/>
                    </a:lnTo>
                    <a:lnTo>
                      <a:pt x="484" y="843"/>
                    </a:lnTo>
                    <a:lnTo>
                      <a:pt x="604" y="843"/>
                    </a:lnTo>
                    <a:lnTo>
                      <a:pt x="604" y="561"/>
                    </a:lnTo>
                    <a:lnTo>
                      <a:pt x="696" y="561"/>
                    </a:lnTo>
                    <a:lnTo>
                      <a:pt x="705" y="461"/>
                    </a:lnTo>
                    <a:lnTo>
                      <a:pt x="615" y="461"/>
                    </a:lnTo>
                    <a:lnTo>
                      <a:pt x="615" y="412"/>
                    </a:lnTo>
                    <a:lnTo>
                      <a:pt x="615" y="398"/>
                    </a:lnTo>
                    <a:lnTo>
                      <a:pt x="616" y="387"/>
                    </a:lnTo>
                    <a:lnTo>
                      <a:pt x="619" y="380"/>
                    </a:lnTo>
                    <a:lnTo>
                      <a:pt x="627" y="374"/>
                    </a:lnTo>
                    <a:lnTo>
                      <a:pt x="638" y="372"/>
                    </a:lnTo>
                    <a:lnTo>
                      <a:pt x="655" y="371"/>
                    </a:lnTo>
                    <a:lnTo>
                      <a:pt x="705" y="371"/>
                    </a:lnTo>
                    <a:lnTo>
                      <a:pt x="705" y="271"/>
                    </a:lnTo>
                    <a:lnTo>
                      <a:pt x="625" y="271"/>
                    </a:lnTo>
                    <a:close/>
                    <a:moveTo>
                      <a:pt x="554" y="0"/>
                    </a:moveTo>
                    <a:lnTo>
                      <a:pt x="616" y="3"/>
                    </a:lnTo>
                    <a:lnTo>
                      <a:pt x="675" y="13"/>
                    </a:lnTo>
                    <a:lnTo>
                      <a:pt x="733" y="28"/>
                    </a:lnTo>
                    <a:lnTo>
                      <a:pt x="788" y="49"/>
                    </a:lnTo>
                    <a:lnTo>
                      <a:pt x="839" y="76"/>
                    </a:lnTo>
                    <a:lnTo>
                      <a:pt x="888" y="108"/>
                    </a:lnTo>
                    <a:lnTo>
                      <a:pt x="933" y="145"/>
                    </a:lnTo>
                    <a:lnTo>
                      <a:pt x="974" y="185"/>
                    </a:lnTo>
                    <a:lnTo>
                      <a:pt x="1010" y="230"/>
                    </a:lnTo>
                    <a:lnTo>
                      <a:pt x="1041" y="278"/>
                    </a:lnTo>
                    <a:lnTo>
                      <a:pt x="1068" y="329"/>
                    </a:lnTo>
                    <a:lnTo>
                      <a:pt x="1090" y="384"/>
                    </a:lnTo>
                    <a:lnTo>
                      <a:pt x="1106" y="441"/>
                    </a:lnTo>
                    <a:lnTo>
                      <a:pt x="1115" y="501"/>
                    </a:lnTo>
                    <a:lnTo>
                      <a:pt x="1119" y="561"/>
                    </a:lnTo>
                    <a:lnTo>
                      <a:pt x="1115" y="617"/>
                    </a:lnTo>
                    <a:lnTo>
                      <a:pt x="1107" y="670"/>
                    </a:lnTo>
                    <a:lnTo>
                      <a:pt x="1093" y="723"/>
                    </a:lnTo>
                    <a:lnTo>
                      <a:pt x="1074" y="774"/>
                    </a:lnTo>
                    <a:lnTo>
                      <a:pt x="1049" y="822"/>
                    </a:lnTo>
                    <a:lnTo>
                      <a:pt x="1021" y="869"/>
                    </a:lnTo>
                    <a:lnTo>
                      <a:pt x="988" y="913"/>
                    </a:lnTo>
                    <a:lnTo>
                      <a:pt x="1159" y="1084"/>
                    </a:lnTo>
                    <a:lnTo>
                      <a:pt x="1142" y="1099"/>
                    </a:lnTo>
                    <a:lnTo>
                      <a:pt x="1124" y="1115"/>
                    </a:lnTo>
                    <a:lnTo>
                      <a:pt x="1106" y="1133"/>
                    </a:lnTo>
                    <a:lnTo>
                      <a:pt x="1089" y="1154"/>
                    </a:lnTo>
                    <a:lnTo>
                      <a:pt x="917" y="984"/>
                    </a:lnTo>
                    <a:lnTo>
                      <a:pt x="881" y="1012"/>
                    </a:lnTo>
                    <a:lnTo>
                      <a:pt x="843" y="1037"/>
                    </a:lnTo>
                    <a:lnTo>
                      <a:pt x="801" y="1060"/>
                    </a:lnTo>
                    <a:lnTo>
                      <a:pt x="756" y="1079"/>
                    </a:lnTo>
                    <a:lnTo>
                      <a:pt x="710" y="1094"/>
                    </a:lnTo>
                    <a:lnTo>
                      <a:pt x="662" y="1105"/>
                    </a:lnTo>
                    <a:lnTo>
                      <a:pt x="614" y="1111"/>
                    </a:lnTo>
                    <a:lnTo>
                      <a:pt x="565" y="1114"/>
                    </a:lnTo>
                    <a:lnTo>
                      <a:pt x="502" y="1111"/>
                    </a:lnTo>
                    <a:lnTo>
                      <a:pt x="443" y="1101"/>
                    </a:lnTo>
                    <a:lnTo>
                      <a:pt x="385" y="1085"/>
                    </a:lnTo>
                    <a:lnTo>
                      <a:pt x="331" y="1064"/>
                    </a:lnTo>
                    <a:lnTo>
                      <a:pt x="279" y="1037"/>
                    </a:lnTo>
                    <a:lnTo>
                      <a:pt x="231" y="1006"/>
                    </a:lnTo>
                    <a:lnTo>
                      <a:pt x="186" y="970"/>
                    </a:lnTo>
                    <a:lnTo>
                      <a:pt x="145" y="930"/>
                    </a:lnTo>
                    <a:lnTo>
                      <a:pt x="108" y="886"/>
                    </a:lnTo>
                    <a:lnTo>
                      <a:pt x="77" y="838"/>
                    </a:lnTo>
                    <a:lnTo>
                      <a:pt x="50" y="788"/>
                    </a:lnTo>
                    <a:lnTo>
                      <a:pt x="29" y="735"/>
                    </a:lnTo>
                    <a:lnTo>
                      <a:pt x="13" y="679"/>
                    </a:lnTo>
                    <a:lnTo>
                      <a:pt x="3" y="621"/>
                    </a:lnTo>
                    <a:lnTo>
                      <a:pt x="0" y="561"/>
                    </a:lnTo>
                    <a:lnTo>
                      <a:pt x="3" y="505"/>
                    </a:lnTo>
                    <a:lnTo>
                      <a:pt x="11" y="448"/>
                    </a:lnTo>
                    <a:lnTo>
                      <a:pt x="25" y="395"/>
                    </a:lnTo>
                    <a:lnTo>
                      <a:pt x="43" y="342"/>
                    </a:lnTo>
                    <a:lnTo>
                      <a:pt x="65" y="294"/>
                    </a:lnTo>
                    <a:lnTo>
                      <a:pt x="93" y="247"/>
                    </a:lnTo>
                    <a:lnTo>
                      <a:pt x="124" y="204"/>
                    </a:lnTo>
                    <a:lnTo>
                      <a:pt x="160" y="164"/>
                    </a:lnTo>
                    <a:lnTo>
                      <a:pt x="200" y="128"/>
                    </a:lnTo>
                    <a:lnTo>
                      <a:pt x="241" y="95"/>
                    </a:lnTo>
                    <a:lnTo>
                      <a:pt x="288" y="68"/>
                    </a:lnTo>
                    <a:lnTo>
                      <a:pt x="336" y="44"/>
                    </a:lnTo>
                    <a:lnTo>
                      <a:pt x="387" y="25"/>
                    </a:lnTo>
                    <a:lnTo>
                      <a:pt x="441" y="11"/>
                    </a:lnTo>
                    <a:lnTo>
                      <a:pt x="497" y="2"/>
                    </a:lnTo>
                    <a:lnTo>
                      <a:pt x="5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8" name="Freeform 24"/>
              <p:cNvSpPr>
                <a:spLocks/>
              </p:cNvSpPr>
              <p:nvPr/>
            </p:nvSpPr>
            <p:spPr bwMode="auto">
              <a:xfrm>
                <a:off x="-618" y="2470"/>
                <a:ext cx="160" cy="159"/>
              </a:xfrm>
              <a:custGeom>
                <a:avLst/>
                <a:gdLst>
                  <a:gd name="T0" fmla="*/ 659 w 1119"/>
                  <a:gd name="T1" fmla="*/ 9 h 1114"/>
                  <a:gd name="T2" fmla="*/ 638 w 1119"/>
                  <a:gd name="T3" fmla="*/ 40 h 1114"/>
                  <a:gd name="T4" fmla="*/ 667 w 1119"/>
                  <a:gd name="T5" fmla="*/ 61 h 1114"/>
                  <a:gd name="T6" fmla="*/ 718 w 1119"/>
                  <a:gd name="T7" fmla="*/ 97 h 1114"/>
                  <a:gd name="T8" fmla="*/ 746 w 1119"/>
                  <a:gd name="T9" fmla="*/ 160 h 1114"/>
                  <a:gd name="T10" fmla="*/ 748 w 1119"/>
                  <a:gd name="T11" fmla="*/ 304 h 1114"/>
                  <a:gd name="T12" fmla="*/ 770 w 1119"/>
                  <a:gd name="T13" fmla="*/ 310 h 1114"/>
                  <a:gd name="T14" fmla="*/ 766 w 1119"/>
                  <a:gd name="T15" fmla="*/ 351 h 1114"/>
                  <a:gd name="T16" fmla="*/ 761 w 1119"/>
                  <a:gd name="T17" fmla="*/ 391 h 1114"/>
                  <a:gd name="T18" fmla="*/ 753 w 1119"/>
                  <a:gd name="T19" fmla="*/ 409 h 1114"/>
                  <a:gd name="T20" fmla="*/ 747 w 1119"/>
                  <a:gd name="T21" fmla="*/ 411 h 1114"/>
                  <a:gd name="T22" fmla="*/ 737 w 1119"/>
                  <a:gd name="T23" fmla="*/ 464 h 1114"/>
                  <a:gd name="T24" fmla="*/ 704 w 1119"/>
                  <a:gd name="T25" fmla="*/ 537 h 1114"/>
                  <a:gd name="T26" fmla="*/ 695 w 1119"/>
                  <a:gd name="T27" fmla="*/ 559 h 1114"/>
                  <a:gd name="T28" fmla="*/ 706 w 1119"/>
                  <a:gd name="T29" fmla="*/ 622 h 1114"/>
                  <a:gd name="T30" fmla="*/ 710 w 1119"/>
                  <a:gd name="T31" fmla="*/ 629 h 1114"/>
                  <a:gd name="T32" fmla="*/ 711 w 1119"/>
                  <a:gd name="T33" fmla="*/ 632 h 1114"/>
                  <a:gd name="T34" fmla="*/ 732 w 1119"/>
                  <a:gd name="T35" fmla="*/ 637 h 1114"/>
                  <a:gd name="T36" fmla="*/ 737 w 1119"/>
                  <a:gd name="T37" fmla="*/ 681 h 1114"/>
                  <a:gd name="T38" fmla="*/ 761 w 1119"/>
                  <a:gd name="T39" fmla="*/ 720 h 1114"/>
                  <a:gd name="T40" fmla="*/ 961 w 1119"/>
                  <a:gd name="T41" fmla="*/ 781 h 1114"/>
                  <a:gd name="T42" fmla="*/ 1059 w 1119"/>
                  <a:gd name="T43" fmla="*/ 820 h 1114"/>
                  <a:gd name="T44" fmla="*/ 1041 w 1119"/>
                  <a:gd name="T45" fmla="*/ 965 h 1114"/>
                  <a:gd name="T46" fmla="*/ 870 w 1119"/>
                  <a:gd name="T47" fmla="*/ 1032 h 1114"/>
                  <a:gd name="T48" fmla="*/ 671 w 1119"/>
                  <a:gd name="T49" fmla="*/ 1103 h 1114"/>
                  <a:gd name="T50" fmla="*/ 423 w 1119"/>
                  <a:gd name="T51" fmla="*/ 1090 h 1114"/>
                  <a:gd name="T52" fmla="*/ 271 w 1119"/>
                  <a:gd name="T53" fmla="*/ 1027 h 1114"/>
                  <a:gd name="T54" fmla="*/ 126 w 1119"/>
                  <a:gd name="T55" fmla="*/ 970 h 1114"/>
                  <a:gd name="T56" fmla="*/ 51 w 1119"/>
                  <a:gd name="T57" fmla="*/ 833 h 1114"/>
                  <a:gd name="T58" fmla="*/ 100 w 1119"/>
                  <a:gd name="T59" fmla="*/ 803 h 1114"/>
                  <a:gd name="T60" fmla="*/ 197 w 1119"/>
                  <a:gd name="T61" fmla="*/ 776 h 1114"/>
                  <a:gd name="T62" fmla="*/ 312 w 1119"/>
                  <a:gd name="T63" fmla="*/ 737 h 1114"/>
                  <a:gd name="T64" fmla="*/ 365 w 1119"/>
                  <a:gd name="T65" fmla="*/ 714 h 1114"/>
                  <a:gd name="T66" fmla="*/ 383 w 1119"/>
                  <a:gd name="T67" fmla="*/ 663 h 1114"/>
                  <a:gd name="T68" fmla="*/ 393 w 1119"/>
                  <a:gd name="T69" fmla="*/ 634 h 1114"/>
                  <a:gd name="T70" fmla="*/ 411 w 1119"/>
                  <a:gd name="T71" fmla="*/ 629 h 1114"/>
                  <a:gd name="T72" fmla="*/ 414 w 1119"/>
                  <a:gd name="T73" fmla="*/ 623 h 1114"/>
                  <a:gd name="T74" fmla="*/ 423 w 1119"/>
                  <a:gd name="T75" fmla="*/ 568 h 1114"/>
                  <a:gd name="T76" fmla="*/ 415 w 1119"/>
                  <a:gd name="T77" fmla="*/ 533 h 1114"/>
                  <a:gd name="T78" fmla="*/ 389 w 1119"/>
                  <a:gd name="T79" fmla="*/ 472 h 1114"/>
                  <a:gd name="T80" fmla="*/ 373 w 1119"/>
                  <a:gd name="T81" fmla="*/ 411 h 1114"/>
                  <a:gd name="T82" fmla="*/ 367 w 1119"/>
                  <a:gd name="T83" fmla="*/ 409 h 1114"/>
                  <a:gd name="T84" fmla="*/ 356 w 1119"/>
                  <a:gd name="T85" fmla="*/ 388 h 1114"/>
                  <a:gd name="T86" fmla="*/ 342 w 1119"/>
                  <a:gd name="T87" fmla="*/ 346 h 1114"/>
                  <a:gd name="T88" fmla="*/ 336 w 1119"/>
                  <a:gd name="T89" fmla="*/ 314 h 1114"/>
                  <a:gd name="T90" fmla="*/ 356 w 1119"/>
                  <a:gd name="T91" fmla="*/ 303 h 1114"/>
                  <a:gd name="T92" fmla="*/ 361 w 1119"/>
                  <a:gd name="T93" fmla="*/ 303 h 1114"/>
                  <a:gd name="T94" fmla="*/ 363 w 1119"/>
                  <a:gd name="T95" fmla="*/ 294 h 1114"/>
                  <a:gd name="T96" fmla="*/ 372 w 1119"/>
                  <a:gd name="T97" fmla="*/ 127 h 1114"/>
                  <a:gd name="T98" fmla="*/ 445 w 1119"/>
                  <a:gd name="T99" fmla="*/ 60 h 1114"/>
                  <a:gd name="T100" fmla="*/ 569 w 1119"/>
                  <a:gd name="T101" fmla="*/ 16 h 1114"/>
                  <a:gd name="T102" fmla="*/ 636 w 1119"/>
                  <a:gd name="T103" fmla="*/ 2 h 1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19" h="1114">
                    <a:moveTo>
                      <a:pt x="655" y="0"/>
                    </a:moveTo>
                    <a:lnTo>
                      <a:pt x="665" y="0"/>
                    </a:lnTo>
                    <a:lnTo>
                      <a:pt x="664" y="6"/>
                    </a:lnTo>
                    <a:lnTo>
                      <a:pt x="659" y="9"/>
                    </a:lnTo>
                    <a:lnTo>
                      <a:pt x="652" y="14"/>
                    </a:lnTo>
                    <a:lnTo>
                      <a:pt x="645" y="20"/>
                    </a:lnTo>
                    <a:lnTo>
                      <a:pt x="638" y="30"/>
                    </a:lnTo>
                    <a:lnTo>
                      <a:pt x="638" y="40"/>
                    </a:lnTo>
                    <a:lnTo>
                      <a:pt x="645" y="50"/>
                    </a:lnTo>
                    <a:lnTo>
                      <a:pt x="651" y="51"/>
                    </a:lnTo>
                    <a:lnTo>
                      <a:pt x="659" y="55"/>
                    </a:lnTo>
                    <a:lnTo>
                      <a:pt x="667" y="61"/>
                    </a:lnTo>
                    <a:lnTo>
                      <a:pt x="680" y="69"/>
                    </a:lnTo>
                    <a:lnTo>
                      <a:pt x="695" y="80"/>
                    </a:lnTo>
                    <a:lnTo>
                      <a:pt x="706" y="86"/>
                    </a:lnTo>
                    <a:lnTo>
                      <a:pt x="718" y="97"/>
                    </a:lnTo>
                    <a:lnTo>
                      <a:pt x="728" y="109"/>
                    </a:lnTo>
                    <a:lnTo>
                      <a:pt x="737" y="124"/>
                    </a:lnTo>
                    <a:lnTo>
                      <a:pt x="743" y="141"/>
                    </a:lnTo>
                    <a:lnTo>
                      <a:pt x="746" y="160"/>
                    </a:lnTo>
                    <a:lnTo>
                      <a:pt x="746" y="281"/>
                    </a:lnTo>
                    <a:lnTo>
                      <a:pt x="746" y="292"/>
                    </a:lnTo>
                    <a:lnTo>
                      <a:pt x="747" y="299"/>
                    </a:lnTo>
                    <a:lnTo>
                      <a:pt x="748" y="304"/>
                    </a:lnTo>
                    <a:lnTo>
                      <a:pt x="751" y="304"/>
                    </a:lnTo>
                    <a:lnTo>
                      <a:pt x="756" y="301"/>
                    </a:lnTo>
                    <a:lnTo>
                      <a:pt x="765" y="303"/>
                    </a:lnTo>
                    <a:lnTo>
                      <a:pt x="770" y="310"/>
                    </a:lnTo>
                    <a:lnTo>
                      <a:pt x="772" y="318"/>
                    </a:lnTo>
                    <a:lnTo>
                      <a:pt x="772" y="329"/>
                    </a:lnTo>
                    <a:lnTo>
                      <a:pt x="770" y="341"/>
                    </a:lnTo>
                    <a:lnTo>
                      <a:pt x="766" y="351"/>
                    </a:lnTo>
                    <a:lnTo>
                      <a:pt x="766" y="365"/>
                    </a:lnTo>
                    <a:lnTo>
                      <a:pt x="766" y="376"/>
                    </a:lnTo>
                    <a:lnTo>
                      <a:pt x="764" y="384"/>
                    </a:lnTo>
                    <a:lnTo>
                      <a:pt x="761" y="391"/>
                    </a:lnTo>
                    <a:lnTo>
                      <a:pt x="756" y="402"/>
                    </a:lnTo>
                    <a:lnTo>
                      <a:pt x="755" y="405"/>
                    </a:lnTo>
                    <a:lnTo>
                      <a:pt x="754" y="407"/>
                    </a:lnTo>
                    <a:lnTo>
                      <a:pt x="753" y="409"/>
                    </a:lnTo>
                    <a:lnTo>
                      <a:pt x="751" y="410"/>
                    </a:lnTo>
                    <a:lnTo>
                      <a:pt x="749" y="410"/>
                    </a:lnTo>
                    <a:lnTo>
                      <a:pt x="748" y="411"/>
                    </a:lnTo>
                    <a:lnTo>
                      <a:pt x="747" y="411"/>
                    </a:lnTo>
                    <a:lnTo>
                      <a:pt x="746" y="411"/>
                    </a:lnTo>
                    <a:lnTo>
                      <a:pt x="746" y="424"/>
                    </a:lnTo>
                    <a:lnTo>
                      <a:pt x="742" y="442"/>
                    </a:lnTo>
                    <a:lnTo>
                      <a:pt x="737" y="464"/>
                    </a:lnTo>
                    <a:lnTo>
                      <a:pt x="729" y="487"/>
                    </a:lnTo>
                    <a:lnTo>
                      <a:pt x="719" y="511"/>
                    </a:lnTo>
                    <a:lnTo>
                      <a:pt x="706" y="532"/>
                    </a:lnTo>
                    <a:lnTo>
                      <a:pt x="704" y="537"/>
                    </a:lnTo>
                    <a:lnTo>
                      <a:pt x="700" y="542"/>
                    </a:lnTo>
                    <a:lnTo>
                      <a:pt x="697" y="546"/>
                    </a:lnTo>
                    <a:lnTo>
                      <a:pt x="695" y="551"/>
                    </a:lnTo>
                    <a:lnTo>
                      <a:pt x="695" y="559"/>
                    </a:lnTo>
                    <a:lnTo>
                      <a:pt x="696" y="570"/>
                    </a:lnTo>
                    <a:lnTo>
                      <a:pt x="697" y="582"/>
                    </a:lnTo>
                    <a:lnTo>
                      <a:pt x="700" y="601"/>
                    </a:lnTo>
                    <a:lnTo>
                      <a:pt x="706" y="622"/>
                    </a:lnTo>
                    <a:lnTo>
                      <a:pt x="708" y="625"/>
                    </a:lnTo>
                    <a:lnTo>
                      <a:pt x="709" y="627"/>
                    </a:lnTo>
                    <a:lnTo>
                      <a:pt x="710" y="628"/>
                    </a:lnTo>
                    <a:lnTo>
                      <a:pt x="710" y="629"/>
                    </a:lnTo>
                    <a:lnTo>
                      <a:pt x="710" y="630"/>
                    </a:lnTo>
                    <a:lnTo>
                      <a:pt x="710" y="632"/>
                    </a:lnTo>
                    <a:lnTo>
                      <a:pt x="711" y="632"/>
                    </a:lnTo>
                    <a:lnTo>
                      <a:pt x="711" y="632"/>
                    </a:lnTo>
                    <a:lnTo>
                      <a:pt x="713" y="632"/>
                    </a:lnTo>
                    <a:lnTo>
                      <a:pt x="715" y="632"/>
                    </a:lnTo>
                    <a:lnTo>
                      <a:pt x="725" y="633"/>
                    </a:lnTo>
                    <a:lnTo>
                      <a:pt x="732" y="637"/>
                    </a:lnTo>
                    <a:lnTo>
                      <a:pt x="735" y="643"/>
                    </a:lnTo>
                    <a:lnTo>
                      <a:pt x="736" y="651"/>
                    </a:lnTo>
                    <a:lnTo>
                      <a:pt x="736" y="663"/>
                    </a:lnTo>
                    <a:lnTo>
                      <a:pt x="737" y="681"/>
                    </a:lnTo>
                    <a:lnTo>
                      <a:pt x="741" y="696"/>
                    </a:lnTo>
                    <a:lnTo>
                      <a:pt x="748" y="707"/>
                    </a:lnTo>
                    <a:lnTo>
                      <a:pt x="754" y="716"/>
                    </a:lnTo>
                    <a:lnTo>
                      <a:pt x="761" y="720"/>
                    </a:lnTo>
                    <a:lnTo>
                      <a:pt x="766" y="722"/>
                    </a:lnTo>
                    <a:lnTo>
                      <a:pt x="832" y="744"/>
                    </a:lnTo>
                    <a:lnTo>
                      <a:pt x="897" y="763"/>
                    </a:lnTo>
                    <a:lnTo>
                      <a:pt x="961" y="781"/>
                    </a:lnTo>
                    <a:lnTo>
                      <a:pt x="1028" y="803"/>
                    </a:lnTo>
                    <a:lnTo>
                      <a:pt x="1038" y="805"/>
                    </a:lnTo>
                    <a:lnTo>
                      <a:pt x="1048" y="810"/>
                    </a:lnTo>
                    <a:lnTo>
                      <a:pt x="1059" y="820"/>
                    </a:lnTo>
                    <a:lnTo>
                      <a:pt x="1069" y="833"/>
                    </a:lnTo>
                    <a:lnTo>
                      <a:pt x="1119" y="953"/>
                    </a:lnTo>
                    <a:lnTo>
                      <a:pt x="1079" y="957"/>
                    </a:lnTo>
                    <a:lnTo>
                      <a:pt x="1041" y="965"/>
                    </a:lnTo>
                    <a:lnTo>
                      <a:pt x="1000" y="978"/>
                    </a:lnTo>
                    <a:lnTo>
                      <a:pt x="958" y="994"/>
                    </a:lnTo>
                    <a:lnTo>
                      <a:pt x="915" y="1012"/>
                    </a:lnTo>
                    <a:lnTo>
                      <a:pt x="870" y="1032"/>
                    </a:lnTo>
                    <a:lnTo>
                      <a:pt x="824" y="1053"/>
                    </a:lnTo>
                    <a:lnTo>
                      <a:pt x="776" y="1072"/>
                    </a:lnTo>
                    <a:lnTo>
                      <a:pt x="724" y="1089"/>
                    </a:lnTo>
                    <a:lnTo>
                      <a:pt x="671" y="1103"/>
                    </a:lnTo>
                    <a:lnTo>
                      <a:pt x="615" y="1114"/>
                    </a:lnTo>
                    <a:lnTo>
                      <a:pt x="514" y="1114"/>
                    </a:lnTo>
                    <a:lnTo>
                      <a:pt x="467" y="1103"/>
                    </a:lnTo>
                    <a:lnTo>
                      <a:pt x="423" y="1090"/>
                    </a:lnTo>
                    <a:lnTo>
                      <a:pt x="383" y="1076"/>
                    </a:lnTo>
                    <a:lnTo>
                      <a:pt x="344" y="1060"/>
                    </a:lnTo>
                    <a:lnTo>
                      <a:pt x="307" y="1043"/>
                    </a:lnTo>
                    <a:lnTo>
                      <a:pt x="271" y="1027"/>
                    </a:lnTo>
                    <a:lnTo>
                      <a:pt x="236" y="1011"/>
                    </a:lnTo>
                    <a:lnTo>
                      <a:pt x="200" y="995"/>
                    </a:lnTo>
                    <a:lnTo>
                      <a:pt x="164" y="981"/>
                    </a:lnTo>
                    <a:lnTo>
                      <a:pt x="126" y="970"/>
                    </a:lnTo>
                    <a:lnTo>
                      <a:pt x="86" y="961"/>
                    </a:lnTo>
                    <a:lnTo>
                      <a:pt x="44" y="955"/>
                    </a:lnTo>
                    <a:lnTo>
                      <a:pt x="0" y="953"/>
                    </a:lnTo>
                    <a:lnTo>
                      <a:pt x="51" y="833"/>
                    </a:lnTo>
                    <a:lnTo>
                      <a:pt x="58" y="825"/>
                    </a:lnTo>
                    <a:lnTo>
                      <a:pt x="68" y="818"/>
                    </a:lnTo>
                    <a:lnTo>
                      <a:pt x="82" y="810"/>
                    </a:lnTo>
                    <a:lnTo>
                      <a:pt x="100" y="803"/>
                    </a:lnTo>
                    <a:lnTo>
                      <a:pt x="119" y="798"/>
                    </a:lnTo>
                    <a:lnTo>
                      <a:pt x="141" y="793"/>
                    </a:lnTo>
                    <a:lnTo>
                      <a:pt x="168" y="784"/>
                    </a:lnTo>
                    <a:lnTo>
                      <a:pt x="197" y="776"/>
                    </a:lnTo>
                    <a:lnTo>
                      <a:pt x="227" y="766"/>
                    </a:lnTo>
                    <a:lnTo>
                      <a:pt x="257" y="757"/>
                    </a:lnTo>
                    <a:lnTo>
                      <a:pt x="286" y="747"/>
                    </a:lnTo>
                    <a:lnTo>
                      <a:pt x="312" y="737"/>
                    </a:lnTo>
                    <a:lnTo>
                      <a:pt x="334" y="729"/>
                    </a:lnTo>
                    <a:lnTo>
                      <a:pt x="353" y="722"/>
                    </a:lnTo>
                    <a:lnTo>
                      <a:pt x="359" y="720"/>
                    </a:lnTo>
                    <a:lnTo>
                      <a:pt x="365" y="714"/>
                    </a:lnTo>
                    <a:lnTo>
                      <a:pt x="372" y="704"/>
                    </a:lnTo>
                    <a:lnTo>
                      <a:pt x="377" y="691"/>
                    </a:lnTo>
                    <a:lnTo>
                      <a:pt x="382" y="678"/>
                    </a:lnTo>
                    <a:lnTo>
                      <a:pt x="383" y="663"/>
                    </a:lnTo>
                    <a:lnTo>
                      <a:pt x="384" y="652"/>
                    </a:lnTo>
                    <a:lnTo>
                      <a:pt x="385" y="643"/>
                    </a:lnTo>
                    <a:lnTo>
                      <a:pt x="387" y="637"/>
                    </a:lnTo>
                    <a:lnTo>
                      <a:pt x="393" y="634"/>
                    </a:lnTo>
                    <a:lnTo>
                      <a:pt x="403" y="633"/>
                    </a:lnTo>
                    <a:lnTo>
                      <a:pt x="406" y="632"/>
                    </a:lnTo>
                    <a:lnTo>
                      <a:pt x="409" y="630"/>
                    </a:lnTo>
                    <a:lnTo>
                      <a:pt x="411" y="629"/>
                    </a:lnTo>
                    <a:lnTo>
                      <a:pt x="412" y="627"/>
                    </a:lnTo>
                    <a:lnTo>
                      <a:pt x="413" y="625"/>
                    </a:lnTo>
                    <a:lnTo>
                      <a:pt x="413" y="624"/>
                    </a:lnTo>
                    <a:lnTo>
                      <a:pt x="414" y="623"/>
                    </a:lnTo>
                    <a:lnTo>
                      <a:pt x="414" y="622"/>
                    </a:lnTo>
                    <a:lnTo>
                      <a:pt x="419" y="606"/>
                    </a:lnTo>
                    <a:lnTo>
                      <a:pt x="422" y="587"/>
                    </a:lnTo>
                    <a:lnTo>
                      <a:pt x="423" y="568"/>
                    </a:lnTo>
                    <a:lnTo>
                      <a:pt x="423" y="552"/>
                    </a:lnTo>
                    <a:lnTo>
                      <a:pt x="422" y="545"/>
                    </a:lnTo>
                    <a:lnTo>
                      <a:pt x="418" y="539"/>
                    </a:lnTo>
                    <a:lnTo>
                      <a:pt x="415" y="533"/>
                    </a:lnTo>
                    <a:lnTo>
                      <a:pt x="414" y="532"/>
                    </a:lnTo>
                    <a:lnTo>
                      <a:pt x="404" y="515"/>
                    </a:lnTo>
                    <a:lnTo>
                      <a:pt x="397" y="494"/>
                    </a:lnTo>
                    <a:lnTo>
                      <a:pt x="389" y="472"/>
                    </a:lnTo>
                    <a:lnTo>
                      <a:pt x="384" y="450"/>
                    </a:lnTo>
                    <a:lnTo>
                      <a:pt x="378" y="428"/>
                    </a:lnTo>
                    <a:lnTo>
                      <a:pt x="373" y="411"/>
                    </a:lnTo>
                    <a:lnTo>
                      <a:pt x="373" y="411"/>
                    </a:lnTo>
                    <a:lnTo>
                      <a:pt x="371" y="411"/>
                    </a:lnTo>
                    <a:lnTo>
                      <a:pt x="370" y="411"/>
                    </a:lnTo>
                    <a:lnTo>
                      <a:pt x="368" y="410"/>
                    </a:lnTo>
                    <a:lnTo>
                      <a:pt x="367" y="409"/>
                    </a:lnTo>
                    <a:lnTo>
                      <a:pt x="364" y="407"/>
                    </a:lnTo>
                    <a:lnTo>
                      <a:pt x="363" y="405"/>
                    </a:lnTo>
                    <a:lnTo>
                      <a:pt x="363" y="402"/>
                    </a:lnTo>
                    <a:lnTo>
                      <a:pt x="356" y="388"/>
                    </a:lnTo>
                    <a:lnTo>
                      <a:pt x="349" y="376"/>
                    </a:lnTo>
                    <a:lnTo>
                      <a:pt x="344" y="364"/>
                    </a:lnTo>
                    <a:lnTo>
                      <a:pt x="343" y="351"/>
                    </a:lnTo>
                    <a:lnTo>
                      <a:pt x="342" y="346"/>
                    </a:lnTo>
                    <a:lnTo>
                      <a:pt x="340" y="339"/>
                    </a:lnTo>
                    <a:lnTo>
                      <a:pt x="338" y="331"/>
                    </a:lnTo>
                    <a:lnTo>
                      <a:pt x="336" y="323"/>
                    </a:lnTo>
                    <a:lnTo>
                      <a:pt x="336" y="314"/>
                    </a:lnTo>
                    <a:lnTo>
                      <a:pt x="339" y="308"/>
                    </a:lnTo>
                    <a:lnTo>
                      <a:pt x="344" y="302"/>
                    </a:lnTo>
                    <a:lnTo>
                      <a:pt x="353" y="301"/>
                    </a:lnTo>
                    <a:lnTo>
                      <a:pt x="356" y="303"/>
                    </a:lnTo>
                    <a:lnTo>
                      <a:pt x="358" y="304"/>
                    </a:lnTo>
                    <a:lnTo>
                      <a:pt x="359" y="305"/>
                    </a:lnTo>
                    <a:lnTo>
                      <a:pt x="361" y="304"/>
                    </a:lnTo>
                    <a:lnTo>
                      <a:pt x="361" y="303"/>
                    </a:lnTo>
                    <a:lnTo>
                      <a:pt x="362" y="301"/>
                    </a:lnTo>
                    <a:lnTo>
                      <a:pt x="362" y="299"/>
                    </a:lnTo>
                    <a:lnTo>
                      <a:pt x="362" y="297"/>
                    </a:lnTo>
                    <a:lnTo>
                      <a:pt x="363" y="294"/>
                    </a:lnTo>
                    <a:lnTo>
                      <a:pt x="363" y="291"/>
                    </a:lnTo>
                    <a:lnTo>
                      <a:pt x="363" y="171"/>
                    </a:lnTo>
                    <a:lnTo>
                      <a:pt x="365" y="147"/>
                    </a:lnTo>
                    <a:lnTo>
                      <a:pt x="372" y="127"/>
                    </a:lnTo>
                    <a:lnTo>
                      <a:pt x="383" y="109"/>
                    </a:lnTo>
                    <a:lnTo>
                      <a:pt x="397" y="94"/>
                    </a:lnTo>
                    <a:lnTo>
                      <a:pt x="414" y="80"/>
                    </a:lnTo>
                    <a:lnTo>
                      <a:pt x="445" y="60"/>
                    </a:lnTo>
                    <a:lnTo>
                      <a:pt x="480" y="42"/>
                    </a:lnTo>
                    <a:lnTo>
                      <a:pt x="517" y="30"/>
                    </a:lnTo>
                    <a:lnTo>
                      <a:pt x="554" y="20"/>
                    </a:lnTo>
                    <a:lnTo>
                      <a:pt x="569" y="16"/>
                    </a:lnTo>
                    <a:lnTo>
                      <a:pt x="586" y="11"/>
                    </a:lnTo>
                    <a:lnTo>
                      <a:pt x="604" y="8"/>
                    </a:lnTo>
                    <a:lnTo>
                      <a:pt x="621" y="5"/>
                    </a:lnTo>
                    <a:lnTo>
                      <a:pt x="636" y="2"/>
                    </a:lnTo>
                    <a:lnTo>
                      <a:pt x="648" y="1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4" name="TextBox 3"/>
          <p:cNvSpPr txBox="1"/>
          <p:nvPr/>
        </p:nvSpPr>
        <p:spPr>
          <a:xfrm>
            <a:off x="1926228" y="3850608"/>
            <a:ext cx="437245" cy="1804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ru-RU" sz="1600" b="1" i="1" dirty="0" smtClean="0">
                <a:solidFill>
                  <a:schemeClr val="bg1"/>
                </a:solidFill>
                <a:latin typeface="+mj-lt"/>
              </a:rPr>
              <a:t>Вс</a:t>
            </a:r>
          </a:p>
        </p:txBody>
      </p:sp>
      <p:sp>
        <p:nvSpPr>
          <p:cNvPr id="97" name="Rectangle 96"/>
          <p:cNvSpPr/>
          <p:nvPr/>
        </p:nvSpPr>
        <p:spPr bwMode="ltGray">
          <a:xfrm>
            <a:off x="6174395" y="-2"/>
            <a:ext cx="2969606" cy="39682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000" b="1" i="1" dirty="0" smtClean="0">
                <a:solidFill>
                  <a:schemeClr val="bg1"/>
                </a:solidFill>
                <a:latin typeface="+mj-lt"/>
              </a:rPr>
              <a:t>Банковские услуги, телекоммуникации, розница</a:t>
            </a:r>
            <a:endParaRPr lang="ru-RU" sz="1000" b="1" i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37674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47814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598079"/>
            <a:ext cx="73896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Обработка в режиме реального времени</a:t>
            </a:r>
          </a:p>
        </p:txBody>
      </p:sp>
      <p:sp>
        <p:nvSpPr>
          <p:cNvPr id="40" name="Rectangle 17"/>
          <p:cNvSpPr>
            <a:spLocks/>
          </p:cNvSpPr>
          <p:nvPr/>
        </p:nvSpPr>
        <p:spPr bwMode="auto">
          <a:xfrm>
            <a:off x="284929" y="3241037"/>
            <a:ext cx="59051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Данные</a:t>
            </a:r>
            <a:endParaRPr lang="ru-RU" sz="1050" b="1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1590616" y="1223383"/>
            <a:ext cx="401952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i="1" dirty="0" smtClean="0">
                <a:solidFill>
                  <a:schemeClr val="bg1"/>
                </a:solidFill>
                <a:latin typeface="+mj-lt"/>
              </a:rPr>
              <a:t>Веб-аналитика </a:t>
            </a:r>
            <a:r>
              <a:rPr i="1" dirty="0">
                <a:solidFill>
                  <a:schemeClr val="bg1"/>
                </a:solidFill>
                <a:latin typeface="+mj-lt"/>
              </a:rPr>
              <a:t/>
            </a:r>
            <a:br>
              <a:rPr i="1" dirty="0">
                <a:solidFill>
                  <a:schemeClr val="bg1"/>
                </a:solidFill>
                <a:latin typeface="+mj-lt"/>
              </a:rPr>
            </a:b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предоставляет средства для измерения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5229225" y="3564656"/>
            <a:ext cx="3381373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>
              <a:spcAft>
                <a:spcPts val="200"/>
              </a:spcAft>
              <a:defRPr/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Отслеживание поведения потребителей в режиме реального времени на различных платформах социальных сетей с использованием поисковых роботов и интеллектуального анализа текстов для укрепления бренда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1472895" y="5879791"/>
            <a:ext cx="713770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Улучшение сегментации клиентов при помощи </a:t>
            </a:r>
            <a:r>
              <a:rPr lang="ru-RU" sz="1400" i="1" dirty="0">
                <a:solidFill>
                  <a:schemeClr val="bg1"/>
                </a:solidFill>
                <a:latin typeface="+mj-lt"/>
              </a:rPr>
              <a:t>поведенческих профилей, </a:t>
            </a: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основанных на действиях в сети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97" name="Picture 96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5663" y="3411760"/>
            <a:ext cx="3658098" cy="2286311"/>
          </a:xfrm>
          <a:prstGeom prst="rect">
            <a:avLst/>
          </a:prstGeom>
        </p:spPr>
      </p:pic>
      <p:grpSp>
        <p:nvGrpSpPr>
          <p:cNvPr id="98" name="Group 118"/>
          <p:cNvGrpSpPr>
            <a:grpSpLocks noChangeAspect="1"/>
          </p:cNvGrpSpPr>
          <p:nvPr/>
        </p:nvGrpSpPr>
        <p:grpSpPr bwMode="auto">
          <a:xfrm>
            <a:off x="6403276" y="1149418"/>
            <a:ext cx="2207322" cy="1372236"/>
            <a:chOff x="4144" y="1661"/>
            <a:chExt cx="2519" cy="1566"/>
          </a:xfrm>
          <a:solidFill>
            <a:srgbClr val="A7A49B"/>
          </a:solidFill>
        </p:grpSpPr>
        <p:sp>
          <p:nvSpPr>
            <p:cNvPr id="99" name="Freeform 120"/>
            <p:cNvSpPr>
              <a:spLocks/>
            </p:cNvSpPr>
            <p:nvPr/>
          </p:nvSpPr>
          <p:spPr bwMode="auto">
            <a:xfrm>
              <a:off x="5074" y="2088"/>
              <a:ext cx="598" cy="599"/>
            </a:xfrm>
            <a:custGeom>
              <a:avLst/>
              <a:gdLst>
                <a:gd name="T0" fmla="*/ 599 w 1196"/>
                <a:gd name="T1" fmla="*/ 0 h 1198"/>
                <a:gd name="T2" fmla="*/ 599 w 1196"/>
                <a:gd name="T3" fmla="*/ 600 h 1198"/>
                <a:gd name="T4" fmla="*/ 1196 w 1196"/>
                <a:gd name="T5" fmla="*/ 600 h 1198"/>
                <a:gd name="T6" fmla="*/ 1191 w 1196"/>
                <a:gd name="T7" fmla="*/ 675 h 1198"/>
                <a:gd name="T8" fmla="*/ 1178 w 1196"/>
                <a:gd name="T9" fmla="*/ 747 h 1198"/>
                <a:gd name="T10" fmla="*/ 1156 w 1196"/>
                <a:gd name="T11" fmla="*/ 816 h 1198"/>
                <a:gd name="T12" fmla="*/ 1126 w 1196"/>
                <a:gd name="T13" fmla="*/ 881 h 1198"/>
                <a:gd name="T14" fmla="*/ 1089 w 1196"/>
                <a:gd name="T15" fmla="*/ 941 h 1198"/>
                <a:gd name="T16" fmla="*/ 1045 w 1196"/>
                <a:gd name="T17" fmla="*/ 998 h 1198"/>
                <a:gd name="T18" fmla="*/ 996 w 1196"/>
                <a:gd name="T19" fmla="*/ 1047 h 1198"/>
                <a:gd name="T20" fmla="*/ 939 w 1196"/>
                <a:gd name="T21" fmla="*/ 1091 h 1198"/>
                <a:gd name="T22" fmla="*/ 880 w 1196"/>
                <a:gd name="T23" fmla="*/ 1128 h 1198"/>
                <a:gd name="T24" fmla="*/ 814 w 1196"/>
                <a:gd name="T25" fmla="*/ 1158 h 1198"/>
                <a:gd name="T26" fmla="*/ 746 w 1196"/>
                <a:gd name="T27" fmla="*/ 1180 h 1198"/>
                <a:gd name="T28" fmla="*/ 674 w 1196"/>
                <a:gd name="T29" fmla="*/ 1194 h 1198"/>
                <a:gd name="T30" fmla="*/ 599 w 1196"/>
                <a:gd name="T31" fmla="*/ 1198 h 1198"/>
                <a:gd name="T32" fmla="*/ 524 w 1196"/>
                <a:gd name="T33" fmla="*/ 1194 h 1198"/>
                <a:gd name="T34" fmla="*/ 451 w 1196"/>
                <a:gd name="T35" fmla="*/ 1180 h 1198"/>
                <a:gd name="T36" fmla="*/ 382 w 1196"/>
                <a:gd name="T37" fmla="*/ 1158 h 1198"/>
                <a:gd name="T38" fmla="*/ 318 w 1196"/>
                <a:gd name="T39" fmla="*/ 1128 h 1198"/>
                <a:gd name="T40" fmla="*/ 257 w 1196"/>
                <a:gd name="T41" fmla="*/ 1091 h 1198"/>
                <a:gd name="T42" fmla="*/ 202 w 1196"/>
                <a:gd name="T43" fmla="*/ 1047 h 1198"/>
                <a:gd name="T44" fmla="*/ 151 w 1196"/>
                <a:gd name="T45" fmla="*/ 998 h 1198"/>
                <a:gd name="T46" fmla="*/ 107 w 1196"/>
                <a:gd name="T47" fmla="*/ 941 h 1198"/>
                <a:gd name="T48" fmla="*/ 70 w 1196"/>
                <a:gd name="T49" fmla="*/ 881 h 1198"/>
                <a:gd name="T50" fmla="*/ 41 w 1196"/>
                <a:gd name="T51" fmla="*/ 816 h 1198"/>
                <a:gd name="T52" fmla="*/ 19 w 1196"/>
                <a:gd name="T53" fmla="*/ 747 h 1198"/>
                <a:gd name="T54" fmla="*/ 5 w 1196"/>
                <a:gd name="T55" fmla="*/ 675 h 1198"/>
                <a:gd name="T56" fmla="*/ 0 w 1196"/>
                <a:gd name="T57" fmla="*/ 600 h 1198"/>
                <a:gd name="T58" fmla="*/ 5 w 1196"/>
                <a:gd name="T59" fmla="*/ 525 h 1198"/>
                <a:gd name="T60" fmla="*/ 19 w 1196"/>
                <a:gd name="T61" fmla="*/ 452 h 1198"/>
                <a:gd name="T62" fmla="*/ 41 w 1196"/>
                <a:gd name="T63" fmla="*/ 383 h 1198"/>
                <a:gd name="T64" fmla="*/ 70 w 1196"/>
                <a:gd name="T65" fmla="*/ 318 h 1198"/>
                <a:gd name="T66" fmla="*/ 107 w 1196"/>
                <a:gd name="T67" fmla="*/ 257 h 1198"/>
                <a:gd name="T68" fmla="*/ 151 w 1196"/>
                <a:gd name="T69" fmla="*/ 202 h 1198"/>
                <a:gd name="T70" fmla="*/ 202 w 1196"/>
                <a:gd name="T71" fmla="*/ 152 h 1198"/>
                <a:gd name="T72" fmla="*/ 257 w 1196"/>
                <a:gd name="T73" fmla="*/ 107 h 1198"/>
                <a:gd name="T74" fmla="*/ 318 w 1196"/>
                <a:gd name="T75" fmla="*/ 71 h 1198"/>
                <a:gd name="T76" fmla="*/ 382 w 1196"/>
                <a:gd name="T77" fmla="*/ 40 h 1198"/>
                <a:gd name="T78" fmla="*/ 451 w 1196"/>
                <a:gd name="T79" fmla="*/ 19 h 1198"/>
                <a:gd name="T80" fmla="*/ 524 w 1196"/>
                <a:gd name="T81" fmla="*/ 5 h 1198"/>
                <a:gd name="T82" fmla="*/ 599 w 1196"/>
                <a:gd name="T83" fmla="*/ 0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96" h="1198">
                  <a:moveTo>
                    <a:pt x="599" y="0"/>
                  </a:moveTo>
                  <a:lnTo>
                    <a:pt x="599" y="600"/>
                  </a:lnTo>
                  <a:lnTo>
                    <a:pt x="1196" y="600"/>
                  </a:lnTo>
                  <a:lnTo>
                    <a:pt x="1191" y="675"/>
                  </a:lnTo>
                  <a:lnTo>
                    <a:pt x="1178" y="747"/>
                  </a:lnTo>
                  <a:lnTo>
                    <a:pt x="1156" y="816"/>
                  </a:lnTo>
                  <a:lnTo>
                    <a:pt x="1126" y="881"/>
                  </a:lnTo>
                  <a:lnTo>
                    <a:pt x="1089" y="941"/>
                  </a:lnTo>
                  <a:lnTo>
                    <a:pt x="1045" y="998"/>
                  </a:lnTo>
                  <a:lnTo>
                    <a:pt x="996" y="1047"/>
                  </a:lnTo>
                  <a:lnTo>
                    <a:pt x="939" y="1091"/>
                  </a:lnTo>
                  <a:lnTo>
                    <a:pt x="880" y="1128"/>
                  </a:lnTo>
                  <a:lnTo>
                    <a:pt x="814" y="1158"/>
                  </a:lnTo>
                  <a:lnTo>
                    <a:pt x="746" y="1180"/>
                  </a:lnTo>
                  <a:lnTo>
                    <a:pt x="674" y="1194"/>
                  </a:lnTo>
                  <a:lnTo>
                    <a:pt x="599" y="1198"/>
                  </a:lnTo>
                  <a:lnTo>
                    <a:pt x="524" y="1194"/>
                  </a:lnTo>
                  <a:lnTo>
                    <a:pt x="451" y="1180"/>
                  </a:lnTo>
                  <a:lnTo>
                    <a:pt x="382" y="1158"/>
                  </a:lnTo>
                  <a:lnTo>
                    <a:pt x="318" y="1128"/>
                  </a:lnTo>
                  <a:lnTo>
                    <a:pt x="257" y="1091"/>
                  </a:lnTo>
                  <a:lnTo>
                    <a:pt x="202" y="1047"/>
                  </a:lnTo>
                  <a:lnTo>
                    <a:pt x="151" y="998"/>
                  </a:lnTo>
                  <a:lnTo>
                    <a:pt x="107" y="941"/>
                  </a:lnTo>
                  <a:lnTo>
                    <a:pt x="70" y="881"/>
                  </a:lnTo>
                  <a:lnTo>
                    <a:pt x="41" y="816"/>
                  </a:lnTo>
                  <a:lnTo>
                    <a:pt x="19" y="747"/>
                  </a:lnTo>
                  <a:lnTo>
                    <a:pt x="5" y="675"/>
                  </a:lnTo>
                  <a:lnTo>
                    <a:pt x="0" y="600"/>
                  </a:lnTo>
                  <a:lnTo>
                    <a:pt x="5" y="525"/>
                  </a:lnTo>
                  <a:lnTo>
                    <a:pt x="19" y="452"/>
                  </a:lnTo>
                  <a:lnTo>
                    <a:pt x="41" y="383"/>
                  </a:lnTo>
                  <a:lnTo>
                    <a:pt x="70" y="318"/>
                  </a:lnTo>
                  <a:lnTo>
                    <a:pt x="107" y="257"/>
                  </a:lnTo>
                  <a:lnTo>
                    <a:pt x="151" y="202"/>
                  </a:lnTo>
                  <a:lnTo>
                    <a:pt x="202" y="152"/>
                  </a:lnTo>
                  <a:lnTo>
                    <a:pt x="257" y="107"/>
                  </a:lnTo>
                  <a:lnTo>
                    <a:pt x="318" y="71"/>
                  </a:lnTo>
                  <a:lnTo>
                    <a:pt x="382" y="40"/>
                  </a:lnTo>
                  <a:lnTo>
                    <a:pt x="451" y="19"/>
                  </a:lnTo>
                  <a:lnTo>
                    <a:pt x="524" y="5"/>
                  </a:lnTo>
                  <a:lnTo>
                    <a:pt x="5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0" name="Freeform 121"/>
            <p:cNvSpPr>
              <a:spLocks/>
            </p:cNvSpPr>
            <p:nvPr/>
          </p:nvSpPr>
          <p:spPr bwMode="auto">
            <a:xfrm>
              <a:off x="5434" y="2027"/>
              <a:ext cx="298" cy="300"/>
            </a:xfrm>
            <a:custGeom>
              <a:avLst/>
              <a:gdLst>
                <a:gd name="T0" fmla="*/ 0 w 597"/>
                <a:gd name="T1" fmla="*/ 0 h 600"/>
                <a:gd name="T2" fmla="*/ 74 w 597"/>
                <a:gd name="T3" fmla="*/ 5 h 600"/>
                <a:gd name="T4" fmla="*/ 146 w 597"/>
                <a:gd name="T5" fmla="*/ 19 h 600"/>
                <a:gd name="T6" fmla="*/ 215 w 597"/>
                <a:gd name="T7" fmla="*/ 40 h 600"/>
                <a:gd name="T8" fmla="*/ 281 w 597"/>
                <a:gd name="T9" fmla="*/ 71 h 600"/>
                <a:gd name="T10" fmla="*/ 342 w 597"/>
                <a:gd name="T11" fmla="*/ 108 h 600"/>
                <a:gd name="T12" fmla="*/ 397 w 597"/>
                <a:gd name="T13" fmla="*/ 152 h 600"/>
                <a:gd name="T14" fmla="*/ 447 w 597"/>
                <a:gd name="T15" fmla="*/ 202 h 600"/>
                <a:gd name="T16" fmla="*/ 490 w 597"/>
                <a:gd name="T17" fmla="*/ 257 h 600"/>
                <a:gd name="T18" fmla="*/ 528 w 597"/>
                <a:gd name="T19" fmla="*/ 317 h 600"/>
                <a:gd name="T20" fmla="*/ 557 w 597"/>
                <a:gd name="T21" fmla="*/ 383 h 600"/>
                <a:gd name="T22" fmla="*/ 578 w 597"/>
                <a:gd name="T23" fmla="*/ 452 h 600"/>
                <a:gd name="T24" fmla="*/ 592 w 597"/>
                <a:gd name="T25" fmla="*/ 524 h 600"/>
                <a:gd name="T26" fmla="*/ 597 w 597"/>
                <a:gd name="T27" fmla="*/ 600 h 600"/>
                <a:gd name="T28" fmla="*/ 0 w 597"/>
                <a:gd name="T29" fmla="*/ 600 h 600"/>
                <a:gd name="T30" fmla="*/ 0 w 597"/>
                <a:gd name="T31" fmla="*/ 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97" h="600">
                  <a:moveTo>
                    <a:pt x="0" y="0"/>
                  </a:moveTo>
                  <a:lnTo>
                    <a:pt x="74" y="5"/>
                  </a:lnTo>
                  <a:lnTo>
                    <a:pt x="146" y="19"/>
                  </a:lnTo>
                  <a:lnTo>
                    <a:pt x="215" y="40"/>
                  </a:lnTo>
                  <a:lnTo>
                    <a:pt x="281" y="71"/>
                  </a:lnTo>
                  <a:lnTo>
                    <a:pt x="342" y="108"/>
                  </a:lnTo>
                  <a:lnTo>
                    <a:pt x="397" y="152"/>
                  </a:lnTo>
                  <a:lnTo>
                    <a:pt x="447" y="202"/>
                  </a:lnTo>
                  <a:lnTo>
                    <a:pt x="490" y="257"/>
                  </a:lnTo>
                  <a:lnTo>
                    <a:pt x="528" y="317"/>
                  </a:lnTo>
                  <a:lnTo>
                    <a:pt x="557" y="383"/>
                  </a:lnTo>
                  <a:lnTo>
                    <a:pt x="578" y="452"/>
                  </a:lnTo>
                  <a:lnTo>
                    <a:pt x="592" y="524"/>
                  </a:lnTo>
                  <a:lnTo>
                    <a:pt x="597" y="600"/>
                  </a:lnTo>
                  <a:lnTo>
                    <a:pt x="0" y="6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1" name="Freeform 122"/>
            <p:cNvSpPr>
              <a:spLocks/>
            </p:cNvSpPr>
            <p:nvPr/>
          </p:nvSpPr>
          <p:spPr bwMode="auto">
            <a:xfrm>
              <a:off x="4883" y="2597"/>
              <a:ext cx="261" cy="90"/>
            </a:xfrm>
            <a:custGeom>
              <a:avLst/>
              <a:gdLst>
                <a:gd name="T0" fmla="*/ 485 w 521"/>
                <a:gd name="T1" fmla="*/ 0 h 181"/>
                <a:gd name="T2" fmla="*/ 521 w 521"/>
                <a:gd name="T3" fmla="*/ 37 h 181"/>
                <a:gd name="T4" fmla="*/ 378 w 521"/>
                <a:gd name="T5" fmla="*/ 181 h 181"/>
                <a:gd name="T6" fmla="*/ 0 w 521"/>
                <a:gd name="T7" fmla="*/ 181 h 181"/>
                <a:gd name="T8" fmla="*/ 0 w 521"/>
                <a:gd name="T9" fmla="*/ 130 h 181"/>
                <a:gd name="T10" fmla="*/ 356 w 521"/>
                <a:gd name="T11" fmla="*/ 130 h 181"/>
                <a:gd name="T12" fmla="*/ 485 w 521"/>
                <a:gd name="T1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1" h="181">
                  <a:moveTo>
                    <a:pt x="485" y="0"/>
                  </a:moveTo>
                  <a:lnTo>
                    <a:pt x="521" y="37"/>
                  </a:lnTo>
                  <a:lnTo>
                    <a:pt x="378" y="181"/>
                  </a:lnTo>
                  <a:lnTo>
                    <a:pt x="0" y="181"/>
                  </a:lnTo>
                  <a:lnTo>
                    <a:pt x="0" y="130"/>
                  </a:lnTo>
                  <a:lnTo>
                    <a:pt x="356" y="130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2" name="Freeform 123"/>
            <p:cNvSpPr>
              <a:spLocks/>
            </p:cNvSpPr>
            <p:nvPr/>
          </p:nvSpPr>
          <p:spPr bwMode="auto">
            <a:xfrm>
              <a:off x="5678" y="2061"/>
              <a:ext cx="195" cy="73"/>
            </a:xfrm>
            <a:custGeom>
              <a:avLst/>
              <a:gdLst>
                <a:gd name="T0" fmla="*/ 112 w 390"/>
                <a:gd name="T1" fmla="*/ 0 h 147"/>
                <a:gd name="T2" fmla="*/ 390 w 390"/>
                <a:gd name="T3" fmla="*/ 0 h 147"/>
                <a:gd name="T4" fmla="*/ 390 w 390"/>
                <a:gd name="T5" fmla="*/ 50 h 147"/>
                <a:gd name="T6" fmla="*/ 133 w 390"/>
                <a:gd name="T7" fmla="*/ 50 h 147"/>
                <a:gd name="T8" fmla="*/ 37 w 390"/>
                <a:gd name="T9" fmla="*/ 147 h 147"/>
                <a:gd name="T10" fmla="*/ 0 w 390"/>
                <a:gd name="T11" fmla="*/ 111 h 147"/>
                <a:gd name="T12" fmla="*/ 112 w 390"/>
                <a:gd name="T13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0" h="147">
                  <a:moveTo>
                    <a:pt x="112" y="0"/>
                  </a:moveTo>
                  <a:lnTo>
                    <a:pt x="390" y="0"/>
                  </a:lnTo>
                  <a:lnTo>
                    <a:pt x="390" y="50"/>
                  </a:lnTo>
                  <a:lnTo>
                    <a:pt x="133" y="50"/>
                  </a:lnTo>
                  <a:lnTo>
                    <a:pt x="37" y="147"/>
                  </a:lnTo>
                  <a:lnTo>
                    <a:pt x="0" y="111"/>
                  </a:lnTo>
                  <a:lnTo>
                    <a:pt x="1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4" name="Rectangle 124"/>
            <p:cNvSpPr>
              <a:spLocks noChangeArrowheads="1"/>
            </p:cNvSpPr>
            <p:nvPr/>
          </p:nvSpPr>
          <p:spPr bwMode="auto">
            <a:xfrm>
              <a:off x="4661" y="1955"/>
              <a:ext cx="194" cy="3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5" name="Rectangle 125"/>
            <p:cNvSpPr>
              <a:spLocks noChangeArrowheads="1"/>
            </p:cNvSpPr>
            <p:nvPr/>
          </p:nvSpPr>
          <p:spPr bwMode="auto">
            <a:xfrm>
              <a:off x="4661" y="2032"/>
              <a:ext cx="104" cy="3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6" name="Rectangle 126"/>
            <p:cNvSpPr>
              <a:spLocks noChangeArrowheads="1"/>
            </p:cNvSpPr>
            <p:nvPr/>
          </p:nvSpPr>
          <p:spPr bwMode="auto">
            <a:xfrm>
              <a:off x="4661" y="2109"/>
              <a:ext cx="168" cy="3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7" name="Freeform 127"/>
            <p:cNvSpPr>
              <a:spLocks/>
            </p:cNvSpPr>
            <p:nvPr/>
          </p:nvSpPr>
          <p:spPr bwMode="auto">
            <a:xfrm>
              <a:off x="5842" y="2654"/>
              <a:ext cx="112" cy="112"/>
            </a:xfrm>
            <a:custGeom>
              <a:avLst/>
              <a:gdLst>
                <a:gd name="T0" fmla="*/ 113 w 225"/>
                <a:gd name="T1" fmla="*/ 0 h 225"/>
                <a:gd name="T2" fmla="*/ 142 w 225"/>
                <a:gd name="T3" fmla="*/ 5 h 225"/>
                <a:gd name="T4" fmla="*/ 170 w 225"/>
                <a:gd name="T5" fmla="*/ 16 h 225"/>
                <a:gd name="T6" fmla="*/ 193 w 225"/>
                <a:gd name="T7" fmla="*/ 34 h 225"/>
                <a:gd name="T8" fmla="*/ 209 w 225"/>
                <a:gd name="T9" fmla="*/ 57 h 225"/>
                <a:gd name="T10" fmla="*/ 220 w 225"/>
                <a:gd name="T11" fmla="*/ 83 h 225"/>
                <a:gd name="T12" fmla="*/ 225 w 225"/>
                <a:gd name="T13" fmla="*/ 114 h 225"/>
                <a:gd name="T14" fmla="*/ 220 w 225"/>
                <a:gd name="T15" fmla="*/ 143 h 225"/>
                <a:gd name="T16" fmla="*/ 209 w 225"/>
                <a:gd name="T17" fmla="*/ 170 h 225"/>
                <a:gd name="T18" fmla="*/ 193 w 225"/>
                <a:gd name="T19" fmla="*/ 193 h 225"/>
                <a:gd name="T20" fmla="*/ 170 w 225"/>
                <a:gd name="T21" fmla="*/ 210 h 225"/>
                <a:gd name="T22" fmla="*/ 142 w 225"/>
                <a:gd name="T23" fmla="*/ 221 h 225"/>
                <a:gd name="T24" fmla="*/ 113 w 225"/>
                <a:gd name="T25" fmla="*/ 225 h 225"/>
                <a:gd name="T26" fmla="*/ 83 w 225"/>
                <a:gd name="T27" fmla="*/ 221 h 225"/>
                <a:gd name="T28" fmla="*/ 57 w 225"/>
                <a:gd name="T29" fmla="*/ 210 h 225"/>
                <a:gd name="T30" fmla="*/ 34 w 225"/>
                <a:gd name="T31" fmla="*/ 193 h 225"/>
                <a:gd name="T32" fmla="*/ 15 w 225"/>
                <a:gd name="T33" fmla="*/ 170 h 225"/>
                <a:gd name="T34" fmla="*/ 5 w 225"/>
                <a:gd name="T35" fmla="*/ 143 h 225"/>
                <a:gd name="T36" fmla="*/ 0 w 225"/>
                <a:gd name="T37" fmla="*/ 114 h 225"/>
                <a:gd name="T38" fmla="*/ 5 w 225"/>
                <a:gd name="T39" fmla="*/ 83 h 225"/>
                <a:gd name="T40" fmla="*/ 15 w 225"/>
                <a:gd name="T41" fmla="*/ 57 h 225"/>
                <a:gd name="T42" fmla="*/ 34 w 225"/>
                <a:gd name="T43" fmla="*/ 34 h 225"/>
                <a:gd name="T44" fmla="*/ 57 w 225"/>
                <a:gd name="T45" fmla="*/ 16 h 225"/>
                <a:gd name="T46" fmla="*/ 83 w 225"/>
                <a:gd name="T47" fmla="*/ 5 h 225"/>
                <a:gd name="T48" fmla="*/ 113 w 225"/>
                <a:gd name="T49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5" h="225">
                  <a:moveTo>
                    <a:pt x="113" y="0"/>
                  </a:moveTo>
                  <a:lnTo>
                    <a:pt x="142" y="5"/>
                  </a:lnTo>
                  <a:lnTo>
                    <a:pt x="170" y="16"/>
                  </a:lnTo>
                  <a:lnTo>
                    <a:pt x="193" y="34"/>
                  </a:lnTo>
                  <a:lnTo>
                    <a:pt x="209" y="57"/>
                  </a:lnTo>
                  <a:lnTo>
                    <a:pt x="220" y="83"/>
                  </a:lnTo>
                  <a:lnTo>
                    <a:pt x="225" y="114"/>
                  </a:lnTo>
                  <a:lnTo>
                    <a:pt x="220" y="143"/>
                  </a:lnTo>
                  <a:lnTo>
                    <a:pt x="209" y="170"/>
                  </a:lnTo>
                  <a:lnTo>
                    <a:pt x="193" y="193"/>
                  </a:lnTo>
                  <a:lnTo>
                    <a:pt x="170" y="210"/>
                  </a:lnTo>
                  <a:lnTo>
                    <a:pt x="142" y="221"/>
                  </a:lnTo>
                  <a:lnTo>
                    <a:pt x="113" y="225"/>
                  </a:lnTo>
                  <a:lnTo>
                    <a:pt x="83" y="221"/>
                  </a:lnTo>
                  <a:lnTo>
                    <a:pt x="57" y="210"/>
                  </a:lnTo>
                  <a:lnTo>
                    <a:pt x="34" y="193"/>
                  </a:lnTo>
                  <a:lnTo>
                    <a:pt x="15" y="170"/>
                  </a:lnTo>
                  <a:lnTo>
                    <a:pt x="5" y="143"/>
                  </a:lnTo>
                  <a:lnTo>
                    <a:pt x="0" y="114"/>
                  </a:lnTo>
                  <a:lnTo>
                    <a:pt x="5" y="83"/>
                  </a:lnTo>
                  <a:lnTo>
                    <a:pt x="15" y="57"/>
                  </a:lnTo>
                  <a:lnTo>
                    <a:pt x="34" y="34"/>
                  </a:lnTo>
                  <a:lnTo>
                    <a:pt x="57" y="16"/>
                  </a:lnTo>
                  <a:lnTo>
                    <a:pt x="83" y="5"/>
                  </a:lnTo>
                  <a:lnTo>
                    <a:pt x="11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8" name="Freeform 128"/>
            <p:cNvSpPr>
              <a:spLocks/>
            </p:cNvSpPr>
            <p:nvPr/>
          </p:nvSpPr>
          <p:spPr bwMode="auto">
            <a:xfrm>
              <a:off x="6015" y="2654"/>
              <a:ext cx="111" cy="112"/>
            </a:xfrm>
            <a:custGeom>
              <a:avLst/>
              <a:gdLst>
                <a:gd name="T0" fmla="*/ 111 w 223"/>
                <a:gd name="T1" fmla="*/ 0 h 225"/>
                <a:gd name="T2" fmla="*/ 142 w 223"/>
                <a:gd name="T3" fmla="*/ 5 h 225"/>
                <a:gd name="T4" fmla="*/ 168 w 223"/>
                <a:gd name="T5" fmla="*/ 16 h 225"/>
                <a:gd name="T6" fmla="*/ 191 w 223"/>
                <a:gd name="T7" fmla="*/ 34 h 225"/>
                <a:gd name="T8" fmla="*/ 208 w 223"/>
                <a:gd name="T9" fmla="*/ 57 h 225"/>
                <a:gd name="T10" fmla="*/ 220 w 223"/>
                <a:gd name="T11" fmla="*/ 83 h 225"/>
                <a:gd name="T12" fmla="*/ 223 w 223"/>
                <a:gd name="T13" fmla="*/ 114 h 225"/>
                <a:gd name="T14" fmla="*/ 220 w 223"/>
                <a:gd name="T15" fmla="*/ 143 h 225"/>
                <a:gd name="T16" fmla="*/ 208 w 223"/>
                <a:gd name="T17" fmla="*/ 170 h 225"/>
                <a:gd name="T18" fmla="*/ 191 w 223"/>
                <a:gd name="T19" fmla="*/ 193 h 225"/>
                <a:gd name="T20" fmla="*/ 168 w 223"/>
                <a:gd name="T21" fmla="*/ 210 h 225"/>
                <a:gd name="T22" fmla="*/ 142 w 223"/>
                <a:gd name="T23" fmla="*/ 221 h 225"/>
                <a:gd name="T24" fmla="*/ 111 w 223"/>
                <a:gd name="T25" fmla="*/ 225 h 225"/>
                <a:gd name="T26" fmla="*/ 82 w 223"/>
                <a:gd name="T27" fmla="*/ 221 h 225"/>
                <a:gd name="T28" fmla="*/ 55 w 223"/>
                <a:gd name="T29" fmla="*/ 210 h 225"/>
                <a:gd name="T30" fmla="*/ 32 w 223"/>
                <a:gd name="T31" fmla="*/ 193 h 225"/>
                <a:gd name="T32" fmla="*/ 15 w 223"/>
                <a:gd name="T33" fmla="*/ 170 h 225"/>
                <a:gd name="T34" fmla="*/ 3 w 223"/>
                <a:gd name="T35" fmla="*/ 143 h 225"/>
                <a:gd name="T36" fmla="*/ 0 w 223"/>
                <a:gd name="T37" fmla="*/ 114 h 225"/>
                <a:gd name="T38" fmla="*/ 3 w 223"/>
                <a:gd name="T39" fmla="*/ 83 h 225"/>
                <a:gd name="T40" fmla="*/ 15 w 223"/>
                <a:gd name="T41" fmla="*/ 57 h 225"/>
                <a:gd name="T42" fmla="*/ 32 w 223"/>
                <a:gd name="T43" fmla="*/ 34 h 225"/>
                <a:gd name="T44" fmla="*/ 55 w 223"/>
                <a:gd name="T45" fmla="*/ 16 h 225"/>
                <a:gd name="T46" fmla="*/ 82 w 223"/>
                <a:gd name="T47" fmla="*/ 5 h 225"/>
                <a:gd name="T48" fmla="*/ 111 w 223"/>
                <a:gd name="T49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3" h="225">
                  <a:moveTo>
                    <a:pt x="111" y="0"/>
                  </a:moveTo>
                  <a:lnTo>
                    <a:pt x="142" y="5"/>
                  </a:lnTo>
                  <a:lnTo>
                    <a:pt x="168" y="16"/>
                  </a:lnTo>
                  <a:lnTo>
                    <a:pt x="191" y="34"/>
                  </a:lnTo>
                  <a:lnTo>
                    <a:pt x="208" y="57"/>
                  </a:lnTo>
                  <a:lnTo>
                    <a:pt x="220" y="83"/>
                  </a:lnTo>
                  <a:lnTo>
                    <a:pt x="223" y="114"/>
                  </a:lnTo>
                  <a:lnTo>
                    <a:pt x="220" y="143"/>
                  </a:lnTo>
                  <a:lnTo>
                    <a:pt x="208" y="170"/>
                  </a:lnTo>
                  <a:lnTo>
                    <a:pt x="191" y="193"/>
                  </a:lnTo>
                  <a:lnTo>
                    <a:pt x="168" y="210"/>
                  </a:lnTo>
                  <a:lnTo>
                    <a:pt x="142" y="221"/>
                  </a:lnTo>
                  <a:lnTo>
                    <a:pt x="111" y="225"/>
                  </a:lnTo>
                  <a:lnTo>
                    <a:pt x="82" y="221"/>
                  </a:lnTo>
                  <a:lnTo>
                    <a:pt x="55" y="210"/>
                  </a:lnTo>
                  <a:lnTo>
                    <a:pt x="32" y="193"/>
                  </a:lnTo>
                  <a:lnTo>
                    <a:pt x="15" y="170"/>
                  </a:lnTo>
                  <a:lnTo>
                    <a:pt x="3" y="143"/>
                  </a:lnTo>
                  <a:lnTo>
                    <a:pt x="0" y="114"/>
                  </a:lnTo>
                  <a:lnTo>
                    <a:pt x="3" y="83"/>
                  </a:lnTo>
                  <a:lnTo>
                    <a:pt x="15" y="57"/>
                  </a:lnTo>
                  <a:lnTo>
                    <a:pt x="32" y="34"/>
                  </a:lnTo>
                  <a:lnTo>
                    <a:pt x="55" y="16"/>
                  </a:lnTo>
                  <a:lnTo>
                    <a:pt x="82" y="5"/>
                  </a:lnTo>
                  <a:lnTo>
                    <a:pt x="1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9" name="Freeform 129"/>
            <p:cNvSpPr>
              <a:spLocks noEditPoints="1"/>
            </p:cNvSpPr>
            <p:nvPr/>
          </p:nvSpPr>
          <p:spPr bwMode="auto">
            <a:xfrm>
              <a:off x="4144" y="1661"/>
              <a:ext cx="2519" cy="1566"/>
            </a:xfrm>
            <a:custGeom>
              <a:avLst/>
              <a:gdLst>
                <a:gd name="T0" fmla="*/ 699 w 5038"/>
                <a:gd name="T1" fmla="*/ 2528 h 3131"/>
                <a:gd name="T2" fmla="*/ 2323 w 5038"/>
                <a:gd name="T3" fmla="*/ 2631 h 3131"/>
                <a:gd name="T4" fmla="*/ 2715 w 5038"/>
                <a:gd name="T5" fmla="*/ 2528 h 3131"/>
                <a:gd name="T6" fmla="*/ 4341 w 5038"/>
                <a:gd name="T7" fmla="*/ 344 h 3131"/>
                <a:gd name="T8" fmla="*/ 553 w 5038"/>
                <a:gd name="T9" fmla="*/ 0 h 3131"/>
                <a:gd name="T10" fmla="*/ 4525 w 5038"/>
                <a:gd name="T11" fmla="*/ 4 h 3131"/>
                <a:gd name="T12" fmla="*/ 4596 w 5038"/>
                <a:gd name="T13" fmla="*/ 33 h 3131"/>
                <a:gd name="T14" fmla="*/ 4649 w 5038"/>
                <a:gd name="T15" fmla="*/ 87 h 3131"/>
                <a:gd name="T16" fmla="*/ 4678 w 5038"/>
                <a:gd name="T17" fmla="*/ 157 h 3131"/>
                <a:gd name="T18" fmla="*/ 4683 w 5038"/>
                <a:gd name="T19" fmla="*/ 2658 h 3131"/>
                <a:gd name="T20" fmla="*/ 4970 w 5038"/>
                <a:gd name="T21" fmla="*/ 2663 h 3131"/>
                <a:gd name="T22" fmla="*/ 5011 w 5038"/>
                <a:gd name="T23" fmla="*/ 2686 h 3131"/>
                <a:gd name="T24" fmla="*/ 5034 w 5038"/>
                <a:gd name="T25" fmla="*/ 2727 h 3131"/>
                <a:gd name="T26" fmla="*/ 5034 w 5038"/>
                <a:gd name="T27" fmla="*/ 2808 h 3131"/>
                <a:gd name="T28" fmla="*/ 5002 w 5038"/>
                <a:gd name="T29" fmla="*/ 2912 h 3131"/>
                <a:gd name="T30" fmla="*/ 4945 w 5038"/>
                <a:gd name="T31" fmla="*/ 3001 h 3131"/>
                <a:gd name="T32" fmla="*/ 4864 w 5038"/>
                <a:gd name="T33" fmla="*/ 3070 h 3131"/>
                <a:gd name="T34" fmla="*/ 4768 w 5038"/>
                <a:gd name="T35" fmla="*/ 3116 h 3131"/>
                <a:gd name="T36" fmla="*/ 4658 w 5038"/>
                <a:gd name="T37" fmla="*/ 3131 h 3131"/>
                <a:gd name="T38" fmla="*/ 3969 w 5038"/>
                <a:gd name="T39" fmla="*/ 2964 h 3131"/>
                <a:gd name="T40" fmla="*/ 3956 w 5038"/>
                <a:gd name="T41" fmla="*/ 2915 h 3131"/>
                <a:gd name="T42" fmla="*/ 3921 w 5038"/>
                <a:gd name="T43" fmla="*/ 2880 h 3131"/>
                <a:gd name="T44" fmla="*/ 3872 w 5038"/>
                <a:gd name="T45" fmla="*/ 2867 h 3131"/>
                <a:gd name="T46" fmla="*/ 3823 w 5038"/>
                <a:gd name="T47" fmla="*/ 2880 h 3131"/>
                <a:gd name="T48" fmla="*/ 3788 w 5038"/>
                <a:gd name="T49" fmla="*/ 2915 h 3131"/>
                <a:gd name="T50" fmla="*/ 3774 w 5038"/>
                <a:gd name="T51" fmla="*/ 2964 h 3131"/>
                <a:gd name="T52" fmla="*/ 3591 w 5038"/>
                <a:gd name="T53" fmla="*/ 3131 h 3131"/>
                <a:gd name="T54" fmla="*/ 3588 w 5038"/>
                <a:gd name="T55" fmla="*/ 2938 h 3131"/>
                <a:gd name="T56" fmla="*/ 3563 w 5038"/>
                <a:gd name="T57" fmla="*/ 2896 h 3131"/>
                <a:gd name="T58" fmla="*/ 3519 w 5038"/>
                <a:gd name="T59" fmla="*/ 2870 h 3131"/>
                <a:gd name="T60" fmla="*/ 3468 w 5038"/>
                <a:gd name="T61" fmla="*/ 2870 h 3131"/>
                <a:gd name="T62" fmla="*/ 3424 w 5038"/>
                <a:gd name="T63" fmla="*/ 2896 h 3131"/>
                <a:gd name="T64" fmla="*/ 3400 w 5038"/>
                <a:gd name="T65" fmla="*/ 2938 h 3131"/>
                <a:gd name="T66" fmla="*/ 3397 w 5038"/>
                <a:gd name="T67" fmla="*/ 3131 h 3131"/>
                <a:gd name="T68" fmla="*/ 324 w 5038"/>
                <a:gd name="T69" fmla="*/ 3128 h 3131"/>
                <a:gd name="T70" fmla="*/ 220 w 5038"/>
                <a:gd name="T71" fmla="*/ 3096 h 3131"/>
                <a:gd name="T72" fmla="*/ 130 w 5038"/>
                <a:gd name="T73" fmla="*/ 3038 h 3131"/>
                <a:gd name="T74" fmla="*/ 61 w 5038"/>
                <a:gd name="T75" fmla="*/ 2958 h 3131"/>
                <a:gd name="T76" fmla="*/ 17 w 5038"/>
                <a:gd name="T77" fmla="*/ 2862 h 3131"/>
                <a:gd name="T78" fmla="*/ 0 w 5038"/>
                <a:gd name="T79" fmla="*/ 2752 h 3131"/>
                <a:gd name="T80" fmla="*/ 12 w 5038"/>
                <a:gd name="T81" fmla="*/ 2706 h 3131"/>
                <a:gd name="T82" fmla="*/ 46 w 5038"/>
                <a:gd name="T83" fmla="*/ 2672 h 3131"/>
                <a:gd name="T84" fmla="*/ 93 w 5038"/>
                <a:gd name="T85" fmla="*/ 2658 h 3131"/>
                <a:gd name="T86" fmla="*/ 357 w 5038"/>
                <a:gd name="T87" fmla="*/ 197 h 3131"/>
                <a:gd name="T88" fmla="*/ 373 w 5038"/>
                <a:gd name="T89" fmla="*/ 121 h 3131"/>
                <a:gd name="T90" fmla="*/ 414 w 5038"/>
                <a:gd name="T91" fmla="*/ 58 h 3131"/>
                <a:gd name="T92" fmla="*/ 477 w 5038"/>
                <a:gd name="T93" fmla="*/ 15 h 3131"/>
                <a:gd name="T94" fmla="*/ 553 w 5038"/>
                <a:gd name="T95" fmla="*/ 0 h 3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038" h="3131">
                  <a:moveTo>
                    <a:pt x="699" y="344"/>
                  </a:moveTo>
                  <a:lnTo>
                    <a:pt x="699" y="2528"/>
                  </a:lnTo>
                  <a:lnTo>
                    <a:pt x="2323" y="2528"/>
                  </a:lnTo>
                  <a:lnTo>
                    <a:pt x="2323" y="2631"/>
                  </a:lnTo>
                  <a:lnTo>
                    <a:pt x="2715" y="2631"/>
                  </a:lnTo>
                  <a:lnTo>
                    <a:pt x="2715" y="2528"/>
                  </a:lnTo>
                  <a:lnTo>
                    <a:pt x="4341" y="2528"/>
                  </a:lnTo>
                  <a:lnTo>
                    <a:pt x="4341" y="344"/>
                  </a:lnTo>
                  <a:lnTo>
                    <a:pt x="699" y="344"/>
                  </a:lnTo>
                  <a:close/>
                  <a:moveTo>
                    <a:pt x="553" y="0"/>
                  </a:moveTo>
                  <a:lnTo>
                    <a:pt x="4487" y="0"/>
                  </a:lnTo>
                  <a:lnTo>
                    <a:pt x="4525" y="4"/>
                  </a:lnTo>
                  <a:lnTo>
                    <a:pt x="4563" y="15"/>
                  </a:lnTo>
                  <a:lnTo>
                    <a:pt x="4596" y="33"/>
                  </a:lnTo>
                  <a:lnTo>
                    <a:pt x="4625" y="58"/>
                  </a:lnTo>
                  <a:lnTo>
                    <a:pt x="4649" y="87"/>
                  </a:lnTo>
                  <a:lnTo>
                    <a:pt x="4667" y="121"/>
                  </a:lnTo>
                  <a:lnTo>
                    <a:pt x="4678" y="157"/>
                  </a:lnTo>
                  <a:lnTo>
                    <a:pt x="4683" y="197"/>
                  </a:lnTo>
                  <a:lnTo>
                    <a:pt x="4683" y="2658"/>
                  </a:lnTo>
                  <a:lnTo>
                    <a:pt x="4945" y="2658"/>
                  </a:lnTo>
                  <a:lnTo>
                    <a:pt x="4970" y="2663"/>
                  </a:lnTo>
                  <a:lnTo>
                    <a:pt x="4991" y="2672"/>
                  </a:lnTo>
                  <a:lnTo>
                    <a:pt x="5011" y="2686"/>
                  </a:lnTo>
                  <a:lnTo>
                    <a:pt x="5025" y="2706"/>
                  </a:lnTo>
                  <a:lnTo>
                    <a:pt x="5034" y="2727"/>
                  </a:lnTo>
                  <a:lnTo>
                    <a:pt x="5038" y="2752"/>
                  </a:lnTo>
                  <a:lnTo>
                    <a:pt x="5034" y="2808"/>
                  </a:lnTo>
                  <a:lnTo>
                    <a:pt x="5022" y="2862"/>
                  </a:lnTo>
                  <a:lnTo>
                    <a:pt x="5002" y="2912"/>
                  </a:lnTo>
                  <a:lnTo>
                    <a:pt x="4977" y="2958"/>
                  </a:lnTo>
                  <a:lnTo>
                    <a:pt x="4945" y="3001"/>
                  </a:lnTo>
                  <a:lnTo>
                    <a:pt x="4907" y="3038"/>
                  </a:lnTo>
                  <a:lnTo>
                    <a:pt x="4864" y="3070"/>
                  </a:lnTo>
                  <a:lnTo>
                    <a:pt x="4819" y="3096"/>
                  </a:lnTo>
                  <a:lnTo>
                    <a:pt x="4768" y="3116"/>
                  </a:lnTo>
                  <a:lnTo>
                    <a:pt x="4715" y="3128"/>
                  </a:lnTo>
                  <a:lnTo>
                    <a:pt x="4658" y="3131"/>
                  </a:lnTo>
                  <a:lnTo>
                    <a:pt x="3969" y="3131"/>
                  </a:lnTo>
                  <a:lnTo>
                    <a:pt x="3969" y="2964"/>
                  </a:lnTo>
                  <a:lnTo>
                    <a:pt x="3965" y="2938"/>
                  </a:lnTo>
                  <a:lnTo>
                    <a:pt x="3956" y="2915"/>
                  </a:lnTo>
                  <a:lnTo>
                    <a:pt x="3940" y="2896"/>
                  </a:lnTo>
                  <a:lnTo>
                    <a:pt x="3921" y="2880"/>
                  </a:lnTo>
                  <a:lnTo>
                    <a:pt x="3898" y="2870"/>
                  </a:lnTo>
                  <a:lnTo>
                    <a:pt x="3872" y="2867"/>
                  </a:lnTo>
                  <a:lnTo>
                    <a:pt x="3846" y="2870"/>
                  </a:lnTo>
                  <a:lnTo>
                    <a:pt x="3823" y="2880"/>
                  </a:lnTo>
                  <a:lnTo>
                    <a:pt x="3803" y="2896"/>
                  </a:lnTo>
                  <a:lnTo>
                    <a:pt x="3788" y="2915"/>
                  </a:lnTo>
                  <a:lnTo>
                    <a:pt x="3777" y="2938"/>
                  </a:lnTo>
                  <a:lnTo>
                    <a:pt x="3774" y="2964"/>
                  </a:lnTo>
                  <a:lnTo>
                    <a:pt x="3774" y="3131"/>
                  </a:lnTo>
                  <a:lnTo>
                    <a:pt x="3591" y="3131"/>
                  </a:lnTo>
                  <a:lnTo>
                    <a:pt x="3591" y="2964"/>
                  </a:lnTo>
                  <a:lnTo>
                    <a:pt x="3588" y="2938"/>
                  </a:lnTo>
                  <a:lnTo>
                    <a:pt x="3578" y="2915"/>
                  </a:lnTo>
                  <a:lnTo>
                    <a:pt x="3563" y="2896"/>
                  </a:lnTo>
                  <a:lnTo>
                    <a:pt x="3543" y="2880"/>
                  </a:lnTo>
                  <a:lnTo>
                    <a:pt x="3519" y="2870"/>
                  </a:lnTo>
                  <a:lnTo>
                    <a:pt x="3494" y="2867"/>
                  </a:lnTo>
                  <a:lnTo>
                    <a:pt x="3468" y="2870"/>
                  </a:lnTo>
                  <a:lnTo>
                    <a:pt x="3444" y="2880"/>
                  </a:lnTo>
                  <a:lnTo>
                    <a:pt x="3424" y="2896"/>
                  </a:lnTo>
                  <a:lnTo>
                    <a:pt x="3409" y="2915"/>
                  </a:lnTo>
                  <a:lnTo>
                    <a:pt x="3400" y="2938"/>
                  </a:lnTo>
                  <a:lnTo>
                    <a:pt x="3397" y="2964"/>
                  </a:lnTo>
                  <a:lnTo>
                    <a:pt x="3397" y="3131"/>
                  </a:lnTo>
                  <a:lnTo>
                    <a:pt x="379" y="3131"/>
                  </a:lnTo>
                  <a:lnTo>
                    <a:pt x="324" y="3128"/>
                  </a:lnTo>
                  <a:lnTo>
                    <a:pt x="270" y="3116"/>
                  </a:lnTo>
                  <a:lnTo>
                    <a:pt x="220" y="3096"/>
                  </a:lnTo>
                  <a:lnTo>
                    <a:pt x="173" y="3070"/>
                  </a:lnTo>
                  <a:lnTo>
                    <a:pt x="130" y="3038"/>
                  </a:lnTo>
                  <a:lnTo>
                    <a:pt x="93" y="3001"/>
                  </a:lnTo>
                  <a:lnTo>
                    <a:pt x="61" y="2958"/>
                  </a:lnTo>
                  <a:lnTo>
                    <a:pt x="35" y="2912"/>
                  </a:lnTo>
                  <a:lnTo>
                    <a:pt x="17" y="2862"/>
                  </a:lnTo>
                  <a:lnTo>
                    <a:pt x="5" y="2808"/>
                  </a:lnTo>
                  <a:lnTo>
                    <a:pt x="0" y="2752"/>
                  </a:lnTo>
                  <a:lnTo>
                    <a:pt x="3" y="2727"/>
                  </a:lnTo>
                  <a:lnTo>
                    <a:pt x="12" y="2706"/>
                  </a:lnTo>
                  <a:lnTo>
                    <a:pt x="27" y="2686"/>
                  </a:lnTo>
                  <a:lnTo>
                    <a:pt x="46" y="2672"/>
                  </a:lnTo>
                  <a:lnTo>
                    <a:pt x="69" y="2663"/>
                  </a:lnTo>
                  <a:lnTo>
                    <a:pt x="93" y="2658"/>
                  </a:lnTo>
                  <a:lnTo>
                    <a:pt x="357" y="2658"/>
                  </a:lnTo>
                  <a:lnTo>
                    <a:pt x="357" y="197"/>
                  </a:lnTo>
                  <a:lnTo>
                    <a:pt x="360" y="157"/>
                  </a:lnTo>
                  <a:lnTo>
                    <a:pt x="373" y="121"/>
                  </a:lnTo>
                  <a:lnTo>
                    <a:pt x="391" y="87"/>
                  </a:lnTo>
                  <a:lnTo>
                    <a:pt x="414" y="58"/>
                  </a:lnTo>
                  <a:lnTo>
                    <a:pt x="443" y="33"/>
                  </a:lnTo>
                  <a:lnTo>
                    <a:pt x="477" y="15"/>
                  </a:lnTo>
                  <a:lnTo>
                    <a:pt x="513" y="4"/>
                  </a:lnTo>
                  <a:lnTo>
                    <a:pt x="5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6252716" y="5188935"/>
            <a:ext cx="2357882" cy="501447"/>
            <a:chOff x="5229543" y="4858455"/>
            <a:chExt cx="2357882" cy="501447"/>
          </a:xfrm>
          <a:solidFill>
            <a:schemeClr val="bg1"/>
          </a:solidFill>
        </p:grpSpPr>
        <p:sp>
          <p:nvSpPr>
            <p:cNvPr id="110" name="Freeform 434"/>
            <p:cNvSpPr>
              <a:spLocks noEditPoints="1"/>
            </p:cNvSpPr>
            <p:nvPr/>
          </p:nvSpPr>
          <p:spPr bwMode="auto">
            <a:xfrm>
              <a:off x="5229543" y="4858455"/>
              <a:ext cx="501447" cy="501447"/>
            </a:xfrm>
            <a:custGeom>
              <a:avLst/>
              <a:gdLst>
                <a:gd name="T0" fmla="*/ 0 w 256"/>
                <a:gd name="T1" fmla="*/ 0 h 256"/>
                <a:gd name="T2" fmla="*/ 0 w 256"/>
                <a:gd name="T3" fmla="*/ 256 h 256"/>
                <a:gd name="T4" fmla="*/ 256 w 256"/>
                <a:gd name="T5" fmla="*/ 256 h 256"/>
                <a:gd name="T6" fmla="*/ 256 w 256"/>
                <a:gd name="T7" fmla="*/ 0 h 256"/>
                <a:gd name="T8" fmla="*/ 0 w 256"/>
                <a:gd name="T9" fmla="*/ 0 h 256"/>
                <a:gd name="T10" fmla="*/ 154 w 256"/>
                <a:gd name="T11" fmla="*/ 128 h 256"/>
                <a:gd name="T12" fmla="*/ 136 w 256"/>
                <a:gd name="T13" fmla="*/ 128 h 256"/>
                <a:gd name="T14" fmla="*/ 136 w 256"/>
                <a:gd name="T15" fmla="*/ 128 h 256"/>
                <a:gd name="T16" fmla="*/ 136 w 256"/>
                <a:gd name="T17" fmla="*/ 192 h 256"/>
                <a:gd name="T18" fmla="*/ 110 w 256"/>
                <a:gd name="T19" fmla="*/ 192 h 256"/>
                <a:gd name="T20" fmla="*/ 110 w 256"/>
                <a:gd name="T21" fmla="*/ 192 h 256"/>
                <a:gd name="T22" fmla="*/ 110 w 256"/>
                <a:gd name="T23" fmla="*/ 128 h 256"/>
                <a:gd name="T24" fmla="*/ 98 w 256"/>
                <a:gd name="T25" fmla="*/ 128 h 256"/>
                <a:gd name="T26" fmla="*/ 98 w 256"/>
                <a:gd name="T27" fmla="*/ 106 h 256"/>
                <a:gd name="T28" fmla="*/ 110 w 256"/>
                <a:gd name="T29" fmla="*/ 106 h 256"/>
                <a:gd name="T30" fmla="*/ 110 w 256"/>
                <a:gd name="T31" fmla="*/ 90 h 256"/>
                <a:gd name="T32" fmla="*/ 110 w 256"/>
                <a:gd name="T33" fmla="*/ 90 h 256"/>
                <a:gd name="T34" fmla="*/ 112 w 256"/>
                <a:gd name="T35" fmla="*/ 82 h 256"/>
                <a:gd name="T36" fmla="*/ 116 w 256"/>
                <a:gd name="T37" fmla="*/ 74 h 256"/>
                <a:gd name="T38" fmla="*/ 118 w 256"/>
                <a:gd name="T39" fmla="*/ 70 h 256"/>
                <a:gd name="T40" fmla="*/ 124 w 256"/>
                <a:gd name="T41" fmla="*/ 66 h 256"/>
                <a:gd name="T42" fmla="*/ 130 w 256"/>
                <a:gd name="T43" fmla="*/ 64 h 256"/>
                <a:gd name="T44" fmla="*/ 136 w 256"/>
                <a:gd name="T45" fmla="*/ 64 h 256"/>
                <a:gd name="T46" fmla="*/ 156 w 256"/>
                <a:gd name="T47" fmla="*/ 64 h 256"/>
                <a:gd name="T48" fmla="*/ 156 w 256"/>
                <a:gd name="T49" fmla="*/ 86 h 256"/>
                <a:gd name="T50" fmla="*/ 156 w 256"/>
                <a:gd name="T51" fmla="*/ 86 h 256"/>
                <a:gd name="T52" fmla="*/ 142 w 256"/>
                <a:gd name="T53" fmla="*/ 86 h 256"/>
                <a:gd name="T54" fmla="*/ 142 w 256"/>
                <a:gd name="T55" fmla="*/ 86 h 256"/>
                <a:gd name="T56" fmla="*/ 138 w 256"/>
                <a:gd name="T57" fmla="*/ 86 h 256"/>
                <a:gd name="T58" fmla="*/ 138 w 256"/>
                <a:gd name="T59" fmla="*/ 88 h 256"/>
                <a:gd name="T60" fmla="*/ 136 w 256"/>
                <a:gd name="T61" fmla="*/ 92 h 256"/>
                <a:gd name="T62" fmla="*/ 136 w 256"/>
                <a:gd name="T63" fmla="*/ 106 h 256"/>
                <a:gd name="T64" fmla="*/ 156 w 256"/>
                <a:gd name="T65" fmla="*/ 106 h 256"/>
                <a:gd name="T66" fmla="*/ 154 w 256"/>
                <a:gd name="T67" fmla="*/ 12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6" h="256">
                  <a:moveTo>
                    <a:pt x="0" y="0"/>
                  </a:moveTo>
                  <a:lnTo>
                    <a:pt x="0" y="256"/>
                  </a:lnTo>
                  <a:lnTo>
                    <a:pt x="256" y="256"/>
                  </a:lnTo>
                  <a:lnTo>
                    <a:pt x="256" y="0"/>
                  </a:lnTo>
                  <a:lnTo>
                    <a:pt x="0" y="0"/>
                  </a:lnTo>
                  <a:close/>
                  <a:moveTo>
                    <a:pt x="154" y="128"/>
                  </a:moveTo>
                  <a:lnTo>
                    <a:pt x="136" y="128"/>
                  </a:lnTo>
                  <a:lnTo>
                    <a:pt x="136" y="128"/>
                  </a:lnTo>
                  <a:lnTo>
                    <a:pt x="136" y="192"/>
                  </a:lnTo>
                  <a:lnTo>
                    <a:pt x="110" y="192"/>
                  </a:lnTo>
                  <a:lnTo>
                    <a:pt x="110" y="192"/>
                  </a:lnTo>
                  <a:lnTo>
                    <a:pt x="110" y="128"/>
                  </a:lnTo>
                  <a:lnTo>
                    <a:pt x="98" y="128"/>
                  </a:lnTo>
                  <a:lnTo>
                    <a:pt x="98" y="106"/>
                  </a:lnTo>
                  <a:lnTo>
                    <a:pt x="110" y="106"/>
                  </a:lnTo>
                  <a:lnTo>
                    <a:pt x="110" y="90"/>
                  </a:lnTo>
                  <a:lnTo>
                    <a:pt x="110" y="90"/>
                  </a:lnTo>
                  <a:lnTo>
                    <a:pt x="112" y="82"/>
                  </a:lnTo>
                  <a:lnTo>
                    <a:pt x="116" y="74"/>
                  </a:lnTo>
                  <a:lnTo>
                    <a:pt x="118" y="70"/>
                  </a:lnTo>
                  <a:lnTo>
                    <a:pt x="124" y="66"/>
                  </a:lnTo>
                  <a:lnTo>
                    <a:pt x="130" y="64"/>
                  </a:lnTo>
                  <a:lnTo>
                    <a:pt x="136" y="64"/>
                  </a:lnTo>
                  <a:lnTo>
                    <a:pt x="156" y="64"/>
                  </a:lnTo>
                  <a:lnTo>
                    <a:pt x="156" y="86"/>
                  </a:lnTo>
                  <a:lnTo>
                    <a:pt x="156" y="86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38" y="86"/>
                  </a:lnTo>
                  <a:lnTo>
                    <a:pt x="138" y="88"/>
                  </a:lnTo>
                  <a:lnTo>
                    <a:pt x="136" y="92"/>
                  </a:lnTo>
                  <a:lnTo>
                    <a:pt x="136" y="106"/>
                  </a:lnTo>
                  <a:lnTo>
                    <a:pt x="156" y="106"/>
                  </a:lnTo>
                  <a:lnTo>
                    <a:pt x="154" y="12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1" name="Freeform 435"/>
            <p:cNvSpPr>
              <a:spLocks noEditPoints="1"/>
            </p:cNvSpPr>
            <p:nvPr/>
          </p:nvSpPr>
          <p:spPr bwMode="auto">
            <a:xfrm>
              <a:off x="7085978" y="4858455"/>
              <a:ext cx="501447" cy="501447"/>
            </a:xfrm>
            <a:custGeom>
              <a:avLst/>
              <a:gdLst>
                <a:gd name="T0" fmla="*/ 0 w 256"/>
                <a:gd name="T1" fmla="*/ 256 h 256"/>
                <a:gd name="T2" fmla="*/ 256 w 256"/>
                <a:gd name="T3" fmla="*/ 0 h 256"/>
                <a:gd name="T4" fmla="*/ 178 w 256"/>
                <a:gd name="T5" fmla="*/ 102 h 256"/>
                <a:gd name="T6" fmla="*/ 178 w 256"/>
                <a:gd name="T7" fmla="*/ 106 h 256"/>
                <a:gd name="T8" fmla="*/ 178 w 256"/>
                <a:gd name="T9" fmla="*/ 118 h 256"/>
                <a:gd name="T10" fmla="*/ 168 w 256"/>
                <a:gd name="T11" fmla="*/ 144 h 256"/>
                <a:gd name="T12" fmla="*/ 148 w 256"/>
                <a:gd name="T13" fmla="*/ 166 h 256"/>
                <a:gd name="T14" fmla="*/ 122 w 256"/>
                <a:gd name="T15" fmla="*/ 178 h 256"/>
                <a:gd name="T16" fmla="*/ 104 w 256"/>
                <a:gd name="T17" fmla="*/ 180 h 256"/>
                <a:gd name="T18" fmla="*/ 82 w 256"/>
                <a:gd name="T19" fmla="*/ 176 h 256"/>
                <a:gd name="T20" fmla="*/ 64 w 256"/>
                <a:gd name="T21" fmla="*/ 168 h 256"/>
                <a:gd name="T22" fmla="*/ 70 w 256"/>
                <a:gd name="T23" fmla="*/ 168 h 256"/>
                <a:gd name="T24" fmla="*/ 78 w 256"/>
                <a:gd name="T25" fmla="*/ 168 h 256"/>
                <a:gd name="T26" fmla="*/ 96 w 256"/>
                <a:gd name="T27" fmla="*/ 162 h 256"/>
                <a:gd name="T28" fmla="*/ 102 w 256"/>
                <a:gd name="T29" fmla="*/ 158 h 256"/>
                <a:gd name="T30" fmla="*/ 88 w 256"/>
                <a:gd name="T31" fmla="*/ 152 h 256"/>
                <a:gd name="T32" fmla="*/ 78 w 256"/>
                <a:gd name="T33" fmla="*/ 138 h 256"/>
                <a:gd name="T34" fmla="*/ 82 w 256"/>
                <a:gd name="T35" fmla="*/ 140 h 256"/>
                <a:gd name="T36" fmla="*/ 90 w 256"/>
                <a:gd name="T37" fmla="*/ 138 h 256"/>
                <a:gd name="T38" fmla="*/ 82 w 256"/>
                <a:gd name="T39" fmla="*/ 136 h 256"/>
                <a:gd name="T40" fmla="*/ 70 w 256"/>
                <a:gd name="T41" fmla="*/ 122 h 256"/>
                <a:gd name="T42" fmla="*/ 68 w 256"/>
                <a:gd name="T43" fmla="*/ 112 h 256"/>
                <a:gd name="T44" fmla="*/ 68 w 256"/>
                <a:gd name="T45" fmla="*/ 112 h 256"/>
                <a:gd name="T46" fmla="*/ 80 w 256"/>
                <a:gd name="T47" fmla="*/ 116 h 256"/>
                <a:gd name="T48" fmla="*/ 76 w 256"/>
                <a:gd name="T49" fmla="*/ 112 h 256"/>
                <a:gd name="T50" fmla="*/ 70 w 256"/>
                <a:gd name="T51" fmla="*/ 100 h 256"/>
                <a:gd name="T52" fmla="*/ 70 w 256"/>
                <a:gd name="T53" fmla="*/ 94 h 256"/>
                <a:gd name="T54" fmla="*/ 72 w 256"/>
                <a:gd name="T55" fmla="*/ 80 h 256"/>
                <a:gd name="T56" fmla="*/ 84 w 256"/>
                <a:gd name="T57" fmla="*/ 92 h 256"/>
                <a:gd name="T58" fmla="*/ 110 w 256"/>
                <a:gd name="T59" fmla="*/ 106 h 256"/>
                <a:gd name="T60" fmla="*/ 126 w 256"/>
                <a:gd name="T61" fmla="*/ 108 h 256"/>
                <a:gd name="T62" fmla="*/ 126 w 256"/>
                <a:gd name="T63" fmla="*/ 102 h 256"/>
                <a:gd name="T64" fmla="*/ 134 w 256"/>
                <a:gd name="T65" fmla="*/ 84 h 256"/>
                <a:gd name="T66" fmla="*/ 152 w 256"/>
                <a:gd name="T67" fmla="*/ 76 h 256"/>
                <a:gd name="T68" fmla="*/ 162 w 256"/>
                <a:gd name="T69" fmla="*/ 78 h 256"/>
                <a:gd name="T70" fmla="*/ 172 w 256"/>
                <a:gd name="T71" fmla="*/ 84 h 256"/>
                <a:gd name="T72" fmla="*/ 188 w 256"/>
                <a:gd name="T73" fmla="*/ 78 h 256"/>
                <a:gd name="T74" fmla="*/ 184 w 256"/>
                <a:gd name="T75" fmla="*/ 86 h 256"/>
                <a:gd name="T76" fmla="*/ 176 w 256"/>
                <a:gd name="T77" fmla="*/ 92 h 256"/>
                <a:gd name="T78" fmla="*/ 192 w 256"/>
                <a:gd name="T79" fmla="*/ 88 h 256"/>
                <a:gd name="T80" fmla="*/ 178 w 256"/>
                <a:gd name="T81" fmla="*/ 102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56" h="256">
                  <a:moveTo>
                    <a:pt x="0" y="0"/>
                  </a:moveTo>
                  <a:lnTo>
                    <a:pt x="0" y="256"/>
                  </a:lnTo>
                  <a:lnTo>
                    <a:pt x="256" y="256"/>
                  </a:lnTo>
                  <a:lnTo>
                    <a:pt x="256" y="0"/>
                  </a:lnTo>
                  <a:lnTo>
                    <a:pt x="0" y="0"/>
                  </a:lnTo>
                  <a:close/>
                  <a:moveTo>
                    <a:pt x="178" y="102"/>
                  </a:moveTo>
                  <a:lnTo>
                    <a:pt x="178" y="102"/>
                  </a:lnTo>
                  <a:lnTo>
                    <a:pt x="178" y="106"/>
                  </a:lnTo>
                  <a:lnTo>
                    <a:pt x="178" y="106"/>
                  </a:lnTo>
                  <a:lnTo>
                    <a:pt x="178" y="118"/>
                  </a:lnTo>
                  <a:lnTo>
                    <a:pt x="174" y="132"/>
                  </a:lnTo>
                  <a:lnTo>
                    <a:pt x="168" y="144"/>
                  </a:lnTo>
                  <a:lnTo>
                    <a:pt x="160" y="156"/>
                  </a:lnTo>
                  <a:lnTo>
                    <a:pt x="148" y="166"/>
                  </a:lnTo>
                  <a:lnTo>
                    <a:pt x="136" y="172"/>
                  </a:lnTo>
                  <a:lnTo>
                    <a:pt x="122" y="178"/>
                  </a:lnTo>
                  <a:lnTo>
                    <a:pt x="104" y="180"/>
                  </a:lnTo>
                  <a:lnTo>
                    <a:pt x="104" y="180"/>
                  </a:lnTo>
                  <a:lnTo>
                    <a:pt x="94" y="178"/>
                  </a:lnTo>
                  <a:lnTo>
                    <a:pt x="82" y="176"/>
                  </a:lnTo>
                  <a:lnTo>
                    <a:pt x="72" y="172"/>
                  </a:lnTo>
                  <a:lnTo>
                    <a:pt x="64" y="168"/>
                  </a:lnTo>
                  <a:lnTo>
                    <a:pt x="64" y="168"/>
                  </a:lnTo>
                  <a:lnTo>
                    <a:pt x="70" y="168"/>
                  </a:lnTo>
                  <a:lnTo>
                    <a:pt x="70" y="168"/>
                  </a:lnTo>
                  <a:lnTo>
                    <a:pt x="78" y="168"/>
                  </a:lnTo>
                  <a:lnTo>
                    <a:pt x="88" y="166"/>
                  </a:lnTo>
                  <a:lnTo>
                    <a:pt x="96" y="162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94" y="156"/>
                  </a:lnTo>
                  <a:lnTo>
                    <a:pt x="88" y="152"/>
                  </a:lnTo>
                  <a:lnTo>
                    <a:pt x="82" y="146"/>
                  </a:lnTo>
                  <a:lnTo>
                    <a:pt x="78" y="138"/>
                  </a:lnTo>
                  <a:lnTo>
                    <a:pt x="78" y="138"/>
                  </a:lnTo>
                  <a:lnTo>
                    <a:pt x="82" y="140"/>
                  </a:lnTo>
                  <a:lnTo>
                    <a:pt x="82" y="140"/>
                  </a:lnTo>
                  <a:lnTo>
                    <a:pt x="90" y="138"/>
                  </a:lnTo>
                  <a:lnTo>
                    <a:pt x="90" y="138"/>
                  </a:lnTo>
                  <a:lnTo>
                    <a:pt x="82" y="136"/>
                  </a:lnTo>
                  <a:lnTo>
                    <a:pt x="74" y="130"/>
                  </a:lnTo>
                  <a:lnTo>
                    <a:pt x="70" y="122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74" y="114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76" y="112"/>
                  </a:lnTo>
                  <a:lnTo>
                    <a:pt x="72" y="106"/>
                  </a:lnTo>
                  <a:lnTo>
                    <a:pt x="70" y="100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70" y="86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84" y="92"/>
                  </a:lnTo>
                  <a:lnTo>
                    <a:pt x="96" y="100"/>
                  </a:lnTo>
                  <a:lnTo>
                    <a:pt x="110" y="106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26" y="102"/>
                  </a:lnTo>
                  <a:lnTo>
                    <a:pt x="128" y="92"/>
                  </a:lnTo>
                  <a:lnTo>
                    <a:pt x="134" y="84"/>
                  </a:lnTo>
                  <a:lnTo>
                    <a:pt x="142" y="78"/>
                  </a:lnTo>
                  <a:lnTo>
                    <a:pt x="152" y="76"/>
                  </a:lnTo>
                  <a:lnTo>
                    <a:pt x="152" y="76"/>
                  </a:lnTo>
                  <a:lnTo>
                    <a:pt x="162" y="78"/>
                  </a:lnTo>
                  <a:lnTo>
                    <a:pt x="172" y="84"/>
                  </a:lnTo>
                  <a:lnTo>
                    <a:pt x="172" y="84"/>
                  </a:lnTo>
                  <a:lnTo>
                    <a:pt x="180" y="82"/>
                  </a:lnTo>
                  <a:lnTo>
                    <a:pt x="188" y="78"/>
                  </a:lnTo>
                  <a:lnTo>
                    <a:pt x="188" y="78"/>
                  </a:lnTo>
                  <a:lnTo>
                    <a:pt x="184" y="86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92" y="88"/>
                  </a:lnTo>
                  <a:lnTo>
                    <a:pt x="192" y="88"/>
                  </a:lnTo>
                  <a:lnTo>
                    <a:pt x="186" y="96"/>
                  </a:lnTo>
                  <a:lnTo>
                    <a:pt x="178" y="102"/>
                  </a:lnTo>
                  <a:lnTo>
                    <a:pt x="178" y="10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2" name="Freeform 437"/>
            <p:cNvSpPr>
              <a:spLocks noEditPoints="1"/>
            </p:cNvSpPr>
            <p:nvPr/>
          </p:nvSpPr>
          <p:spPr bwMode="auto">
            <a:xfrm>
              <a:off x="5848355" y="4858455"/>
              <a:ext cx="501447" cy="501447"/>
            </a:xfrm>
            <a:custGeom>
              <a:avLst/>
              <a:gdLst>
                <a:gd name="T0" fmla="*/ 0 w 256"/>
                <a:gd name="T1" fmla="*/ 256 h 256"/>
                <a:gd name="T2" fmla="*/ 256 w 256"/>
                <a:gd name="T3" fmla="*/ 0 h 256"/>
                <a:gd name="T4" fmla="*/ 94 w 256"/>
                <a:gd name="T5" fmla="*/ 188 h 256"/>
                <a:gd name="T6" fmla="*/ 66 w 256"/>
                <a:gd name="T7" fmla="*/ 106 h 256"/>
                <a:gd name="T8" fmla="*/ 94 w 256"/>
                <a:gd name="T9" fmla="*/ 188 h 256"/>
                <a:gd name="T10" fmla="*/ 80 w 256"/>
                <a:gd name="T11" fmla="*/ 96 h 256"/>
                <a:gd name="T12" fmla="*/ 74 w 256"/>
                <a:gd name="T13" fmla="*/ 94 h 256"/>
                <a:gd name="T14" fmla="*/ 66 w 256"/>
                <a:gd name="T15" fmla="*/ 86 h 256"/>
                <a:gd name="T16" fmla="*/ 64 w 256"/>
                <a:gd name="T17" fmla="*/ 80 h 256"/>
                <a:gd name="T18" fmla="*/ 68 w 256"/>
                <a:gd name="T19" fmla="*/ 70 h 256"/>
                <a:gd name="T20" fmla="*/ 80 w 256"/>
                <a:gd name="T21" fmla="*/ 66 h 256"/>
                <a:gd name="T22" fmla="*/ 86 w 256"/>
                <a:gd name="T23" fmla="*/ 68 h 256"/>
                <a:gd name="T24" fmla="*/ 94 w 256"/>
                <a:gd name="T25" fmla="*/ 76 h 256"/>
                <a:gd name="T26" fmla="*/ 94 w 256"/>
                <a:gd name="T27" fmla="*/ 80 h 256"/>
                <a:gd name="T28" fmla="*/ 90 w 256"/>
                <a:gd name="T29" fmla="*/ 90 h 256"/>
                <a:gd name="T30" fmla="*/ 80 w 256"/>
                <a:gd name="T31" fmla="*/ 96 h 256"/>
                <a:gd name="T32" fmla="*/ 192 w 256"/>
                <a:gd name="T33" fmla="*/ 188 h 256"/>
                <a:gd name="T34" fmla="*/ 164 w 256"/>
                <a:gd name="T35" fmla="*/ 144 h 256"/>
                <a:gd name="T36" fmla="*/ 164 w 256"/>
                <a:gd name="T37" fmla="*/ 138 h 256"/>
                <a:gd name="T38" fmla="*/ 158 w 256"/>
                <a:gd name="T39" fmla="*/ 128 h 256"/>
                <a:gd name="T40" fmla="*/ 150 w 256"/>
                <a:gd name="T41" fmla="*/ 126 h 256"/>
                <a:gd name="T42" fmla="*/ 142 w 256"/>
                <a:gd name="T43" fmla="*/ 130 h 256"/>
                <a:gd name="T44" fmla="*/ 136 w 256"/>
                <a:gd name="T45" fmla="*/ 136 h 256"/>
                <a:gd name="T46" fmla="*/ 136 w 256"/>
                <a:gd name="T47" fmla="*/ 188 h 256"/>
                <a:gd name="T48" fmla="*/ 108 w 256"/>
                <a:gd name="T49" fmla="*/ 188 h 256"/>
                <a:gd name="T50" fmla="*/ 136 w 256"/>
                <a:gd name="T51" fmla="*/ 106 h 256"/>
                <a:gd name="T52" fmla="*/ 136 w 256"/>
                <a:gd name="T53" fmla="*/ 118 h 256"/>
                <a:gd name="T54" fmla="*/ 144 w 256"/>
                <a:gd name="T55" fmla="*/ 110 h 256"/>
                <a:gd name="T56" fmla="*/ 160 w 256"/>
                <a:gd name="T57" fmla="*/ 104 h 256"/>
                <a:gd name="T58" fmla="*/ 168 w 256"/>
                <a:gd name="T59" fmla="*/ 106 h 256"/>
                <a:gd name="T60" fmla="*/ 178 w 256"/>
                <a:gd name="T61" fmla="*/ 110 h 256"/>
                <a:gd name="T62" fmla="*/ 186 w 256"/>
                <a:gd name="T63" fmla="*/ 118 h 256"/>
                <a:gd name="T64" fmla="*/ 192 w 256"/>
                <a:gd name="T65" fmla="*/ 132 h 256"/>
                <a:gd name="T66" fmla="*/ 192 w 256"/>
                <a:gd name="T67" fmla="*/ 18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6" h="256">
                  <a:moveTo>
                    <a:pt x="0" y="0"/>
                  </a:moveTo>
                  <a:lnTo>
                    <a:pt x="0" y="256"/>
                  </a:lnTo>
                  <a:lnTo>
                    <a:pt x="256" y="256"/>
                  </a:lnTo>
                  <a:lnTo>
                    <a:pt x="256" y="0"/>
                  </a:lnTo>
                  <a:lnTo>
                    <a:pt x="0" y="0"/>
                  </a:lnTo>
                  <a:close/>
                  <a:moveTo>
                    <a:pt x="94" y="188"/>
                  </a:moveTo>
                  <a:lnTo>
                    <a:pt x="66" y="188"/>
                  </a:lnTo>
                  <a:lnTo>
                    <a:pt x="66" y="106"/>
                  </a:lnTo>
                  <a:lnTo>
                    <a:pt x="94" y="106"/>
                  </a:lnTo>
                  <a:lnTo>
                    <a:pt x="94" y="188"/>
                  </a:lnTo>
                  <a:close/>
                  <a:moveTo>
                    <a:pt x="80" y="96"/>
                  </a:moveTo>
                  <a:lnTo>
                    <a:pt x="80" y="96"/>
                  </a:lnTo>
                  <a:lnTo>
                    <a:pt x="80" y="96"/>
                  </a:lnTo>
                  <a:lnTo>
                    <a:pt x="74" y="94"/>
                  </a:lnTo>
                  <a:lnTo>
                    <a:pt x="68" y="90"/>
                  </a:lnTo>
                  <a:lnTo>
                    <a:pt x="66" y="86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6" y="76"/>
                  </a:lnTo>
                  <a:lnTo>
                    <a:pt x="68" y="70"/>
                  </a:lnTo>
                  <a:lnTo>
                    <a:pt x="74" y="68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6" y="68"/>
                  </a:lnTo>
                  <a:lnTo>
                    <a:pt x="90" y="70"/>
                  </a:lnTo>
                  <a:lnTo>
                    <a:pt x="94" y="76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6"/>
                  </a:lnTo>
                  <a:lnTo>
                    <a:pt x="90" y="90"/>
                  </a:lnTo>
                  <a:lnTo>
                    <a:pt x="86" y="94"/>
                  </a:lnTo>
                  <a:lnTo>
                    <a:pt x="80" y="96"/>
                  </a:lnTo>
                  <a:lnTo>
                    <a:pt x="80" y="96"/>
                  </a:lnTo>
                  <a:close/>
                  <a:moveTo>
                    <a:pt x="192" y="188"/>
                  </a:moveTo>
                  <a:lnTo>
                    <a:pt x="164" y="188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38"/>
                  </a:lnTo>
                  <a:lnTo>
                    <a:pt x="162" y="132"/>
                  </a:lnTo>
                  <a:lnTo>
                    <a:pt x="158" y="128"/>
                  </a:lnTo>
                  <a:lnTo>
                    <a:pt x="150" y="126"/>
                  </a:lnTo>
                  <a:lnTo>
                    <a:pt x="150" y="126"/>
                  </a:lnTo>
                  <a:lnTo>
                    <a:pt x="146" y="126"/>
                  </a:lnTo>
                  <a:lnTo>
                    <a:pt x="142" y="130"/>
                  </a:lnTo>
                  <a:lnTo>
                    <a:pt x="136" y="136"/>
                  </a:lnTo>
                  <a:lnTo>
                    <a:pt x="136" y="136"/>
                  </a:lnTo>
                  <a:lnTo>
                    <a:pt x="136" y="142"/>
                  </a:lnTo>
                  <a:lnTo>
                    <a:pt x="136" y="188"/>
                  </a:lnTo>
                  <a:lnTo>
                    <a:pt x="108" y="188"/>
                  </a:lnTo>
                  <a:lnTo>
                    <a:pt x="108" y="188"/>
                  </a:lnTo>
                  <a:lnTo>
                    <a:pt x="108" y="106"/>
                  </a:lnTo>
                  <a:lnTo>
                    <a:pt x="136" y="106"/>
                  </a:lnTo>
                  <a:lnTo>
                    <a:pt x="136" y="118"/>
                  </a:lnTo>
                  <a:lnTo>
                    <a:pt x="136" y="118"/>
                  </a:lnTo>
                  <a:lnTo>
                    <a:pt x="140" y="114"/>
                  </a:lnTo>
                  <a:lnTo>
                    <a:pt x="144" y="110"/>
                  </a:lnTo>
                  <a:lnTo>
                    <a:pt x="152" y="106"/>
                  </a:lnTo>
                  <a:lnTo>
                    <a:pt x="160" y="104"/>
                  </a:lnTo>
                  <a:lnTo>
                    <a:pt x="160" y="104"/>
                  </a:lnTo>
                  <a:lnTo>
                    <a:pt x="168" y="106"/>
                  </a:lnTo>
                  <a:lnTo>
                    <a:pt x="174" y="106"/>
                  </a:lnTo>
                  <a:lnTo>
                    <a:pt x="178" y="110"/>
                  </a:lnTo>
                  <a:lnTo>
                    <a:pt x="184" y="114"/>
                  </a:lnTo>
                  <a:lnTo>
                    <a:pt x="186" y="118"/>
                  </a:lnTo>
                  <a:lnTo>
                    <a:pt x="190" y="126"/>
                  </a:lnTo>
                  <a:lnTo>
                    <a:pt x="192" y="132"/>
                  </a:lnTo>
                  <a:lnTo>
                    <a:pt x="192" y="142"/>
                  </a:lnTo>
                  <a:lnTo>
                    <a:pt x="192" y="18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113" name="Group 112"/>
            <p:cNvGrpSpPr/>
            <p:nvPr/>
          </p:nvGrpSpPr>
          <p:grpSpPr>
            <a:xfrm>
              <a:off x="6467167" y="4858455"/>
              <a:ext cx="501447" cy="501447"/>
              <a:chOff x="6195901" y="2268503"/>
              <a:chExt cx="501447" cy="501447"/>
            </a:xfrm>
            <a:grpFill/>
          </p:grpSpPr>
          <p:sp>
            <p:nvSpPr>
              <p:cNvPr id="115" name="Freeform 456"/>
              <p:cNvSpPr>
                <a:spLocks/>
              </p:cNvSpPr>
              <p:nvPr/>
            </p:nvSpPr>
            <p:spPr bwMode="auto">
              <a:xfrm>
                <a:off x="6356521" y="2530979"/>
                <a:ext cx="43093" cy="82269"/>
              </a:xfrm>
              <a:custGeom>
                <a:avLst/>
                <a:gdLst>
                  <a:gd name="T0" fmla="*/ 0 w 22"/>
                  <a:gd name="T1" fmla="*/ 6 h 42"/>
                  <a:gd name="T2" fmla="*/ 8 w 22"/>
                  <a:gd name="T3" fmla="*/ 6 h 42"/>
                  <a:gd name="T4" fmla="*/ 8 w 22"/>
                  <a:gd name="T5" fmla="*/ 42 h 42"/>
                  <a:gd name="T6" fmla="*/ 16 w 22"/>
                  <a:gd name="T7" fmla="*/ 42 h 42"/>
                  <a:gd name="T8" fmla="*/ 16 w 22"/>
                  <a:gd name="T9" fmla="*/ 6 h 42"/>
                  <a:gd name="T10" fmla="*/ 22 w 22"/>
                  <a:gd name="T11" fmla="*/ 6 h 42"/>
                  <a:gd name="T12" fmla="*/ 22 w 22"/>
                  <a:gd name="T13" fmla="*/ 0 h 42"/>
                  <a:gd name="T14" fmla="*/ 0 w 22"/>
                  <a:gd name="T15" fmla="*/ 0 h 42"/>
                  <a:gd name="T16" fmla="*/ 0 w 22"/>
                  <a:gd name="T17" fmla="*/ 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42">
                    <a:moveTo>
                      <a:pt x="0" y="6"/>
                    </a:moveTo>
                    <a:lnTo>
                      <a:pt x="8" y="6"/>
                    </a:lnTo>
                    <a:lnTo>
                      <a:pt x="8" y="42"/>
                    </a:lnTo>
                    <a:lnTo>
                      <a:pt x="16" y="42"/>
                    </a:lnTo>
                    <a:lnTo>
                      <a:pt x="16" y="6"/>
                    </a:lnTo>
                    <a:lnTo>
                      <a:pt x="22" y="6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6" name="Freeform 457"/>
              <p:cNvSpPr>
                <a:spLocks/>
              </p:cNvSpPr>
              <p:nvPr/>
            </p:nvSpPr>
            <p:spPr bwMode="auto">
              <a:xfrm>
                <a:off x="6438789" y="2433040"/>
                <a:ext cx="11753" cy="47011"/>
              </a:xfrm>
              <a:custGeom>
                <a:avLst/>
                <a:gdLst>
                  <a:gd name="T0" fmla="*/ 4 w 6"/>
                  <a:gd name="T1" fmla="*/ 24 h 24"/>
                  <a:gd name="T2" fmla="*/ 4 w 6"/>
                  <a:gd name="T3" fmla="*/ 24 h 24"/>
                  <a:gd name="T4" fmla="*/ 6 w 6"/>
                  <a:gd name="T5" fmla="*/ 24 h 24"/>
                  <a:gd name="T6" fmla="*/ 6 w 6"/>
                  <a:gd name="T7" fmla="*/ 24 h 24"/>
                  <a:gd name="T8" fmla="*/ 6 w 6"/>
                  <a:gd name="T9" fmla="*/ 22 h 24"/>
                  <a:gd name="T10" fmla="*/ 6 w 6"/>
                  <a:gd name="T11" fmla="*/ 2 h 24"/>
                  <a:gd name="T12" fmla="*/ 6 w 6"/>
                  <a:gd name="T13" fmla="*/ 2 h 24"/>
                  <a:gd name="T14" fmla="*/ 6 w 6"/>
                  <a:gd name="T15" fmla="*/ 0 h 24"/>
                  <a:gd name="T16" fmla="*/ 6 w 6"/>
                  <a:gd name="T17" fmla="*/ 0 h 24"/>
                  <a:gd name="T18" fmla="*/ 4 w 6"/>
                  <a:gd name="T19" fmla="*/ 0 h 24"/>
                  <a:gd name="T20" fmla="*/ 4 w 6"/>
                  <a:gd name="T21" fmla="*/ 0 h 24"/>
                  <a:gd name="T22" fmla="*/ 0 w 6"/>
                  <a:gd name="T23" fmla="*/ 0 h 24"/>
                  <a:gd name="T24" fmla="*/ 0 w 6"/>
                  <a:gd name="T25" fmla="*/ 0 h 24"/>
                  <a:gd name="T26" fmla="*/ 0 w 6"/>
                  <a:gd name="T27" fmla="*/ 2 h 24"/>
                  <a:gd name="T28" fmla="*/ 0 w 6"/>
                  <a:gd name="T29" fmla="*/ 22 h 24"/>
                  <a:gd name="T30" fmla="*/ 0 w 6"/>
                  <a:gd name="T31" fmla="*/ 22 h 24"/>
                  <a:gd name="T32" fmla="*/ 0 w 6"/>
                  <a:gd name="T33" fmla="*/ 24 h 24"/>
                  <a:gd name="T34" fmla="*/ 0 w 6"/>
                  <a:gd name="T35" fmla="*/ 24 h 24"/>
                  <a:gd name="T36" fmla="*/ 4 w 6"/>
                  <a:gd name="T37" fmla="*/ 24 h 24"/>
                  <a:gd name="T38" fmla="*/ 4 w 6"/>
                  <a:gd name="T3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" h="24">
                    <a:moveTo>
                      <a:pt x="4" y="24"/>
                    </a:moveTo>
                    <a:lnTo>
                      <a:pt x="4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24"/>
                    </a:lnTo>
                    <a:lnTo>
                      <a:pt x="4" y="24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7" name="Freeform 458"/>
              <p:cNvSpPr>
                <a:spLocks noEditPoints="1"/>
              </p:cNvSpPr>
              <p:nvPr/>
            </p:nvSpPr>
            <p:spPr bwMode="auto">
              <a:xfrm>
                <a:off x="6450542" y="2530979"/>
                <a:ext cx="39176" cy="86186"/>
              </a:xfrm>
              <a:custGeom>
                <a:avLst/>
                <a:gdLst>
                  <a:gd name="T0" fmla="*/ 14 w 20"/>
                  <a:gd name="T1" fmla="*/ 10 h 44"/>
                  <a:gd name="T2" fmla="*/ 14 w 20"/>
                  <a:gd name="T3" fmla="*/ 10 h 44"/>
                  <a:gd name="T4" fmla="*/ 10 w 20"/>
                  <a:gd name="T5" fmla="*/ 10 h 44"/>
                  <a:gd name="T6" fmla="*/ 10 w 20"/>
                  <a:gd name="T7" fmla="*/ 10 h 44"/>
                  <a:gd name="T8" fmla="*/ 8 w 20"/>
                  <a:gd name="T9" fmla="*/ 14 h 44"/>
                  <a:gd name="T10" fmla="*/ 8 w 20"/>
                  <a:gd name="T11" fmla="*/ 0 h 44"/>
                  <a:gd name="T12" fmla="*/ 0 w 20"/>
                  <a:gd name="T13" fmla="*/ 0 h 44"/>
                  <a:gd name="T14" fmla="*/ 0 w 20"/>
                  <a:gd name="T15" fmla="*/ 42 h 44"/>
                  <a:gd name="T16" fmla="*/ 8 w 20"/>
                  <a:gd name="T17" fmla="*/ 42 h 44"/>
                  <a:gd name="T18" fmla="*/ 8 w 20"/>
                  <a:gd name="T19" fmla="*/ 40 h 44"/>
                  <a:gd name="T20" fmla="*/ 8 w 20"/>
                  <a:gd name="T21" fmla="*/ 40 h 44"/>
                  <a:gd name="T22" fmla="*/ 10 w 20"/>
                  <a:gd name="T23" fmla="*/ 42 h 44"/>
                  <a:gd name="T24" fmla="*/ 10 w 20"/>
                  <a:gd name="T25" fmla="*/ 42 h 44"/>
                  <a:gd name="T26" fmla="*/ 14 w 20"/>
                  <a:gd name="T27" fmla="*/ 44 h 44"/>
                  <a:gd name="T28" fmla="*/ 14 w 20"/>
                  <a:gd name="T29" fmla="*/ 44 h 44"/>
                  <a:gd name="T30" fmla="*/ 18 w 20"/>
                  <a:gd name="T31" fmla="*/ 42 h 44"/>
                  <a:gd name="T32" fmla="*/ 18 w 20"/>
                  <a:gd name="T33" fmla="*/ 42 h 44"/>
                  <a:gd name="T34" fmla="*/ 20 w 20"/>
                  <a:gd name="T35" fmla="*/ 36 h 44"/>
                  <a:gd name="T36" fmla="*/ 20 w 20"/>
                  <a:gd name="T37" fmla="*/ 18 h 44"/>
                  <a:gd name="T38" fmla="*/ 20 w 20"/>
                  <a:gd name="T39" fmla="*/ 18 h 44"/>
                  <a:gd name="T40" fmla="*/ 18 w 20"/>
                  <a:gd name="T41" fmla="*/ 12 h 44"/>
                  <a:gd name="T42" fmla="*/ 18 w 20"/>
                  <a:gd name="T43" fmla="*/ 12 h 44"/>
                  <a:gd name="T44" fmla="*/ 16 w 20"/>
                  <a:gd name="T45" fmla="*/ 10 h 44"/>
                  <a:gd name="T46" fmla="*/ 14 w 20"/>
                  <a:gd name="T47" fmla="*/ 10 h 44"/>
                  <a:gd name="T48" fmla="*/ 14 w 20"/>
                  <a:gd name="T49" fmla="*/ 10 h 44"/>
                  <a:gd name="T50" fmla="*/ 12 w 20"/>
                  <a:gd name="T51" fmla="*/ 36 h 44"/>
                  <a:gd name="T52" fmla="*/ 12 w 20"/>
                  <a:gd name="T53" fmla="*/ 36 h 44"/>
                  <a:gd name="T54" fmla="*/ 12 w 20"/>
                  <a:gd name="T55" fmla="*/ 38 h 44"/>
                  <a:gd name="T56" fmla="*/ 12 w 20"/>
                  <a:gd name="T57" fmla="*/ 38 h 44"/>
                  <a:gd name="T58" fmla="*/ 10 w 20"/>
                  <a:gd name="T59" fmla="*/ 38 h 44"/>
                  <a:gd name="T60" fmla="*/ 10 w 20"/>
                  <a:gd name="T61" fmla="*/ 38 h 44"/>
                  <a:gd name="T62" fmla="*/ 10 w 20"/>
                  <a:gd name="T63" fmla="*/ 38 h 44"/>
                  <a:gd name="T64" fmla="*/ 10 w 20"/>
                  <a:gd name="T65" fmla="*/ 38 h 44"/>
                  <a:gd name="T66" fmla="*/ 8 w 20"/>
                  <a:gd name="T67" fmla="*/ 36 h 44"/>
                  <a:gd name="T68" fmla="*/ 8 w 20"/>
                  <a:gd name="T69" fmla="*/ 16 h 44"/>
                  <a:gd name="T70" fmla="*/ 8 w 20"/>
                  <a:gd name="T71" fmla="*/ 16 h 44"/>
                  <a:gd name="T72" fmla="*/ 8 w 20"/>
                  <a:gd name="T73" fmla="*/ 16 h 44"/>
                  <a:gd name="T74" fmla="*/ 8 w 20"/>
                  <a:gd name="T75" fmla="*/ 16 h 44"/>
                  <a:gd name="T76" fmla="*/ 10 w 20"/>
                  <a:gd name="T77" fmla="*/ 16 h 44"/>
                  <a:gd name="T78" fmla="*/ 10 w 20"/>
                  <a:gd name="T79" fmla="*/ 16 h 44"/>
                  <a:gd name="T80" fmla="*/ 12 w 20"/>
                  <a:gd name="T81" fmla="*/ 16 h 44"/>
                  <a:gd name="T82" fmla="*/ 12 w 20"/>
                  <a:gd name="T83" fmla="*/ 16 h 44"/>
                  <a:gd name="T84" fmla="*/ 12 w 20"/>
                  <a:gd name="T85" fmla="*/ 18 h 44"/>
                  <a:gd name="T86" fmla="*/ 12 w 20"/>
                  <a:gd name="T87" fmla="*/ 3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0" h="44">
                    <a:moveTo>
                      <a:pt x="14" y="10"/>
                    </a:moveTo>
                    <a:lnTo>
                      <a:pt x="14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8" y="14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42"/>
                    </a:lnTo>
                    <a:lnTo>
                      <a:pt x="8" y="42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0" y="3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6" y="10"/>
                    </a:lnTo>
                    <a:lnTo>
                      <a:pt x="14" y="10"/>
                    </a:lnTo>
                    <a:lnTo>
                      <a:pt x="14" y="10"/>
                    </a:lnTo>
                    <a:close/>
                    <a:moveTo>
                      <a:pt x="12" y="36"/>
                    </a:moveTo>
                    <a:lnTo>
                      <a:pt x="12" y="36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8" y="3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2" y="3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8" name="Freeform 459"/>
              <p:cNvSpPr>
                <a:spLocks/>
              </p:cNvSpPr>
              <p:nvPr/>
            </p:nvSpPr>
            <p:spPr bwMode="auto">
              <a:xfrm>
                <a:off x="6407449" y="2550567"/>
                <a:ext cx="35258" cy="66598"/>
              </a:xfrm>
              <a:custGeom>
                <a:avLst/>
                <a:gdLst>
                  <a:gd name="T0" fmla="*/ 12 w 18"/>
                  <a:gd name="T1" fmla="*/ 26 h 34"/>
                  <a:gd name="T2" fmla="*/ 12 w 18"/>
                  <a:gd name="T3" fmla="*/ 26 h 34"/>
                  <a:gd name="T4" fmla="*/ 10 w 18"/>
                  <a:gd name="T5" fmla="*/ 26 h 34"/>
                  <a:gd name="T6" fmla="*/ 10 w 18"/>
                  <a:gd name="T7" fmla="*/ 26 h 34"/>
                  <a:gd name="T8" fmla="*/ 8 w 18"/>
                  <a:gd name="T9" fmla="*/ 28 h 34"/>
                  <a:gd name="T10" fmla="*/ 8 w 18"/>
                  <a:gd name="T11" fmla="*/ 28 h 34"/>
                  <a:gd name="T12" fmla="*/ 6 w 18"/>
                  <a:gd name="T13" fmla="*/ 28 h 34"/>
                  <a:gd name="T14" fmla="*/ 6 w 18"/>
                  <a:gd name="T15" fmla="*/ 28 h 34"/>
                  <a:gd name="T16" fmla="*/ 6 w 18"/>
                  <a:gd name="T17" fmla="*/ 26 h 34"/>
                  <a:gd name="T18" fmla="*/ 6 w 18"/>
                  <a:gd name="T19" fmla="*/ 0 h 34"/>
                  <a:gd name="T20" fmla="*/ 0 w 18"/>
                  <a:gd name="T21" fmla="*/ 0 h 34"/>
                  <a:gd name="T22" fmla="*/ 0 w 18"/>
                  <a:gd name="T23" fmla="*/ 28 h 34"/>
                  <a:gd name="T24" fmla="*/ 0 w 18"/>
                  <a:gd name="T25" fmla="*/ 28 h 34"/>
                  <a:gd name="T26" fmla="*/ 0 w 18"/>
                  <a:gd name="T27" fmla="*/ 32 h 34"/>
                  <a:gd name="T28" fmla="*/ 0 w 18"/>
                  <a:gd name="T29" fmla="*/ 32 h 34"/>
                  <a:gd name="T30" fmla="*/ 4 w 18"/>
                  <a:gd name="T31" fmla="*/ 34 h 34"/>
                  <a:gd name="T32" fmla="*/ 4 w 18"/>
                  <a:gd name="T33" fmla="*/ 34 h 34"/>
                  <a:gd name="T34" fmla="*/ 8 w 18"/>
                  <a:gd name="T35" fmla="*/ 32 h 34"/>
                  <a:gd name="T36" fmla="*/ 8 w 18"/>
                  <a:gd name="T37" fmla="*/ 32 h 34"/>
                  <a:gd name="T38" fmla="*/ 12 w 18"/>
                  <a:gd name="T39" fmla="*/ 30 h 34"/>
                  <a:gd name="T40" fmla="*/ 12 w 18"/>
                  <a:gd name="T41" fmla="*/ 32 h 34"/>
                  <a:gd name="T42" fmla="*/ 18 w 18"/>
                  <a:gd name="T43" fmla="*/ 32 h 34"/>
                  <a:gd name="T44" fmla="*/ 18 w 18"/>
                  <a:gd name="T45" fmla="*/ 0 h 34"/>
                  <a:gd name="T46" fmla="*/ 12 w 18"/>
                  <a:gd name="T47" fmla="*/ 0 h 34"/>
                  <a:gd name="T48" fmla="*/ 12 w 18"/>
                  <a:gd name="T49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" h="34">
                    <a:moveTo>
                      <a:pt x="12" y="26"/>
                    </a:moveTo>
                    <a:lnTo>
                      <a:pt x="12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6" y="26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2" y="30"/>
                    </a:lnTo>
                    <a:lnTo>
                      <a:pt x="12" y="32"/>
                    </a:lnTo>
                    <a:lnTo>
                      <a:pt x="18" y="32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12" y="2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9" name="Freeform 460"/>
              <p:cNvSpPr>
                <a:spLocks noEditPoints="1"/>
              </p:cNvSpPr>
              <p:nvPr/>
            </p:nvSpPr>
            <p:spPr bwMode="auto">
              <a:xfrm>
                <a:off x="6195901" y="2268503"/>
                <a:ext cx="501447" cy="501447"/>
              </a:xfrm>
              <a:custGeom>
                <a:avLst/>
                <a:gdLst>
                  <a:gd name="T0" fmla="*/ 0 w 256"/>
                  <a:gd name="T1" fmla="*/ 256 h 256"/>
                  <a:gd name="T2" fmla="*/ 256 w 256"/>
                  <a:gd name="T3" fmla="*/ 0 h 256"/>
                  <a:gd name="T4" fmla="*/ 144 w 256"/>
                  <a:gd name="T5" fmla="*/ 78 h 256"/>
                  <a:gd name="T6" fmla="*/ 150 w 256"/>
                  <a:gd name="T7" fmla="*/ 106 h 256"/>
                  <a:gd name="T8" fmla="*/ 152 w 256"/>
                  <a:gd name="T9" fmla="*/ 108 h 256"/>
                  <a:gd name="T10" fmla="*/ 152 w 256"/>
                  <a:gd name="T11" fmla="*/ 108 h 256"/>
                  <a:gd name="T12" fmla="*/ 154 w 256"/>
                  <a:gd name="T13" fmla="*/ 106 h 256"/>
                  <a:gd name="T14" fmla="*/ 158 w 256"/>
                  <a:gd name="T15" fmla="*/ 104 h 256"/>
                  <a:gd name="T16" fmla="*/ 164 w 256"/>
                  <a:gd name="T17" fmla="*/ 78 h 256"/>
                  <a:gd name="T18" fmla="*/ 158 w 256"/>
                  <a:gd name="T19" fmla="*/ 114 h 256"/>
                  <a:gd name="T20" fmla="*/ 158 w 256"/>
                  <a:gd name="T21" fmla="*/ 110 h 256"/>
                  <a:gd name="T22" fmla="*/ 154 w 256"/>
                  <a:gd name="T23" fmla="*/ 112 h 256"/>
                  <a:gd name="T24" fmla="*/ 148 w 256"/>
                  <a:gd name="T25" fmla="*/ 114 h 256"/>
                  <a:gd name="T26" fmla="*/ 144 w 256"/>
                  <a:gd name="T27" fmla="*/ 112 h 256"/>
                  <a:gd name="T28" fmla="*/ 144 w 256"/>
                  <a:gd name="T29" fmla="*/ 78 h 256"/>
                  <a:gd name="T30" fmla="*/ 116 w 256"/>
                  <a:gd name="T31" fmla="*/ 86 h 256"/>
                  <a:gd name="T32" fmla="*/ 120 w 256"/>
                  <a:gd name="T33" fmla="*/ 80 h 256"/>
                  <a:gd name="T34" fmla="*/ 124 w 256"/>
                  <a:gd name="T35" fmla="*/ 78 h 256"/>
                  <a:gd name="T36" fmla="*/ 128 w 256"/>
                  <a:gd name="T37" fmla="*/ 76 h 256"/>
                  <a:gd name="T38" fmla="*/ 134 w 256"/>
                  <a:gd name="T39" fmla="*/ 80 h 256"/>
                  <a:gd name="T40" fmla="*/ 138 w 256"/>
                  <a:gd name="T41" fmla="*/ 82 h 256"/>
                  <a:gd name="T42" fmla="*/ 138 w 256"/>
                  <a:gd name="T43" fmla="*/ 104 h 256"/>
                  <a:gd name="T44" fmla="*/ 138 w 256"/>
                  <a:gd name="T45" fmla="*/ 108 h 256"/>
                  <a:gd name="T46" fmla="*/ 134 w 256"/>
                  <a:gd name="T47" fmla="*/ 112 h 256"/>
                  <a:gd name="T48" fmla="*/ 128 w 256"/>
                  <a:gd name="T49" fmla="*/ 114 h 256"/>
                  <a:gd name="T50" fmla="*/ 122 w 256"/>
                  <a:gd name="T51" fmla="*/ 114 h 256"/>
                  <a:gd name="T52" fmla="*/ 120 w 256"/>
                  <a:gd name="T53" fmla="*/ 112 h 256"/>
                  <a:gd name="T54" fmla="*/ 116 w 256"/>
                  <a:gd name="T55" fmla="*/ 104 h 256"/>
                  <a:gd name="T56" fmla="*/ 96 w 256"/>
                  <a:gd name="T57" fmla="*/ 66 h 256"/>
                  <a:gd name="T58" fmla="*/ 102 w 256"/>
                  <a:gd name="T59" fmla="*/ 84 h 256"/>
                  <a:gd name="T60" fmla="*/ 116 w 256"/>
                  <a:gd name="T61" fmla="*/ 66 h 256"/>
                  <a:gd name="T62" fmla="*/ 106 w 256"/>
                  <a:gd name="T63" fmla="*/ 114 h 256"/>
                  <a:gd name="T64" fmla="*/ 98 w 256"/>
                  <a:gd name="T65" fmla="*/ 94 h 256"/>
                  <a:gd name="T66" fmla="*/ 96 w 256"/>
                  <a:gd name="T67" fmla="*/ 66 h 256"/>
                  <a:gd name="T68" fmla="*/ 192 w 256"/>
                  <a:gd name="T69" fmla="*/ 166 h 256"/>
                  <a:gd name="T70" fmla="*/ 186 w 256"/>
                  <a:gd name="T71" fmla="*/ 184 h 256"/>
                  <a:gd name="T72" fmla="*/ 168 w 256"/>
                  <a:gd name="T73" fmla="*/ 190 h 256"/>
                  <a:gd name="T74" fmla="*/ 88 w 256"/>
                  <a:gd name="T75" fmla="*/ 190 h 256"/>
                  <a:gd name="T76" fmla="*/ 72 w 256"/>
                  <a:gd name="T77" fmla="*/ 184 h 256"/>
                  <a:gd name="T78" fmla="*/ 64 w 256"/>
                  <a:gd name="T79" fmla="*/ 166 h 256"/>
                  <a:gd name="T80" fmla="*/ 64 w 256"/>
                  <a:gd name="T81" fmla="*/ 148 h 256"/>
                  <a:gd name="T82" fmla="*/ 72 w 256"/>
                  <a:gd name="T83" fmla="*/ 132 h 256"/>
                  <a:gd name="T84" fmla="*/ 88 w 256"/>
                  <a:gd name="T85" fmla="*/ 124 h 256"/>
                  <a:gd name="T86" fmla="*/ 168 w 256"/>
                  <a:gd name="T87" fmla="*/ 124 h 256"/>
                  <a:gd name="T88" fmla="*/ 186 w 256"/>
                  <a:gd name="T89" fmla="*/ 132 h 256"/>
                  <a:gd name="T90" fmla="*/ 192 w 256"/>
                  <a:gd name="T91" fmla="*/ 148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56" h="256">
                    <a:moveTo>
                      <a:pt x="0" y="0"/>
                    </a:moveTo>
                    <a:lnTo>
                      <a:pt x="0" y="256"/>
                    </a:lnTo>
                    <a:lnTo>
                      <a:pt x="256" y="256"/>
                    </a:lnTo>
                    <a:lnTo>
                      <a:pt x="256" y="0"/>
                    </a:lnTo>
                    <a:lnTo>
                      <a:pt x="0" y="0"/>
                    </a:lnTo>
                    <a:close/>
                    <a:moveTo>
                      <a:pt x="144" y="78"/>
                    </a:moveTo>
                    <a:lnTo>
                      <a:pt x="150" y="78"/>
                    </a:lnTo>
                    <a:lnTo>
                      <a:pt x="150" y="106"/>
                    </a:lnTo>
                    <a:lnTo>
                      <a:pt x="150" y="106"/>
                    </a:lnTo>
                    <a:lnTo>
                      <a:pt x="152" y="108"/>
                    </a:lnTo>
                    <a:lnTo>
                      <a:pt x="152" y="108"/>
                    </a:lnTo>
                    <a:lnTo>
                      <a:pt x="152" y="108"/>
                    </a:lnTo>
                    <a:lnTo>
                      <a:pt x="152" y="108"/>
                    </a:lnTo>
                    <a:lnTo>
                      <a:pt x="154" y="106"/>
                    </a:lnTo>
                    <a:lnTo>
                      <a:pt x="154" y="106"/>
                    </a:lnTo>
                    <a:lnTo>
                      <a:pt x="158" y="104"/>
                    </a:lnTo>
                    <a:lnTo>
                      <a:pt x="158" y="78"/>
                    </a:lnTo>
                    <a:lnTo>
                      <a:pt x="164" y="78"/>
                    </a:lnTo>
                    <a:lnTo>
                      <a:pt x="164" y="114"/>
                    </a:lnTo>
                    <a:lnTo>
                      <a:pt x="158" y="114"/>
                    </a:lnTo>
                    <a:lnTo>
                      <a:pt x="158" y="110"/>
                    </a:lnTo>
                    <a:lnTo>
                      <a:pt x="158" y="110"/>
                    </a:lnTo>
                    <a:lnTo>
                      <a:pt x="154" y="112"/>
                    </a:lnTo>
                    <a:lnTo>
                      <a:pt x="154" y="112"/>
                    </a:lnTo>
                    <a:lnTo>
                      <a:pt x="148" y="114"/>
                    </a:lnTo>
                    <a:lnTo>
                      <a:pt x="148" y="114"/>
                    </a:lnTo>
                    <a:lnTo>
                      <a:pt x="144" y="112"/>
                    </a:lnTo>
                    <a:lnTo>
                      <a:pt x="144" y="112"/>
                    </a:lnTo>
                    <a:lnTo>
                      <a:pt x="144" y="108"/>
                    </a:lnTo>
                    <a:lnTo>
                      <a:pt x="144" y="78"/>
                    </a:lnTo>
                    <a:close/>
                    <a:moveTo>
                      <a:pt x="116" y="86"/>
                    </a:moveTo>
                    <a:lnTo>
                      <a:pt x="116" y="86"/>
                    </a:lnTo>
                    <a:lnTo>
                      <a:pt x="118" y="82"/>
                    </a:lnTo>
                    <a:lnTo>
                      <a:pt x="120" y="80"/>
                    </a:lnTo>
                    <a:lnTo>
                      <a:pt x="120" y="80"/>
                    </a:lnTo>
                    <a:lnTo>
                      <a:pt x="124" y="78"/>
                    </a:lnTo>
                    <a:lnTo>
                      <a:pt x="128" y="76"/>
                    </a:lnTo>
                    <a:lnTo>
                      <a:pt x="128" y="76"/>
                    </a:lnTo>
                    <a:lnTo>
                      <a:pt x="132" y="78"/>
                    </a:lnTo>
                    <a:lnTo>
                      <a:pt x="134" y="80"/>
                    </a:lnTo>
                    <a:lnTo>
                      <a:pt x="134" y="80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38" y="104"/>
                    </a:lnTo>
                    <a:lnTo>
                      <a:pt x="138" y="104"/>
                    </a:lnTo>
                    <a:lnTo>
                      <a:pt x="138" y="108"/>
                    </a:lnTo>
                    <a:lnTo>
                      <a:pt x="134" y="112"/>
                    </a:lnTo>
                    <a:lnTo>
                      <a:pt x="134" y="112"/>
                    </a:lnTo>
                    <a:lnTo>
                      <a:pt x="132" y="114"/>
                    </a:lnTo>
                    <a:lnTo>
                      <a:pt x="128" y="114"/>
                    </a:lnTo>
                    <a:lnTo>
                      <a:pt x="128" y="114"/>
                    </a:lnTo>
                    <a:lnTo>
                      <a:pt x="122" y="114"/>
                    </a:lnTo>
                    <a:lnTo>
                      <a:pt x="120" y="112"/>
                    </a:lnTo>
                    <a:lnTo>
                      <a:pt x="120" y="112"/>
                    </a:lnTo>
                    <a:lnTo>
                      <a:pt x="118" y="108"/>
                    </a:lnTo>
                    <a:lnTo>
                      <a:pt x="116" y="104"/>
                    </a:lnTo>
                    <a:lnTo>
                      <a:pt x="116" y="86"/>
                    </a:lnTo>
                    <a:close/>
                    <a:moveTo>
                      <a:pt x="96" y="66"/>
                    </a:moveTo>
                    <a:lnTo>
                      <a:pt x="102" y="84"/>
                    </a:lnTo>
                    <a:lnTo>
                      <a:pt x="102" y="84"/>
                    </a:lnTo>
                    <a:lnTo>
                      <a:pt x="108" y="66"/>
                    </a:lnTo>
                    <a:lnTo>
                      <a:pt x="116" y="66"/>
                    </a:lnTo>
                    <a:lnTo>
                      <a:pt x="106" y="94"/>
                    </a:lnTo>
                    <a:lnTo>
                      <a:pt x="106" y="114"/>
                    </a:lnTo>
                    <a:lnTo>
                      <a:pt x="98" y="114"/>
                    </a:lnTo>
                    <a:lnTo>
                      <a:pt x="98" y="94"/>
                    </a:lnTo>
                    <a:lnTo>
                      <a:pt x="88" y="66"/>
                    </a:lnTo>
                    <a:lnTo>
                      <a:pt x="96" y="66"/>
                    </a:lnTo>
                    <a:close/>
                    <a:moveTo>
                      <a:pt x="192" y="166"/>
                    </a:moveTo>
                    <a:lnTo>
                      <a:pt x="192" y="166"/>
                    </a:lnTo>
                    <a:lnTo>
                      <a:pt x="190" y="176"/>
                    </a:lnTo>
                    <a:lnTo>
                      <a:pt x="186" y="184"/>
                    </a:lnTo>
                    <a:lnTo>
                      <a:pt x="178" y="188"/>
                    </a:lnTo>
                    <a:lnTo>
                      <a:pt x="168" y="190"/>
                    </a:lnTo>
                    <a:lnTo>
                      <a:pt x="88" y="190"/>
                    </a:lnTo>
                    <a:lnTo>
                      <a:pt x="88" y="190"/>
                    </a:lnTo>
                    <a:lnTo>
                      <a:pt x="78" y="188"/>
                    </a:lnTo>
                    <a:lnTo>
                      <a:pt x="72" y="184"/>
                    </a:lnTo>
                    <a:lnTo>
                      <a:pt x="66" y="176"/>
                    </a:lnTo>
                    <a:lnTo>
                      <a:pt x="64" y="166"/>
                    </a:lnTo>
                    <a:lnTo>
                      <a:pt x="64" y="148"/>
                    </a:lnTo>
                    <a:lnTo>
                      <a:pt x="64" y="148"/>
                    </a:lnTo>
                    <a:lnTo>
                      <a:pt x="66" y="140"/>
                    </a:lnTo>
                    <a:lnTo>
                      <a:pt x="72" y="132"/>
                    </a:lnTo>
                    <a:lnTo>
                      <a:pt x="78" y="126"/>
                    </a:lnTo>
                    <a:lnTo>
                      <a:pt x="88" y="124"/>
                    </a:lnTo>
                    <a:lnTo>
                      <a:pt x="168" y="124"/>
                    </a:lnTo>
                    <a:lnTo>
                      <a:pt x="168" y="124"/>
                    </a:lnTo>
                    <a:lnTo>
                      <a:pt x="178" y="126"/>
                    </a:lnTo>
                    <a:lnTo>
                      <a:pt x="186" y="132"/>
                    </a:lnTo>
                    <a:lnTo>
                      <a:pt x="190" y="140"/>
                    </a:lnTo>
                    <a:lnTo>
                      <a:pt x="192" y="148"/>
                    </a:lnTo>
                    <a:lnTo>
                      <a:pt x="192" y="16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0" name="Freeform 461"/>
              <p:cNvSpPr>
                <a:spLocks noEditPoints="1"/>
              </p:cNvSpPr>
              <p:nvPr/>
            </p:nvSpPr>
            <p:spPr bwMode="auto">
              <a:xfrm>
                <a:off x="6493635" y="2550567"/>
                <a:ext cx="39176" cy="66598"/>
              </a:xfrm>
              <a:custGeom>
                <a:avLst/>
                <a:gdLst>
                  <a:gd name="T0" fmla="*/ 10 w 20"/>
                  <a:gd name="T1" fmla="*/ 0 h 34"/>
                  <a:gd name="T2" fmla="*/ 10 w 20"/>
                  <a:gd name="T3" fmla="*/ 0 h 34"/>
                  <a:gd name="T4" fmla="*/ 6 w 20"/>
                  <a:gd name="T5" fmla="*/ 0 h 34"/>
                  <a:gd name="T6" fmla="*/ 4 w 20"/>
                  <a:gd name="T7" fmla="*/ 2 h 34"/>
                  <a:gd name="T8" fmla="*/ 4 w 20"/>
                  <a:gd name="T9" fmla="*/ 2 h 34"/>
                  <a:gd name="T10" fmla="*/ 2 w 20"/>
                  <a:gd name="T11" fmla="*/ 6 h 34"/>
                  <a:gd name="T12" fmla="*/ 0 w 20"/>
                  <a:gd name="T13" fmla="*/ 10 h 34"/>
                  <a:gd name="T14" fmla="*/ 0 w 20"/>
                  <a:gd name="T15" fmla="*/ 24 h 34"/>
                  <a:gd name="T16" fmla="*/ 0 w 20"/>
                  <a:gd name="T17" fmla="*/ 24 h 34"/>
                  <a:gd name="T18" fmla="*/ 2 w 20"/>
                  <a:gd name="T19" fmla="*/ 28 h 34"/>
                  <a:gd name="T20" fmla="*/ 4 w 20"/>
                  <a:gd name="T21" fmla="*/ 32 h 34"/>
                  <a:gd name="T22" fmla="*/ 4 w 20"/>
                  <a:gd name="T23" fmla="*/ 32 h 34"/>
                  <a:gd name="T24" fmla="*/ 6 w 20"/>
                  <a:gd name="T25" fmla="*/ 34 h 34"/>
                  <a:gd name="T26" fmla="*/ 10 w 20"/>
                  <a:gd name="T27" fmla="*/ 34 h 34"/>
                  <a:gd name="T28" fmla="*/ 10 w 20"/>
                  <a:gd name="T29" fmla="*/ 34 h 34"/>
                  <a:gd name="T30" fmla="*/ 14 w 20"/>
                  <a:gd name="T31" fmla="*/ 34 h 34"/>
                  <a:gd name="T32" fmla="*/ 18 w 20"/>
                  <a:gd name="T33" fmla="*/ 32 h 34"/>
                  <a:gd name="T34" fmla="*/ 18 w 20"/>
                  <a:gd name="T35" fmla="*/ 32 h 34"/>
                  <a:gd name="T36" fmla="*/ 20 w 20"/>
                  <a:gd name="T37" fmla="*/ 28 h 34"/>
                  <a:gd name="T38" fmla="*/ 20 w 20"/>
                  <a:gd name="T39" fmla="*/ 24 h 34"/>
                  <a:gd name="T40" fmla="*/ 20 w 20"/>
                  <a:gd name="T41" fmla="*/ 22 h 34"/>
                  <a:gd name="T42" fmla="*/ 14 w 20"/>
                  <a:gd name="T43" fmla="*/ 22 h 34"/>
                  <a:gd name="T44" fmla="*/ 14 w 20"/>
                  <a:gd name="T45" fmla="*/ 24 h 34"/>
                  <a:gd name="T46" fmla="*/ 14 w 20"/>
                  <a:gd name="T47" fmla="*/ 24 h 34"/>
                  <a:gd name="T48" fmla="*/ 12 w 20"/>
                  <a:gd name="T49" fmla="*/ 28 h 34"/>
                  <a:gd name="T50" fmla="*/ 12 w 20"/>
                  <a:gd name="T51" fmla="*/ 28 h 34"/>
                  <a:gd name="T52" fmla="*/ 10 w 20"/>
                  <a:gd name="T53" fmla="*/ 28 h 34"/>
                  <a:gd name="T54" fmla="*/ 10 w 20"/>
                  <a:gd name="T55" fmla="*/ 28 h 34"/>
                  <a:gd name="T56" fmla="*/ 8 w 20"/>
                  <a:gd name="T57" fmla="*/ 28 h 34"/>
                  <a:gd name="T58" fmla="*/ 8 w 20"/>
                  <a:gd name="T59" fmla="*/ 28 h 34"/>
                  <a:gd name="T60" fmla="*/ 8 w 20"/>
                  <a:gd name="T61" fmla="*/ 24 h 34"/>
                  <a:gd name="T62" fmla="*/ 8 w 20"/>
                  <a:gd name="T63" fmla="*/ 18 h 34"/>
                  <a:gd name="T64" fmla="*/ 20 w 20"/>
                  <a:gd name="T65" fmla="*/ 18 h 34"/>
                  <a:gd name="T66" fmla="*/ 20 w 20"/>
                  <a:gd name="T67" fmla="*/ 10 h 34"/>
                  <a:gd name="T68" fmla="*/ 20 w 20"/>
                  <a:gd name="T69" fmla="*/ 10 h 34"/>
                  <a:gd name="T70" fmla="*/ 20 w 20"/>
                  <a:gd name="T71" fmla="*/ 6 h 34"/>
                  <a:gd name="T72" fmla="*/ 18 w 20"/>
                  <a:gd name="T73" fmla="*/ 2 h 34"/>
                  <a:gd name="T74" fmla="*/ 18 w 20"/>
                  <a:gd name="T75" fmla="*/ 2 h 34"/>
                  <a:gd name="T76" fmla="*/ 14 w 20"/>
                  <a:gd name="T77" fmla="*/ 0 h 34"/>
                  <a:gd name="T78" fmla="*/ 10 w 20"/>
                  <a:gd name="T79" fmla="*/ 0 h 34"/>
                  <a:gd name="T80" fmla="*/ 10 w 20"/>
                  <a:gd name="T81" fmla="*/ 0 h 34"/>
                  <a:gd name="T82" fmla="*/ 14 w 20"/>
                  <a:gd name="T83" fmla="*/ 12 h 34"/>
                  <a:gd name="T84" fmla="*/ 8 w 20"/>
                  <a:gd name="T85" fmla="*/ 12 h 34"/>
                  <a:gd name="T86" fmla="*/ 8 w 20"/>
                  <a:gd name="T87" fmla="*/ 10 h 34"/>
                  <a:gd name="T88" fmla="*/ 8 w 20"/>
                  <a:gd name="T89" fmla="*/ 10 h 34"/>
                  <a:gd name="T90" fmla="*/ 8 w 20"/>
                  <a:gd name="T91" fmla="*/ 6 h 34"/>
                  <a:gd name="T92" fmla="*/ 8 w 20"/>
                  <a:gd name="T93" fmla="*/ 6 h 34"/>
                  <a:gd name="T94" fmla="*/ 10 w 20"/>
                  <a:gd name="T95" fmla="*/ 6 h 34"/>
                  <a:gd name="T96" fmla="*/ 10 w 20"/>
                  <a:gd name="T97" fmla="*/ 6 h 34"/>
                  <a:gd name="T98" fmla="*/ 12 w 20"/>
                  <a:gd name="T99" fmla="*/ 6 h 34"/>
                  <a:gd name="T100" fmla="*/ 12 w 20"/>
                  <a:gd name="T101" fmla="*/ 6 h 34"/>
                  <a:gd name="T102" fmla="*/ 14 w 20"/>
                  <a:gd name="T103" fmla="*/ 10 h 34"/>
                  <a:gd name="T104" fmla="*/ 14 w 20"/>
                  <a:gd name="T105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0" h="34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0" y="28"/>
                    </a:lnTo>
                    <a:lnTo>
                      <a:pt x="20" y="24"/>
                    </a:lnTo>
                    <a:lnTo>
                      <a:pt x="20" y="22"/>
                    </a:lnTo>
                    <a:lnTo>
                      <a:pt x="14" y="22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8" y="18"/>
                    </a:lnTo>
                    <a:lnTo>
                      <a:pt x="20" y="18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  <a:moveTo>
                      <a:pt x="14" y="12"/>
                    </a:moveTo>
                    <a:lnTo>
                      <a:pt x="8" y="1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4" y="10"/>
                    </a:lnTo>
                    <a:lnTo>
                      <a:pt x="14" y="1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1" name="Group 10"/>
          <p:cNvGrpSpPr/>
          <p:nvPr/>
        </p:nvGrpSpPr>
        <p:grpSpPr>
          <a:xfrm>
            <a:off x="1761079" y="1791513"/>
            <a:ext cx="561806" cy="727230"/>
            <a:chOff x="5170222" y="2403705"/>
            <a:chExt cx="585574" cy="757996"/>
          </a:xfrm>
        </p:grpSpPr>
        <p:grpSp>
          <p:nvGrpSpPr>
            <p:cNvPr id="4" name="Group 3"/>
            <p:cNvGrpSpPr/>
            <p:nvPr/>
          </p:nvGrpSpPr>
          <p:grpSpPr>
            <a:xfrm>
              <a:off x="5170222" y="2403705"/>
              <a:ext cx="481278" cy="687292"/>
              <a:chOff x="-1196393" y="2574021"/>
              <a:chExt cx="574234" cy="820038"/>
            </a:xfrm>
            <a:solidFill>
              <a:schemeClr val="bg1"/>
            </a:solidFill>
          </p:grpSpPr>
          <p:sp>
            <p:nvSpPr>
              <p:cNvPr id="134" name="Freeform 18"/>
              <p:cNvSpPr>
                <a:spLocks/>
              </p:cNvSpPr>
              <p:nvPr/>
            </p:nvSpPr>
            <p:spPr bwMode="auto">
              <a:xfrm>
                <a:off x="-1031724" y="2574021"/>
                <a:ext cx="240673" cy="226905"/>
              </a:xfrm>
              <a:custGeom>
                <a:avLst/>
                <a:gdLst/>
                <a:ahLst/>
                <a:cxnLst>
                  <a:cxn ang="0">
                    <a:pos x="0" y="57"/>
                  </a:cxn>
                  <a:cxn ang="0">
                    <a:pos x="0" y="57"/>
                  </a:cxn>
                  <a:cxn ang="0">
                    <a:pos x="2" y="69"/>
                  </a:cxn>
                  <a:cxn ang="0">
                    <a:pos x="5" y="80"/>
                  </a:cxn>
                  <a:cxn ang="0">
                    <a:pos x="11" y="89"/>
                  </a:cxn>
                  <a:cxn ang="0">
                    <a:pos x="17" y="97"/>
                  </a:cxn>
                  <a:cxn ang="0">
                    <a:pos x="26" y="105"/>
                  </a:cxn>
                  <a:cxn ang="0">
                    <a:pos x="35" y="109"/>
                  </a:cxn>
                  <a:cxn ang="0">
                    <a:pos x="47" y="114"/>
                  </a:cxn>
                  <a:cxn ang="0">
                    <a:pos x="57" y="114"/>
                  </a:cxn>
                  <a:cxn ang="0">
                    <a:pos x="57" y="114"/>
                  </a:cxn>
                  <a:cxn ang="0">
                    <a:pos x="69" y="114"/>
                  </a:cxn>
                  <a:cxn ang="0">
                    <a:pos x="79" y="109"/>
                  </a:cxn>
                  <a:cxn ang="0">
                    <a:pos x="90" y="105"/>
                  </a:cxn>
                  <a:cxn ang="0">
                    <a:pos x="97" y="97"/>
                  </a:cxn>
                  <a:cxn ang="0">
                    <a:pos x="105" y="89"/>
                  </a:cxn>
                  <a:cxn ang="0">
                    <a:pos x="111" y="80"/>
                  </a:cxn>
                  <a:cxn ang="0">
                    <a:pos x="114" y="69"/>
                  </a:cxn>
                  <a:cxn ang="0">
                    <a:pos x="115" y="57"/>
                  </a:cxn>
                  <a:cxn ang="0">
                    <a:pos x="115" y="57"/>
                  </a:cxn>
                  <a:cxn ang="0">
                    <a:pos x="114" y="45"/>
                  </a:cxn>
                  <a:cxn ang="0">
                    <a:pos x="111" y="35"/>
                  </a:cxn>
                  <a:cxn ang="0">
                    <a:pos x="105" y="26"/>
                  </a:cxn>
                  <a:cxn ang="0">
                    <a:pos x="97" y="17"/>
                  </a:cxn>
                  <a:cxn ang="0">
                    <a:pos x="90" y="9"/>
                  </a:cxn>
                  <a:cxn ang="0">
                    <a:pos x="79" y="5"/>
                  </a:cxn>
                  <a:cxn ang="0">
                    <a:pos x="69" y="2"/>
                  </a:cxn>
                  <a:cxn ang="0">
                    <a:pos x="57" y="0"/>
                  </a:cxn>
                  <a:cxn ang="0">
                    <a:pos x="57" y="0"/>
                  </a:cxn>
                  <a:cxn ang="0">
                    <a:pos x="47" y="2"/>
                  </a:cxn>
                  <a:cxn ang="0">
                    <a:pos x="35" y="5"/>
                  </a:cxn>
                  <a:cxn ang="0">
                    <a:pos x="26" y="9"/>
                  </a:cxn>
                  <a:cxn ang="0">
                    <a:pos x="17" y="17"/>
                  </a:cxn>
                  <a:cxn ang="0">
                    <a:pos x="11" y="26"/>
                  </a:cxn>
                  <a:cxn ang="0">
                    <a:pos x="5" y="35"/>
                  </a:cxn>
                  <a:cxn ang="0">
                    <a:pos x="2" y="45"/>
                  </a:cxn>
                  <a:cxn ang="0">
                    <a:pos x="0" y="57"/>
                  </a:cxn>
                </a:cxnLst>
                <a:rect l="0" t="0" r="r" b="b"/>
                <a:pathLst>
                  <a:path w="115" h="114">
                    <a:moveTo>
                      <a:pt x="0" y="57"/>
                    </a:moveTo>
                    <a:lnTo>
                      <a:pt x="0" y="57"/>
                    </a:lnTo>
                    <a:lnTo>
                      <a:pt x="2" y="69"/>
                    </a:lnTo>
                    <a:lnTo>
                      <a:pt x="5" y="80"/>
                    </a:lnTo>
                    <a:lnTo>
                      <a:pt x="11" y="89"/>
                    </a:lnTo>
                    <a:lnTo>
                      <a:pt x="17" y="97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47" y="114"/>
                    </a:lnTo>
                    <a:lnTo>
                      <a:pt x="57" y="114"/>
                    </a:lnTo>
                    <a:lnTo>
                      <a:pt x="57" y="114"/>
                    </a:lnTo>
                    <a:lnTo>
                      <a:pt x="69" y="114"/>
                    </a:lnTo>
                    <a:lnTo>
                      <a:pt x="79" y="109"/>
                    </a:lnTo>
                    <a:lnTo>
                      <a:pt x="90" y="105"/>
                    </a:lnTo>
                    <a:lnTo>
                      <a:pt x="97" y="97"/>
                    </a:lnTo>
                    <a:lnTo>
                      <a:pt x="105" y="89"/>
                    </a:lnTo>
                    <a:lnTo>
                      <a:pt x="111" y="80"/>
                    </a:lnTo>
                    <a:lnTo>
                      <a:pt x="114" y="69"/>
                    </a:lnTo>
                    <a:lnTo>
                      <a:pt x="115" y="57"/>
                    </a:lnTo>
                    <a:lnTo>
                      <a:pt x="115" y="57"/>
                    </a:lnTo>
                    <a:lnTo>
                      <a:pt x="114" y="45"/>
                    </a:lnTo>
                    <a:lnTo>
                      <a:pt x="111" y="35"/>
                    </a:lnTo>
                    <a:lnTo>
                      <a:pt x="105" y="26"/>
                    </a:lnTo>
                    <a:lnTo>
                      <a:pt x="97" y="17"/>
                    </a:lnTo>
                    <a:lnTo>
                      <a:pt x="90" y="9"/>
                    </a:lnTo>
                    <a:lnTo>
                      <a:pt x="79" y="5"/>
                    </a:lnTo>
                    <a:lnTo>
                      <a:pt x="69" y="2"/>
                    </a:lnTo>
                    <a:lnTo>
                      <a:pt x="57" y="0"/>
                    </a:lnTo>
                    <a:lnTo>
                      <a:pt x="57" y="0"/>
                    </a:lnTo>
                    <a:lnTo>
                      <a:pt x="47" y="2"/>
                    </a:lnTo>
                    <a:lnTo>
                      <a:pt x="35" y="5"/>
                    </a:lnTo>
                    <a:lnTo>
                      <a:pt x="26" y="9"/>
                    </a:lnTo>
                    <a:lnTo>
                      <a:pt x="17" y="17"/>
                    </a:lnTo>
                    <a:lnTo>
                      <a:pt x="11" y="26"/>
                    </a:lnTo>
                    <a:lnTo>
                      <a:pt x="5" y="35"/>
                    </a:lnTo>
                    <a:lnTo>
                      <a:pt x="2" y="45"/>
                    </a:lnTo>
                    <a:lnTo>
                      <a:pt x="0" y="5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5" name="Freeform 19"/>
              <p:cNvSpPr>
                <a:spLocks/>
              </p:cNvSpPr>
              <p:nvPr/>
            </p:nvSpPr>
            <p:spPr bwMode="auto">
              <a:xfrm>
                <a:off x="-1031724" y="2574021"/>
                <a:ext cx="240673" cy="226905"/>
              </a:xfrm>
              <a:custGeom>
                <a:avLst/>
                <a:gdLst/>
                <a:ahLst/>
                <a:cxnLst>
                  <a:cxn ang="0">
                    <a:pos x="0" y="57"/>
                  </a:cxn>
                  <a:cxn ang="0">
                    <a:pos x="0" y="57"/>
                  </a:cxn>
                  <a:cxn ang="0">
                    <a:pos x="2" y="69"/>
                  </a:cxn>
                  <a:cxn ang="0">
                    <a:pos x="5" y="80"/>
                  </a:cxn>
                  <a:cxn ang="0">
                    <a:pos x="11" y="89"/>
                  </a:cxn>
                  <a:cxn ang="0">
                    <a:pos x="17" y="97"/>
                  </a:cxn>
                  <a:cxn ang="0">
                    <a:pos x="26" y="105"/>
                  </a:cxn>
                  <a:cxn ang="0">
                    <a:pos x="35" y="109"/>
                  </a:cxn>
                  <a:cxn ang="0">
                    <a:pos x="47" y="114"/>
                  </a:cxn>
                  <a:cxn ang="0">
                    <a:pos x="57" y="114"/>
                  </a:cxn>
                  <a:cxn ang="0">
                    <a:pos x="57" y="114"/>
                  </a:cxn>
                  <a:cxn ang="0">
                    <a:pos x="69" y="114"/>
                  </a:cxn>
                  <a:cxn ang="0">
                    <a:pos x="79" y="109"/>
                  </a:cxn>
                  <a:cxn ang="0">
                    <a:pos x="90" y="105"/>
                  </a:cxn>
                  <a:cxn ang="0">
                    <a:pos x="97" y="97"/>
                  </a:cxn>
                  <a:cxn ang="0">
                    <a:pos x="105" y="89"/>
                  </a:cxn>
                  <a:cxn ang="0">
                    <a:pos x="111" y="80"/>
                  </a:cxn>
                  <a:cxn ang="0">
                    <a:pos x="114" y="69"/>
                  </a:cxn>
                  <a:cxn ang="0">
                    <a:pos x="115" y="57"/>
                  </a:cxn>
                  <a:cxn ang="0">
                    <a:pos x="115" y="57"/>
                  </a:cxn>
                  <a:cxn ang="0">
                    <a:pos x="114" y="45"/>
                  </a:cxn>
                  <a:cxn ang="0">
                    <a:pos x="111" y="35"/>
                  </a:cxn>
                  <a:cxn ang="0">
                    <a:pos x="105" y="26"/>
                  </a:cxn>
                  <a:cxn ang="0">
                    <a:pos x="97" y="17"/>
                  </a:cxn>
                  <a:cxn ang="0">
                    <a:pos x="90" y="9"/>
                  </a:cxn>
                  <a:cxn ang="0">
                    <a:pos x="79" y="5"/>
                  </a:cxn>
                  <a:cxn ang="0">
                    <a:pos x="69" y="2"/>
                  </a:cxn>
                  <a:cxn ang="0">
                    <a:pos x="57" y="0"/>
                  </a:cxn>
                  <a:cxn ang="0">
                    <a:pos x="57" y="0"/>
                  </a:cxn>
                  <a:cxn ang="0">
                    <a:pos x="47" y="2"/>
                  </a:cxn>
                  <a:cxn ang="0">
                    <a:pos x="35" y="5"/>
                  </a:cxn>
                  <a:cxn ang="0">
                    <a:pos x="26" y="9"/>
                  </a:cxn>
                  <a:cxn ang="0">
                    <a:pos x="17" y="17"/>
                  </a:cxn>
                  <a:cxn ang="0">
                    <a:pos x="11" y="26"/>
                  </a:cxn>
                  <a:cxn ang="0">
                    <a:pos x="5" y="35"/>
                  </a:cxn>
                  <a:cxn ang="0">
                    <a:pos x="2" y="45"/>
                  </a:cxn>
                  <a:cxn ang="0">
                    <a:pos x="0" y="57"/>
                  </a:cxn>
                </a:cxnLst>
                <a:rect l="0" t="0" r="r" b="b"/>
                <a:pathLst>
                  <a:path w="115" h="114">
                    <a:moveTo>
                      <a:pt x="0" y="57"/>
                    </a:moveTo>
                    <a:lnTo>
                      <a:pt x="0" y="57"/>
                    </a:lnTo>
                    <a:lnTo>
                      <a:pt x="2" y="69"/>
                    </a:lnTo>
                    <a:lnTo>
                      <a:pt x="5" y="80"/>
                    </a:lnTo>
                    <a:lnTo>
                      <a:pt x="11" y="89"/>
                    </a:lnTo>
                    <a:lnTo>
                      <a:pt x="17" y="97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47" y="114"/>
                    </a:lnTo>
                    <a:lnTo>
                      <a:pt x="57" y="114"/>
                    </a:lnTo>
                    <a:lnTo>
                      <a:pt x="57" y="114"/>
                    </a:lnTo>
                    <a:lnTo>
                      <a:pt x="69" y="114"/>
                    </a:lnTo>
                    <a:lnTo>
                      <a:pt x="79" y="109"/>
                    </a:lnTo>
                    <a:lnTo>
                      <a:pt x="90" y="105"/>
                    </a:lnTo>
                    <a:lnTo>
                      <a:pt x="97" y="97"/>
                    </a:lnTo>
                    <a:lnTo>
                      <a:pt x="105" y="89"/>
                    </a:lnTo>
                    <a:lnTo>
                      <a:pt x="111" y="80"/>
                    </a:lnTo>
                    <a:lnTo>
                      <a:pt x="114" y="69"/>
                    </a:lnTo>
                    <a:lnTo>
                      <a:pt x="115" y="57"/>
                    </a:lnTo>
                    <a:lnTo>
                      <a:pt x="115" y="57"/>
                    </a:lnTo>
                    <a:lnTo>
                      <a:pt x="114" y="45"/>
                    </a:lnTo>
                    <a:lnTo>
                      <a:pt x="111" y="35"/>
                    </a:lnTo>
                    <a:lnTo>
                      <a:pt x="105" y="26"/>
                    </a:lnTo>
                    <a:lnTo>
                      <a:pt x="97" y="17"/>
                    </a:lnTo>
                    <a:lnTo>
                      <a:pt x="90" y="9"/>
                    </a:lnTo>
                    <a:lnTo>
                      <a:pt x="79" y="5"/>
                    </a:lnTo>
                    <a:lnTo>
                      <a:pt x="69" y="2"/>
                    </a:lnTo>
                    <a:lnTo>
                      <a:pt x="57" y="0"/>
                    </a:lnTo>
                    <a:lnTo>
                      <a:pt x="57" y="0"/>
                    </a:lnTo>
                    <a:lnTo>
                      <a:pt x="47" y="2"/>
                    </a:lnTo>
                    <a:lnTo>
                      <a:pt x="35" y="5"/>
                    </a:lnTo>
                    <a:lnTo>
                      <a:pt x="26" y="9"/>
                    </a:lnTo>
                    <a:lnTo>
                      <a:pt x="17" y="17"/>
                    </a:lnTo>
                    <a:lnTo>
                      <a:pt x="11" y="26"/>
                    </a:lnTo>
                    <a:lnTo>
                      <a:pt x="5" y="35"/>
                    </a:lnTo>
                    <a:lnTo>
                      <a:pt x="2" y="45"/>
                    </a:lnTo>
                    <a:lnTo>
                      <a:pt x="0" y="57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6" name="Freeform 20"/>
              <p:cNvSpPr>
                <a:spLocks/>
              </p:cNvSpPr>
              <p:nvPr/>
            </p:nvSpPr>
            <p:spPr bwMode="auto">
              <a:xfrm>
                <a:off x="-1196393" y="2832770"/>
                <a:ext cx="574234" cy="561289"/>
              </a:xfrm>
              <a:custGeom>
                <a:avLst/>
                <a:gdLst/>
                <a:ahLst/>
                <a:cxnLst>
                  <a:cxn ang="0">
                    <a:pos x="62" y="88"/>
                  </a:cxn>
                  <a:cxn ang="0">
                    <a:pos x="50" y="249"/>
                  </a:cxn>
                  <a:cxn ang="0">
                    <a:pos x="49" y="260"/>
                  </a:cxn>
                  <a:cxn ang="0">
                    <a:pos x="41" y="272"/>
                  </a:cxn>
                  <a:cxn ang="0">
                    <a:pos x="34" y="278"/>
                  </a:cxn>
                  <a:cxn ang="0">
                    <a:pos x="25" y="279"/>
                  </a:cxn>
                  <a:cxn ang="0">
                    <a:pos x="16" y="278"/>
                  </a:cxn>
                  <a:cxn ang="0">
                    <a:pos x="4" y="270"/>
                  </a:cxn>
                  <a:cxn ang="0">
                    <a:pos x="0" y="258"/>
                  </a:cxn>
                  <a:cxn ang="0">
                    <a:pos x="0" y="249"/>
                  </a:cxn>
                  <a:cxn ang="0">
                    <a:pos x="0" y="73"/>
                  </a:cxn>
                  <a:cxn ang="0">
                    <a:pos x="1" y="48"/>
                  </a:cxn>
                  <a:cxn ang="0">
                    <a:pos x="9" y="30"/>
                  </a:cxn>
                  <a:cxn ang="0">
                    <a:pos x="18" y="18"/>
                  </a:cxn>
                  <a:cxn ang="0">
                    <a:pos x="30" y="9"/>
                  </a:cxn>
                  <a:cxn ang="0">
                    <a:pos x="50" y="2"/>
                  </a:cxn>
                  <a:cxn ang="0">
                    <a:pos x="213" y="0"/>
                  </a:cxn>
                  <a:cxn ang="0">
                    <a:pos x="222" y="2"/>
                  </a:cxn>
                  <a:cxn ang="0">
                    <a:pos x="243" y="9"/>
                  </a:cxn>
                  <a:cxn ang="0">
                    <a:pos x="255" y="18"/>
                  </a:cxn>
                  <a:cxn ang="0">
                    <a:pos x="264" y="30"/>
                  </a:cxn>
                  <a:cxn ang="0">
                    <a:pos x="270" y="48"/>
                  </a:cxn>
                  <a:cxn ang="0">
                    <a:pos x="273" y="73"/>
                  </a:cxn>
                  <a:cxn ang="0">
                    <a:pos x="273" y="249"/>
                  </a:cxn>
                  <a:cxn ang="0">
                    <a:pos x="271" y="258"/>
                  </a:cxn>
                  <a:cxn ang="0">
                    <a:pos x="267" y="270"/>
                  </a:cxn>
                  <a:cxn ang="0">
                    <a:pos x="255" y="278"/>
                  </a:cxn>
                  <a:cxn ang="0">
                    <a:pos x="246" y="279"/>
                  </a:cxn>
                  <a:cxn ang="0">
                    <a:pos x="238" y="278"/>
                  </a:cxn>
                  <a:cxn ang="0">
                    <a:pos x="229" y="272"/>
                  </a:cxn>
                  <a:cxn ang="0">
                    <a:pos x="223" y="260"/>
                  </a:cxn>
                  <a:cxn ang="0">
                    <a:pos x="222" y="88"/>
                  </a:cxn>
                  <a:cxn ang="0">
                    <a:pos x="209" y="282"/>
                  </a:cxn>
                </a:cxnLst>
                <a:rect l="0" t="0" r="r" b="b"/>
                <a:pathLst>
                  <a:path w="273" h="282">
                    <a:moveTo>
                      <a:pt x="62" y="282"/>
                    </a:moveTo>
                    <a:lnTo>
                      <a:pt x="62" y="88"/>
                    </a:lnTo>
                    <a:lnTo>
                      <a:pt x="50" y="88"/>
                    </a:lnTo>
                    <a:lnTo>
                      <a:pt x="50" y="249"/>
                    </a:lnTo>
                    <a:lnTo>
                      <a:pt x="50" y="249"/>
                    </a:lnTo>
                    <a:lnTo>
                      <a:pt x="49" y="260"/>
                    </a:lnTo>
                    <a:lnTo>
                      <a:pt x="46" y="267"/>
                    </a:lnTo>
                    <a:lnTo>
                      <a:pt x="41" y="272"/>
                    </a:lnTo>
                    <a:lnTo>
                      <a:pt x="39" y="276"/>
                    </a:lnTo>
                    <a:lnTo>
                      <a:pt x="34" y="278"/>
                    </a:lnTo>
                    <a:lnTo>
                      <a:pt x="30" y="279"/>
                    </a:lnTo>
                    <a:lnTo>
                      <a:pt x="25" y="279"/>
                    </a:lnTo>
                    <a:lnTo>
                      <a:pt x="25" y="279"/>
                    </a:lnTo>
                    <a:lnTo>
                      <a:pt x="16" y="278"/>
                    </a:lnTo>
                    <a:lnTo>
                      <a:pt x="10" y="275"/>
                    </a:lnTo>
                    <a:lnTo>
                      <a:pt x="4" y="270"/>
                    </a:lnTo>
                    <a:lnTo>
                      <a:pt x="1" y="264"/>
                    </a:lnTo>
                    <a:lnTo>
                      <a:pt x="0" y="258"/>
                    </a:lnTo>
                    <a:lnTo>
                      <a:pt x="0" y="254"/>
                    </a:lnTo>
                    <a:lnTo>
                      <a:pt x="0" y="249"/>
                    </a:lnTo>
                    <a:lnTo>
                      <a:pt x="0" y="73"/>
                    </a:lnTo>
                    <a:lnTo>
                      <a:pt x="0" y="73"/>
                    </a:lnTo>
                    <a:lnTo>
                      <a:pt x="0" y="60"/>
                    </a:lnTo>
                    <a:lnTo>
                      <a:pt x="1" y="48"/>
                    </a:lnTo>
                    <a:lnTo>
                      <a:pt x="4" y="39"/>
                    </a:lnTo>
                    <a:lnTo>
                      <a:pt x="9" y="30"/>
                    </a:lnTo>
                    <a:lnTo>
                      <a:pt x="13" y="24"/>
                    </a:lnTo>
                    <a:lnTo>
                      <a:pt x="18" y="18"/>
                    </a:lnTo>
                    <a:lnTo>
                      <a:pt x="24" y="14"/>
                    </a:lnTo>
                    <a:lnTo>
                      <a:pt x="30" y="9"/>
                    </a:lnTo>
                    <a:lnTo>
                      <a:pt x="40" y="5"/>
                    </a:lnTo>
                    <a:lnTo>
                      <a:pt x="50" y="2"/>
                    </a:lnTo>
                    <a:lnTo>
                      <a:pt x="59" y="0"/>
                    </a:lnTo>
                    <a:lnTo>
                      <a:pt x="213" y="0"/>
                    </a:lnTo>
                    <a:lnTo>
                      <a:pt x="213" y="0"/>
                    </a:lnTo>
                    <a:lnTo>
                      <a:pt x="222" y="2"/>
                    </a:lnTo>
                    <a:lnTo>
                      <a:pt x="232" y="5"/>
                    </a:lnTo>
                    <a:lnTo>
                      <a:pt x="243" y="9"/>
                    </a:lnTo>
                    <a:lnTo>
                      <a:pt x="249" y="14"/>
                    </a:lnTo>
                    <a:lnTo>
                      <a:pt x="255" y="18"/>
                    </a:lnTo>
                    <a:lnTo>
                      <a:pt x="259" y="24"/>
                    </a:lnTo>
                    <a:lnTo>
                      <a:pt x="264" y="30"/>
                    </a:lnTo>
                    <a:lnTo>
                      <a:pt x="267" y="39"/>
                    </a:lnTo>
                    <a:lnTo>
                      <a:pt x="270" y="48"/>
                    </a:lnTo>
                    <a:lnTo>
                      <a:pt x="273" y="60"/>
                    </a:lnTo>
                    <a:lnTo>
                      <a:pt x="273" y="73"/>
                    </a:lnTo>
                    <a:lnTo>
                      <a:pt x="273" y="249"/>
                    </a:lnTo>
                    <a:lnTo>
                      <a:pt x="273" y="249"/>
                    </a:lnTo>
                    <a:lnTo>
                      <a:pt x="273" y="254"/>
                    </a:lnTo>
                    <a:lnTo>
                      <a:pt x="271" y="258"/>
                    </a:lnTo>
                    <a:lnTo>
                      <a:pt x="270" y="264"/>
                    </a:lnTo>
                    <a:lnTo>
                      <a:pt x="267" y="270"/>
                    </a:lnTo>
                    <a:lnTo>
                      <a:pt x="262" y="275"/>
                    </a:lnTo>
                    <a:lnTo>
                      <a:pt x="255" y="278"/>
                    </a:lnTo>
                    <a:lnTo>
                      <a:pt x="246" y="279"/>
                    </a:lnTo>
                    <a:lnTo>
                      <a:pt x="246" y="279"/>
                    </a:lnTo>
                    <a:lnTo>
                      <a:pt x="243" y="279"/>
                    </a:lnTo>
                    <a:lnTo>
                      <a:pt x="238" y="278"/>
                    </a:lnTo>
                    <a:lnTo>
                      <a:pt x="234" y="276"/>
                    </a:lnTo>
                    <a:lnTo>
                      <a:pt x="229" y="272"/>
                    </a:lnTo>
                    <a:lnTo>
                      <a:pt x="226" y="267"/>
                    </a:lnTo>
                    <a:lnTo>
                      <a:pt x="223" y="260"/>
                    </a:lnTo>
                    <a:lnTo>
                      <a:pt x="222" y="249"/>
                    </a:lnTo>
                    <a:lnTo>
                      <a:pt x="222" y="88"/>
                    </a:lnTo>
                    <a:lnTo>
                      <a:pt x="209" y="88"/>
                    </a:lnTo>
                    <a:lnTo>
                      <a:pt x="209" y="282"/>
                    </a:lnTo>
                    <a:lnTo>
                      <a:pt x="62" y="28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sp>
          <p:nvSpPr>
            <p:cNvPr id="9" name="Oval 8"/>
            <p:cNvSpPr/>
            <p:nvPr/>
          </p:nvSpPr>
          <p:spPr bwMode="ltGray">
            <a:xfrm>
              <a:off x="5441950" y="2847855"/>
              <a:ext cx="313846" cy="31384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i="1" dirty="0" smtClean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2815254" y="1775463"/>
            <a:ext cx="759796" cy="759332"/>
            <a:chOff x="5229225" y="2165520"/>
            <a:chExt cx="861468" cy="860943"/>
          </a:xfrm>
        </p:grpSpPr>
        <p:grpSp>
          <p:nvGrpSpPr>
            <p:cNvPr id="137" name="Group 51"/>
            <p:cNvGrpSpPr>
              <a:grpSpLocks noChangeAspect="1"/>
            </p:cNvGrpSpPr>
            <p:nvPr/>
          </p:nvGrpSpPr>
          <p:grpSpPr bwMode="auto">
            <a:xfrm>
              <a:off x="5229225" y="2165520"/>
              <a:ext cx="861468" cy="860943"/>
              <a:chOff x="1238" y="519"/>
              <a:chExt cx="3280" cy="3278"/>
            </a:xfrm>
            <a:solidFill>
              <a:schemeClr val="bg1"/>
            </a:solidFill>
          </p:grpSpPr>
          <p:sp>
            <p:nvSpPr>
              <p:cNvPr id="138" name="Freeform 53"/>
              <p:cNvSpPr>
                <a:spLocks/>
              </p:cNvSpPr>
              <p:nvPr/>
            </p:nvSpPr>
            <p:spPr bwMode="auto">
              <a:xfrm>
                <a:off x="1238" y="1134"/>
                <a:ext cx="2870" cy="1844"/>
              </a:xfrm>
              <a:custGeom>
                <a:avLst/>
                <a:gdLst>
                  <a:gd name="T0" fmla="*/ 0 w 5740"/>
                  <a:gd name="T1" fmla="*/ 0 h 3688"/>
                  <a:gd name="T2" fmla="*/ 1159 w 5740"/>
                  <a:gd name="T3" fmla="*/ 0 h 3688"/>
                  <a:gd name="T4" fmla="*/ 2595 w 5740"/>
                  <a:gd name="T5" fmla="*/ 3277 h 3688"/>
                  <a:gd name="T6" fmla="*/ 5740 w 5740"/>
                  <a:gd name="T7" fmla="*/ 3277 h 3688"/>
                  <a:gd name="T8" fmla="*/ 5740 w 5740"/>
                  <a:gd name="T9" fmla="*/ 3688 h 3688"/>
                  <a:gd name="T10" fmla="*/ 2326 w 5740"/>
                  <a:gd name="T11" fmla="*/ 3688 h 3688"/>
                  <a:gd name="T12" fmla="*/ 892 w 5740"/>
                  <a:gd name="T13" fmla="*/ 408 h 3688"/>
                  <a:gd name="T14" fmla="*/ 0 w 5740"/>
                  <a:gd name="T15" fmla="*/ 408 h 3688"/>
                  <a:gd name="T16" fmla="*/ 0 w 5740"/>
                  <a:gd name="T17" fmla="*/ 0 h 3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40" h="3688">
                    <a:moveTo>
                      <a:pt x="0" y="0"/>
                    </a:moveTo>
                    <a:lnTo>
                      <a:pt x="1159" y="0"/>
                    </a:lnTo>
                    <a:lnTo>
                      <a:pt x="2595" y="3277"/>
                    </a:lnTo>
                    <a:lnTo>
                      <a:pt x="5740" y="3277"/>
                    </a:lnTo>
                    <a:lnTo>
                      <a:pt x="5740" y="3688"/>
                    </a:lnTo>
                    <a:lnTo>
                      <a:pt x="2326" y="3688"/>
                    </a:lnTo>
                    <a:lnTo>
                      <a:pt x="892" y="408"/>
                    </a:lnTo>
                    <a:lnTo>
                      <a:pt x="0" y="40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9" name="Freeform 54"/>
              <p:cNvSpPr>
                <a:spLocks/>
              </p:cNvSpPr>
              <p:nvPr/>
            </p:nvSpPr>
            <p:spPr bwMode="auto">
              <a:xfrm>
                <a:off x="2468" y="3182"/>
                <a:ext cx="615" cy="615"/>
              </a:xfrm>
              <a:custGeom>
                <a:avLst/>
                <a:gdLst>
                  <a:gd name="T0" fmla="*/ 617 w 1231"/>
                  <a:gd name="T1" fmla="*/ 0 h 1230"/>
                  <a:gd name="T2" fmla="*/ 698 w 1231"/>
                  <a:gd name="T3" fmla="*/ 6 h 1230"/>
                  <a:gd name="T4" fmla="*/ 780 w 1231"/>
                  <a:gd name="T5" fmla="*/ 22 h 1230"/>
                  <a:gd name="T6" fmla="*/ 856 w 1231"/>
                  <a:gd name="T7" fmla="*/ 50 h 1230"/>
                  <a:gd name="T8" fmla="*/ 926 w 1231"/>
                  <a:gd name="T9" fmla="*/ 84 h 1230"/>
                  <a:gd name="T10" fmla="*/ 992 w 1231"/>
                  <a:gd name="T11" fmla="*/ 130 h 1230"/>
                  <a:gd name="T12" fmla="*/ 1051 w 1231"/>
                  <a:gd name="T13" fmla="*/ 182 h 1230"/>
                  <a:gd name="T14" fmla="*/ 1103 w 1231"/>
                  <a:gd name="T15" fmla="*/ 239 h 1230"/>
                  <a:gd name="T16" fmla="*/ 1147 w 1231"/>
                  <a:gd name="T17" fmla="*/ 305 h 1230"/>
                  <a:gd name="T18" fmla="*/ 1183 w 1231"/>
                  <a:gd name="T19" fmla="*/ 377 h 1230"/>
                  <a:gd name="T20" fmla="*/ 1209 w 1231"/>
                  <a:gd name="T21" fmla="*/ 453 h 1230"/>
                  <a:gd name="T22" fmla="*/ 1225 w 1231"/>
                  <a:gd name="T23" fmla="*/ 532 h 1230"/>
                  <a:gd name="T24" fmla="*/ 1231 w 1231"/>
                  <a:gd name="T25" fmla="*/ 616 h 1230"/>
                  <a:gd name="T26" fmla="*/ 1225 w 1231"/>
                  <a:gd name="T27" fmla="*/ 698 h 1230"/>
                  <a:gd name="T28" fmla="*/ 1209 w 1231"/>
                  <a:gd name="T29" fmla="*/ 780 h 1230"/>
                  <a:gd name="T30" fmla="*/ 1183 w 1231"/>
                  <a:gd name="T31" fmla="*/ 855 h 1230"/>
                  <a:gd name="T32" fmla="*/ 1147 w 1231"/>
                  <a:gd name="T33" fmla="*/ 925 h 1230"/>
                  <a:gd name="T34" fmla="*/ 1103 w 1231"/>
                  <a:gd name="T35" fmla="*/ 991 h 1230"/>
                  <a:gd name="T36" fmla="*/ 1051 w 1231"/>
                  <a:gd name="T37" fmla="*/ 1051 h 1230"/>
                  <a:gd name="T38" fmla="*/ 992 w 1231"/>
                  <a:gd name="T39" fmla="*/ 1102 h 1230"/>
                  <a:gd name="T40" fmla="*/ 926 w 1231"/>
                  <a:gd name="T41" fmla="*/ 1146 h 1230"/>
                  <a:gd name="T42" fmla="*/ 856 w 1231"/>
                  <a:gd name="T43" fmla="*/ 1182 h 1230"/>
                  <a:gd name="T44" fmla="*/ 780 w 1231"/>
                  <a:gd name="T45" fmla="*/ 1208 h 1230"/>
                  <a:gd name="T46" fmla="*/ 698 w 1231"/>
                  <a:gd name="T47" fmla="*/ 1224 h 1230"/>
                  <a:gd name="T48" fmla="*/ 617 w 1231"/>
                  <a:gd name="T49" fmla="*/ 1230 h 1230"/>
                  <a:gd name="T50" fmla="*/ 533 w 1231"/>
                  <a:gd name="T51" fmla="*/ 1224 h 1230"/>
                  <a:gd name="T52" fmla="*/ 453 w 1231"/>
                  <a:gd name="T53" fmla="*/ 1208 h 1230"/>
                  <a:gd name="T54" fmla="*/ 377 w 1231"/>
                  <a:gd name="T55" fmla="*/ 1182 h 1230"/>
                  <a:gd name="T56" fmla="*/ 305 w 1231"/>
                  <a:gd name="T57" fmla="*/ 1146 h 1230"/>
                  <a:gd name="T58" fmla="*/ 240 w 1231"/>
                  <a:gd name="T59" fmla="*/ 1102 h 1230"/>
                  <a:gd name="T60" fmla="*/ 182 w 1231"/>
                  <a:gd name="T61" fmla="*/ 1051 h 1230"/>
                  <a:gd name="T62" fmla="*/ 130 w 1231"/>
                  <a:gd name="T63" fmla="*/ 991 h 1230"/>
                  <a:gd name="T64" fmla="*/ 84 w 1231"/>
                  <a:gd name="T65" fmla="*/ 925 h 1230"/>
                  <a:gd name="T66" fmla="*/ 50 w 1231"/>
                  <a:gd name="T67" fmla="*/ 855 h 1230"/>
                  <a:gd name="T68" fmla="*/ 22 w 1231"/>
                  <a:gd name="T69" fmla="*/ 780 h 1230"/>
                  <a:gd name="T70" fmla="*/ 6 w 1231"/>
                  <a:gd name="T71" fmla="*/ 698 h 1230"/>
                  <a:gd name="T72" fmla="*/ 0 w 1231"/>
                  <a:gd name="T73" fmla="*/ 616 h 1230"/>
                  <a:gd name="T74" fmla="*/ 6 w 1231"/>
                  <a:gd name="T75" fmla="*/ 532 h 1230"/>
                  <a:gd name="T76" fmla="*/ 22 w 1231"/>
                  <a:gd name="T77" fmla="*/ 453 h 1230"/>
                  <a:gd name="T78" fmla="*/ 50 w 1231"/>
                  <a:gd name="T79" fmla="*/ 377 h 1230"/>
                  <a:gd name="T80" fmla="*/ 84 w 1231"/>
                  <a:gd name="T81" fmla="*/ 305 h 1230"/>
                  <a:gd name="T82" fmla="*/ 130 w 1231"/>
                  <a:gd name="T83" fmla="*/ 239 h 1230"/>
                  <a:gd name="T84" fmla="*/ 182 w 1231"/>
                  <a:gd name="T85" fmla="*/ 182 h 1230"/>
                  <a:gd name="T86" fmla="*/ 240 w 1231"/>
                  <a:gd name="T87" fmla="*/ 130 h 1230"/>
                  <a:gd name="T88" fmla="*/ 305 w 1231"/>
                  <a:gd name="T89" fmla="*/ 84 h 1230"/>
                  <a:gd name="T90" fmla="*/ 377 w 1231"/>
                  <a:gd name="T91" fmla="*/ 50 h 1230"/>
                  <a:gd name="T92" fmla="*/ 453 w 1231"/>
                  <a:gd name="T93" fmla="*/ 22 h 1230"/>
                  <a:gd name="T94" fmla="*/ 533 w 1231"/>
                  <a:gd name="T95" fmla="*/ 6 h 1230"/>
                  <a:gd name="T96" fmla="*/ 617 w 1231"/>
                  <a:gd name="T97" fmla="*/ 0 h 1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31" h="1230">
                    <a:moveTo>
                      <a:pt x="617" y="0"/>
                    </a:moveTo>
                    <a:lnTo>
                      <a:pt x="698" y="6"/>
                    </a:lnTo>
                    <a:lnTo>
                      <a:pt x="780" y="22"/>
                    </a:lnTo>
                    <a:lnTo>
                      <a:pt x="856" y="50"/>
                    </a:lnTo>
                    <a:lnTo>
                      <a:pt x="926" y="84"/>
                    </a:lnTo>
                    <a:lnTo>
                      <a:pt x="992" y="130"/>
                    </a:lnTo>
                    <a:lnTo>
                      <a:pt x="1051" y="182"/>
                    </a:lnTo>
                    <a:lnTo>
                      <a:pt x="1103" y="239"/>
                    </a:lnTo>
                    <a:lnTo>
                      <a:pt x="1147" y="305"/>
                    </a:lnTo>
                    <a:lnTo>
                      <a:pt x="1183" y="377"/>
                    </a:lnTo>
                    <a:lnTo>
                      <a:pt x="1209" y="453"/>
                    </a:lnTo>
                    <a:lnTo>
                      <a:pt x="1225" y="532"/>
                    </a:lnTo>
                    <a:lnTo>
                      <a:pt x="1231" y="616"/>
                    </a:lnTo>
                    <a:lnTo>
                      <a:pt x="1225" y="698"/>
                    </a:lnTo>
                    <a:lnTo>
                      <a:pt x="1209" y="780"/>
                    </a:lnTo>
                    <a:lnTo>
                      <a:pt x="1183" y="855"/>
                    </a:lnTo>
                    <a:lnTo>
                      <a:pt x="1147" y="925"/>
                    </a:lnTo>
                    <a:lnTo>
                      <a:pt x="1103" y="991"/>
                    </a:lnTo>
                    <a:lnTo>
                      <a:pt x="1051" y="1051"/>
                    </a:lnTo>
                    <a:lnTo>
                      <a:pt x="992" y="1102"/>
                    </a:lnTo>
                    <a:lnTo>
                      <a:pt x="926" y="1146"/>
                    </a:lnTo>
                    <a:lnTo>
                      <a:pt x="856" y="1182"/>
                    </a:lnTo>
                    <a:lnTo>
                      <a:pt x="780" y="1208"/>
                    </a:lnTo>
                    <a:lnTo>
                      <a:pt x="698" y="1224"/>
                    </a:lnTo>
                    <a:lnTo>
                      <a:pt x="617" y="1230"/>
                    </a:lnTo>
                    <a:lnTo>
                      <a:pt x="533" y="1224"/>
                    </a:lnTo>
                    <a:lnTo>
                      <a:pt x="453" y="1208"/>
                    </a:lnTo>
                    <a:lnTo>
                      <a:pt x="377" y="1182"/>
                    </a:lnTo>
                    <a:lnTo>
                      <a:pt x="305" y="1146"/>
                    </a:lnTo>
                    <a:lnTo>
                      <a:pt x="240" y="1102"/>
                    </a:lnTo>
                    <a:lnTo>
                      <a:pt x="182" y="1051"/>
                    </a:lnTo>
                    <a:lnTo>
                      <a:pt x="130" y="991"/>
                    </a:lnTo>
                    <a:lnTo>
                      <a:pt x="84" y="925"/>
                    </a:lnTo>
                    <a:lnTo>
                      <a:pt x="50" y="855"/>
                    </a:lnTo>
                    <a:lnTo>
                      <a:pt x="22" y="780"/>
                    </a:lnTo>
                    <a:lnTo>
                      <a:pt x="6" y="698"/>
                    </a:lnTo>
                    <a:lnTo>
                      <a:pt x="0" y="616"/>
                    </a:lnTo>
                    <a:lnTo>
                      <a:pt x="6" y="532"/>
                    </a:lnTo>
                    <a:lnTo>
                      <a:pt x="22" y="453"/>
                    </a:lnTo>
                    <a:lnTo>
                      <a:pt x="50" y="377"/>
                    </a:lnTo>
                    <a:lnTo>
                      <a:pt x="84" y="305"/>
                    </a:lnTo>
                    <a:lnTo>
                      <a:pt x="130" y="239"/>
                    </a:lnTo>
                    <a:lnTo>
                      <a:pt x="182" y="182"/>
                    </a:lnTo>
                    <a:lnTo>
                      <a:pt x="240" y="130"/>
                    </a:lnTo>
                    <a:lnTo>
                      <a:pt x="305" y="84"/>
                    </a:lnTo>
                    <a:lnTo>
                      <a:pt x="377" y="50"/>
                    </a:lnTo>
                    <a:lnTo>
                      <a:pt x="453" y="22"/>
                    </a:lnTo>
                    <a:lnTo>
                      <a:pt x="533" y="6"/>
                    </a:lnTo>
                    <a:lnTo>
                      <a:pt x="61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0" name="Freeform 55"/>
              <p:cNvSpPr>
                <a:spLocks/>
              </p:cNvSpPr>
              <p:nvPr/>
            </p:nvSpPr>
            <p:spPr bwMode="auto">
              <a:xfrm>
                <a:off x="3493" y="3182"/>
                <a:ext cx="615" cy="615"/>
              </a:xfrm>
              <a:custGeom>
                <a:avLst/>
                <a:gdLst>
                  <a:gd name="T0" fmla="*/ 614 w 1230"/>
                  <a:gd name="T1" fmla="*/ 0 h 1230"/>
                  <a:gd name="T2" fmla="*/ 698 w 1230"/>
                  <a:gd name="T3" fmla="*/ 6 h 1230"/>
                  <a:gd name="T4" fmla="*/ 778 w 1230"/>
                  <a:gd name="T5" fmla="*/ 22 h 1230"/>
                  <a:gd name="T6" fmla="*/ 853 w 1230"/>
                  <a:gd name="T7" fmla="*/ 50 h 1230"/>
                  <a:gd name="T8" fmla="*/ 925 w 1230"/>
                  <a:gd name="T9" fmla="*/ 84 h 1230"/>
                  <a:gd name="T10" fmla="*/ 991 w 1230"/>
                  <a:gd name="T11" fmla="*/ 130 h 1230"/>
                  <a:gd name="T12" fmla="*/ 1049 w 1230"/>
                  <a:gd name="T13" fmla="*/ 182 h 1230"/>
                  <a:gd name="T14" fmla="*/ 1101 w 1230"/>
                  <a:gd name="T15" fmla="*/ 239 h 1230"/>
                  <a:gd name="T16" fmla="*/ 1146 w 1230"/>
                  <a:gd name="T17" fmla="*/ 305 h 1230"/>
                  <a:gd name="T18" fmla="*/ 1180 w 1230"/>
                  <a:gd name="T19" fmla="*/ 377 h 1230"/>
                  <a:gd name="T20" fmla="*/ 1208 w 1230"/>
                  <a:gd name="T21" fmla="*/ 453 h 1230"/>
                  <a:gd name="T22" fmla="*/ 1224 w 1230"/>
                  <a:gd name="T23" fmla="*/ 532 h 1230"/>
                  <a:gd name="T24" fmla="*/ 1230 w 1230"/>
                  <a:gd name="T25" fmla="*/ 616 h 1230"/>
                  <a:gd name="T26" fmla="*/ 1224 w 1230"/>
                  <a:gd name="T27" fmla="*/ 698 h 1230"/>
                  <a:gd name="T28" fmla="*/ 1208 w 1230"/>
                  <a:gd name="T29" fmla="*/ 780 h 1230"/>
                  <a:gd name="T30" fmla="*/ 1180 w 1230"/>
                  <a:gd name="T31" fmla="*/ 855 h 1230"/>
                  <a:gd name="T32" fmla="*/ 1146 w 1230"/>
                  <a:gd name="T33" fmla="*/ 925 h 1230"/>
                  <a:gd name="T34" fmla="*/ 1101 w 1230"/>
                  <a:gd name="T35" fmla="*/ 991 h 1230"/>
                  <a:gd name="T36" fmla="*/ 1049 w 1230"/>
                  <a:gd name="T37" fmla="*/ 1051 h 1230"/>
                  <a:gd name="T38" fmla="*/ 991 w 1230"/>
                  <a:gd name="T39" fmla="*/ 1102 h 1230"/>
                  <a:gd name="T40" fmla="*/ 925 w 1230"/>
                  <a:gd name="T41" fmla="*/ 1146 h 1230"/>
                  <a:gd name="T42" fmla="*/ 853 w 1230"/>
                  <a:gd name="T43" fmla="*/ 1182 h 1230"/>
                  <a:gd name="T44" fmla="*/ 778 w 1230"/>
                  <a:gd name="T45" fmla="*/ 1208 h 1230"/>
                  <a:gd name="T46" fmla="*/ 698 w 1230"/>
                  <a:gd name="T47" fmla="*/ 1224 h 1230"/>
                  <a:gd name="T48" fmla="*/ 614 w 1230"/>
                  <a:gd name="T49" fmla="*/ 1230 h 1230"/>
                  <a:gd name="T50" fmla="*/ 532 w 1230"/>
                  <a:gd name="T51" fmla="*/ 1224 h 1230"/>
                  <a:gd name="T52" fmla="*/ 450 w 1230"/>
                  <a:gd name="T53" fmla="*/ 1208 h 1230"/>
                  <a:gd name="T54" fmla="*/ 375 w 1230"/>
                  <a:gd name="T55" fmla="*/ 1182 h 1230"/>
                  <a:gd name="T56" fmla="*/ 305 w 1230"/>
                  <a:gd name="T57" fmla="*/ 1146 h 1230"/>
                  <a:gd name="T58" fmla="*/ 239 w 1230"/>
                  <a:gd name="T59" fmla="*/ 1102 h 1230"/>
                  <a:gd name="T60" fmla="*/ 179 w 1230"/>
                  <a:gd name="T61" fmla="*/ 1051 h 1230"/>
                  <a:gd name="T62" fmla="*/ 127 w 1230"/>
                  <a:gd name="T63" fmla="*/ 991 h 1230"/>
                  <a:gd name="T64" fmla="*/ 83 w 1230"/>
                  <a:gd name="T65" fmla="*/ 925 h 1230"/>
                  <a:gd name="T66" fmla="*/ 48 w 1230"/>
                  <a:gd name="T67" fmla="*/ 855 h 1230"/>
                  <a:gd name="T68" fmla="*/ 22 w 1230"/>
                  <a:gd name="T69" fmla="*/ 780 h 1230"/>
                  <a:gd name="T70" fmla="*/ 6 w 1230"/>
                  <a:gd name="T71" fmla="*/ 698 h 1230"/>
                  <a:gd name="T72" fmla="*/ 0 w 1230"/>
                  <a:gd name="T73" fmla="*/ 616 h 1230"/>
                  <a:gd name="T74" fmla="*/ 6 w 1230"/>
                  <a:gd name="T75" fmla="*/ 532 h 1230"/>
                  <a:gd name="T76" fmla="*/ 22 w 1230"/>
                  <a:gd name="T77" fmla="*/ 453 h 1230"/>
                  <a:gd name="T78" fmla="*/ 48 w 1230"/>
                  <a:gd name="T79" fmla="*/ 377 h 1230"/>
                  <a:gd name="T80" fmla="*/ 83 w 1230"/>
                  <a:gd name="T81" fmla="*/ 305 h 1230"/>
                  <a:gd name="T82" fmla="*/ 127 w 1230"/>
                  <a:gd name="T83" fmla="*/ 239 h 1230"/>
                  <a:gd name="T84" fmla="*/ 179 w 1230"/>
                  <a:gd name="T85" fmla="*/ 182 h 1230"/>
                  <a:gd name="T86" fmla="*/ 239 w 1230"/>
                  <a:gd name="T87" fmla="*/ 130 h 1230"/>
                  <a:gd name="T88" fmla="*/ 305 w 1230"/>
                  <a:gd name="T89" fmla="*/ 84 h 1230"/>
                  <a:gd name="T90" fmla="*/ 375 w 1230"/>
                  <a:gd name="T91" fmla="*/ 50 h 1230"/>
                  <a:gd name="T92" fmla="*/ 450 w 1230"/>
                  <a:gd name="T93" fmla="*/ 22 h 1230"/>
                  <a:gd name="T94" fmla="*/ 532 w 1230"/>
                  <a:gd name="T95" fmla="*/ 6 h 1230"/>
                  <a:gd name="T96" fmla="*/ 614 w 1230"/>
                  <a:gd name="T97" fmla="*/ 0 h 1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30" h="1230">
                    <a:moveTo>
                      <a:pt x="614" y="0"/>
                    </a:moveTo>
                    <a:lnTo>
                      <a:pt x="698" y="6"/>
                    </a:lnTo>
                    <a:lnTo>
                      <a:pt x="778" y="22"/>
                    </a:lnTo>
                    <a:lnTo>
                      <a:pt x="853" y="50"/>
                    </a:lnTo>
                    <a:lnTo>
                      <a:pt x="925" y="84"/>
                    </a:lnTo>
                    <a:lnTo>
                      <a:pt x="991" y="130"/>
                    </a:lnTo>
                    <a:lnTo>
                      <a:pt x="1049" y="182"/>
                    </a:lnTo>
                    <a:lnTo>
                      <a:pt x="1101" y="239"/>
                    </a:lnTo>
                    <a:lnTo>
                      <a:pt x="1146" y="305"/>
                    </a:lnTo>
                    <a:lnTo>
                      <a:pt x="1180" y="377"/>
                    </a:lnTo>
                    <a:lnTo>
                      <a:pt x="1208" y="453"/>
                    </a:lnTo>
                    <a:lnTo>
                      <a:pt x="1224" y="532"/>
                    </a:lnTo>
                    <a:lnTo>
                      <a:pt x="1230" y="616"/>
                    </a:lnTo>
                    <a:lnTo>
                      <a:pt x="1224" y="698"/>
                    </a:lnTo>
                    <a:lnTo>
                      <a:pt x="1208" y="780"/>
                    </a:lnTo>
                    <a:lnTo>
                      <a:pt x="1180" y="855"/>
                    </a:lnTo>
                    <a:lnTo>
                      <a:pt x="1146" y="925"/>
                    </a:lnTo>
                    <a:lnTo>
                      <a:pt x="1101" y="991"/>
                    </a:lnTo>
                    <a:lnTo>
                      <a:pt x="1049" y="1051"/>
                    </a:lnTo>
                    <a:lnTo>
                      <a:pt x="991" y="1102"/>
                    </a:lnTo>
                    <a:lnTo>
                      <a:pt x="925" y="1146"/>
                    </a:lnTo>
                    <a:lnTo>
                      <a:pt x="853" y="1182"/>
                    </a:lnTo>
                    <a:lnTo>
                      <a:pt x="778" y="1208"/>
                    </a:lnTo>
                    <a:lnTo>
                      <a:pt x="698" y="1224"/>
                    </a:lnTo>
                    <a:lnTo>
                      <a:pt x="614" y="1230"/>
                    </a:lnTo>
                    <a:lnTo>
                      <a:pt x="532" y="1224"/>
                    </a:lnTo>
                    <a:lnTo>
                      <a:pt x="450" y="1208"/>
                    </a:lnTo>
                    <a:lnTo>
                      <a:pt x="375" y="1182"/>
                    </a:lnTo>
                    <a:lnTo>
                      <a:pt x="305" y="1146"/>
                    </a:lnTo>
                    <a:lnTo>
                      <a:pt x="239" y="1102"/>
                    </a:lnTo>
                    <a:lnTo>
                      <a:pt x="179" y="1051"/>
                    </a:lnTo>
                    <a:lnTo>
                      <a:pt x="127" y="991"/>
                    </a:lnTo>
                    <a:lnTo>
                      <a:pt x="83" y="925"/>
                    </a:lnTo>
                    <a:lnTo>
                      <a:pt x="48" y="855"/>
                    </a:lnTo>
                    <a:lnTo>
                      <a:pt x="22" y="780"/>
                    </a:lnTo>
                    <a:lnTo>
                      <a:pt x="6" y="698"/>
                    </a:lnTo>
                    <a:lnTo>
                      <a:pt x="0" y="616"/>
                    </a:lnTo>
                    <a:lnTo>
                      <a:pt x="6" y="532"/>
                    </a:lnTo>
                    <a:lnTo>
                      <a:pt x="22" y="453"/>
                    </a:lnTo>
                    <a:lnTo>
                      <a:pt x="48" y="377"/>
                    </a:lnTo>
                    <a:lnTo>
                      <a:pt x="83" y="305"/>
                    </a:lnTo>
                    <a:lnTo>
                      <a:pt x="127" y="239"/>
                    </a:lnTo>
                    <a:lnTo>
                      <a:pt x="179" y="182"/>
                    </a:lnTo>
                    <a:lnTo>
                      <a:pt x="239" y="130"/>
                    </a:lnTo>
                    <a:lnTo>
                      <a:pt x="305" y="84"/>
                    </a:lnTo>
                    <a:lnTo>
                      <a:pt x="375" y="50"/>
                    </a:lnTo>
                    <a:lnTo>
                      <a:pt x="450" y="22"/>
                    </a:lnTo>
                    <a:lnTo>
                      <a:pt x="532" y="6"/>
                    </a:lnTo>
                    <a:lnTo>
                      <a:pt x="61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2" name="Freeform 56"/>
              <p:cNvSpPr>
                <a:spLocks noEditPoints="1"/>
              </p:cNvSpPr>
              <p:nvPr/>
            </p:nvSpPr>
            <p:spPr bwMode="auto">
              <a:xfrm>
                <a:off x="3083" y="519"/>
                <a:ext cx="1435" cy="1434"/>
              </a:xfrm>
              <a:custGeom>
                <a:avLst/>
                <a:gdLst>
                  <a:gd name="T0" fmla="*/ 1231 w 2870"/>
                  <a:gd name="T1" fmla="*/ 1230 h 2868"/>
                  <a:gd name="T2" fmla="*/ 614 w 2870"/>
                  <a:gd name="T3" fmla="*/ 1638 h 2868"/>
                  <a:gd name="T4" fmla="*/ 1231 w 2870"/>
                  <a:gd name="T5" fmla="*/ 2254 h 2868"/>
                  <a:gd name="T6" fmla="*/ 1639 w 2870"/>
                  <a:gd name="T7" fmla="*/ 1638 h 2868"/>
                  <a:gd name="T8" fmla="*/ 2254 w 2870"/>
                  <a:gd name="T9" fmla="*/ 1230 h 2868"/>
                  <a:gd name="T10" fmla="*/ 1639 w 2870"/>
                  <a:gd name="T11" fmla="*/ 616 h 2868"/>
                  <a:gd name="T12" fmla="*/ 1434 w 2870"/>
                  <a:gd name="T13" fmla="*/ 0 h 2868"/>
                  <a:gd name="T14" fmla="*/ 1693 w 2870"/>
                  <a:gd name="T15" fmla="*/ 24 h 2868"/>
                  <a:gd name="T16" fmla="*/ 1935 w 2870"/>
                  <a:gd name="T17" fmla="*/ 90 h 2868"/>
                  <a:gd name="T18" fmla="*/ 2158 w 2870"/>
                  <a:gd name="T19" fmla="*/ 195 h 2868"/>
                  <a:gd name="T20" fmla="*/ 2359 w 2870"/>
                  <a:gd name="T21" fmla="*/ 337 h 2868"/>
                  <a:gd name="T22" fmla="*/ 2533 w 2870"/>
                  <a:gd name="T23" fmla="*/ 510 h 2868"/>
                  <a:gd name="T24" fmla="*/ 2675 w 2870"/>
                  <a:gd name="T25" fmla="*/ 712 h 2868"/>
                  <a:gd name="T26" fmla="*/ 2780 w 2870"/>
                  <a:gd name="T27" fmla="*/ 935 h 2868"/>
                  <a:gd name="T28" fmla="*/ 2846 w 2870"/>
                  <a:gd name="T29" fmla="*/ 1176 h 2868"/>
                  <a:gd name="T30" fmla="*/ 2870 w 2870"/>
                  <a:gd name="T31" fmla="*/ 1435 h 2868"/>
                  <a:gd name="T32" fmla="*/ 2846 w 2870"/>
                  <a:gd name="T33" fmla="*/ 1692 h 2868"/>
                  <a:gd name="T34" fmla="*/ 2780 w 2870"/>
                  <a:gd name="T35" fmla="*/ 1936 h 2868"/>
                  <a:gd name="T36" fmla="*/ 2675 w 2870"/>
                  <a:gd name="T37" fmla="*/ 2159 h 2868"/>
                  <a:gd name="T38" fmla="*/ 2533 w 2870"/>
                  <a:gd name="T39" fmla="*/ 2358 h 2868"/>
                  <a:gd name="T40" fmla="*/ 2359 w 2870"/>
                  <a:gd name="T41" fmla="*/ 2532 h 2868"/>
                  <a:gd name="T42" fmla="*/ 2158 w 2870"/>
                  <a:gd name="T43" fmla="*/ 2673 h 2868"/>
                  <a:gd name="T44" fmla="*/ 1935 w 2870"/>
                  <a:gd name="T45" fmla="*/ 2779 h 2868"/>
                  <a:gd name="T46" fmla="*/ 1693 w 2870"/>
                  <a:gd name="T47" fmla="*/ 2844 h 2868"/>
                  <a:gd name="T48" fmla="*/ 1434 w 2870"/>
                  <a:gd name="T49" fmla="*/ 2868 h 2868"/>
                  <a:gd name="T50" fmla="*/ 1177 w 2870"/>
                  <a:gd name="T51" fmla="*/ 2844 h 2868"/>
                  <a:gd name="T52" fmla="*/ 933 w 2870"/>
                  <a:gd name="T53" fmla="*/ 2779 h 2868"/>
                  <a:gd name="T54" fmla="*/ 710 w 2870"/>
                  <a:gd name="T55" fmla="*/ 2673 h 2868"/>
                  <a:gd name="T56" fmla="*/ 510 w 2870"/>
                  <a:gd name="T57" fmla="*/ 2532 h 2868"/>
                  <a:gd name="T58" fmla="*/ 337 w 2870"/>
                  <a:gd name="T59" fmla="*/ 2358 h 2868"/>
                  <a:gd name="T60" fmla="*/ 195 w 2870"/>
                  <a:gd name="T61" fmla="*/ 2159 h 2868"/>
                  <a:gd name="T62" fmla="*/ 90 w 2870"/>
                  <a:gd name="T63" fmla="*/ 1936 h 2868"/>
                  <a:gd name="T64" fmla="*/ 24 w 2870"/>
                  <a:gd name="T65" fmla="*/ 1692 h 2868"/>
                  <a:gd name="T66" fmla="*/ 0 w 2870"/>
                  <a:gd name="T67" fmla="*/ 1435 h 2868"/>
                  <a:gd name="T68" fmla="*/ 24 w 2870"/>
                  <a:gd name="T69" fmla="*/ 1176 h 2868"/>
                  <a:gd name="T70" fmla="*/ 90 w 2870"/>
                  <a:gd name="T71" fmla="*/ 935 h 2868"/>
                  <a:gd name="T72" fmla="*/ 195 w 2870"/>
                  <a:gd name="T73" fmla="*/ 712 h 2868"/>
                  <a:gd name="T74" fmla="*/ 337 w 2870"/>
                  <a:gd name="T75" fmla="*/ 510 h 2868"/>
                  <a:gd name="T76" fmla="*/ 510 w 2870"/>
                  <a:gd name="T77" fmla="*/ 337 h 2868"/>
                  <a:gd name="T78" fmla="*/ 710 w 2870"/>
                  <a:gd name="T79" fmla="*/ 195 h 2868"/>
                  <a:gd name="T80" fmla="*/ 933 w 2870"/>
                  <a:gd name="T81" fmla="*/ 90 h 2868"/>
                  <a:gd name="T82" fmla="*/ 1177 w 2870"/>
                  <a:gd name="T83" fmla="*/ 24 h 2868"/>
                  <a:gd name="T84" fmla="*/ 1434 w 2870"/>
                  <a:gd name="T85" fmla="*/ 0 h 2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870" h="2868">
                    <a:moveTo>
                      <a:pt x="1231" y="616"/>
                    </a:moveTo>
                    <a:lnTo>
                      <a:pt x="1231" y="1230"/>
                    </a:lnTo>
                    <a:lnTo>
                      <a:pt x="614" y="1230"/>
                    </a:lnTo>
                    <a:lnTo>
                      <a:pt x="614" y="1638"/>
                    </a:lnTo>
                    <a:lnTo>
                      <a:pt x="1231" y="1638"/>
                    </a:lnTo>
                    <a:lnTo>
                      <a:pt x="1231" y="2254"/>
                    </a:lnTo>
                    <a:lnTo>
                      <a:pt x="1639" y="2254"/>
                    </a:lnTo>
                    <a:lnTo>
                      <a:pt x="1639" y="1638"/>
                    </a:lnTo>
                    <a:lnTo>
                      <a:pt x="2254" y="1638"/>
                    </a:lnTo>
                    <a:lnTo>
                      <a:pt x="2254" y="1230"/>
                    </a:lnTo>
                    <a:lnTo>
                      <a:pt x="1639" y="1230"/>
                    </a:lnTo>
                    <a:lnTo>
                      <a:pt x="1639" y="616"/>
                    </a:lnTo>
                    <a:lnTo>
                      <a:pt x="1231" y="616"/>
                    </a:lnTo>
                    <a:close/>
                    <a:moveTo>
                      <a:pt x="1434" y="0"/>
                    </a:moveTo>
                    <a:lnTo>
                      <a:pt x="1566" y="6"/>
                    </a:lnTo>
                    <a:lnTo>
                      <a:pt x="1693" y="24"/>
                    </a:lnTo>
                    <a:lnTo>
                      <a:pt x="1817" y="52"/>
                    </a:lnTo>
                    <a:lnTo>
                      <a:pt x="1935" y="90"/>
                    </a:lnTo>
                    <a:lnTo>
                      <a:pt x="2050" y="138"/>
                    </a:lnTo>
                    <a:lnTo>
                      <a:pt x="2158" y="195"/>
                    </a:lnTo>
                    <a:lnTo>
                      <a:pt x="2262" y="263"/>
                    </a:lnTo>
                    <a:lnTo>
                      <a:pt x="2359" y="337"/>
                    </a:lnTo>
                    <a:lnTo>
                      <a:pt x="2449" y="421"/>
                    </a:lnTo>
                    <a:lnTo>
                      <a:pt x="2533" y="510"/>
                    </a:lnTo>
                    <a:lnTo>
                      <a:pt x="2607" y="608"/>
                    </a:lnTo>
                    <a:lnTo>
                      <a:pt x="2675" y="712"/>
                    </a:lnTo>
                    <a:lnTo>
                      <a:pt x="2732" y="819"/>
                    </a:lnTo>
                    <a:lnTo>
                      <a:pt x="2780" y="935"/>
                    </a:lnTo>
                    <a:lnTo>
                      <a:pt x="2818" y="1052"/>
                    </a:lnTo>
                    <a:lnTo>
                      <a:pt x="2846" y="1176"/>
                    </a:lnTo>
                    <a:lnTo>
                      <a:pt x="2864" y="1304"/>
                    </a:lnTo>
                    <a:lnTo>
                      <a:pt x="2870" y="1435"/>
                    </a:lnTo>
                    <a:lnTo>
                      <a:pt x="2864" y="1565"/>
                    </a:lnTo>
                    <a:lnTo>
                      <a:pt x="2846" y="1692"/>
                    </a:lnTo>
                    <a:lnTo>
                      <a:pt x="2818" y="1816"/>
                    </a:lnTo>
                    <a:lnTo>
                      <a:pt x="2780" y="1936"/>
                    </a:lnTo>
                    <a:lnTo>
                      <a:pt x="2732" y="2049"/>
                    </a:lnTo>
                    <a:lnTo>
                      <a:pt x="2675" y="2159"/>
                    </a:lnTo>
                    <a:lnTo>
                      <a:pt x="2607" y="2260"/>
                    </a:lnTo>
                    <a:lnTo>
                      <a:pt x="2533" y="2358"/>
                    </a:lnTo>
                    <a:lnTo>
                      <a:pt x="2449" y="2448"/>
                    </a:lnTo>
                    <a:lnTo>
                      <a:pt x="2359" y="2532"/>
                    </a:lnTo>
                    <a:lnTo>
                      <a:pt x="2262" y="2605"/>
                    </a:lnTo>
                    <a:lnTo>
                      <a:pt x="2158" y="2673"/>
                    </a:lnTo>
                    <a:lnTo>
                      <a:pt x="2050" y="2731"/>
                    </a:lnTo>
                    <a:lnTo>
                      <a:pt x="1935" y="2779"/>
                    </a:lnTo>
                    <a:lnTo>
                      <a:pt x="1817" y="2817"/>
                    </a:lnTo>
                    <a:lnTo>
                      <a:pt x="1693" y="2844"/>
                    </a:lnTo>
                    <a:lnTo>
                      <a:pt x="1566" y="2862"/>
                    </a:lnTo>
                    <a:lnTo>
                      <a:pt x="1434" y="2868"/>
                    </a:lnTo>
                    <a:lnTo>
                      <a:pt x="1304" y="2862"/>
                    </a:lnTo>
                    <a:lnTo>
                      <a:pt x="1177" y="2844"/>
                    </a:lnTo>
                    <a:lnTo>
                      <a:pt x="1053" y="2817"/>
                    </a:lnTo>
                    <a:lnTo>
                      <a:pt x="933" y="2779"/>
                    </a:lnTo>
                    <a:lnTo>
                      <a:pt x="820" y="2731"/>
                    </a:lnTo>
                    <a:lnTo>
                      <a:pt x="710" y="2673"/>
                    </a:lnTo>
                    <a:lnTo>
                      <a:pt x="606" y="2605"/>
                    </a:lnTo>
                    <a:lnTo>
                      <a:pt x="510" y="2532"/>
                    </a:lnTo>
                    <a:lnTo>
                      <a:pt x="421" y="2448"/>
                    </a:lnTo>
                    <a:lnTo>
                      <a:pt x="337" y="2358"/>
                    </a:lnTo>
                    <a:lnTo>
                      <a:pt x="263" y="2260"/>
                    </a:lnTo>
                    <a:lnTo>
                      <a:pt x="195" y="2159"/>
                    </a:lnTo>
                    <a:lnTo>
                      <a:pt x="138" y="2049"/>
                    </a:lnTo>
                    <a:lnTo>
                      <a:pt x="90" y="1936"/>
                    </a:lnTo>
                    <a:lnTo>
                      <a:pt x="52" y="1816"/>
                    </a:lnTo>
                    <a:lnTo>
                      <a:pt x="24" y="1692"/>
                    </a:lnTo>
                    <a:lnTo>
                      <a:pt x="6" y="1565"/>
                    </a:lnTo>
                    <a:lnTo>
                      <a:pt x="0" y="1435"/>
                    </a:lnTo>
                    <a:lnTo>
                      <a:pt x="6" y="1304"/>
                    </a:lnTo>
                    <a:lnTo>
                      <a:pt x="24" y="1176"/>
                    </a:lnTo>
                    <a:lnTo>
                      <a:pt x="52" y="1052"/>
                    </a:lnTo>
                    <a:lnTo>
                      <a:pt x="90" y="935"/>
                    </a:lnTo>
                    <a:lnTo>
                      <a:pt x="138" y="819"/>
                    </a:lnTo>
                    <a:lnTo>
                      <a:pt x="195" y="712"/>
                    </a:lnTo>
                    <a:lnTo>
                      <a:pt x="263" y="608"/>
                    </a:lnTo>
                    <a:lnTo>
                      <a:pt x="337" y="510"/>
                    </a:lnTo>
                    <a:lnTo>
                      <a:pt x="421" y="421"/>
                    </a:lnTo>
                    <a:lnTo>
                      <a:pt x="510" y="337"/>
                    </a:lnTo>
                    <a:lnTo>
                      <a:pt x="606" y="263"/>
                    </a:lnTo>
                    <a:lnTo>
                      <a:pt x="710" y="195"/>
                    </a:lnTo>
                    <a:lnTo>
                      <a:pt x="820" y="138"/>
                    </a:lnTo>
                    <a:lnTo>
                      <a:pt x="933" y="90"/>
                    </a:lnTo>
                    <a:lnTo>
                      <a:pt x="1053" y="52"/>
                    </a:lnTo>
                    <a:lnTo>
                      <a:pt x="1177" y="24"/>
                    </a:lnTo>
                    <a:lnTo>
                      <a:pt x="1304" y="6"/>
                    </a:lnTo>
                    <a:lnTo>
                      <a:pt x="14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3" name="Freeform 57"/>
              <p:cNvSpPr>
                <a:spLocks/>
              </p:cNvSpPr>
              <p:nvPr/>
            </p:nvSpPr>
            <p:spPr bwMode="auto">
              <a:xfrm>
                <a:off x="2263" y="1544"/>
                <a:ext cx="2081" cy="1024"/>
              </a:xfrm>
              <a:custGeom>
                <a:avLst/>
                <a:gdLst>
                  <a:gd name="T0" fmla="*/ 0 w 4163"/>
                  <a:gd name="T1" fmla="*/ 0 h 2049"/>
                  <a:gd name="T2" fmla="*/ 1343 w 4163"/>
                  <a:gd name="T3" fmla="*/ 0 h 2049"/>
                  <a:gd name="T4" fmla="*/ 1397 w 4163"/>
                  <a:gd name="T5" fmla="*/ 132 h 2049"/>
                  <a:gd name="T6" fmla="*/ 1458 w 4163"/>
                  <a:gd name="T7" fmla="*/ 257 h 2049"/>
                  <a:gd name="T8" fmla="*/ 1528 w 4163"/>
                  <a:gd name="T9" fmla="*/ 379 h 2049"/>
                  <a:gd name="T10" fmla="*/ 1608 w 4163"/>
                  <a:gd name="T11" fmla="*/ 492 h 2049"/>
                  <a:gd name="T12" fmla="*/ 1696 w 4163"/>
                  <a:gd name="T13" fmla="*/ 602 h 2049"/>
                  <a:gd name="T14" fmla="*/ 1791 w 4163"/>
                  <a:gd name="T15" fmla="*/ 702 h 2049"/>
                  <a:gd name="T16" fmla="*/ 1895 w 4163"/>
                  <a:gd name="T17" fmla="*/ 795 h 2049"/>
                  <a:gd name="T18" fmla="*/ 2005 w 4163"/>
                  <a:gd name="T19" fmla="*/ 883 h 2049"/>
                  <a:gd name="T20" fmla="*/ 2121 w 4163"/>
                  <a:gd name="T21" fmla="*/ 959 h 2049"/>
                  <a:gd name="T22" fmla="*/ 2242 w 4163"/>
                  <a:gd name="T23" fmla="*/ 1029 h 2049"/>
                  <a:gd name="T24" fmla="*/ 2370 w 4163"/>
                  <a:gd name="T25" fmla="*/ 1088 h 2049"/>
                  <a:gd name="T26" fmla="*/ 2502 w 4163"/>
                  <a:gd name="T27" fmla="*/ 1138 h 2049"/>
                  <a:gd name="T28" fmla="*/ 2639 w 4163"/>
                  <a:gd name="T29" fmla="*/ 1176 h 2049"/>
                  <a:gd name="T30" fmla="*/ 2781 w 4163"/>
                  <a:gd name="T31" fmla="*/ 1206 h 2049"/>
                  <a:gd name="T32" fmla="*/ 2926 w 4163"/>
                  <a:gd name="T33" fmla="*/ 1224 h 2049"/>
                  <a:gd name="T34" fmla="*/ 3074 w 4163"/>
                  <a:gd name="T35" fmla="*/ 1230 h 2049"/>
                  <a:gd name="T36" fmla="*/ 3210 w 4163"/>
                  <a:gd name="T37" fmla="*/ 1224 h 2049"/>
                  <a:gd name="T38" fmla="*/ 3341 w 4163"/>
                  <a:gd name="T39" fmla="*/ 1210 h 2049"/>
                  <a:gd name="T40" fmla="*/ 3471 w 4163"/>
                  <a:gd name="T41" fmla="*/ 1186 h 2049"/>
                  <a:gd name="T42" fmla="*/ 3597 w 4163"/>
                  <a:gd name="T43" fmla="*/ 1152 h 2049"/>
                  <a:gd name="T44" fmla="*/ 3718 w 4163"/>
                  <a:gd name="T45" fmla="*/ 1110 h 2049"/>
                  <a:gd name="T46" fmla="*/ 3836 w 4163"/>
                  <a:gd name="T47" fmla="*/ 1061 h 2049"/>
                  <a:gd name="T48" fmla="*/ 3950 w 4163"/>
                  <a:gd name="T49" fmla="*/ 1003 h 2049"/>
                  <a:gd name="T50" fmla="*/ 4059 w 4163"/>
                  <a:gd name="T51" fmla="*/ 939 h 2049"/>
                  <a:gd name="T52" fmla="*/ 4163 w 4163"/>
                  <a:gd name="T53" fmla="*/ 867 h 2049"/>
                  <a:gd name="T54" fmla="*/ 3690 w 4163"/>
                  <a:gd name="T55" fmla="*/ 2049 h 2049"/>
                  <a:gd name="T56" fmla="*/ 820 w 4163"/>
                  <a:gd name="T57" fmla="*/ 2049 h 2049"/>
                  <a:gd name="T58" fmla="*/ 0 w 4163"/>
                  <a:gd name="T59" fmla="*/ 0 h 20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163" h="2049">
                    <a:moveTo>
                      <a:pt x="0" y="0"/>
                    </a:moveTo>
                    <a:lnTo>
                      <a:pt x="1343" y="0"/>
                    </a:lnTo>
                    <a:lnTo>
                      <a:pt x="1397" y="132"/>
                    </a:lnTo>
                    <a:lnTo>
                      <a:pt x="1458" y="257"/>
                    </a:lnTo>
                    <a:lnTo>
                      <a:pt x="1528" y="379"/>
                    </a:lnTo>
                    <a:lnTo>
                      <a:pt x="1608" y="492"/>
                    </a:lnTo>
                    <a:lnTo>
                      <a:pt x="1696" y="602"/>
                    </a:lnTo>
                    <a:lnTo>
                      <a:pt x="1791" y="702"/>
                    </a:lnTo>
                    <a:lnTo>
                      <a:pt x="1895" y="795"/>
                    </a:lnTo>
                    <a:lnTo>
                      <a:pt x="2005" y="883"/>
                    </a:lnTo>
                    <a:lnTo>
                      <a:pt x="2121" y="959"/>
                    </a:lnTo>
                    <a:lnTo>
                      <a:pt x="2242" y="1029"/>
                    </a:lnTo>
                    <a:lnTo>
                      <a:pt x="2370" y="1088"/>
                    </a:lnTo>
                    <a:lnTo>
                      <a:pt x="2502" y="1138"/>
                    </a:lnTo>
                    <a:lnTo>
                      <a:pt x="2639" y="1176"/>
                    </a:lnTo>
                    <a:lnTo>
                      <a:pt x="2781" y="1206"/>
                    </a:lnTo>
                    <a:lnTo>
                      <a:pt x="2926" y="1224"/>
                    </a:lnTo>
                    <a:lnTo>
                      <a:pt x="3074" y="1230"/>
                    </a:lnTo>
                    <a:lnTo>
                      <a:pt x="3210" y="1224"/>
                    </a:lnTo>
                    <a:lnTo>
                      <a:pt x="3341" y="1210"/>
                    </a:lnTo>
                    <a:lnTo>
                      <a:pt x="3471" y="1186"/>
                    </a:lnTo>
                    <a:lnTo>
                      <a:pt x="3597" y="1152"/>
                    </a:lnTo>
                    <a:lnTo>
                      <a:pt x="3718" y="1110"/>
                    </a:lnTo>
                    <a:lnTo>
                      <a:pt x="3836" y="1061"/>
                    </a:lnTo>
                    <a:lnTo>
                      <a:pt x="3950" y="1003"/>
                    </a:lnTo>
                    <a:lnTo>
                      <a:pt x="4059" y="939"/>
                    </a:lnTo>
                    <a:lnTo>
                      <a:pt x="4163" y="867"/>
                    </a:lnTo>
                    <a:lnTo>
                      <a:pt x="3690" y="2049"/>
                    </a:lnTo>
                    <a:lnTo>
                      <a:pt x="820" y="204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sp>
          <p:nvSpPr>
            <p:cNvPr id="145" name="Rectangle 144"/>
            <p:cNvSpPr/>
            <p:nvPr/>
          </p:nvSpPr>
          <p:spPr bwMode="ltGray">
            <a:xfrm>
              <a:off x="5777827" y="2238925"/>
              <a:ext cx="243192" cy="249444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Rectangle 12"/>
            <p:cNvSpPr/>
            <p:nvPr/>
          </p:nvSpPr>
          <p:spPr bwMode="ltGray">
            <a:xfrm>
              <a:off x="5784216" y="2326061"/>
              <a:ext cx="230415" cy="59952"/>
            </a:xfrm>
            <a:prstGeom prst="rect">
              <a:avLst/>
            </a:prstGeom>
            <a:solidFill>
              <a:srgbClr val="74706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smtClean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46" name="Rectangle 145"/>
          <p:cNvSpPr/>
          <p:nvPr/>
        </p:nvSpPr>
        <p:spPr>
          <a:xfrm>
            <a:off x="1486541" y="2664819"/>
            <a:ext cx="104779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количества </a:t>
            </a:r>
            <a:r>
              <a:rPr i="1">
                <a:solidFill>
                  <a:schemeClr val="bg1"/>
                </a:solidFill>
                <a:latin typeface="+mj-lt"/>
              </a:rPr>
              <a:t/>
            </a:r>
            <a:br>
              <a:rPr i="1">
                <a:solidFill>
                  <a:schemeClr val="bg1"/>
                </a:solidFill>
                <a:latin typeface="+mj-lt"/>
              </a:rPr>
            </a:b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посещений</a:t>
            </a:r>
            <a:endParaRPr lang="ru-RU" sz="12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5186391" y="2664819"/>
            <a:ext cx="3424207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… а более тщательный анализ посещаемости позволяет максимально увеличить конверсию</a:t>
            </a:r>
          </a:p>
          <a:p>
            <a:pPr algn="r"/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6" name="Rectangle 155"/>
          <p:cNvSpPr/>
          <p:nvPr/>
        </p:nvSpPr>
        <p:spPr>
          <a:xfrm>
            <a:off x="2729056" y="2664819"/>
            <a:ext cx="1048138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/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доли брошенных корзин</a:t>
            </a:r>
            <a:endParaRPr lang="ru-RU" sz="12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3971918" y="2664819"/>
            <a:ext cx="1048138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/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ad </a:t>
            </a:r>
            <a:r>
              <a:rPr lang="ru-RU" sz="1200" i="1" dirty="0" err="1" smtClean="0">
                <a:solidFill>
                  <a:schemeClr val="bg1"/>
                </a:solidFill>
                <a:latin typeface="+mj-lt"/>
              </a:rPr>
              <a:t>convection</a:t>
            </a: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1200" i="1" dirty="0" err="1" smtClean="0">
                <a:solidFill>
                  <a:schemeClr val="bg1"/>
                </a:solidFill>
                <a:latin typeface="+mj-lt"/>
              </a:rPr>
              <a:t>rates</a:t>
            </a:r>
            <a:endParaRPr lang="ru-RU" sz="12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6" name="Group 12"/>
          <p:cNvGrpSpPr>
            <a:grpSpLocks noChangeAspect="1"/>
          </p:cNvGrpSpPr>
          <p:nvPr/>
        </p:nvGrpSpPr>
        <p:grpSpPr bwMode="auto">
          <a:xfrm>
            <a:off x="4145389" y="1822362"/>
            <a:ext cx="701196" cy="665532"/>
            <a:chOff x="1836" y="1167"/>
            <a:chExt cx="2084" cy="1978"/>
          </a:xfrm>
          <a:solidFill>
            <a:schemeClr val="bg1"/>
          </a:solidFill>
        </p:grpSpPr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3327" y="2462"/>
              <a:ext cx="326" cy="329"/>
            </a:xfrm>
            <a:custGeom>
              <a:avLst/>
              <a:gdLst>
                <a:gd name="T0" fmla="*/ 112 w 650"/>
                <a:gd name="T1" fmla="*/ 0 h 657"/>
                <a:gd name="T2" fmla="*/ 135 w 650"/>
                <a:gd name="T3" fmla="*/ 4 h 657"/>
                <a:gd name="T4" fmla="*/ 503 w 650"/>
                <a:gd name="T5" fmla="*/ 97 h 657"/>
                <a:gd name="T6" fmla="*/ 527 w 650"/>
                <a:gd name="T7" fmla="*/ 106 h 657"/>
                <a:gd name="T8" fmla="*/ 548 w 650"/>
                <a:gd name="T9" fmla="*/ 119 h 657"/>
                <a:gd name="T10" fmla="*/ 564 w 650"/>
                <a:gd name="T11" fmla="*/ 137 h 657"/>
                <a:gd name="T12" fmla="*/ 575 w 650"/>
                <a:gd name="T13" fmla="*/ 157 h 657"/>
                <a:gd name="T14" fmla="*/ 583 w 650"/>
                <a:gd name="T15" fmla="*/ 180 h 657"/>
                <a:gd name="T16" fmla="*/ 586 w 650"/>
                <a:gd name="T17" fmla="*/ 204 h 657"/>
                <a:gd name="T18" fmla="*/ 582 w 650"/>
                <a:gd name="T19" fmla="*/ 229 h 657"/>
                <a:gd name="T20" fmla="*/ 573 w 650"/>
                <a:gd name="T21" fmla="*/ 254 h 657"/>
                <a:gd name="T22" fmla="*/ 558 w 650"/>
                <a:gd name="T23" fmla="*/ 276 h 657"/>
                <a:gd name="T24" fmla="*/ 537 w 650"/>
                <a:gd name="T25" fmla="*/ 292 h 657"/>
                <a:gd name="T26" fmla="*/ 515 w 650"/>
                <a:gd name="T27" fmla="*/ 304 h 657"/>
                <a:gd name="T28" fmla="*/ 491 w 650"/>
                <a:gd name="T29" fmla="*/ 310 h 657"/>
                <a:gd name="T30" fmla="*/ 464 w 650"/>
                <a:gd name="T31" fmla="*/ 310 h 657"/>
                <a:gd name="T32" fmla="*/ 620 w 650"/>
                <a:gd name="T33" fmla="*/ 472 h 657"/>
                <a:gd name="T34" fmla="*/ 636 w 650"/>
                <a:gd name="T35" fmla="*/ 491 h 657"/>
                <a:gd name="T36" fmla="*/ 646 w 650"/>
                <a:gd name="T37" fmla="*/ 514 h 657"/>
                <a:gd name="T38" fmla="*/ 650 w 650"/>
                <a:gd name="T39" fmla="*/ 537 h 657"/>
                <a:gd name="T40" fmla="*/ 650 w 650"/>
                <a:gd name="T41" fmla="*/ 561 h 657"/>
                <a:gd name="T42" fmla="*/ 645 w 650"/>
                <a:gd name="T43" fmla="*/ 585 h 657"/>
                <a:gd name="T44" fmla="*/ 634 w 650"/>
                <a:gd name="T45" fmla="*/ 607 h 657"/>
                <a:gd name="T46" fmla="*/ 618 w 650"/>
                <a:gd name="T47" fmla="*/ 626 h 657"/>
                <a:gd name="T48" fmla="*/ 601 w 650"/>
                <a:gd name="T49" fmla="*/ 640 h 657"/>
                <a:gd name="T50" fmla="*/ 583 w 650"/>
                <a:gd name="T51" fmla="*/ 648 h 657"/>
                <a:gd name="T52" fmla="*/ 563 w 650"/>
                <a:gd name="T53" fmla="*/ 655 h 657"/>
                <a:gd name="T54" fmla="*/ 543 w 650"/>
                <a:gd name="T55" fmla="*/ 657 h 657"/>
                <a:gd name="T56" fmla="*/ 521 w 650"/>
                <a:gd name="T57" fmla="*/ 655 h 657"/>
                <a:gd name="T58" fmla="*/ 501 w 650"/>
                <a:gd name="T59" fmla="*/ 648 h 657"/>
                <a:gd name="T60" fmla="*/ 482 w 650"/>
                <a:gd name="T61" fmla="*/ 638 h 657"/>
                <a:gd name="T62" fmla="*/ 464 w 650"/>
                <a:gd name="T63" fmla="*/ 623 h 657"/>
                <a:gd name="T64" fmla="*/ 308 w 650"/>
                <a:gd name="T65" fmla="*/ 463 h 657"/>
                <a:gd name="T66" fmla="*/ 310 w 650"/>
                <a:gd name="T67" fmla="*/ 490 h 657"/>
                <a:gd name="T68" fmla="*/ 303 w 650"/>
                <a:gd name="T69" fmla="*/ 515 h 657"/>
                <a:gd name="T70" fmla="*/ 292 w 650"/>
                <a:gd name="T71" fmla="*/ 539 h 657"/>
                <a:gd name="T72" fmla="*/ 274 w 650"/>
                <a:gd name="T73" fmla="*/ 558 h 657"/>
                <a:gd name="T74" fmla="*/ 253 w 650"/>
                <a:gd name="T75" fmla="*/ 574 h 657"/>
                <a:gd name="T76" fmla="*/ 227 w 650"/>
                <a:gd name="T77" fmla="*/ 584 h 657"/>
                <a:gd name="T78" fmla="*/ 201 w 650"/>
                <a:gd name="T79" fmla="*/ 588 h 657"/>
                <a:gd name="T80" fmla="*/ 177 w 650"/>
                <a:gd name="T81" fmla="*/ 585 h 657"/>
                <a:gd name="T82" fmla="*/ 155 w 650"/>
                <a:gd name="T83" fmla="*/ 577 h 657"/>
                <a:gd name="T84" fmla="*/ 135 w 650"/>
                <a:gd name="T85" fmla="*/ 565 h 657"/>
                <a:gd name="T86" fmla="*/ 117 w 650"/>
                <a:gd name="T87" fmla="*/ 548 h 657"/>
                <a:gd name="T88" fmla="*/ 105 w 650"/>
                <a:gd name="T89" fmla="*/ 528 h 657"/>
                <a:gd name="T90" fmla="*/ 96 w 650"/>
                <a:gd name="T91" fmla="*/ 505 h 657"/>
                <a:gd name="T92" fmla="*/ 2 w 650"/>
                <a:gd name="T93" fmla="*/ 135 h 657"/>
                <a:gd name="T94" fmla="*/ 0 w 650"/>
                <a:gd name="T95" fmla="*/ 114 h 657"/>
                <a:gd name="T96" fmla="*/ 1 w 650"/>
                <a:gd name="T97" fmla="*/ 91 h 657"/>
                <a:gd name="T98" fmla="*/ 6 w 650"/>
                <a:gd name="T99" fmla="*/ 69 h 657"/>
                <a:gd name="T100" fmla="*/ 16 w 650"/>
                <a:gd name="T101" fmla="*/ 49 h 657"/>
                <a:gd name="T102" fmla="*/ 31 w 650"/>
                <a:gd name="T103" fmla="*/ 31 h 657"/>
                <a:gd name="T104" fmla="*/ 49 w 650"/>
                <a:gd name="T105" fmla="*/ 17 h 657"/>
                <a:gd name="T106" fmla="*/ 68 w 650"/>
                <a:gd name="T107" fmla="*/ 7 h 657"/>
                <a:gd name="T108" fmla="*/ 90 w 650"/>
                <a:gd name="T109" fmla="*/ 1 h 657"/>
                <a:gd name="T110" fmla="*/ 112 w 650"/>
                <a:gd name="T111" fmla="*/ 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50" h="657">
                  <a:moveTo>
                    <a:pt x="112" y="0"/>
                  </a:moveTo>
                  <a:lnTo>
                    <a:pt x="135" y="4"/>
                  </a:lnTo>
                  <a:lnTo>
                    <a:pt x="503" y="97"/>
                  </a:lnTo>
                  <a:lnTo>
                    <a:pt x="527" y="106"/>
                  </a:lnTo>
                  <a:lnTo>
                    <a:pt x="548" y="119"/>
                  </a:lnTo>
                  <a:lnTo>
                    <a:pt x="564" y="137"/>
                  </a:lnTo>
                  <a:lnTo>
                    <a:pt x="575" y="157"/>
                  </a:lnTo>
                  <a:lnTo>
                    <a:pt x="583" y="180"/>
                  </a:lnTo>
                  <a:lnTo>
                    <a:pt x="586" y="204"/>
                  </a:lnTo>
                  <a:lnTo>
                    <a:pt x="582" y="229"/>
                  </a:lnTo>
                  <a:lnTo>
                    <a:pt x="573" y="254"/>
                  </a:lnTo>
                  <a:lnTo>
                    <a:pt x="558" y="276"/>
                  </a:lnTo>
                  <a:lnTo>
                    <a:pt x="537" y="292"/>
                  </a:lnTo>
                  <a:lnTo>
                    <a:pt x="515" y="304"/>
                  </a:lnTo>
                  <a:lnTo>
                    <a:pt x="491" y="310"/>
                  </a:lnTo>
                  <a:lnTo>
                    <a:pt x="464" y="310"/>
                  </a:lnTo>
                  <a:lnTo>
                    <a:pt x="620" y="472"/>
                  </a:lnTo>
                  <a:lnTo>
                    <a:pt x="636" y="491"/>
                  </a:lnTo>
                  <a:lnTo>
                    <a:pt x="646" y="514"/>
                  </a:lnTo>
                  <a:lnTo>
                    <a:pt x="650" y="537"/>
                  </a:lnTo>
                  <a:lnTo>
                    <a:pt x="650" y="561"/>
                  </a:lnTo>
                  <a:lnTo>
                    <a:pt x="645" y="585"/>
                  </a:lnTo>
                  <a:lnTo>
                    <a:pt x="634" y="607"/>
                  </a:lnTo>
                  <a:lnTo>
                    <a:pt x="618" y="626"/>
                  </a:lnTo>
                  <a:lnTo>
                    <a:pt x="601" y="640"/>
                  </a:lnTo>
                  <a:lnTo>
                    <a:pt x="583" y="648"/>
                  </a:lnTo>
                  <a:lnTo>
                    <a:pt x="563" y="655"/>
                  </a:lnTo>
                  <a:lnTo>
                    <a:pt x="543" y="657"/>
                  </a:lnTo>
                  <a:lnTo>
                    <a:pt x="521" y="655"/>
                  </a:lnTo>
                  <a:lnTo>
                    <a:pt x="501" y="648"/>
                  </a:lnTo>
                  <a:lnTo>
                    <a:pt x="482" y="638"/>
                  </a:lnTo>
                  <a:lnTo>
                    <a:pt x="464" y="623"/>
                  </a:lnTo>
                  <a:lnTo>
                    <a:pt x="308" y="463"/>
                  </a:lnTo>
                  <a:lnTo>
                    <a:pt x="310" y="490"/>
                  </a:lnTo>
                  <a:lnTo>
                    <a:pt x="303" y="515"/>
                  </a:lnTo>
                  <a:lnTo>
                    <a:pt x="292" y="539"/>
                  </a:lnTo>
                  <a:lnTo>
                    <a:pt x="274" y="558"/>
                  </a:lnTo>
                  <a:lnTo>
                    <a:pt x="253" y="574"/>
                  </a:lnTo>
                  <a:lnTo>
                    <a:pt x="227" y="584"/>
                  </a:lnTo>
                  <a:lnTo>
                    <a:pt x="201" y="588"/>
                  </a:lnTo>
                  <a:lnTo>
                    <a:pt x="177" y="585"/>
                  </a:lnTo>
                  <a:lnTo>
                    <a:pt x="155" y="577"/>
                  </a:lnTo>
                  <a:lnTo>
                    <a:pt x="135" y="565"/>
                  </a:lnTo>
                  <a:lnTo>
                    <a:pt x="117" y="548"/>
                  </a:lnTo>
                  <a:lnTo>
                    <a:pt x="105" y="528"/>
                  </a:lnTo>
                  <a:lnTo>
                    <a:pt x="96" y="505"/>
                  </a:lnTo>
                  <a:lnTo>
                    <a:pt x="2" y="135"/>
                  </a:lnTo>
                  <a:lnTo>
                    <a:pt x="0" y="114"/>
                  </a:lnTo>
                  <a:lnTo>
                    <a:pt x="1" y="91"/>
                  </a:lnTo>
                  <a:lnTo>
                    <a:pt x="6" y="69"/>
                  </a:lnTo>
                  <a:lnTo>
                    <a:pt x="16" y="49"/>
                  </a:lnTo>
                  <a:lnTo>
                    <a:pt x="31" y="31"/>
                  </a:lnTo>
                  <a:lnTo>
                    <a:pt x="49" y="17"/>
                  </a:lnTo>
                  <a:lnTo>
                    <a:pt x="68" y="7"/>
                  </a:lnTo>
                  <a:lnTo>
                    <a:pt x="90" y="1"/>
                  </a:lnTo>
                  <a:lnTo>
                    <a:pt x="1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Freeform 15"/>
            <p:cNvSpPr>
              <a:spLocks noEditPoints="1"/>
            </p:cNvSpPr>
            <p:nvPr/>
          </p:nvSpPr>
          <p:spPr bwMode="auto">
            <a:xfrm>
              <a:off x="2513" y="2082"/>
              <a:ext cx="361" cy="414"/>
            </a:xfrm>
            <a:custGeom>
              <a:avLst/>
              <a:gdLst>
                <a:gd name="T0" fmla="*/ 359 w 721"/>
                <a:gd name="T1" fmla="*/ 264 h 828"/>
                <a:gd name="T2" fmla="*/ 301 w 721"/>
                <a:gd name="T3" fmla="*/ 420 h 828"/>
                <a:gd name="T4" fmla="*/ 418 w 721"/>
                <a:gd name="T5" fmla="*/ 420 h 828"/>
                <a:gd name="T6" fmla="*/ 359 w 721"/>
                <a:gd name="T7" fmla="*/ 264 h 828"/>
                <a:gd name="T8" fmla="*/ 399 w 721"/>
                <a:gd name="T9" fmla="*/ 0 h 828"/>
                <a:gd name="T10" fmla="*/ 399 w 721"/>
                <a:gd name="T11" fmla="*/ 0 h 828"/>
                <a:gd name="T12" fmla="*/ 413 w 721"/>
                <a:gd name="T13" fmla="*/ 2 h 828"/>
                <a:gd name="T14" fmla="*/ 425 w 721"/>
                <a:gd name="T15" fmla="*/ 8 h 828"/>
                <a:gd name="T16" fmla="*/ 435 w 721"/>
                <a:gd name="T17" fmla="*/ 17 h 828"/>
                <a:gd name="T18" fmla="*/ 442 w 721"/>
                <a:gd name="T19" fmla="*/ 30 h 828"/>
                <a:gd name="T20" fmla="*/ 718 w 721"/>
                <a:gd name="T21" fmla="*/ 760 h 828"/>
                <a:gd name="T22" fmla="*/ 720 w 721"/>
                <a:gd name="T23" fmla="*/ 770 h 828"/>
                <a:gd name="T24" fmla="*/ 721 w 721"/>
                <a:gd name="T25" fmla="*/ 781 h 828"/>
                <a:gd name="T26" fmla="*/ 719 w 721"/>
                <a:gd name="T27" fmla="*/ 799 h 828"/>
                <a:gd name="T28" fmla="*/ 709 w 721"/>
                <a:gd name="T29" fmla="*/ 814 h 828"/>
                <a:gd name="T30" fmla="*/ 694 w 721"/>
                <a:gd name="T31" fmla="*/ 824 h 828"/>
                <a:gd name="T32" fmla="*/ 676 w 721"/>
                <a:gd name="T33" fmla="*/ 828 h 828"/>
                <a:gd name="T34" fmla="*/ 604 w 721"/>
                <a:gd name="T35" fmla="*/ 828 h 828"/>
                <a:gd name="T36" fmla="*/ 590 w 721"/>
                <a:gd name="T37" fmla="*/ 826 h 828"/>
                <a:gd name="T38" fmla="*/ 577 w 721"/>
                <a:gd name="T39" fmla="*/ 819 h 828"/>
                <a:gd name="T40" fmla="*/ 567 w 721"/>
                <a:gd name="T41" fmla="*/ 810 h 828"/>
                <a:gd name="T42" fmla="*/ 561 w 721"/>
                <a:gd name="T43" fmla="*/ 798 h 828"/>
                <a:gd name="T44" fmla="*/ 478 w 721"/>
                <a:gd name="T45" fmla="*/ 580 h 828"/>
                <a:gd name="T46" fmla="*/ 242 w 721"/>
                <a:gd name="T47" fmla="*/ 580 h 828"/>
                <a:gd name="T48" fmla="*/ 162 w 721"/>
                <a:gd name="T49" fmla="*/ 798 h 828"/>
                <a:gd name="T50" fmla="*/ 154 w 721"/>
                <a:gd name="T51" fmla="*/ 810 h 828"/>
                <a:gd name="T52" fmla="*/ 144 w 721"/>
                <a:gd name="T53" fmla="*/ 819 h 828"/>
                <a:gd name="T54" fmla="*/ 132 w 721"/>
                <a:gd name="T55" fmla="*/ 826 h 828"/>
                <a:gd name="T56" fmla="*/ 118 w 721"/>
                <a:gd name="T57" fmla="*/ 828 h 828"/>
                <a:gd name="T58" fmla="*/ 47 w 721"/>
                <a:gd name="T59" fmla="*/ 828 h 828"/>
                <a:gd name="T60" fmla="*/ 32 w 721"/>
                <a:gd name="T61" fmla="*/ 826 h 828"/>
                <a:gd name="T62" fmla="*/ 19 w 721"/>
                <a:gd name="T63" fmla="*/ 818 h 828"/>
                <a:gd name="T64" fmla="*/ 9 w 721"/>
                <a:gd name="T65" fmla="*/ 808 h 828"/>
                <a:gd name="T66" fmla="*/ 3 w 721"/>
                <a:gd name="T67" fmla="*/ 794 h 828"/>
                <a:gd name="T68" fmla="*/ 0 w 721"/>
                <a:gd name="T69" fmla="*/ 780 h 828"/>
                <a:gd name="T70" fmla="*/ 3 w 721"/>
                <a:gd name="T71" fmla="*/ 765 h 828"/>
                <a:gd name="T72" fmla="*/ 276 w 721"/>
                <a:gd name="T73" fmla="*/ 30 h 828"/>
                <a:gd name="T74" fmla="*/ 283 w 721"/>
                <a:gd name="T75" fmla="*/ 17 h 828"/>
                <a:gd name="T76" fmla="*/ 294 w 721"/>
                <a:gd name="T77" fmla="*/ 8 h 828"/>
                <a:gd name="T78" fmla="*/ 306 w 721"/>
                <a:gd name="T79" fmla="*/ 2 h 828"/>
                <a:gd name="T80" fmla="*/ 320 w 721"/>
                <a:gd name="T81" fmla="*/ 0 h 828"/>
                <a:gd name="T82" fmla="*/ 399 w 721"/>
                <a:gd name="T83" fmla="*/ 0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21" h="828">
                  <a:moveTo>
                    <a:pt x="359" y="264"/>
                  </a:moveTo>
                  <a:lnTo>
                    <a:pt x="301" y="420"/>
                  </a:lnTo>
                  <a:lnTo>
                    <a:pt x="418" y="420"/>
                  </a:lnTo>
                  <a:lnTo>
                    <a:pt x="359" y="264"/>
                  </a:lnTo>
                  <a:close/>
                  <a:moveTo>
                    <a:pt x="399" y="0"/>
                  </a:moveTo>
                  <a:lnTo>
                    <a:pt x="399" y="0"/>
                  </a:lnTo>
                  <a:lnTo>
                    <a:pt x="413" y="2"/>
                  </a:lnTo>
                  <a:lnTo>
                    <a:pt x="425" y="8"/>
                  </a:lnTo>
                  <a:lnTo>
                    <a:pt x="435" y="17"/>
                  </a:lnTo>
                  <a:lnTo>
                    <a:pt x="442" y="30"/>
                  </a:lnTo>
                  <a:lnTo>
                    <a:pt x="718" y="760"/>
                  </a:lnTo>
                  <a:lnTo>
                    <a:pt x="720" y="770"/>
                  </a:lnTo>
                  <a:lnTo>
                    <a:pt x="721" y="781"/>
                  </a:lnTo>
                  <a:lnTo>
                    <a:pt x="719" y="799"/>
                  </a:lnTo>
                  <a:lnTo>
                    <a:pt x="709" y="814"/>
                  </a:lnTo>
                  <a:lnTo>
                    <a:pt x="694" y="824"/>
                  </a:lnTo>
                  <a:lnTo>
                    <a:pt x="676" y="828"/>
                  </a:lnTo>
                  <a:lnTo>
                    <a:pt x="604" y="828"/>
                  </a:lnTo>
                  <a:lnTo>
                    <a:pt x="590" y="826"/>
                  </a:lnTo>
                  <a:lnTo>
                    <a:pt x="577" y="819"/>
                  </a:lnTo>
                  <a:lnTo>
                    <a:pt x="567" y="810"/>
                  </a:lnTo>
                  <a:lnTo>
                    <a:pt x="561" y="798"/>
                  </a:lnTo>
                  <a:lnTo>
                    <a:pt x="478" y="580"/>
                  </a:lnTo>
                  <a:lnTo>
                    <a:pt x="242" y="580"/>
                  </a:lnTo>
                  <a:lnTo>
                    <a:pt x="162" y="798"/>
                  </a:lnTo>
                  <a:lnTo>
                    <a:pt x="154" y="810"/>
                  </a:lnTo>
                  <a:lnTo>
                    <a:pt x="144" y="819"/>
                  </a:lnTo>
                  <a:lnTo>
                    <a:pt x="132" y="826"/>
                  </a:lnTo>
                  <a:lnTo>
                    <a:pt x="118" y="828"/>
                  </a:lnTo>
                  <a:lnTo>
                    <a:pt x="47" y="828"/>
                  </a:lnTo>
                  <a:lnTo>
                    <a:pt x="32" y="826"/>
                  </a:lnTo>
                  <a:lnTo>
                    <a:pt x="19" y="818"/>
                  </a:lnTo>
                  <a:lnTo>
                    <a:pt x="9" y="808"/>
                  </a:lnTo>
                  <a:lnTo>
                    <a:pt x="3" y="794"/>
                  </a:lnTo>
                  <a:lnTo>
                    <a:pt x="0" y="780"/>
                  </a:lnTo>
                  <a:lnTo>
                    <a:pt x="3" y="765"/>
                  </a:lnTo>
                  <a:lnTo>
                    <a:pt x="276" y="30"/>
                  </a:lnTo>
                  <a:lnTo>
                    <a:pt x="283" y="17"/>
                  </a:lnTo>
                  <a:lnTo>
                    <a:pt x="294" y="8"/>
                  </a:lnTo>
                  <a:lnTo>
                    <a:pt x="306" y="2"/>
                  </a:lnTo>
                  <a:lnTo>
                    <a:pt x="320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Freeform 16"/>
            <p:cNvSpPr>
              <a:spLocks noEditPoints="1"/>
            </p:cNvSpPr>
            <p:nvPr/>
          </p:nvSpPr>
          <p:spPr bwMode="auto">
            <a:xfrm>
              <a:off x="2908" y="2080"/>
              <a:ext cx="335" cy="414"/>
            </a:xfrm>
            <a:custGeom>
              <a:avLst/>
              <a:gdLst>
                <a:gd name="T0" fmla="*/ 159 w 669"/>
                <a:gd name="T1" fmla="*/ 160 h 826"/>
                <a:gd name="T2" fmla="*/ 159 w 669"/>
                <a:gd name="T3" fmla="*/ 666 h 826"/>
                <a:gd name="T4" fmla="*/ 248 w 669"/>
                <a:gd name="T5" fmla="*/ 666 h 826"/>
                <a:gd name="T6" fmla="*/ 291 w 669"/>
                <a:gd name="T7" fmla="*/ 663 h 826"/>
                <a:gd name="T8" fmla="*/ 331 w 669"/>
                <a:gd name="T9" fmla="*/ 654 h 826"/>
                <a:gd name="T10" fmla="*/ 368 w 669"/>
                <a:gd name="T11" fmla="*/ 639 h 826"/>
                <a:gd name="T12" fmla="*/ 402 w 669"/>
                <a:gd name="T13" fmla="*/ 617 h 826"/>
                <a:gd name="T14" fmla="*/ 432 w 669"/>
                <a:gd name="T15" fmla="*/ 592 h 826"/>
                <a:gd name="T16" fmla="*/ 459 w 669"/>
                <a:gd name="T17" fmla="*/ 563 h 826"/>
                <a:gd name="T18" fmla="*/ 481 w 669"/>
                <a:gd name="T19" fmla="*/ 530 h 826"/>
                <a:gd name="T20" fmla="*/ 496 w 669"/>
                <a:gd name="T21" fmla="*/ 493 h 826"/>
                <a:gd name="T22" fmla="*/ 506 w 669"/>
                <a:gd name="T23" fmla="*/ 455 h 826"/>
                <a:gd name="T24" fmla="*/ 510 w 669"/>
                <a:gd name="T25" fmla="*/ 413 h 826"/>
                <a:gd name="T26" fmla="*/ 506 w 669"/>
                <a:gd name="T27" fmla="*/ 372 h 826"/>
                <a:gd name="T28" fmla="*/ 496 w 669"/>
                <a:gd name="T29" fmla="*/ 333 h 826"/>
                <a:gd name="T30" fmla="*/ 481 w 669"/>
                <a:gd name="T31" fmla="*/ 296 h 826"/>
                <a:gd name="T32" fmla="*/ 459 w 669"/>
                <a:gd name="T33" fmla="*/ 264 h 826"/>
                <a:gd name="T34" fmla="*/ 432 w 669"/>
                <a:gd name="T35" fmla="*/ 234 h 826"/>
                <a:gd name="T36" fmla="*/ 402 w 669"/>
                <a:gd name="T37" fmla="*/ 209 h 826"/>
                <a:gd name="T38" fmla="*/ 368 w 669"/>
                <a:gd name="T39" fmla="*/ 188 h 826"/>
                <a:gd name="T40" fmla="*/ 331 w 669"/>
                <a:gd name="T41" fmla="*/ 172 h 826"/>
                <a:gd name="T42" fmla="*/ 291 w 669"/>
                <a:gd name="T43" fmla="*/ 163 h 826"/>
                <a:gd name="T44" fmla="*/ 248 w 669"/>
                <a:gd name="T45" fmla="*/ 160 h 826"/>
                <a:gd name="T46" fmla="*/ 159 w 669"/>
                <a:gd name="T47" fmla="*/ 160 h 826"/>
                <a:gd name="T48" fmla="*/ 47 w 669"/>
                <a:gd name="T49" fmla="*/ 0 h 826"/>
                <a:gd name="T50" fmla="*/ 248 w 669"/>
                <a:gd name="T51" fmla="*/ 0 h 826"/>
                <a:gd name="T52" fmla="*/ 306 w 669"/>
                <a:gd name="T53" fmla="*/ 4 h 826"/>
                <a:gd name="T54" fmla="*/ 360 w 669"/>
                <a:gd name="T55" fmla="*/ 14 h 826"/>
                <a:gd name="T56" fmla="*/ 412 w 669"/>
                <a:gd name="T57" fmla="*/ 32 h 826"/>
                <a:gd name="T58" fmla="*/ 460 w 669"/>
                <a:gd name="T59" fmla="*/ 56 h 826"/>
                <a:gd name="T60" fmla="*/ 506 w 669"/>
                <a:gd name="T61" fmla="*/ 86 h 826"/>
                <a:gd name="T62" fmla="*/ 546 w 669"/>
                <a:gd name="T63" fmla="*/ 120 h 826"/>
                <a:gd name="T64" fmla="*/ 582 w 669"/>
                <a:gd name="T65" fmla="*/ 161 h 826"/>
                <a:gd name="T66" fmla="*/ 612 w 669"/>
                <a:gd name="T67" fmla="*/ 205 h 826"/>
                <a:gd name="T68" fmla="*/ 636 w 669"/>
                <a:gd name="T69" fmla="*/ 252 h 826"/>
                <a:gd name="T70" fmla="*/ 654 w 669"/>
                <a:gd name="T71" fmla="*/ 304 h 826"/>
                <a:gd name="T72" fmla="*/ 665 w 669"/>
                <a:gd name="T73" fmla="*/ 357 h 826"/>
                <a:gd name="T74" fmla="*/ 669 w 669"/>
                <a:gd name="T75" fmla="*/ 413 h 826"/>
                <a:gd name="T76" fmla="*/ 665 w 669"/>
                <a:gd name="T77" fmla="*/ 469 h 826"/>
                <a:gd name="T78" fmla="*/ 654 w 669"/>
                <a:gd name="T79" fmla="*/ 523 h 826"/>
                <a:gd name="T80" fmla="*/ 636 w 669"/>
                <a:gd name="T81" fmla="*/ 574 h 826"/>
                <a:gd name="T82" fmla="*/ 612 w 669"/>
                <a:gd name="T83" fmla="*/ 622 h 826"/>
                <a:gd name="T84" fmla="*/ 582 w 669"/>
                <a:gd name="T85" fmla="*/ 665 h 826"/>
                <a:gd name="T86" fmla="*/ 546 w 669"/>
                <a:gd name="T87" fmla="*/ 706 h 826"/>
                <a:gd name="T88" fmla="*/ 506 w 669"/>
                <a:gd name="T89" fmla="*/ 740 h 826"/>
                <a:gd name="T90" fmla="*/ 460 w 669"/>
                <a:gd name="T91" fmla="*/ 770 h 826"/>
                <a:gd name="T92" fmla="*/ 412 w 669"/>
                <a:gd name="T93" fmla="*/ 794 h 826"/>
                <a:gd name="T94" fmla="*/ 360 w 669"/>
                <a:gd name="T95" fmla="*/ 812 h 826"/>
                <a:gd name="T96" fmla="*/ 306 w 669"/>
                <a:gd name="T97" fmla="*/ 822 h 826"/>
                <a:gd name="T98" fmla="*/ 248 w 669"/>
                <a:gd name="T99" fmla="*/ 826 h 826"/>
                <a:gd name="T100" fmla="*/ 47 w 669"/>
                <a:gd name="T101" fmla="*/ 826 h 826"/>
                <a:gd name="T102" fmla="*/ 28 w 669"/>
                <a:gd name="T103" fmla="*/ 822 h 826"/>
                <a:gd name="T104" fmla="*/ 14 w 669"/>
                <a:gd name="T105" fmla="*/ 812 h 826"/>
                <a:gd name="T106" fmla="*/ 3 w 669"/>
                <a:gd name="T107" fmla="*/ 798 h 826"/>
                <a:gd name="T108" fmla="*/ 0 w 669"/>
                <a:gd name="T109" fmla="*/ 779 h 826"/>
                <a:gd name="T110" fmla="*/ 0 w 669"/>
                <a:gd name="T111" fmla="*/ 46 h 826"/>
                <a:gd name="T112" fmla="*/ 3 w 669"/>
                <a:gd name="T113" fmla="*/ 28 h 826"/>
                <a:gd name="T114" fmla="*/ 14 w 669"/>
                <a:gd name="T115" fmla="*/ 13 h 826"/>
                <a:gd name="T116" fmla="*/ 28 w 669"/>
                <a:gd name="T117" fmla="*/ 3 h 826"/>
                <a:gd name="T118" fmla="*/ 47 w 669"/>
                <a:gd name="T119" fmla="*/ 0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9" h="826">
                  <a:moveTo>
                    <a:pt x="159" y="160"/>
                  </a:moveTo>
                  <a:lnTo>
                    <a:pt x="159" y="666"/>
                  </a:lnTo>
                  <a:lnTo>
                    <a:pt x="248" y="666"/>
                  </a:lnTo>
                  <a:lnTo>
                    <a:pt x="291" y="663"/>
                  </a:lnTo>
                  <a:lnTo>
                    <a:pt x="331" y="654"/>
                  </a:lnTo>
                  <a:lnTo>
                    <a:pt x="368" y="639"/>
                  </a:lnTo>
                  <a:lnTo>
                    <a:pt x="402" y="617"/>
                  </a:lnTo>
                  <a:lnTo>
                    <a:pt x="432" y="592"/>
                  </a:lnTo>
                  <a:lnTo>
                    <a:pt x="459" y="563"/>
                  </a:lnTo>
                  <a:lnTo>
                    <a:pt x="481" y="530"/>
                  </a:lnTo>
                  <a:lnTo>
                    <a:pt x="496" y="493"/>
                  </a:lnTo>
                  <a:lnTo>
                    <a:pt x="506" y="455"/>
                  </a:lnTo>
                  <a:lnTo>
                    <a:pt x="510" y="413"/>
                  </a:lnTo>
                  <a:lnTo>
                    <a:pt x="506" y="372"/>
                  </a:lnTo>
                  <a:lnTo>
                    <a:pt x="496" y="333"/>
                  </a:lnTo>
                  <a:lnTo>
                    <a:pt x="481" y="296"/>
                  </a:lnTo>
                  <a:lnTo>
                    <a:pt x="459" y="264"/>
                  </a:lnTo>
                  <a:lnTo>
                    <a:pt x="432" y="234"/>
                  </a:lnTo>
                  <a:lnTo>
                    <a:pt x="402" y="209"/>
                  </a:lnTo>
                  <a:lnTo>
                    <a:pt x="368" y="188"/>
                  </a:lnTo>
                  <a:lnTo>
                    <a:pt x="331" y="172"/>
                  </a:lnTo>
                  <a:lnTo>
                    <a:pt x="291" y="163"/>
                  </a:lnTo>
                  <a:lnTo>
                    <a:pt x="248" y="160"/>
                  </a:lnTo>
                  <a:lnTo>
                    <a:pt x="159" y="160"/>
                  </a:lnTo>
                  <a:close/>
                  <a:moveTo>
                    <a:pt x="47" y="0"/>
                  </a:moveTo>
                  <a:lnTo>
                    <a:pt x="248" y="0"/>
                  </a:lnTo>
                  <a:lnTo>
                    <a:pt x="306" y="4"/>
                  </a:lnTo>
                  <a:lnTo>
                    <a:pt x="360" y="14"/>
                  </a:lnTo>
                  <a:lnTo>
                    <a:pt x="412" y="32"/>
                  </a:lnTo>
                  <a:lnTo>
                    <a:pt x="460" y="56"/>
                  </a:lnTo>
                  <a:lnTo>
                    <a:pt x="506" y="86"/>
                  </a:lnTo>
                  <a:lnTo>
                    <a:pt x="546" y="120"/>
                  </a:lnTo>
                  <a:lnTo>
                    <a:pt x="582" y="161"/>
                  </a:lnTo>
                  <a:lnTo>
                    <a:pt x="612" y="205"/>
                  </a:lnTo>
                  <a:lnTo>
                    <a:pt x="636" y="252"/>
                  </a:lnTo>
                  <a:lnTo>
                    <a:pt x="654" y="304"/>
                  </a:lnTo>
                  <a:lnTo>
                    <a:pt x="665" y="357"/>
                  </a:lnTo>
                  <a:lnTo>
                    <a:pt x="669" y="413"/>
                  </a:lnTo>
                  <a:lnTo>
                    <a:pt x="665" y="469"/>
                  </a:lnTo>
                  <a:lnTo>
                    <a:pt x="654" y="523"/>
                  </a:lnTo>
                  <a:lnTo>
                    <a:pt x="636" y="574"/>
                  </a:lnTo>
                  <a:lnTo>
                    <a:pt x="612" y="622"/>
                  </a:lnTo>
                  <a:lnTo>
                    <a:pt x="582" y="665"/>
                  </a:lnTo>
                  <a:lnTo>
                    <a:pt x="546" y="706"/>
                  </a:lnTo>
                  <a:lnTo>
                    <a:pt x="506" y="740"/>
                  </a:lnTo>
                  <a:lnTo>
                    <a:pt x="460" y="770"/>
                  </a:lnTo>
                  <a:lnTo>
                    <a:pt x="412" y="794"/>
                  </a:lnTo>
                  <a:lnTo>
                    <a:pt x="360" y="812"/>
                  </a:lnTo>
                  <a:lnTo>
                    <a:pt x="306" y="822"/>
                  </a:lnTo>
                  <a:lnTo>
                    <a:pt x="248" y="826"/>
                  </a:lnTo>
                  <a:lnTo>
                    <a:pt x="47" y="826"/>
                  </a:lnTo>
                  <a:lnTo>
                    <a:pt x="28" y="822"/>
                  </a:lnTo>
                  <a:lnTo>
                    <a:pt x="14" y="812"/>
                  </a:lnTo>
                  <a:lnTo>
                    <a:pt x="3" y="798"/>
                  </a:lnTo>
                  <a:lnTo>
                    <a:pt x="0" y="779"/>
                  </a:lnTo>
                  <a:lnTo>
                    <a:pt x="0" y="46"/>
                  </a:lnTo>
                  <a:lnTo>
                    <a:pt x="3" y="28"/>
                  </a:lnTo>
                  <a:lnTo>
                    <a:pt x="14" y="13"/>
                  </a:lnTo>
                  <a:lnTo>
                    <a:pt x="28" y="3"/>
                  </a:lnTo>
                  <a:lnTo>
                    <a:pt x="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8" name="Freeform 17"/>
            <p:cNvSpPr>
              <a:spLocks noEditPoints="1"/>
            </p:cNvSpPr>
            <p:nvPr/>
          </p:nvSpPr>
          <p:spPr bwMode="auto">
            <a:xfrm>
              <a:off x="1836" y="1167"/>
              <a:ext cx="2084" cy="1978"/>
            </a:xfrm>
            <a:custGeom>
              <a:avLst/>
              <a:gdLst>
                <a:gd name="T0" fmla="*/ 358 w 4167"/>
                <a:gd name="T1" fmla="*/ 3578 h 3956"/>
                <a:gd name="T2" fmla="*/ 385 w 4167"/>
                <a:gd name="T3" fmla="*/ 3597 h 3956"/>
                <a:gd name="T4" fmla="*/ 3803 w 4167"/>
                <a:gd name="T5" fmla="*/ 3588 h 3956"/>
                <a:gd name="T6" fmla="*/ 3812 w 4167"/>
                <a:gd name="T7" fmla="*/ 1152 h 3956"/>
                <a:gd name="T8" fmla="*/ 543 w 4167"/>
                <a:gd name="T9" fmla="*/ 437 h 3956"/>
                <a:gd name="T10" fmla="*/ 486 w 4167"/>
                <a:gd name="T11" fmla="*/ 481 h 3956"/>
                <a:gd name="T12" fmla="*/ 476 w 4167"/>
                <a:gd name="T13" fmla="*/ 555 h 3956"/>
                <a:gd name="T14" fmla="*/ 520 w 4167"/>
                <a:gd name="T15" fmla="*/ 613 h 3956"/>
                <a:gd name="T16" fmla="*/ 1317 w 4167"/>
                <a:gd name="T17" fmla="*/ 626 h 3956"/>
                <a:gd name="T18" fmla="*/ 1384 w 4167"/>
                <a:gd name="T19" fmla="*/ 598 h 3956"/>
                <a:gd name="T20" fmla="*/ 1414 w 4167"/>
                <a:gd name="T21" fmla="*/ 530 h 3956"/>
                <a:gd name="T22" fmla="*/ 1384 w 4167"/>
                <a:gd name="T23" fmla="*/ 461 h 3956"/>
                <a:gd name="T24" fmla="*/ 1317 w 4167"/>
                <a:gd name="T25" fmla="*/ 433 h 3956"/>
                <a:gd name="T26" fmla="*/ 3464 w 4167"/>
                <a:gd name="T27" fmla="*/ 347 h 3956"/>
                <a:gd name="T28" fmla="*/ 3369 w 4167"/>
                <a:gd name="T29" fmla="*/ 398 h 3956"/>
                <a:gd name="T30" fmla="*/ 3318 w 4167"/>
                <a:gd name="T31" fmla="*/ 493 h 3956"/>
                <a:gd name="T32" fmla="*/ 3329 w 4167"/>
                <a:gd name="T33" fmla="*/ 602 h 3956"/>
                <a:gd name="T34" fmla="*/ 3396 w 4167"/>
                <a:gd name="T35" fmla="*/ 684 h 3956"/>
                <a:gd name="T36" fmla="*/ 3500 w 4167"/>
                <a:gd name="T37" fmla="*/ 716 h 3956"/>
                <a:gd name="T38" fmla="*/ 3604 w 4167"/>
                <a:gd name="T39" fmla="*/ 684 h 3956"/>
                <a:gd name="T40" fmla="*/ 3671 w 4167"/>
                <a:gd name="T41" fmla="*/ 602 h 3956"/>
                <a:gd name="T42" fmla="*/ 3682 w 4167"/>
                <a:gd name="T43" fmla="*/ 493 h 3956"/>
                <a:gd name="T44" fmla="*/ 3632 w 4167"/>
                <a:gd name="T45" fmla="*/ 398 h 3956"/>
                <a:gd name="T46" fmla="*/ 3538 w 4167"/>
                <a:gd name="T47" fmla="*/ 347 h 3956"/>
                <a:gd name="T48" fmla="*/ 2833 w 4167"/>
                <a:gd name="T49" fmla="*/ 347 h 3956"/>
                <a:gd name="T50" fmla="*/ 2740 w 4167"/>
                <a:gd name="T51" fmla="*/ 398 h 3956"/>
                <a:gd name="T52" fmla="*/ 2689 w 4167"/>
                <a:gd name="T53" fmla="*/ 493 h 3956"/>
                <a:gd name="T54" fmla="*/ 2700 w 4167"/>
                <a:gd name="T55" fmla="*/ 602 h 3956"/>
                <a:gd name="T56" fmla="*/ 2768 w 4167"/>
                <a:gd name="T57" fmla="*/ 684 h 3956"/>
                <a:gd name="T58" fmla="*/ 2871 w 4167"/>
                <a:gd name="T59" fmla="*/ 716 h 3956"/>
                <a:gd name="T60" fmla="*/ 2975 w 4167"/>
                <a:gd name="T61" fmla="*/ 684 h 3956"/>
                <a:gd name="T62" fmla="*/ 3042 w 4167"/>
                <a:gd name="T63" fmla="*/ 602 h 3956"/>
                <a:gd name="T64" fmla="*/ 3052 w 4167"/>
                <a:gd name="T65" fmla="*/ 493 h 3956"/>
                <a:gd name="T66" fmla="*/ 3002 w 4167"/>
                <a:gd name="T67" fmla="*/ 398 h 3956"/>
                <a:gd name="T68" fmla="*/ 2908 w 4167"/>
                <a:gd name="T69" fmla="*/ 347 h 3956"/>
                <a:gd name="T70" fmla="*/ 3943 w 4167"/>
                <a:gd name="T71" fmla="*/ 0 h 3956"/>
                <a:gd name="T72" fmla="*/ 4057 w 4167"/>
                <a:gd name="T73" fmla="*/ 30 h 3956"/>
                <a:gd name="T74" fmla="*/ 4137 w 4167"/>
                <a:gd name="T75" fmla="*/ 111 h 3956"/>
                <a:gd name="T76" fmla="*/ 4167 w 4167"/>
                <a:gd name="T77" fmla="*/ 224 h 3956"/>
                <a:gd name="T78" fmla="*/ 4153 w 4167"/>
                <a:gd name="T79" fmla="*/ 3810 h 3956"/>
                <a:gd name="T80" fmla="*/ 4087 w 4167"/>
                <a:gd name="T81" fmla="*/ 3904 h 3956"/>
                <a:gd name="T82" fmla="*/ 3984 w 4167"/>
                <a:gd name="T83" fmla="*/ 3952 h 3956"/>
                <a:gd name="T84" fmla="*/ 183 w 4167"/>
                <a:gd name="T85" fmla="*/ 3952 h 3956"/>
                <a:gd name="T86" fmla="*/ 80 w 4167"/>
                <a:gd name="T87" fmla="*/ 3904 h 3956"/>
                <a:gd name="T88" fmla="*/ 14 w 4167"/>
                <a:gd name="T89" fmla="*/ 3810 h 3956"/>
                <a:gd name="T90" fmla="*/ 0 w 4167"/>
                <a:gd name="T91" fmla="*/ 1982 h 3956"/>
                <a:gd name="T92" fmla="*/ 14 w 4167"/>
                <a:gd name="T93" fmla="*/ 146 h 3956"/>
                <a:gd name="T94" fmla="*/ 80 w 4167"/>
                <a:gd name="T95" fmla="*/ 53 h 3956"/>
                <a:gd name="T96" fmla="*/ 183 w 4167"/>
                <a:gd name="T97" fmla="*/ 4 h 3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167" h="3956">
                  <a:moveTo>
                    <a:pt x="356" y="1152"/>
                  </a:moveTo>
                  <a:lnTo>
                    <a:pt x="356" y="3567"/>
                  </a:lnTo>
                  <a:lnTo>
                    <a:pt x="358" y="3578"/>
                  </a:lnTo>
                  <a:lnTo>
                    <a:pt x="364" y="3588"/>
                  </a:lnTo>
                  <a:lnTo>
                    <a:pt x="373" y="3594"/>
                  </a:lnTo>
                  <a:lnTo>
                    <a:pt x="385" y="3597"/>
                  </a:lnTo>
                  <a:lnTo>
                    <a:pt x="3782" y="3597"/>
                  </a:lnTo>
                  <a:lnTo>
                    <a:pt x="3794" y="3594"/>
                  </a:lnTo>
                  <a:lnTo>
                    <a:pt x="3803" y="3588"/>
                  </a:lnTo>
                  <a:lnTo>
                    <a:pt x="3809" y="3578"/>
                  </a:lnTo>
                  <a:lnTo>
                    <a:pt x="3812" y="3567"/>
                  </a:lnTo>
                  <a:lnTo>
                    <a:pt x="3812" y="1152"/>
                  </a:lnTo>
                  <a:lnTo>
                    <a:pt x="356" y="1152"/>
                  </a:lnTo>
                  <a:close/>
                  <a:moveTo>
                    <a:pt x="568" y="433"/>
                  </a:moveTo>
                  <a:lnTo>
                    <a:pt x="543" y="437"/>
                  </a:lnTo>
                  <a:lnTo>
                    <a:pt x="520" y="447"/>
                  </a:lnTo>
                  <a:lnTo>
                    <a:pt x="500" y="461"/>
                  </a:lnTo>
                  <a:lnTo>
                    <a:pt x="486" y="481"/>
                  </a:lnTo>
                  <a:lnTo>
                    <a:pt x="476" y="504"/>
                  </a:lnTo>
                  <a:lnTo>
                    <a:pt x="472" y="530"/>
                  </a:lnTo>
                  <a:lnTo>
                    <a:pt x="476" y="555"/>
                  </a:lnTo>
                  <a:lnTo>
                    <a:pt x="486" y="578"/>
                  </a:lnTo>
                  <a:lnTo>
                    <a:pt x="500" y="598"/>
                  </a:lnTo>
                  <a:lnTo>
                    <a:pt x="520" y="613"/>
                  </a:lnTo>
                  <a:lnTo>
                    <a:pt x="543" y="622"/>
                  </a:lnTo>
                  <a:lnTo>
                    <a:pt x="568" y="626"/>
                  </a:lnTo>
                  <a:lnTo>
                    <a:pt x="1317" y="626"/>
                  </a:lnTo>
                  <a:lnTo>
                    <a:pt x="1343" y="622"/>
                  </a:lnTo>
                  <a:lnTo>
                    <a:pt x="1365" y="613"/>
                  </a:lnTo>
                  <a:lnTo>
                    <a:pt x="1384" y="598"/>
                  </a:lnTo>
                  <a:lnTo>
                    <a:pt x="1400" y="578"/>
                  </a:lnTo>
                  <a:lnTo>
                    <a:pt x="1410" y="555"/>
                  </a:lnTo>
                  <a:lnTo>
                    <a:pt x="1414" y="530"/>
                  </a:lnTo>
                  <a:lnTo>
                    <a:pt x="1410" y="504"/>
                  </a:lnTo>
                  <a:lnTo>
                    <a:pt x="1400" y="481"/>
                  </a:lnTo>
                  <a:lnTo>
                    <a:pt x="1384" y="461"/>
                  </a:lnTo>
                  <a:lnTo>
                    <a:pt x="1365" y="447"/>
                  </a:lnTo>
                  <a:lnTo>
                    <a:pt x="1343" y="437"/>
                  </a:lnTo>
                  <a:lnTo>
                    <a:pt x="1317" y="433"/>
                  </a:lnTo>
                  <a:lnTo>
                    <a:pt x="568" y="433"/>
                  </a:lnTo>
                  <a:close/>
                  <a:moveTo>
                    <a:pt x="3500" y="343"/>
                  </a:moveTo>
                  <a:lnTo>
                    <a:pt x="3464" y="347"/>
                  </a:lnTo>
                  <a:lnTo>
                    <a:pt x="3428" y="359"/>
                  </a:lnTo>
                  <a:lnTo>
                    <a:pt x="3396" y="376"/>
                  </a:lnTo>
                  <a:lnTo>
                    <a:pt x="3369" y="398"/>
                  </a:lnTo>
                  <a:lnTo>
                    <a:pt x="3346" y="426"/>
                  </a:lnTo>
                  <a:lnTo>
                    <a:pt x="3329" y="457"/>
                  </a:lnTo>
                  <a:lnTo>
                    <a:pt x="3318" y="493"/>
                  </a:lnTo>
                  <a:lnTo>
                    <a:pt x="3314" y="530"/>
                  </a:lnTo>
                  <a:lnTo>
                    <a:pt x="3318" y="568"/>
                  </a:lnTo>
                  <a:lnTo>
                    <a:pt x="3329" y="602"/>
                  </a:lnTo>
                  <a:lnTo>
                    <a:pt x="3346" y="633"/>
                  </a:lnTo>
                  <a:lnTo>
                    <a:pt x="3369" y="661"/>
                  </a:lnTo>
                  <a:lnTo>
                    <a:pt x="3396" y="684"/>
                  </a:lnTo>
                  <a:lnTo>
                    <a:pt x="3428" y="701"/>
                  </a:lnTo>
                  <a:lnTo>
                    <a:pt x="3464" y="712"/>
                  </a:lnTo>
                  <a:lnTo>
                    <a:pt x="3500" y="716"/>
                  </a:lnTo>
                  <a:lnTo>
                    <a:pt x="3538" y="712"/>
                  </a:lnTo>
                  <a:lnTo>
                    <a:pt x="3572" y="701"/>
                  </a:lnTo>
                  <a:lnTo>
                    <a:pt x="3604" y="684"/>
                  </a:lnTo>
                  <a:lnTo>
                    <a:pt x="3632" y="661"/>
                  </a:lnTo>
                  <a:lnTo>
                    <a:pt x="3655" y="633"/>
                  </a:lnTo>
                  <a:lnTo>
                    <a:pt x="3671" y="602"/>
                  </a:lnTo>
                  <a:lnTo>
                    <a:pt x="3682" y="568"/>
                  </a:lnTo>
                  <a:lnTo>
                    <a:pt x="3686" y="530"/>
                  </a:lnTo>
                  <a:lnTo>
                    <a:pt x="3682" y="493"/>
                  </a:lnTo>
                  <a:lnTo>
                    <a:pt x="3671" y="457"/>
                  </a:lnTo>
                  <a:lnTo>
                    <a:pt x="3655" y="426"/>
                  </a:lnTo>
                  <a:lnTo>
                    <a:pt x="3632" y="398"/>
                  </a:lnTo>
                  <a:lnTo>
                    <a:pt x="3604" y="376"/>
                  </a:lnTo>
                  <a:lnTo>
                    <a:pt x="3572" y="359"/>
                  </a:lnTo>
                  <a:lnTo>
                    <a:pt x="3538" y="347"/>
                  </a:lnTo>
                  <a:lnTo>
                    <a:pt x="3500" y="343"/>
                  </a:lnTo>
                  <a:close/>
                  <a:moveTo>
                    <a:pt x="2871" y="343"/>
                  </a:moveTo>
                  <a:lnTo>
                    <a:pt x="2833" y="347"/>
                  </a:lnTo>
                  <a:lnTo>
                    <a:pt x="2799" y="359"/>
                  </a:lnTo>
                  <a:lnTo>
                    <a:pt x="2768" y="376"/>
                  </a:lnTo>
                  <a:lnTo>
                    <a:pt x="2740" y="398"/>
                  </a:lnTo>
                  <a:lnTo>
                    <a:pt x="2717" y="426"/>
                  </a:lnTo>
                  <a:lnTo>
                    <a:pt x="2700" y="457"/>
                  </a:lnTo>
                  <a:lnTo>
                    <a:pt x="2689" y="493"/>
                  </a:lnTo>
                  <a:lnTo>
                    <a:pt x="2685" y="530"/>
                  </a:lnTo>
                  <a:lnTo>
                    <a:pt x="2689" y="568"/>
                  </a:lnTo>
                  <a:lnTo>
                    <a:pt x="2700" y="602"/>
                  </a:lnTo>
                  <a:lnTo>
                    <a:pt x="2717" y="633"/>
                  </a:lnTo>
                  <a:lnTo>
                    <a:pt x="2740" y="661"/>
                  </a:lnTo>
                  <a:lnTo>
                    <a:pt x="2768" y="684"/>
                  </a:lnTo>
                  <a:lnTo>
                    <a:pt x="2799" y="701"/>
                  </a:lnTo>
                  <a:lnTo>
                    <a:pt x="2833" y="712"/>
                  </a:lnTo>
                  <a:lnTo>
                    <a:pt x="2871" y="716"/>
                  </a:lnTo>
                  <a:lnTo>
                    <a:pt x="2908" y="712"/>
                  </a:lnTo>
                  <a:lnTo>
                    <a:pt x="2943" y="701"/>
                  </a:lnTo>
                  <a:lnTo>
                    <a:pt x="2975" y="684"/>
                  </a:lnTo>
                  <a:lnTo>
                    <a:pt x="3002" y="661"/>
                  </a:lnTo>
                  <a:lnTo>
                    <a:pt x="3024" y="633"/>
                  </a:lnTo>
                  <a:lnTo>
                    <a:pt x="3042" y="602"/>
                  </a:lnTo>
                  <a:lnTo>
                    <a:pt x="3052" y="568"/>
                  </a:lnTo>
                  <a:lnTo>
                    <a:pt x="3056" y="530"/>
                  </a:lnTo>
                  <a:lnTo>
                    <a:pt x="3052" y="493"/>
                  </a:lnTo>
                  <a:lnTo>
                    <a:pt x="3042" y="457"/>
                  </a:lnTo>
                  <a:lnTo>
                    <a:pt x="3024" y="426"/>
                  </a:lnTo>
                  <a:lnTo>
                    <a:pt x="3002" y="398"/>
                  </a:lnTo>
                  <a:lnTo>
                    <a:pt x="2975" y="376"/>
                  </a:lnTo>
                  <a:lnTo>
                    <a:pt x="2943" y="359"/>
                  </a:lnTo>
                  <a:lnTo>
                    <a:pt x="2908" y="347"/>
                  </a:lnTo>
                  <a:lnTo>
                    <a:pt x="2871" y="343"/>
                  </a:lnTo>
                  <a:close/>
                  <a:moveTo>
                    <a:pt x="224" y="0"/>
                  </a:moveTo>
                  <a:lnTo>
                    <a:pt x="3943" y="0"/>
                  </a:lnTo>
                  <a:lnTo>
                    <a:pt x="3984" y="4"/>
                  </a:lnTo>
                  <a:lnTo>
                    <a:pt x="4022" y="14"/>
                  </a:lnTo>
                  <a:lnTo>
                    <a:pt x="4057" y="30"/>
                  </a:lnTo>
                  <a:lnTo>
                    <a:pt x="4087" y="53"/>
                  </a:lnTo>
                  <a:lnTo>
                    <a:pt x="4115" y="80"/>
                  </a:lnTo>
                  <a:lnTo>
                    <a:pt x="4137" y="111"/>
                  </a:lnTo>
                  <a:lnTo>
                    <a:pt x="4153" y="146"/>
                  </a:lnTo>
                  <a:lnTo>
                    <a:pt x="4163" y="184"/>
                  </a:lnTo>
                  <a:lnTo>
                    <a:pt x="4167" y="224"/>
                  </a:lnTo>
                  <a:lnTo>
                    <a:pt x="4167" y="3731"/>
                  </a:lnTo>
                  <a:lnTo>
                    <a:pt x="4163" y="3772"/>
                  </a:lnTo>
                  <a:lnTo>
                    <a:pt x="4153" y="3810"/>
                  </a:lnTo>
                  <a:lnTo>
                    <a:pt x="4137" y="3844"/>
                  </a:lnTo>
                  <a:lnTo>
                    <a:pt x="4115" y="3876"/>
                  </a:lnTo>
                  <a:lnTo>
                    <a:pt x="4087" y="3904"/>
                  </a:lnTo>
                  <a:lnTo>
                    <a:pt x="4057" y="3925"/>
                  </a:lnTo>
                  <a:lnTo>
                    <a:pt x="4022" y="3942"/>
                  </a:lnTo>
                  <a:lnTo>
                    <a:pt x="3984" y="3952"/>
                  </a:lnTo>
                  <a:lnTo>
                    <a:pt x="3943" y="3956"/>
                  </a:lnTo>
                  <a:lnTo>
                    <a:pt x="224" y="3956"/>
                  </a:lnTo>
                  <a:lnTo>
                    <a:pt x="183" y="3952"/>
                  </a:lnTo>
                  <a:lnTo>
                    <a:pt x="146" y="3942"/>
                  </a:lnTo>
                  <a:lnTo>
                    <a:pt x="111" y="3925"/>
                  </a:lnTo>
                  <a:lnTo>
                    <a:pt x="80" y="3904"/>
                  </a:lnTo>
                  <a:lnTo>
                    <a:pt x="53" y="3876"/>
                  </a:lnTo>
                  <a:lnTo>
                    <a:pt x="30" y="3844"/>
                  </a:lnTo>
                  <a:lnTo>
                    <a:pt x="14" y="3810"/>
                  </a:lnTo>
                  <a:lnTo>
                    <a:pt x="4" y="3772"/>
                  </a:lnTo>
                  <a:lnTo>
                    <a:pt x="0" y="3731"/>
                  </a:lnTo>
                  <a:lnTo>
                    <a:pt x="0" y="1982"/>
                  </a:lnTo>
                  <a:lnTo>
                    <a:pt x="0" y="224"/>
                  </a:lnTo>
                  <a:lnTo>
                    <a:pt x="4" y="184"/>
                  </a:lnTo>
                  <a:lnTo>
                    <a:pt x="14" y="146"/>
                  </a:lnTo>
                  <a:lnTo>
                    <a:pt x="30" y="111"/>
                  </a:lnTo>
                  <a:lnTo>
                    <a:pt x="53" y="80"/>
                  </a:lnTo>
                  <a:lnTo>
                    <a:pt x="80" y="53"/>
                  </a:lnTo>
                  <a:lnTo>
                    <a:pt x="111" y="30"/>
                  </a:lnTo>
                  <a:lnTo>
                    <a:pt x="146" y="14"/>
                  </a:lnTo>
                  <a:lnTo>
                    <a:pt x="183" y="4"/>
                  </a:lnTo>
                  <a:lnTo>
                    <a:pt x="22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472895" y="473153"/>
            <a:ext cx="7137706" cy="914400"/>
          </a:xfrm>
        </p:spPr>
        <p:txBody>
          <a:bodyPr/>
          <a:lstStyle/>
          <a:p>
            <a:r>
              <a:rPr lang="ru-RU" dirty="0" smtClean="0"/>
              <a:t>Взгляд на ваше онлайн-поведение с другого ракурса </a:t>
            </a:r>
            <a:r>
              <a:rPr dirty="0"/>
              <a:t/>
            </a:r>
            <a:br>
              <a:rPr dirty="0"/>
            </a:br>
            <a:endParaRPr lang="ru-RU" dirty="0"/>
          </a:p>
        </p:txBody>
      </p:sp>
      <p:sp>
        <p:nvSpPr>
          <p:cNvPr id="72" name="Rectangle 17"/>
          <p:cNvSpPr>
            <a:spLocks/>
          </p:cNvSpPr>
          <p:nvPr/>
        </p:nvSpPr>
        <p:spPr bwMode="auto">
          <a:xfrm>
            <a:off x="142451" y="1237607"/>
            <a:ext cx="7389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Машинное обучение</a:t>
            </a:r>
          </a:p>
        </p:txBody>
      </p:sp>
      <p:sp>
        <p:nvSpPr>
          <p:cNvPr id="73" name="Rectangle 17"/>
          <p:cNvSpPr>
            <a:spLocks/>
          </p:cNvSpPr>
          <p:nvPr/>
        </p:nvSpPr>
        <p:spPr bwMode="auto">
          <a:xfrm>
            <a:off x="142451" y="1746329"/>
            <a:ext cx="73896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Text mining</a:t>
            </a:r>
            <a:endParaRPr lang="ru-RU" sz="8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74" name="Rectangle 17"/>
          <p:cNvSpPr>
            <a:spLocks/>
          </p:cNvSpPr>
          <p:nvPr/>
        </p:nvSpPr>
        <p:spPr bwMode="auto">
          <a:xfrm>
            <a:off x="142451" y="2062691"/>
            <a:ext cx="7389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A/B-тестирование</a:t>
            </a:r>
            <a:endParaRPr lang="ru-RU" sz="8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grpSp>
        <p:nvGrpSpPr>
          <p:cNvPr id="85" name="Group 84"/>
          <p:cNvGrpSpPr/>
          <p:nvPr/>
        </p:nvGrpSpPr>
        <p:grpSpPr>
          <a:xfrm>
            <a:off x="147993" y="6027959"/>
            <a:ext cx="727877" cy="515892"/>
            <a:chOff x="1249818" y="5235335"/>
            <a:chExt cx="727877" cy="515892"/>
          </a:xfrm>
        </p:grpSpPr>
        <p:sp>
          <p:nvSpPr>
            <p:cNvPr id="86" name="Freeform 4831"/>
            <p:cNvSpPr>
              <a:spLocks noEditPoints="1"/>
            </p:cNvSpPr>
            <p:nvPr/>
          </p:nvSpPr>
          <p:spPr bwMode="auto">
            <a:xfrm>
              <a:off x="1470864" y="5235335"/>
              <a:ext cx="273263" cy="147454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7" name="Rectangle 17"/>
            <p:cNvSpPr>
              <a:spLocks/>
            </p:cNvSpPr>
            <p:nvPr/>
          </p:nvSpPr>
          <p:spPr bwMode="auto">
            <a:xfrm>
              <a:off x="1249818" y="5474228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Бизнес-партнеры</a:t>
              </a: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147993" y="4831771"/>
            <a:ext cx="727877" cy="786718"/>
            <a:chOff x="147993" y="5867981"/>
            <a:chExt cx="727877" cy="786718"/>
          </a:xfrm>
        </p:grpSpPr>
        <p:sp>
          <p:nvSpPr>
            <p:cNvPr id="89" name="Rectangle 17"/>
            <p:cNvSpPr>
              <a:spLocks/>
            </p:cNvSpPr>
            <p:nvPr/>
          </p:nvSpPr>
          <p:spPr bwMode="auto">
            <a:xfrm>
              <a:off x="147993" y="6100701"/>
              <a:ext cx="727877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еб-ресурсы, продукт, датчики, приложения</a:t>
              </a:r>
            </a:p>
          </p:txBody>
        </p:sp>
        <p:grpSp>
          <p:nvGrpSpPr>
            <p:cNvPr id="90" name="Group 157"/>
            <p:cNvGrpSpPr>
              <a:grpSpLocks noChangeAspect="1"/>
            </p:cNvGrpSpPr>
            <p:nvPr/>
          </p:nvGrpSpPr>
          <p:grpSpPr bwMode="auto">
            <a:xfrm>
              <a:off x="384100" y="5867981"/>
              <a:ext cx="254721" cy="240654"/>
              <a:chOff x="3815" y="1810"/>
              <a:chExt cx="2354" cy="2224"/>
            </a:xfrm>
            <a:solidFill>
              <a:schemeClr val="bg1"/>
            </a:solidFill>
          </p:grpSpPr>
          <p:sp>
            <p:nvSpPr>
              <p:cNvPr id="91" name="Freeform 159"/>
              <p:cNvSpPr>
                <a:spLocks noEditPoints="1"/>
              </p:cNvSpPr>
              <p:nvPr/>
            </p:nvSpPr>
            <p:spPr bwMode="auto">
              <a:xfrm>
                <a:off x="3815" y="1810"/>
                <a:ext cx="2021" cy="1982"/>
              </a:xfrm>
              <a:custGeom>
                <a:avLst/>
                <a:gdLst>
                  <a:gd name="T0" fmla="*/ 3423 w 4043"/>
                  <a:gd name="T1" fmla="*/ 409 h 3965"/>
                  <a:gd name="T2" fmla="*/ 3363 w 4043"/>
                  <a:gd name="T3" fmla="*/ 435 h 3965"/>
                  <a:gd name="T4" fmla="*/ 3317 w 4043"/>
                  <a:gd name="T5" fmla="*/ 481 h 3965"/>
                  <a:gd name="T6" fmla="*/ 3291 w 4043"/>
                  <a:gd name="T7" fmla="*/ 542 h 3965"/>
                  <a:gd name="T8" fmla="*/ 3291 w 4043"/>
                  <a:gd name="T9" fmla="*/ 611 h 3965"/>
                  <a:gd name="T10" fmla="*/ 3317 w 4043"/>
                  <a:gd name="T11" fmla="*/ 671 h 3965"/>
                  <a:gd name="T12" fmla="*/ 3363 w 4043"/>
                  <a:gd name="T13" fmla="*/ 716 h 3965"/>
                  <a:gd name="T14" fmla="*/ 3423 w 4043"/>
                  <a:gd name="T15" fmla="*/ 742 h 3965"/>
                  <a:gd name="T16" fmla="*/ 3491 w 4043"/>
                  <a:gd name="T17" fmla="*/ 742 h 3965"/>
                  <a:gd name="T18" fmla="*/ 3553 w 4043"/>
                  <a:gd name="T19" fmla="*/ 716 h 3965"/>
                  <a:gd name="T20" fmla="*/ 3598 w 4043"/>
                  <a:gd name="T21" fmla="*/ 671 h 3965"/>
                  <a:gd name="T22" fmla="*/ 3624 w 4043"/>
                  <a:gd name="T23" fmla="*/ 611 h 3965"/>
                  <a:gd name="T24" fmla="*/ 3624 w 4043"/>
                  <a:gd name="T25" fmla="*/ 542 h 3965"/>
                  <a:gd name="T26" fmla="*/ 3598 w 4043"/>
                  <a:gd name="T27" fmla="*/ 481 h 3965"/>
                  <a:gd name="T28" fmla="*/ 3553 w 4043"/>
                  <a:gd name="T29" fmla="*/ 435 h 3965"/>
                  <a:gd name="T30" fmla="*/ 3491 w 4043"/>
                  <a:gd name="T31" fmla="*/ 409 h 3965"/>
                  <a:gd name="T32" fmla="*/ 2924 w 4043"/>
                  <a:gd name="T33" fmla="*/ 406 h 3965"/>
                  <a:gd name="T34" fmla="*/ 2858 w 4043"/>
                  <a:gd name="T35" fmla="*/ 419 h 3965"/>
                  <a:gd name="T36" fmla="*/ 2804 w 4043"/>
                  <a:gd name="T37" fmla="*/ 456 h 3965"/>
                  <a:gd name="T38" fmla="*/ 2768 w 4043"/>
                  <a:gd name="T39" fmla="*/ 511 h 3965"/>
                  <a:gd name="T40" fmla="*/ 2755 w 4043"/>
                  <a:gd name="T41" fmla="*/ 576 h 3965"/>
                  <a:gd name="T42" fmla="*/ 2768 w 4043"/>
                  <a:gd name="T43" fmla="*/ 642 h 3965"/>
                  <a:gd name="T44" fmla="*/ 2804 w 4043"/>
                  <a:gd name="T45" fmla="*/ 696 h 3965"/>
                  <a:gd name="T46" fmla="*/ 2858 w 4043"/>
                  <a:gd name="T47" fmla="*/ 732 h 3965"/>
                  <a:gd name="T48" fmla="*/ 2924 w 4043"/>
                  <a:gd name="T49" fmla="*/ 746 h 3965"/>
                  <a:gd name="T50" fmla="*/ 2991 w 4043"/>
                  <a:gd name="T51" fmla="*/ 732 h 3965"/>
                  <a:gd name="T52" fmla="*/ 3045 w 4043"/>
                  <a:gd name="T53" fmla="*/ 696 h 3965"/>
                  <a:gd name="T54" fmla="*/ 3081 w 4043"/>
                  <a:gd name="T55" fmla="*/ 642 h 3965"/>
                  <a:gd name="T56" fmla="*/ 3094 w 4043"/>
                  <a:gd name="T57" fmla="*/ 576 h 3965"/>
                  <a:gd name="T58" fmla="*/ 3081 w 4043"/>
                  <a:gd name="T59" fmla="*/ 511 h 3965"/>
                  <a:gd name="T60" fmla="*/ 3045 w 4043"/>
                  <a:gd name="T61" fmla="*/ 456 h 3965"/>
                  <a:gd name="T62" fmla="*/ 2991 w 4043"/>
                  <a:gd name="T63" fmla="*/ 419 h 3965"/>
                  <a:gd name="T64" fmla="*/ 2924 w 4043"/>
                  <a:gd name="T65" fmla="*/ 406 h 3965"/>
                  <a:gd name="T66" fmla="*/ 3924 w 4043"/>
                  <a:gd name="T67" fmla="*/ 0 h 3965"/>
                  <a:gd name="T68" fmla="*/ 3984 w 4043"/>
                  <a:gd name="T69" fmla="*/ 18 h 3965"/>
                  <a:gd name="T70" fmla="*/ 4027 w 4043"/>
                  <a:gd name="T71" fmla="*/ 60 h 3965"/>
                  <a:gd name="T72" fmla="*/ 4043 w 4043"/>
                  <a:gd name="T73" fmla="*/ 120 h 3965"/>
                  <a:gd name="T74" fmla="*/ 4026 w 4043"/>
                  <a:gd name="T75" fmla="*/ 1778 h 3965"/>
                  <a:gd name="T76" fmla="*/ 3943 w 4043"/>
                  <a:gd name="T77" fmla="*/ 1795 h 3965"/>
                  <a:gd name="T78" fmla="*/ 3874 w 4043"/>
                  <a:gd name="T79" fmla="*/ 1841 h 3965"/>
                  <a:gd name="T80" fmla="*/ 3809 w 4043"/>
                  <a:gd name="T81" fmla="*/ 1868 h 3965"/>
                  <a:gd name="T82" fmla="*/ 3744 w 4043"/>
                  <a:gd name="T83" fmla="*/ 1878 h 3965"/>
                  <a:gd name="T84" fmla="*/ 3686 w 4043"/>
                  <a:gd name="T85" fmla="*/ 1908 h 3965"/>
                  <a:gd name="T86" fmla="*/ 357 w 4043"/>
                  <a:gd name="T87" fmla="*/ 1095 h 3965"/>
                  <a:gd name="T88" fmla="*/ 2587 w 4043"/>
                  <a:gd name="T89" fmla="*/ 3608 h 3965"/>
                  <a:gd name="T90" fmla="*/ 2585 w 4043"/>
                  <a:gd name="T91" fmla="*/ 3839 h 3965"/>
                  <a:gd name="T92" fmla="*/ 2602 w 4043"/>
                  <a:gd name="T93" fmla="*/ 3926 h 3965"/>
                  <a:gd name="T94" fmla="*/ 119 w 4043"/>
                  <a:gd name="T95" fmla="*/ 3965 h 3965"/>
                  <a:gd name="T96" fmla="*/ 59 w 4043"/>
                  <a:gd name="T97" fmla="*/ 3949 h 3965"/>
                  <a:gd name="T98" fmla="*/ 16 w 4043"/>
                  <a:gd name="T99" fmla="*/ 3906 h 3965"/>
                  <a:gd name="T100" fmla="*/ 0 w 4043"/>
                  <a:gd name="T101" fmla="*/ 3846 h 3965"/>
                  <a:gd name="T102" fmla="*/ 4 w 4043"/>
                  <a:gd name="T103" fmla="*/ 88 h 3965"/>
                  <a:gd name="T104" fmla="*/ 34 w 4043"/>
                  <a:gd name="T105" fmla="*/ 36 h 3965"/>
                  <a:gd name="T106" fmla="*/ 87 w 4043"/>
                  <a:gd name="T107" fmla="*/ 5 h 3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43" h="3965">
                    <a:moveTo>
                      <a:pt x="3457" y="406"/>
                    </a:moveTo>
                    <a:lnTo>
                      <a:pt x="3423" y="409"/>
                    </a:lnTo>
                    <a:lnTo>
                      <a:pt x="3391" y="419"/>
                    </a:lnTo>
                    <a:lnTo>
                      <a:pt x="3363" y="435"/>
                    </a:lnTo>
                    <a:lnTo>
                      <a:pt x="3337" y="456"/>
                    </a:lnTo>
                    <a:lnTo>
                      <a:pt x="3317" y="481"/>
                    </a:lnTo>
                    <a:lnTo>
                      <a:pt x="3301" y="511"/>
                    </a:lnTo>
                    <a:lnTo>
                      <a:pt x="3291" y="542"/>
                    </a:lnTo>
                    <a:lnTo>
                      <a:pt x="3287" y="576"/>
                    </a:lnTo>
                    <a:lnTo>
                      <a:pt x="3291" y="611"/>
                    </a:lnTo>
                    <a:lnTo>
                      <a:pt x="3301" y="642"/>
                    </a:lnTo>
                    <a:lnTo>
                      <a:pt x="3317" y="671"/>
                    </a:lnTo>
                    <a:lnTo>
                      <a:pt x="3337" y="696"/>
                    </a:lnTo>
                    <a:lnTo>
                      <a:pt x="3363" y="716"/>
                    </a:lnTo>
                    <a:lnTo>
                      <a:pt x="3391" y="732"/>
                    </a:lnTo>
                    <a:lnTo>
                      <a:pt x="3423" y="742"/>
                    </a:lnTo>
                    <a:lnTo>
                      <a:pt x="3457" y="746"/>
                    </a:lnTo>
                    <a:lnTo>
                      <a:pt x="3491" y="742"/>
                    </a:lnTo>
                    <a:lnTo>
                      <a:pt x="3524" y="732"/>
                    </a:lnTo>
                    <a:lnTo>
                      <a:pt x="3553" y="716"/>
                    </a:lnTo>
                    <a:lnTo>
                      <a:pt x="3577" y="696"/>
                    </a:lnTo>
                    <a:lnTo>
                      <a:pt x="3598" y="671"/>
                    </a:lnTo>
                    <a:lnTo>
                      <a:pt x="3614" y="642"/>
                    </a:lnTo>
                    <a:lnTo>
                      <a:pt x="3624" y="611"/>
                    </a:lnTo>
                    <a:lnTo>
                      <a:pt x="3627" y="576"/>
                    </a:lnTo>
                    <a:lnTo>
                      <a:pt x="3624" y="542"/>
                    </a:lnTo>
                    <a:lnTo>
                      <a:pt x="3614" y="511"/>
                    </a:lnTo>
                    <a:lnTo>
                      <a:pt x="3598" y="481"/>
                    </a:lnTo>
                    <a:lnTo>
                      <a:pt x="3577" y="456"/>
                    </a:lnTo>
                    <a:lnTo>
                      <a:pt x="3553" y="435"/>
                    </a:lnTo>
                    <a:lnTo>
                      <a:pt x="3524" y="419"/>
                    </a:lnTo>
                    <a:lnTo>
                      <a:pt x="3491" y="409"/>
                    </a:lnTo>
                    <a:lnTo>
                      <a:pt x="3457" y="406"/>
                    </a:lnTo>
                    <a:close/>
                    <a:moveTo>
                      <a:pt x="2924" y="406"/>
                    </a:moveTo>
                    <a:lnTo>
                      <a:pt x="2890" y="409"/>
                    </a:lnTo>
                    <a:lnTo>
                      <a:pt x="2858" y="419"/>
                    </a:lnTo>
                    <a:lnTo>
                      <a:pt x="2830" y="435"/>
                    </a:lnTo>
                    <a:lnTo>
                      <a:pt x="2804" y="456"/>
                    </a:lnTo>
                    <a:lnTo>
                      <a:pt x="2784" y="481"/>
                    </a:lnTo>
                    <a:lnTo>
                      <a:pt x="2768" y="511"/>
                    </a:lnTo>
                    <a:lnTo>
                      <a:pt x="2758" y="542"/>
                    </a:lnTo>
                    <a:lnTo>
                      <a:pt x="2755" y="576"/>
                    </a:lnTo>
                    <a:lnTo>
                      <a:pt x="2758" y="611"/>
                    </a:lnTo>
                    <a:lnTo>
                      <a:pt x="2768" y="642"/>
                    </a:lnTo>
                    <a:lnTo>
                      <a:pt x="2784" y="671"/>
                    </a:lnTo>
                    <a:lnTo>
                      <a:pt x="2804" y="696"/>
                    </a:lnTo>
                    <a:lnTo>
                      <a:pt x="2830" y="716"/>
                    </a:lnTo>
                    <a:lnTo>
                      <a:pt x="2858" y="732"/>
                    </a:lnTo>
                    <a:lnTo>
                      <a:pt x="2890" y="742"/>
                    </a:lnTo>
                    <a:lnTo>
                      <a:pt x="2924" y="746"/>
                    </a:lnTo>
                    <a:lnTo>
                      <a:pt x="2958" y="742"/>
                    </a:lnTo>
                    <a:lnTo>
                      <a:pt x="2991" y="732"/>
                    </a:lnTo>
                    <a:lnTo>
                      <a:pt x="3020" y="716"/>
                    </a:lnTo>
                    <a:lnTo>
                      <a:pt x="3045" y="696"/>
                    </a:lnTo>
                    <a:lnTo>
                      <a:pt x="3065" y="671"/>
                    </a:lnTo>
                    <a:lnTo>
                      <a:pt x="3081" y="642"/>
                    </a:lnTo>
                    <a:lnTo>
                      <a:pt x="3091" y="611"/>
                    </a:lnTo>
                    <a:lnTo>
                      <a:pt x="3094" y="576"/>
                    </a:lnTo>
                    <a:lnTo>
                      <a:pt x="3091" y="542"/>
                    </a:lnTo>
                    <a:lnTo>
                      <a:pt x="3081" y="511"/>
                    </a:lnTo>
                    <a:lnTo>
                      <a:pt x="3065" y="481"/>
                    </a:lnTo>
                    <a:lnTo>
                      <a:pt x="3045" y="456"/>
                    </a:lnTo>
                    <a:lnTo>
                      <a:pt x="3020" y="435"/>
                    </a:lnTo>
                    <a:lnTo>
                      <a:pt x="2991" y="419"/>
                    </a:lnTo>
                    <a:lnTo>
                      <a:pt x="2958" y="409"/>
                    </a:lnTo>
                    <a:lnTo>
                      <a:pt x="2924" y="406"/>
                    </a:lnTo>
                    <a:close/>
                    <a:moveTo>
                      <a:pt x="119" y="0"/>
                    </a:moveTo>
                    <a:lnTo>
                      <a:pt x="3924" y="0"/>
                    </a:lnTo>
                    <a:lnTo>
                      <a:pt x="3956" y="5"/>
                    </a:lnTo>
                    <a:lnTo>
                      <a:pt x="3984" y="18"/>
                    </a:lnTo>
                    <a:lnTo>
                      <a:pt x="4009" y="36"/>
                    </a:lnTo>
                    <a:lnTo>
                      <a:pt x="4027" y="60"/>
                    </a:lnTo>
                    <a:lnTo>
                      <a:pt x="4039" y="88"/>
                    </a:lnTo>
                    <a:lnTo>
                      <a:pt x="4043" y="120"/>
                    </a:lnTo>
                    <a:lnTo>
                      <a:pt x="4043" y="1778"/>
                    </a:lnTo>
                    <a:lnTo>
                      <a:pt x="4026" y="1778"/>
                    </a:lnTo>
                    <a:lnTo>
                      <a:pt x="3983" y="1783"/>
                    </a:lnTo>
                    <a:lnTo>
                      <a:pt x="3943" y="1795"/>
                    </a:lnTo>
                    <a:lnTo>
                      <a:pt x="3907" y="1815"/>
                    </a:lnTo>
                    <a:lnTo>
                      <a:pt x="3874" y="1841"/>
                    </a:lnTo>
                    <a:lnTo>
                      <a:pt x="3849" y="1873"/>
                    </a:lnTo>
                    <a:lnTo>
                      <a:pt x="3809" y="1868"/>
                    </a:lnTo>
                    <a:lnTo>
                      <a:pt x="3776" y="1871"/>
                    </a:lnTo>
                    <a:lnTo>
                      <a:pt x="3744" y="1878"/>
                    </a:lnTo>
                    <a:lnTo>
                      <a:pt x="3713" y="1891"/>
                    </a:lnTo>
                    <a:lnTo>
                      <a:pt x="3686" y="1908"/>
                    </a:lnTo>
                    <a:lnTo>
                      <a:pt x="3686" y="1095"/>
                    </a:lnTo>
                    <a:lnTo>
                      <a:pt x="357" y="1095"/>
                    </a:lnTo>
                    <a:lnTo>
                      <a:pt x="357" y="3608"/>
                    </a:lnTo>
                    <a:lnTo>
                      <a:pt x="2587" y="3608"/>
                    </a:lnTo>
                    <a:lnTo>
                      <a:pt x="2585" y="3640"/>
                    </a:lnTo>
                    <a:lnTo>
                      <a:pt x="2585" y="3839"/>
                    </a:lnTo>
                    <a:lnTo>
                      <a:pt x="2590" y="3885"/>
                    </a:lnTo>
                    <a:lnTo>
                      <a:pt x="2602" y="3926"/>
                    </a:lnTo>
                    <a:lnTo>
                      <a:pt x="2622" y="3965"/>
                    </a:lnTo>
                    <a:lnTo>
                      <a:pt x="119" y="3965"/>
                    </a:lnTo>
                    <a:lnTo>
                      <a:pt x="87" y="3961"/>
                    </a:lnTo>
                    <a:lnTo>
                      <a:pt x="59" y="3949"/>
                    </a:lnTo>
                    <a:lnTo>
                      <a:pt x="34" y="3931"/>
                    </a:lnTo>
                    <a:lnTo>
                      <a:pt x="16" y="3906"/>
                    </a:lnTo>
                    <a:lnTo>
                      <a:pt x="4" y="3878"/>
                    </a:lnTo>
                    <a:lnTo>
                      <a:pt x="0" y="3846"/>
                    </a:lnTo>
                    <a:lnTo>
                      <a:pt x="0" y="120"/>
                    </a:lnTo>
                    <a:lnTo>
                      <a:pt x="4" y="88"/>
                    </a:lnTo>
                    <a:lnTo>
                      <a:pt x="16" y="60"/>
                    </a:lnTo>
                    <a:lnTo>
                      <a:pt x="34" y="36"/>
                    </a:lnTo>
                    <a:lnTo>
                      <a:pt x="59" y="18"/>
                    </a:lnTo>
                    <a:lnTo>
                      <a:pt x="87" y="5"/>
                    </a:lnTo>
                    <a:lnTo>
                      <a:pt x="1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2" name="Freeform 160"/>
              <p:cNvSpPr>
                <a:spLocks noEditPoints="1"/>
              </p:cNvSpPr>
              <p:nvPr/>
            </p:nvSpPr>
            <p:spPr bwMode="auto">
              <a:xfrm>
                <a:off x="4491" y="2507"/>
                <a:ext cx="895" cy="895"/>
              </a:xfrm>
              <a:custGeom>
                <a:avLst/>
                <a:gdLst>
                  <a:gd name="T0" fmla="*/ 727 w 1791"/>
                  <a:gd name="T1" fmla="*/ 498 h 1790"/>
                  <a:gd name="T2" fmla="*/ 554 w 1791"/>
                  <a:gd name="T3" fmla="*/ 632 h 1790"/>
                  <a:gd name="T4" fmla="*/ 469 w 1791"/>
                  <a:gd name="T5" fmla="*/ 836 h 1790"/>
                  <a:gd name="T6" fmla="*/ 499 w 1791"/>
                  <a:gd name="T7" fmla="*/ 1062 h 1790"/>
                  <a:gd name="T8" fmla="*/ 632 w 1791"/>
                  <a:gd name="T9" fmla="*/ 1236 h 1790"/>
                  <a:gd name="T10" fmla="*/ 837 w 1791"/>
                  <a:gd name="T11" fmla="*/ 1322 h 1790"/>
                  <a:gd name="T12" fmla="*/ 1063 w 1791"/>
                  <a:gd name="T13" fmla="*/ 1292 h 1790"/>
                  <a:gd name="T14" fmla="*/ 1236 w 1791"/>
                  <a:gd name="T15" fmla="*/ 1158 h 1790"/>
                  <a:gd name="T16" fmla="*/ 1323 w 1791"/>
                  <a:gd name="T17" fmla="*/ 953 h 1790"/>
                  <a:gd name="T18" fmla="*/ 1293 w 1791"/>
                  <a:gd name="T19" fmla="*/ 728 h 1790"/>
                  <a:gd name="T20" fmla="*/ 1159 w 1791"/>
                  <a:gd name="T21" fmla="*/ 553 h 1790"/>
                  <a:gd name="T22" fmla="*/ 955 w 1791"/>
                  <a:gd name="T23" fmla="*/ 468 h 1790"/>
                  <a:gd name="T24" fmla="*/ 1052 w 1791"/>
                  <a:gd name="T25" fmla="*/ 3 h 1790"/>
                  <a:gd name="T26" fmla="*/ 1139 w 1791"/>
                  <a:gd name="T27" fmla="*/ 73 h 1790"/>
                  <a:gd name="T28" fmla="*/ 1192 w 1791"/>
                  <a:gd name="T29" fmla="*/ 180 h 1790"/>
                  <a:gd name="T30" fmla="*/ 1303 w 1791"/>
                  <a:gd name="T31" fmla="*/ 142 h 1790"/>
                  <a:gd name="T32" fmla="*/ 1416 w 1791"/>
                  <a:gd name="T33" fmla="*/ 155 h 1790"/>
                  <a:gd name="T34" fmla="*/ 1649 w 1791"/>
                  <a:gd name="T35" fmla="*/ 402 h 1790"/>
                  <a:gd name="T36" fmla="*/ 1636 w 1791"/>
                  <a:gd name="T37" fmla="*/ 513 h 1790"/>
                  <a:gd name="T38" fmla="*/ 1625 w 1791"/>
                  <a:gd name="T39" fmla="*/ 638 h 1790"/>
                  <a:gd name="T40" fmla="*/ 1741 w 1791"/>
                  <a:gd name="T41" fmla="*/ 666 h 1790"/>
                  <a:gd name="T42" fmla="*/ 1791 w 1791"/>
                  <a:gd name="T43" fmla="*/ 769 h 1790"/>
                  <a:gd name="T44" fmla="*/ 1762 w 1791"/>
                  <a:gd name="T45" fmla="*/ 1104 h 1790"/>
                  <a:gd name="T46" fmla="*/ 1659 w 1791"/>
                  <a:gd name="T47" fmla="*/ 1152 h 1790"/>
                  <a:gd name="T48" fmla="*/ 1618 w 1791"/>
                  <a:gd name="T49" fmla="*/ 1252 h 1790"/>
                  <a:gd name="T50" fmla="*/ 1655 w 1791"/>
                  <a:gd name="T51" fmla="*/ 1361 h 1790"/>
                  <a:gd name="T52" fmla="*/ 1439 w 1791"/>
                  <a:gd name="T53" fmla="*/ 1617 h 1790"/>
                  <a:gd name="T54" fmla="*/ 1332 w 1791"/>
                  <a:gd name="T55" fmla="*/ 1655 h 1790"/>
                  <a:gd name="T56" fmla="*/ 1229 w 1791"/>
                  <a:gd name="T57" fmla="*/ 1592 h 1790"/>
                  <a:gd name="T58" fmla="*/ 1149 w 1791"/>
                  <a:gd name="T59" fmla="*/ 1688 h 1790"/>
                  <a:gd name="T60" fmla="*/ 1079 w 1791"/>
                  <a:gd name="T61" fmla="*/ 1777 h 1790"/>
                  <a:gd name="T62" fmla="*/ 740 w 1791"/>
                  <a:gd name="T63" fmla="*/ 1787 h 1790"/>
                  <a:gd name="T64" fmla="*/ 652 w 1791"/>
                  <a:gd name="T65" fmla="*/ 1717 h 1790"/>
                  <a:gd name="T66" fmla="*/ 600 w 1791"/>
                  <a:gd name="T67" fmla="*/ 1609 h 1790"/>
                  <a:gd name="T68" fmla="*/ 487 w 1791"/>
                  <a:gd name="T69" fmla="*/ 1648 h 1790"/>
                  <a:gd name="T70" fmla="*/ 374 w 1791"/>
                  <a:gd name="T71" fmla="*/ 1635 h 1790"/>
                  <a:gd name="T72" fmla="*/ 141 w 1791"/>
                  <a:gd name="T73" fmla="*/ 1389 h 1790"/>
                  <a:gd name="T74" fmla="*/ 154 w 1791"/>
                  <a:gd name="T75" fmla="*/ 1276 h 1790"/>
                  <a:gd name="T76" fmla="*/ 167 w 1791"/>
                  <a:gd name="T77" fmla="*/ 1152 h 1790"/>
                  <a:gd name="T78" fmla="*/ 50 w 1791"/>
                  <a:gd name="T79" fmla="*/ 1124 h 1790"/>
                  <a:gd name="T80" fmla="*/ 0 w 1791"/>
                  <a:gd name="T81" fmla="*/ 1021 h 1790"/>
                  <a:gd name="T82" fmla="*/ 29 w 1791"/>
                  <a:gd name="T83" fmla="*/ 686 h 1790"/>
                  <a:gd name="T84" fmla="*/ 133 w 1791"/>
                  <a:gd name="T85" fmla="*/ 638 h 1790"/>
                  <a:gd name="T86" fmla="*/ 174 w 1791"/>
                  <a:gd name="T87" fmla="*/ 538 h 1790"/>
                  <a:gd name="T88" fmla="*/ 136 w 1791"/>
                  <a:gd name="T89" fmla="*/ 429 h 1790"/>
                  <a:gd name="T90" fmla="*/ 351 w 1791"/>
                  <a:gd name="T91" fmla="*/ 173 h 1790"/>
                  <a:gd name="T92" fmla="*/ 459 w 1791"/>
                  <a:gd name="T93" fmla="*/ 135 h 1790"/>
                  <a:gd name="T94" fmla="*/ 562 w 1791"/>
                  <a:gd name="T95" fmla="*/ 197 h 1790"/>
                  <a:gd name="T96" fmla="*/ 642 w 1791"/>
                  <a:gd name="T97" fmla="*/ 102 h 1790"/>
                  <a:gd name="T98" fmla="*/ 712 w 1791"/>
                  <a:gd name="T99" fmla="*/ 13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91" h="1790">
                    <a:moveTo>
                      <a:pt x="896" y="463"/>
                    </a:moveTo>
                    <a:lnTo>
                      <a:pt x="837" y="468"/>
                    </a:lnTo>
                    <a:lnTo>
                      <a:pt x="780" y="479"/>
                    </a:lnTo>
                    <a:lnTo>
                      <a:pt x="727" y="498"/>
                    </a:lnTo>
                    <a:lnTo>
                      <a:pt x="677" y="523"/>
                    </a:lnTo>
                    <a:lnTo>
                      <a:pt x="632" y="553"/>
                    </a:lnTo>
                    <a:lnTo>
                      <a:pt x="590" y="590"/>
                    </a:lnTo>
                    <a:lnTo>
                      <a:pt x="554" y="632"/>
                    </a:lnTo>
                    <a:lnTo>
                      <a:pt x="523" y="678"/>
                    </a:lnTo>
                    <a:lnTo>
                      <a:pt x="499" y="728"/>
                    </a:lnTo>
                    <a:lnTo>
                      <a:pt x="480" y="781"/>
                    </a:lnTo>
                    <a:lnTo>
                      <a:pt x="469" y="836"/>
                    </a:lnTo>
                    <a:lnTo>
                      <a:pt x="464" y="895"/>
                    </a:lnTo>
                    <a:lnTo>
                      <a:pt x="469" y="953"/>
                    </a:lnTo>
                    <a:lnTo>
                      <a:pt x="480" y="1009"/>
                    </a:lnTo>
                    <a:lnTo>
                      <a:pt x="499" y="1062"/>
                    </a:lnTo>
                    <a:lnTo>
                      <a:pt x="523" y="1112"/>
                    </a:lnTo>
                    <a:lnTo>
                      <a:pt x="554" y="1158"/>
                    </a:lnTo>
                    <a:lnTo>
                      <a:pt x="590" y="1199"/>
                    </a:lnTo>
                    <a:lnTo>
                      <a:pt x="632" y="1236"/>
                    </a:lnTo>
                    <a:lnTo>
                      <a:pt x="677" y="1268"/>
                    </a:lnTo>
                    <a:lnTo>
                      <a:pt x="727" y="1292"/>
                    </a:lnTo>
                    <a:lnTo>
                      <a:pt x="780" y="1311"/>
                    </a:lnTo>
                    <a:lnTo>
                      <a:pt x="837" y="1322"/>
                    </a:lnTo>
                    <a:lnTo>
                      <a:pt x="896" y="1326"/>
                    </a:lnTo>
                    <a:lnTo>
                      <a:pt x="955" y="1322"/>
                    </a:lnTo>
                    <a:lnTo>
                      <a:pt x="1010" y="1311"/>
                    </a:lnTo>
                    <a:lnTo>
                      <a:pt x="1063" y="1292"/>
                    </a:lnTo>
                    <a:lnTo>
                      <a:pt x="1113" y="1268"/>
                    </a:lnTo>
                    <a:lnTo>
                      <a:pt x="1159" y="1236"/>
                    </a:lnTo>
                    <a:lnTo>
                      <a:pt x="1200" y="1199"/>
                    </a:lnTo>
                    <a:lnTo>
                      <a:pt x="1236" y="1158"/>
                    </a:lnTo>
                    <a:lnTo>
                      <a:pt x="1268" y="1112"/>
                    </a:lnTo>
                    <a:lnTo>
                      <a:pt x="1293" y="1062"/>
                    </a:lnTo>
                    <a:lnTo>
                      <a:pt x="1310" y="1009"/>
                    </a:lnTo>
                    <a:lnTo>
                      <a:pt x="1323" y="953"/>
                    </a:lnTo>
                    <a:lnTo>
                      <a:pt x="1326" y="895"/>
                    </a:lnTo>
                    <a:lnTo>
                      <a:pt x="1323" y="836"/>
                    </a:lnTo>
                    <a:lnTo>
                      <a:pt x="1310" y="781"/>
                    </a:lnTo>
                    <a:lnTo>
                      <a:pt x="1293" y="728"/>
                    </a:lnTo>
                    <a:lnTo>
                      <a:pt x="1268" y="678"/>
                    </a:lnTo>
                    <a:lnTo>
                      <a:pt x="1236" y="632"/>
                    </a:lnTo>
                    <a:lnTo>
                      <a:pt x="1200" y="590"/>
                    </a:lnTo>
                    <a:lnTo>
                      <a:pt x="1159" y="553"/>
                    </a:lnTo>
                    <a:lnTo>
                      <a:pt x="1113" y="523"/>
                    </a:lnTo>
                    <a:lnTo>
                      <a:pt x="1063" y="498"/>
                    </a:lnTo>
                    <a:lnTo>
                      <a:pt x="1010" y="479"/>
                    </a:lnTo>
                    <a:lnTo>
                      <a:pt x="955" y="468"/>
                    </a:lnTo>
                    <a:lnTo>
                      <a:pt x="896" y="463"/>
                    </a:lnTo>
                    <a:close/>
                    <a:moveTo>
                      <a:pt x="770" y="0"/>
                    </a:moveTo>
                    <a:lnTo>
                      <a:pt x="1020" y="0"/>
                    </a:lnTo>
                    <a:lnTo>
                      <a:pt x="1052" y="3"/>
                    </a:lnTo>
                    <a:lnTo>
                      <a:pt x="1079" y="13"/>
                    </a:lnTo>
                    <a:lnTo>
                      <a:pt x="1103" y="29"/>
                    </a:lnTo>
                    <a:lnTo>
                      <a:pt x="1125" y="49"/>
                    </a:lnTo>
                    <a:lnTo>
                      <a:pt x="1139" y="73"/>
                    </a:lnTo>
                    <a:lnTo>
                      <a:pt x="1149" y="102"/>
                    </a:lnTo>
                    <a:lnTo>
                      <a:pt x="1153" y="132"/>
                    </a:lnTo>
                    <a:lnTo>
                      <a:pt x="1153" y="166"/>
                    </a:lnTo>
                    <a:lnTo>
                      <a:pt x="1192" y="180"/>
                    </a:lnTo>
                    <a:lnTo>
                      <a:pt x="1229" y="197"/>
                    </a:lnTo>
                    <a:lnTo>
                      <a:pt x="1253" y="173"/>
                    </a:lnTo>
                    <a:lnTo>
                      <a:pt x="1276" y="155"/>
                    </a:lnTo>
                    <a:lnTo>
                      <a:pt x="1303" y="142"/>
                    </a:lnTo>
                    <a:lnTo>
                      <a:pt x="1332" y="135"/>
                    </a:lnTo>
                    <a:lnTo>
                      <a:pt x="1360" y="135"/>
                    </a:lnTo>
                    <a:lnTo>
                      <a:pt x="1389" y="142"/>
                    </a:lnTo>
                    <a:lnTo>
                      <a:pt x="1416" y="155"/>
                    </a:lnTo>
                    <a:lnTo>
                      <a:pt x="1439" y="173"/>
                    </a:lnTo>
                    <a:lnTo>
                      <a:pt x="1618" y="350"/>
                    </a:lnTo>
                    <a:lnTo>
                      <a:pt x="1636" y="375"/>
                    </a:lnTo>
                    <a:lnTo>
                      <a:pt x="1649" y="402"/>
                    </a:lnTo>
                    <a:lnTo>
                      <a:pt x="1655" y="429"/>
                    </a:lnTo>
                    <a:lnTo>
                      <a:pt x="1655" y="459"/>
                    </a:lnTo>
                    <a:lnTo>
                      <a:pt x="1649" y="488"/>
                    </a:lnTo>
                    <a:lnTo>
                      <a:pt x="1636" y="513"/>
                    </a:lnTo>
                    <a:lnTo>
                      <a:pt x="1618" y="538"/>
                    </a:lnTo>
                    <a:lnTo>
                      <a:pt x="1593" y="562"/>
                    </a:lnTo>
                    <a:lnTo>
                      <a:pt x="1609" y="599"/>
                    </a:lnTo>
                    <a:lnTo>
                      <a:pt x="1625" y="638"/>
                    </a:lnTo>
                    <a:lnTo>
                      <a:pt x="1659" y="638"/>
                    </a:lnTo>
                    <a:lnTo>
                      <a:pt x="1689" y="640"/>
                    </a:lnTo>
                    <a:lnTo>
                      <a:pt x="1716" y="651"/>
                    </a:lnTo>
                    <a:lnTo>
                      <a:pt x="1741" y="666"/>
                    </a:lnTo>
                    <a:lnTo>
                      <a:pt x="1762" y="686"/>
                    </a:lnTo>
                    <a:lnTo>
                      <a:pt x="1778" y="712"/>
                    </a:lnTo>
                    <a:lnTo>
                      <a:pt x="1788" y="739"/>
                    </a:lnTo>
                    <a:lnTo>
                      <a:pt x="1791" y="769"/>
                    </a:lnTo>
                    <a:lnTo>
                      <a:pt x="1791" y="1021"/>
                    </a:lnTo>
                    <a:lnTo>
                      <a:pt x="1788" y="1051"/>
                    </a:lnTo>
                    <a:lnTo>
                      <a:pt x="1778" y="1079"/>
                    </a:lnTo>
                    <a:lnTo>
                      <a:pt x="1762" y="1104"/>
                    </a:lnTo>
                    <a:lnTo>
                      <a:pt x="1741" y="1124"/>
                    </a:lnTo>
                    <a:lnTo>
                      <a:pt x="1716" y="1139"/>
                    </a:lnTo>
                    <a:lnTo>
                      <a:pt x="1689" y="1149"/>
                    </a:lnTo>
                    <a:lnTo>
                      <a:pt x="1659" y="1152"/>
                    </a:lnTo>
                    <a:lnTo>
                      <a:pt x="1625" y="1152"/>
                    </a:lnTo>
                    <a:lnTo>
                      <a:pt x="1609" y="1191"/>
                    </a:lnTo>
                    <a:lnTo>
                      <a:pt x="1593" y="1228"/>
                    </a:lnTo>
                    <a:lnTo>
                      <a:pt x="1618" y="1252"/>
                    </a:lnTo>
                    <a:lnTo>
                      <a:pt x="1636" y="1276"/>
                    </a:lnTo>
                    <a:lnTo>
                      <a:pt x="1649" y="1304"/>
                    </a:lnTo>
                    <a:lnTo>
                      <a:pt x="1655" y="1331"/>
                    </a:lnTo>
                    <a:lnTo>
                      <a:pt x="1655" y="1361"/>
                    </a:lnTo>
                    <a:lnTo>
                      <a:pt x="1649" y="1389"/>
                    </a:lnTo>
                    <a:lnTo>
                      <a:pt x="1636" y="1415"/>
                    </a:lnTo>
                    <a:lnTo>
                      <a:pt x="1618" y="1439"/>
                    </a:lnTo>
                    <a:lnTo>
                      <a:pt x="1439" y="1617"/>
                    </a:lnTo>
                    <a:lnTo>
                      <a:pt x="1416" y="1635"/>
                    </a:lnTo>
                    <a:lnTo>
                      <a:pt x="1389" y="1648"/>
                    </a:lnTo>
                    <a:lnTo>
                      <a:pt x="1360" y="1655"/>
                    </a:lnTo>
                    <a:lnTo>
                      <a:pt x="1332" y="1655"/>
                    </a:lnTo>
                    <a:lnTo>
                      <a:pt x="1303" y="1648"/>
                    </a:lnTo>
                    <a:lnTo>
                      <a:pt x="1276" y="1635"/>
                    </a:lnTo>
                    <a:lnTo>
                      <a:pt x="1253" y="1617"/>
                    </a:lnTo>
                    <a:lnTo>
                      <a:pt x="1229" y="1592"/>
                    </a:lnTo>
                    <a:lnTo>
                      <a:pt x="1192" y="1609"/>
                    </a:lnTo>
                    <a:lnTo>
                      <a:pt x="1153" y="1624"/>
                    </a:lnTo>
                    <a:lnTo>
                      <a:pt x="1153" y="1658"/>
                    </a:lnTo>
                    <a:lnTo>
                      <a:pt x="1149" y="1688"/>
                    </a:lnTo>
                    <a:lnTo>
                      <a:pt x="1139" y="1717"/>
                    </a:lnTo>
                    <a:lnTo>
                      <a:pt x="1125" y="1741"/>
                    </a:lnTo>
                    <a:lnTo>
                      <a:pt x="1103" y="1761"/>
                    </a:lnTo>
                    <a:lnTo>
                      <a:pt x="1079" y="1777"/>
                    </a:lnTo>
                    <a:lnTo>
                      <a:pt x="1052" y="1787"/>
                    </a:lnTo>
                    <a:lnTo>
                      <a:pt x="1020" y="1790"/>
                    </a:lnTo>
                    <a:lnTo>
                      <a:pt x="770" y="1790"/>
                    </a:lnTo>
                    <a:lnTo>
                      <a:pt x="740" y="1787"/>
                    </a:lnTo>
                    <a:lnTo>
                      <a:pt x="712" y="1777"/>
                    </a:lnTo>
                    <a:lnTo>
                      <a:pt x="687" y="1761"/>
                    </a:lnTo>
                    <a:lnTo>
                      <a:pt x="667" y="1741"/>
                    </a:lnTo>
                    <a:lnTo>
                      <a:pt x="652" y="1717"/>
                    </a:lnTo>
                    <a:lnTo>
                      <a:pt x="642" y="1688"/>
                    </a:lnTo>
                    <a:lnTo>
                      <a:pt x="637" y="1658"/>
                    </a:lnTo>
                    <a:lnTo>
                      <a:pt x="637" y="1624"/>
                    </a:lnTo>
                    <a:lnTo>
                      <a:pt x="600" y="1609"/>
                    </a:lnTo>
                    <a:lnTo>
                      <a:pt x="562" y="1592"/>
                    </a:lnTo>
                    <a:lnTo>
                      <a:pt x="537" y="1617"/>
                    </a:lnTo>
                    <a:lnTo>
                      <a:pt x="514" y="1635"/>
                    </a:lnTo>
                    <a:lnTo>
                      <a:pt x="487" y="1648"/>
                    </a:lnTo>
                    <a:lnTo>
                      <a:pt x="459" y="1655"/>
                    </a:lnTo>
                    <a:lnTo>
                      <a:pt x="430" y="1655"/>
                    </a:lnTo>
                    <a:lnTo>
                      <a:pt x="401" y="1648"/>
                    </a:lnTo>
                    <a:lnTo>
                      <a:pt x="374" y="1635"/>
                    </a:lnTo>
                    <a:lnTo>
                      <a:pt x="351" y="1617"/>
                    </a:lnTo>
                    <a:lnTo>
                      <a:pt x="174" y="1439"/>
                    </a:lnTo>
                    <a:lnTo>
                      <a:pt x="154" y="1415"/>
                    </a:lnTo>
                    <a:lnTo>
                      <a:pt x="141" y="1389"/>
                    </a:lnTo>
                    <a:lnTo>
                      <a:pt x="136" y="1361"/>
                    </a:lnTo>
                    <a:lnTo>
                      <a:pt x="136" y="1331"/>
                    </a:lnTo>
                    <a:lnTo>
                      <a:pt x="141" y="1304"/>
                    </a:lnTo>
                    <a:lnTo>
                      <a:pt x="154" y="1276"/>
                    </a:lnTo>
                    <a:lnTo>
                      <a:pt x="174" y="1252"/>
                    </a:lnTo>
                    <a:lnTo>
                      <a:pt x="199" y="1228"/>
                    </a:lnTo>
                    <a:lnTo>
                      <a:pt x="181" y="1191"/>
                    </a:lnTo>
                    <a:lnTo>
                      <a:pt x="167" y="1152"/>
                    </a:lnTo>
                    <a:lnTo>
                      <a:pt x="133" y="1152"/>
                    </a:lnTo>
                    <a:lnTo>
                      <a:pt x="101" y="1149"/>
                    </a:lnTo>
                    <a:lnTo>
                      <a:pt x="74" y="1139"/>
                    </a:lnTo>
                    <a:lnTo>
                      <a:pt x="50" y="1124"/>
                    </a:lnTo>
                    <a:lnTo>
                      <a:pt x="29" y="1104"/>
                    </a:lnTo>
                    <a:lnTo>
                      <a:pt x="14" y="1079"/>
                    </a:lnTo>
                    <a:lnTo>
                      <a:pt x="4" y="1051"/>
                    </a:lnTo>
                    <a:lnTo>
                      <a:pt x="0" y="1021"/>
                    </a:lnTo>
                    <a:lnTo>
                      <a:pt x="0" y="769"/>
                    </a:lnTo>
                    <a:lnTo>
                      <a:pt x="4" y="739"/>
                    </a:lnTo>
                    <a:lnTo>
                      <a:pt x="14" y="712"/>
                    </a:lnTo>
                    <a:lnTo>
                      <a:pt x="29" y="686"/>
                    </a:lnTo>
                    <a:lnTo>
                      <a:pt x="50" y="666"/>
                    </a:lnTo>
                    <a:lnTo>
                      <a:pt x="74" y="651"/>
                    </a:lnTo>
                    <a:lnTo>
                      <a:pt x="101" y="640"/>
                    </a:lnTo>
                    <a:lnTo>
                      <a:pt x="133" y="638"/>
                    </a:lnTo>
                    <a:lnTo>
                      <a:pt x="167" y="638"/>
                    </a:lnTo>
                    <a:lnTo>
                      <a:pt x="181" y="599"/>
                    </a:lnTo>
                    <a:lnTo>
                      <a:pt x="199" y="562"/>
                    </a:lnTo>
                    <a:lnTo>
                      <a:pt x="174" y="538"/>
                    </a:lnTo>
                    <a:lnTo>
                      <a:pt x="154" y="513"/>
                    </a:lnTo>
                    <a:lnTo>
                      <a:pt x="141" y="488"/>
                    </a:lnTo>
                    <a:lnTo>
                      <a:pt x="136" y="459"/>
                    </a:lnTo>
                    <a:lnTo>
                      <a:pt x="136" y="429"/>
                    </a:lnTo>
                    <a:lnTo>
                      <a:pt x="141" y="402"/>
                    </a:lnTo>
                    <a:lnTo>
                      <a:pt x="154" y="375"/>
                    </a:lnTo>
                    <a:lnTo>
                      <a:pt x="174" y="350"/>
                    </a:lnTo>
                    <a:lnTo>
                      <a:pt x="351" y="173"/>
                    </a:lnTo>
                    <a:lnTo>
                      <a:pt x="376" y="155"/>
                    </a:lnTo>
                    <a:lnTo>
                      <a:pt x="401" y="142"/>
                    </a:lnTo>
                    <a:lnTo>
                      <a:pt x="430" y="135"/>
                    </a:lnTo>
                    <a:lnTo>
                      <a:pt x="459" y="135"/>
                    </a:lnTo>
                    <a:lnTo>
                      <a:pt x="487" y="142"/>
                    </a:lnTo>
                    <a:lnTo>
                      <a:pt x="514" y="155"/>
                    </a:lnTo>
                    <a:lnTo>
                      <a:pt x="537" y="173"/>
                    </a:lnTo>
                    <a:lnTo>
                      <a:pt x="562" y="197"/>
                    </a:lnTo>
                    <a:lnTo>
                      <a:pt x="600" y="180"/>
                    </a:lnTo>
                    <a:lnTo>
                      <a:pt x="637" y="166"/>
                    </a:lnTo>
                    <a:lnTo>
                      <a:pt x="637" y="132"/>
                    </a:lnTo>
                    <a:lnTo>
                      <a:pt x="642" y="102"/>
                    </a:lnTo>
                    <a:lnTo>
                      <a:pt x="652" y="73"/>
                    </a:lnTo>
                    <a:lnTo>
                      <a:pt x="667" y="49"/>
                    </a:lnTo>
                    <a:lnTo>
                      <a:pt x="687" y="29"/>
                    </a:lnTo>
                    <a:lnTo>
                      <a:pt x="712" y="13"/>
                    </a:lnTo>
                    <a:lnTo>
                      <a:pt x="740" y="3"/>
                    </a:lnTo>
                    <a:lnTo>
                      <a:pt x="7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3" name="Freeform 161"/>
              <p:cNvSpPr>
                <a:spLocks noEditPoints="1"/>
              </p:cNvSpPr>
              <p:nvPr/>
            </p:nvSpPr>
            <p:spPr bwMode="auto">
              <a:xfrm>
                <a:off x="5171" y="3325"/>
                <a:ext cx="710" cy="709"/>
              </a:xfrm>
              <a:custGeom>
                <a:avLst/>
                <a:gdLst>
                  <a:gd name="T0" fmla="*/ 602 w 1421"/>
                  <a:gd name="T1" fmla="*/ 385 h 1419"/>
                  <a:gd name="T2" fmla="*/ 469 w 1421"/>
                  <a:gd name="T3" fmla="*/ 467 h 1419"/>
                  <a:gd name="T4" fmla="*/ 386 w 1421"/>
                  <a:gd name="T5" fmla="*/ 602 h 1419"/>
                  <a:gd name="T6" fmla="*/ 373 w 1421"/>
                  <a:gd name="T7" fmla="*/ 765 h 1419"/>
                  <a:gd name="T8" fmla="*/ 435 w 1421"/>
                  <a:gd name="T9" fmla="*/ 912 h 1419"/>
                  <a:gd name="T10" fmla="*/ 553 w 1421"/>
                  <a:gd name="T11" fmla="*/ 1013 h 1419"/>
                  <a:gd name="T12" fmla="*/ 711 w 1421"/>
                  <a:gd name="T13" fmla="*/ 1051 h 1419"/>
                  <a:gd name="T14" fmla="*/ 868 w 1421"/>
                  <a:gd name="T15" fmla="*/ 1013 h 1419"/>
                  <a:gd name="T16" fmla="*/ 986 w 1421"/>
                  <a:gd name="T17" fmla="*/ 912 h 1419"/>
                  <a:gd name="T18" fmla="*/ 1048 w 1421"/>
                  <a:gd name="T19" fmla="*/ 765 h 1419"/>
                  <a:gd name="T20" fmla="*/ 1035 w 1421"/>
                  <a:gd name="T21" fmla="*/ 602 h 1419"/>
                  <a:gd name="T22" fmla="*/ 952 w 1421"/>
                  <a:gd name="T23" fmla="*/ 467 h 1419"/>
                  <a:gd name="T24" fmla="*/ 819 w 1421"/>
                  <a:gd name="T25" fmla="*/ 385 h 1419"/>
                  <a:gd name="T26" fmla="*/ 611 w 1421"/>
                  <a:gd name="T27" fmla="*/ 0 h 1419"/>
                  <a:gd name="T28" fmla="*/ 864 w 1421"/>
                  <a:gd name="T29" fmla="*/ 14 h 1419"/>
                  <a:gd name="T30" fmla="*/ 911 w 1421"/>
                  <a:gd name="T31" fmla="*/ 76 h 1419"/>
                  <a:gd name="T32" fmla="*/ 975 w 1421"/>
                  <a:gd name="T33" fmla="*/ 156 h 1419"/>
                  <a:gd name="T34" fmla="*/ 1032 w 1421"/>
                  <a:gd name="T35" fmla="*/ 113 h 1419"/>
                  <a:gd name="T36" fmla="*/ 1085 w 1421"/>
                  <a:gd name="T37" fmla="*/ 107 h 1419"/>
                  <a:gd name="T38" fmla="*/ 1142 w 1421"/>
                  <a:gd name="T39" fmla="*/ 137 h 1419"/>
                  <a:gd name="T40" fmla="*/ 1311 w 1421"/>
                  <a:gd name="T41" fmla="*/ 326 h 1419"/>
                  <a:gd name="T42" fmla="*/ 1299 w 1421"/>
                  <a:gd name="T43" fmla="*/ 403 h 1419"/>
                  <a:gd name="T44" fmla="*/ 1288 w 1421"/>
                  <a:gd name="T45" fmla="*/ 505 h 1419"/>
                  <a:gd name="T46" fmla="*/ 1368 w 1421"/>
                  <a:gd name="T47" fmla="*/ 519 h 1419"/>
                  <a:gd name="T48" fmla="*/ 1417 w 1421"/>
                  <a:gd name="T49" fmla="*/ 582 h 1419"/>
                  <a:gd name="T50" fmla="*/ 1417 w 1421"/>
                  <a:gd name="T51" fmla="*/ 836 h 1419"/>
                  <a:gd name="T52" fmla="*/ 1368 w 1421"/>
                  <a:gd name="T53" fmla="*/ 899 h 1419"/>
                  <a:gd name="T54" fmla="*/ 1288 w 1421"/>
                  <a:gd name="T55" fmla="*/ 913 h 1419"/>
                  <a:gd name="T56" fmla="*/ 1299 w 1421"/>
                  <a:gd name="T57" fmla="*/ 1015 h 1419"/>
                  <a:gd name="T58" fmla="*/ 1311 w 1421"/>
                  <a:gd name="T59" fmla="*/ 1093 h 1419"/>
                  <a:gd name="T60" fmla="*/ 1142 w 1421"/>
                  <a:gd name="T61" fmla="*/ 1282 h 1419"/>
                  <a:gd name="T62" fmla="*/ 1068 w 1421"/>
                  <a:gd name="T63" fmla="*/ 1312 h 1419"/>
                  <a:gd name="T64" fmla="*/ 994 w 1421"/>
                  <a:gd name="T65" fmla="*/ 1282 h 1419"/>
                  <a:gd name="T66" fmla="*/ 915 w 1421"/>
                  <a:gd name="T67" fmla="*/ 1315 h 1419"/>
                  <a:gd name="T68" fmla="*/ 884 w 1421"/>
                  <a:gd name="T69" fmla="*/ 1388 h 1419"/>
                  <a:gd name="T70" fmla="*/ 811 w 1421"/>
                  <a:gd name="T71" fmla="*/ 1419 h 1419"/>
                  <a:gd name="T72" fmla="*/ 558 w 1421"/>
                  <a:gd name="T73" fmla="*/ 1405 h 1419"/>
                  <a:gd name="T74" fmla="*/ 511 w 1421"/>
                  <a:gd name="T75" fmla="*/ 1342 h 1419"/>
                  <a:gd name="T76" fmla="*/ 446 w 1421"/>
                  <a:gd name="T77" fmla="*/ 1262 h 1419"/>
                  <a:gd name="T78" fmla="*/ 379 w 1421"/>
                  <a:gd name="T79" fmla="*/ 1309 h 1419"/>
                  <a:gd name="T80" fmla="*/ 302 w 1421"/>
                  <a:gd name="T81" fmla="*/ 1299 h 1419"/>
                  <a:gd name="T82" fmla="*/ 122 w 1421"/>
                  <a:gd name="T83" fmla="*/ 1119 h 1419"/>
                  <a:gd name="T84" fmla="*/ 110 w 1421"/>
                  <a:gd name="T85" fmla="*/ 1041 h 1419"/>
                  <a:gd name="T86" fmla="*/ 158 w 1421"/>
                  <a:gd name="T87" fmla="*/ 973 h 1419"/>
                  <a:gd name="T88" fmla="*/ 78 w 1421"/>
                  <a:gd name="T89" fmla="*/ 911 h 1419"/>
                  <a:gd name="T90" fmla="*/ 15 w 1421"/>
                  <a:gd name="T91" fmla="*/ 862 h 1419"/>
                  <a:gd name="T92" fmla="*/ 0 w 1421"/>
                  <a:gd name="T93" fmla="*/ 610 h 1419"/>
                  <a:gd name="T94" fmla="*/ 32 w 1421"/>
                  <a:gd name="T95" fmla="*/ 536 h 1419"/>
                  <a:gd name="T96" fmla="*/ 106 w 1421"/>
                  <a:gd name="T97" fmla="*/ 505 h 1419"/>
                  <a:gd name="T98" fmla="*/ 139 w 1421"/>
                  <a:gd name="T99" fmla="*/ 426 h 1419"/>
                  <a:gd name="T100" fmla="*/ 108 w 1421"/>
                  <a:gd name="T101" fmla="*/ 352 h 1419"/>
                  <a:gd name="T102" fmla="*/ 139 w 1421"/>
                  <a:gd name="T103" fmla="*/ 277 h 1419"/>
                  <a:gd name="T104" fmla="*/ 326 w 1421"/>
                  <a:gd name="T105" fmla="*/ 110 h 1419"/>
                  <a:gd name="T106" fmla="*/ 405 w 1421"/>
                  <a:gd name="T107" fmla="*/ 120 h 1419"/>
                  <a:gd name="T108" fmla="*/ 506 w 1421"/>
                  <a:gd name="T109" fmla="*/ 132 h 1419"/>
                  <a:gd name="T110" fmla="*/ 521 w 1421"/>
                  <a:gd name="T111" fmla="*/ 52 h 1419"/>
                  <a:gd name="T112" fmla="*/ 583 w 1421"/>
                  <a:gd name="T113" fmla="*/ 3 h 1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21" h="1419">
                    <a:moveTo>
                      <a:pt x="711" y="367"/>
                    </a:moveTo>
                    <a:lnTo>
                      <a:pt x="655" y="372"/>
                    </a:lnTo>
                    <a:lnTo>
                      <a:pt x="602" y="385"/>
                    </a:lnTo>
                    <a:lnTo>
                      <a:pt x="553" y="406"/>
                    </a:lnTo>
                    <a:lnTo>
                      <a:pt x="509" y="433"/>
                    </a:lnTo>
                    <a:lnTo>
                      <a:pt x="469" y="467"/>
                    </a:lnTo>
                    <a:lnTo>
                      <a:pt x="435" y="508"/>
                    </a:lnTo>
                    <a:lnTo>
                      <a:pt x="406" y="552"/>
                    </a:lnTo>
                    <a:lnTo>
                      <a:pt x="386" y="602"/>
                    </a:lnTo>
                    <a:lnTo>
                      <a:pt x="373" y="653"/>
                    </a:lnTo>
                    <a:lnTo>
                      <a:pt x="369" y="709"/>
                    </a:lnTo>
                    <a:lnTo>
                      <a:pt x="373" y="765"/>
                    </a:lnTo>
                    <a:lnTo>
                      <a:pt x="386" y="818"/>
                    </a:lnTo>
                    <a:lnTo>
                      <a:pt x="406" y="866"/>
                    </a:lnTo>
                    <a:lnTo>
                      <a:pt x="435" y="912"/>
                    </a:lnTo>
                    <a:lnTo>
                      <a:pt x="469" y="951"/>
                    </a:lnTo>
                    <a:lnTo>
                      <a:pt x="509" y="985"/>
                    </a:lnTo>
                    <a:lnTo>
                      <a:pt x="553" y="1013"/>
                    </a:lnTo>
                    <a:lnTo>
                      <a:pt x="602" y="1033"/>
                    </a:lnTo>
                    <a:lnTo>
                      <a:pt x="655" y="1046"/>
                    </a:lnTo>
                    <a:lnTo>
                      <a:pt x="711" y="1051"/>
                    </a:lnTo>
                    <a:lnTo>
                      <a:pt x="766" y="1046"/>
                    </a:lnTo>
                    <a:lnTo>
                      <a:pt x="819" y="1033"/>
                    </a:lnTo>
                    <a:lnTo>
                      <a:pt x="868" y="1013"/>
                    </a:lnTo>
                    <a:lnTo>
                      <a:pt x="912" y="985"/>
                    </a:lnTo>
                    <a:lnTo>
                      <a:pt x="952" y="951"/>
                    </a:lnTo>
                    <a:lnTo>
                      <a:pt x="986" y="912"/>
                    </a:lnTo>
                    <a:lnTo>
                      <a:pt x="1014" y="866"/>
                    </a:lnTo>
                    <a:lnTo>
                      <a:pt x="1035" y="818"/>
                    </a:lnTo>
                    <a:lnTo>
                      <a:pt x="1048" y="765"/>
                    </a:lnTo>
                    <a:lnTo>
                      <a:pt x="1052" y="709"/>
                    </a:lnTo>
                    <a:lnTo>
                      <a:pt x="1048" y="653"/>
                    </a:lnTo>
                    <a:lnTo>
                      <a:pt x="1035" y="602"/>
                    </a:lnTo>
                    <a:lnTo>
                      <a:pt x="1014" y="552"/>
                    </a:lnTo>
                    <a:lnTo>
                      <a:pt x="986" y="508"/>
                    </a:lnTo>
                    <a:lnTo>
                      <a:pt x="952" y="467"/>
                    </a:lnTo>
                    <a:lnTo>
                      <a:pt x="912" y="433"/>
                    </a:lnTo>
                    <a:lnTo>
                      <a:pt x="868" y="406"/>
                    </a:lnTo>
                    <a:lnTo>
                      <a:pt x="819" y="385"/>
                    </a:lnTo>
                    <a:lnTo>
                      <a:pt x="766" y="372"/>
                    </a:lnTo>
                    <a:lnTo>
                      <a:pt x="711" y="367"/>
                    </a:lnTo>
                    <a:close/>
                    <a:moveTo>
                      <a:pt x="611" y="0"/>
                    </a:moveTo>
                    <a:lnTo>
                      <a:pt x="811" y="0"/>
                    </a:lnTo>
                    <a:lnTo>
                      <a:pt x="838" y="3"/>
                    </a:lnTo>
                    <a:lnTo>
                      <a:pt x="864" y="14"/>
                    </a:lnTo>
                    <a:lnTo>
                      <a:pt x="884" y="30"/>
                    </a:lnTo>
                    <a:lnTo>
                      <a:pt x="901" y="52"/>
                    </a:lnTo>
                    <a:lnTo>
                      <a:pt x="911" y="76"/>
                    </a:lnTo>
                    <a:lnTo>
                      <a:pt x="915" y="104"/>
                    </a:lnTo>
                    <a:lnTo>
                      <a:pt x="915" y="132"/>
                    </a:lnTo>
                    <a:lnTo>
                      <a:pt x="975" y="156"/>
                    </a:lnTo>
                    <a:lnTo>
                      <a:pt x="994" y="137"/>
                    </a:lnTo>
                    <a:lnTo>
                      <a:pt x="1014" y="122"/>
                    </a:lnTo>
                    <a:lnTo>
                      <a:pt x="1032" y="113"/>
                    </a:lnTo>
                    <a:lnTo>
                      <a:pt x="1052" y="107"/>
                    </a:lnTo>
                    <a:lnTo>
                      <a:pt x="1069" y="107"/>
                    </a:lnTo>
                    <a:lnTo>
                      <a:pt x="1085" y="107"/>
                    </a:lnTo>
                    <a:lnTo>
                      <a:pt x="1095" y="110"/>
                    </a:lnTo>
                    <a:lnTo>
                      <a:pt x="1121" y="120"/>
                    </a:lnTo>
                    <a:lnTo>
                      <a:pt x="1142" y="137"/>
                    </a:lnTo>
                    <a:lnTo>
                      <a:pt x="1282" y="277"/>
                    </a:lnTo>
                    <a:lnTo>
                      <a:pt x="1299" y="300"/>
                    </a:lnTo>
                    <a:lnTo>
                      <a:pt x="1311" y="326"/>
                    </a:lnTo>
                    <a:lnTo>
                      <a:pt x="1314" y="352"/>
                    </a:lnTo>
                    <a:lnTo>
                      <a:pt x="1311" y="379"/>
                    </a:lnTo>
                    <a:lnTo>
                      <a:pt x="1299" y="403"/>
                    </a:lnTo>
                    <a:lnTo>
                      <a:pt x="1282" y="426"/>
                    </a:lnTo>
                    <a:lnTo>
                      <a:pt x="1264" y="445"/>
                    </a:lnTo>
                    <a:lnTo>
                      <a:pt x="1288" y="505"/>
                    </a:lnTo>
                    <a:lnTo>
                      <a:pt x="1315" y="505"/>
                    </a:lnTo>
                    <a:lnTo>
                      <a:pt x="1344" y="509"/>
                    </a:lnTo>
                    <a:lnTo>
                      <a:pt x="1368" y="519"/>
                    </a:lnTo>
                    <a:lnTo>
                      <a:pt x="1389" y="536"/>
                    </a:lnTo>
                    <a:lnTo>
                      <a:pt x="1407" y="558"/>
                    </a:lnTo>
                    <a:lnTo>
                      <a:pt x="1417" y="582"/>
                    </a:lnTo>
                    <a:lnTo>
                      <a:pt x="1421" y="610"/>
                    </a:lnTo>
                    <a:lnTo>
                      <a:pt x="1421" y="809"/>
                    </a:lnTo>
                    <a:lnTo>
                      <a:pt x="1417" y="836"/>
                    </a:lnTo>
                    <a:lnTo>
                      <a:pt x="1407" y="862"/>
                    </a:lnTo>
                    <a:lnTo>
                      <a:pt x="1389" y="883"/>
                    </a:lnTo>
                    <a:lnTo>
                      <a:pt x="1368" y="899"/>
                    </a:lnTo>
                    <a:lnTo>
                      <a:pt x="1344" y="911"/>
                    </a:lnTo>
                    <a:lnTo>
                      <a:pt x="1315" y="913"/>
                    </a:lnTo>
                    <a:lnTo>
                      <a:pt x="1288" y="913"/>
                    </a:lnTo>
                    <a:lnTo>
                      <a:pt x="1264" y="973"/>
                    </a:lnTo>
                    <a:lnTo>
                      <a:pt x="1282" y="993"/>
                    </a:lnTo>
                    <a:lnTo>
                      <a:pt x="1299" y="1015"/>
                    </a:lnTo>
                    <a:lnTo>
                      <a:pt x="1311" y="1041"/>
                    </a:lnTo>
                    <a:lnTo>
                      <a:pt x="1314" y="1066"/>
                    </a:lnTo>
                    <a:lnTo>
                      <a:pt x="1311" y="1093"/>
                    </a:lnTo>
                    <a:lnTo>
                      <a:pt x="1299" y="1119"/>
                    </a:lnTo>
                    <a:lnTo>
                      <a:pt x="1282" y="1141"/>
                    </a:lnTo>
                    <a:lnTo>
                      <a:pt x="1142" y="1282"/>
                    </a:lnTo>
                    <a:lnTo>
                      <a:pt x="1119" y="1299"/>
                    </a:lnTo>
                    <a:lnTo>
                      <a:pt x="1095" y="1309"/>
                    </a:lnTo>
                    <a:lnTo>
                      <a:pt x="1068" y="1312"/>
                    </a:lnTo>
                    <a:lnTo>
                      <a:pt x="1042" y="1309"/>
                    </a:lnTo>
                    <a:lnTo>
                      <a:pt x="1016" y="1299"/>
                    </a:lnTo>
                    <a:lnTo>
                      <a:pt x="994" y="1282"/>
                    </a:lnTo>
                    <a:lnTo>
                      <a:pt x="975" y="1262"/>
                    </a:lnTo>
                    <a:lnTo>
                      <a:pt x="915" y="1288"/>
                    </a:lnTo>
                    <a:lnTo>
                      <a:pt x="915" y="1315"/>
                    </a:lnTo>
                    <a:lnTo>
                      <a:pt x="911" y="1342"/>
                    </a:lnTo>
                    <a:lnTo>
                      <a:pt x="901" y="1368"/>
                    </a:lnTo>
                    <a:lnTo>
                      <a:pt x="884" y="1388"/>
                    </a:lnTo>
                    <a:lnTo>
                      <a:pt x="864" y="1405"/>
                    </a:lnTo>
                    <a:lnTo>
                      <a:pt x="838" y="1415"/>
                    </a:lnTo>
                    <a:lnTo>
                      <a:pt x="811" y="1419"/>
                    </a:lnTo>
                    <a:lnTo>
                      <a:pt x="611" y="1419"/>
                    </a:lnTo>
                    <a:lnTo>
                      <a:pt x="583" y="1415"/>
                    </a:lnTo>
                    <a:lnTo>
                      <a:pt x="558" y="1405"/>
                    </a:lnTo>
                    <a:lnTo>
                      <a:pt x="538" y="1388"/>
                    </a:lnTo>
                    <a:lnTo>
                      <a:pt x="521" y="1368"/>
                    </a:lnTo>
                    <a:lnTo>
                      <a:pt x="511" y="1342"/>
                    </a:lnTo>
                    <a:lnTo>
                      <a:pt x="506" y="1315"/>
                    </a:lnTo>
                    <a:lnTo>
                      <a:pt x="506" y="1288"/>
                    </a:lnTo>
                    <a:lnTo>
                      <a:pt x="446" y="1262"/>
                    </a:lnTo>
                    <a:lnTo>
                      <a:pt x="428" y="1282"/>
                    </a:lnTo>
                    <a:lnTo>
                      <a:pt x="405" y="1299"/>
                    </a:lnTo>
                    <a:lnTo>
                      <a:pt x="379" y="1309"/>
                    </a:lnTo>
                    <a:lnTo>
                      <a:pt x="353" y="1312"/>
                    </a:lnTo>
                    <a:lnTo>
                      <a:pt x="326" y="1309"/>
                    </a:lnTo>
                    <a:lnTo>
                      <a:pt x="302" y="1299"/>
                    </a:lnTo>
                    <a:lnTo>
                      <a:pt x="279" y="1282"/>
                    </a:lnTo>
                    <a:lnTo>
                      <a:pt x="139" y="1141"/>
                    </a:lnTo>
                    <a:lnTo>
                      <a:pt x="122" y="1119"/>
                    </a:lnTo>
                    <a:lnTo>
                      <a:pt x="110" y="1093"/>
                    </a:lnTo>
                    <a:lnTo>
                      <a:pt x="108" y="1066"/>
                    </a:lnTo>
                    <a:lnTo>
                      <a:pt x="110" y="1041"/>
                    </a:lnTo>
                    <a:lnTo>
                      <a:pt x="122" y="1015"/>
                    </a:lnTo>
                    <a:lnTo>
                      <a:pt x="139" y="993"/>
                    </a:lnTo>
                    <a:lnTo>
                      <a:pt x="158" y="973"/>
                    </a:lnTo>
                    <a:lnTo>
                      <a:pt x="133" y="913"/>
                    </a:lnTo>
                    <a:lnTo>
                      <a:pt x="106" y="913"/>
                    </a:lnTo>
                    <a:lnTo>
                      <a:pt x="78" y="911"/>
                    </a:lnTo>
                    <a:lnTo>
                      <a:pt x="53" y="899"/>
                    </a:lnTo>
                    <a:lnTo>
                      <a:pt x="32" y="883"/>
                    </a:lnTo>
                    <a:lnTo>
                      <a:pt x="15" y="862"/>
                    </a:lnTo>
                    <a:lnTo>
                      <a:pt x="5" y="836"/>
                    </a:lnTo>
                    <a:lnTo>
                      <a:pt x="0" y="809"/>
                    </a:lnTo>
                    <a:lnTo>
                      <a:pt x="0" y="610"/>
                    </a:lnTo>
                    <a:lnTo>
                      <a:pt x="5" y="582"/>
                    </a:lnTo>
                    <a:lnTo>
                      <a:pt x="15" y="558"/>
                    </a:lnTo>
                    <a:lnTo>
                      <a:pt x="32" y="536"/>
                    </a:lnTo>
                    <a:lnTo>
                      <a:pt x="53" y="519"/>
                    </a:lnTo>
                    <a:lnTo>
                      <a:pt x="78" y="509"/>
                    </a:lnTo>
                    <a:lnTo>
                      <a:pt x="106" y="505"/>
                    </a:lnTo>
                    <a:lnTo>
                      <a:pt x="133" y="505"/>
                    </a:lnTo>
                    <a:lnTo>
                      <a:pt x="158" y="445"/>
                    </a:lnTo>
                    <a:lnTo>
                      <a:pt x="139" y="426"/>
                    </a:lnTo>
                    <a:lnTo>
                      <a:pt x="122" y="403"/>
                    </a:lnTo>
                    <a:lnTo>
                      <a:pt x="110" y="379"/>
                    </a:lnTo>
                    <a:lnTo>
                      <a:pt x="108" y="352"/>
                    </a:lnTo>
                    <a:lnTo>
                      <a:pt x="110" y="326"/>
                    </a:lnTo>
                    <a:lnTo>
                      <a:pt x="122" y="300"/>
                    </a:lnTo>
                    <a:lnTo>
                      <a:pt x="139" y="277"/>
                    </a:lnTo>
                    <a:lnTo>
                      <a:pt x="279" y="137"/>
                    </a:lnTo>
                    <a:lnTo>
                      <a:pt x="302" y="120"/>
                    </a:lnTo>
                    <a:lnTo>
                      <a:pt x="326" y="110"/>
                    </a:lnTo>
                    <a:lnTo>
                      <a:pt x="353" y="106"/>
                    </a:lnTo>
                    <a:lnTo>
                      <a:pt x="379" y="110"/>
                    </a:lnTo>
                    <a:lnTo>
                      <a:pt x="405" y="120"/>
                    </a:lnTo>
                    <a:lnTo>
                      <a:pt x="428" y="137"/>
                    </a:lnTo>
                    <a:lnTo>
                      <a:pt x="446" y="156"/>
                    </a:lnTo>
                    <a:lnTo>
                      <a:pt x="506" y="132"/>
                    </a:lnTo>
                    <a:lnTo>
                      <a:pt x="506" y="104"/>
                    </a:lnTo>
                    <a:lnTo>
                      <a:pt x="511" y="76"/>
                    </a:lnTo>
                    <a:lnTo>
                      <a:pt x="521" y="52"/>
                    </a:lnTo>
                    <a:lnTo>
                      <a:pt x="538" y="30"/>
                    </a:lnTo>
                    <a:lnTo>
                      <a:pt x="558" y="14"/>
                    </a:lnTo>
                    <a:lnTo>
                      <a:pt x="583" y="3"/>
                    </a:lnTo>
                    <a:lnTo>
                      <a:pt x="6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4" name="Freeform 162"/>
              <p:cNvSpPr>
                <a:spLocks noEditPoints="1"/>
              </p:cNvSpPr>
              <p:nvPr/>
            </p:nvSpPr>
            <p:spPr bwMode="auto">
              <a:xfrm>
                <a:off x="5571" y="2763"/>
                <a:ext cx="598" cy="598"/>
              </a:xfrm>
              <a:custGeom>
                <a:avLst/>
                <a:gdLst>
                  <a:gd name="T0" fmla="*/ 506 w 1194"/>
                  <a:gd name="T1" fmla="*/ 324 h 1196"/>
                  <a:gd name="T2" fmla="*/ 393 w 1194"/>
                  <a:gd name="T3" fmla="*/ 394 h 1196"/>
                  <a:gd name="T4" fmla="*/ 324 w 1194"/>
                  <a:gd name="T5" fmla="*/ 507 h 1196"/>
                  <a:gd name="T6" fmla="*/ 313 w 1194"/>
                  <a:gd name="T7" fmla="*/ 644 h 1196"/>
                  <a:gd name="T8" fmla="*/ 364 w 1194"/>
                  <a:gd name="T9" fmla="*/ 767 h 1196"/>
                  <a:gd name="T10" fmla="*/ 464 w 1194"/>
                  <a:gd name="T11" fmla="*/ 853 h 1196"/>
                  <a:gd name="T12" fmla="*/ 597 w 1194"/>
                  <a:gd name="T13" fmla="*/ 886 h 1196"/>
                  <a:gd name="T14" fmla="*/ 729 w 1194"/>
                  <a:gd name="T15" fmla="*/ 853 h 1196"/>
                  <a:gd name="T16" fmla="*/ 829 w 1194"/>
                  <a:gd name="T17" fmla="*/ 767 h 1196"/>
                  <a:gd name="T18" fmla="*/ 881 w 1194"/>
                  <a:gd name="T19" fmla="*/ 644 h 1196"/>
                  <a:gd name="T20" fmla="*/ 870 w 1194"/>
                  <a:gd name="T21" fmla="*/ 507 h 1196"/>
                  <a:gd name="T22" fmla="*/ 800 w 1194"/>
                  <a:gd name="T23" fmla="*/ 394 h 1196"/>
                  <a:gd name="T24" fmla="*/ 689 w 1194"/>
                  <a:gd name="T25" fmla="*/ 324 h 1196"/>
                  <a:gd name="T26" fmla="*/ 513 w 1194"/>
                  <a:gd name="T27" fmla="*/ 0 h 1196"/>
                  <a:gd name="T28" fmla="*/ 726 w 1194"/>
                  <a:gd name="T29" fmla="*/ 11 h 1196"/>
                  <a:gd name="T30" fmla="*/ 766 w 1194"/>
                  <a:gd name="T31" fmla="*/ 64 h 1196"/>
                  <a:gd name="T32" fmla="*/ 820 w 1194"/>
                  <a:gd name="T33" fmla="*/ 131 h 1196"/>
                  <a:gd name="T34" fmla="*/ 876 w 1194"/>
                  <a:gd name="T35" fmla="*/ 93 h 1196"/>
                  <a:gd name="T36" fmla="*/ 941 w 1194"/>
                  <a:gd name="T37" fmla="*/ 101 h 1196"/>
                  <a:gd name="T38" fmla="*/ 1093 w 1194"/>
                  <a:gd name="T39" fmla="*/ 253 h 1196"/>
                  <a:gd name="T40" fmla="*/ 1102 w 1194"/>
                  <a:gd name="T41" fmla="*/ 319 h 1196"/>
                  <a:gd name="T42" fmla="*/ 1063 w 1194"/>
                  <a:gd name="T43" fmla="*/ 376 h 1196"/>
                  <a:gd name="T44" fmla="*/ 1130 w 1194"/>
                  <a:gd name="T45" fmla="*/ 429 h 1196"/>
                  <a:gd name="T46" fmla="*/ 1183 w 1194"/>
                  <a:gd name="T47" fmla="*/ 469 h 1196"/>
                  <a:gd name="T48" fmla="*/ 1194 w 1194"/>
                  <a:gd name="T49" fmla="*/ 682 h 1196"/>
                  <a:gd name="T50" fmla="*/ 1169 w 1194"/>
                  <a:gd name="T51" fmla="*/ 743 h 1196"/>
                  <a:gd name="T52" fmla="*/ 1106 w 1194"/>
                  <a:gd name="T53" fmla="*/ 770 h 1196"/>
                  <a:gd name="T54" fmla="*/ 1079 w 1194"/>
                  <a:gd name="T55" fmla="*/ 836 h 1196"/>
                  <a:gd name="T56" fmla="*/ 1104 w 1194"/>
                  <a:gd name="T57" fmla="*/ 899 h 1196"/>
                  <a:gd name="T58" fmla="*/ 1079 w 1194"/>
                  <a:gd name="T59" fmla="*/ 962 h 1196"/>
                  <a:gd name="T60" fmla="*/ 920 w 1194"/>
                  <a:gd name="T61" fmla="*/ 1103 h 1196"/>
                  <a:gd name="T62" fmla="*/ 854 w 1194"/>
                  <a:gd name="T63" fmla="*/ 1095 h 1196"/>
                  <a:gd name="T64" fmla="*/ 769 w 1194"/>
                  <a:gd name="T65" fmla="*/ 1085 h 1196"/>
                  <a:gd name="T66" fmla="*/ 757 w 1194"/>
                  <a:gd name="T67" fmla="*/ 1152 h 1196"/>
                  <a:gd name="T68" fmla="*/ 704 w 1194"/>
                  <a:gd name="T69" fmla="*/ 1192 h 1196"/>
                  <a:gd name="T70" fmla="*/ 490 w 1194"/>
                  <a:gd name="T71" fmla="*/ 1192 h 1196"/>
                  <a:gd name="T72" fmla="*/ 437 w 1194"/>
                  <a:gd name="T73" fmla="*/ 1152 h 1196"/>
                  <a:gd name="T74" fmla="*/ 426 w 1194"/>
                  <a:gd name="T75" fmla="*/ 1085 h 1196"/>
                  <a:gd name="T76" fmla="*/ 340 w 1194"/>
                  <a:gd name="T77" fmla="*/ 1095 h 1196"/>
                  <a:gd name="T78" fmla="*/ 274 w 1194"/>
                  <a:gd name="T79" fmla="*/ 1103 h 1196"/>
                  <a:gd name="T80" fmla="*/ 115 w 1194"/>
                  <a:gd name="T81" fmla="*/ 962 h 1196"/>
                  <a:gd name="T82" fmla="*/ 90 w 1194"/>
                  <a:gd name="T83" fmla="*/ 899 h 1196"/>
                  <a:gd name="T84" fmla="*/ 115 w 1194"/>
                  <a:gd name="T85" fmla="*/ 836 h 1196"/>
                  <a:gd name="T86" fmla="*/ 87 w 1194"/>
                  <a:gd name="T87" fmla="*/ 770 h 1196"/>
                  <a:gd name="T88" fmla="*/ 25 w 1194"/>
                  <a:gd name="T89" fmla="*/ 743 h 1196"/>
                  <a:gd name="T90" fmla="*/ 0 w 1194"/>
                  <a:gd name="T91" fmla="*/ 682 h 1196"/>
                  <a:gd name="T92" fmla="*/ 11 w 1194"/>
                  <a:gd name="T93" fmla="*/ 469 h 1196"/>
                  <a:gd name="T94" fmla="*/ 64 w 1194"/>
                  <a:gd name="T95" fmla="*/ 429 h 1196"/>
                  <a:gd name="T96" fmla="*/ 131 w 1194"/>
                  <a:gd name="T97" fmla="*/ 376 h 1196"/>
                  <a:gd name="T98" fmla="*/ 93 w 1194"/>
                  <a:gd name="T99" fmla="*/ 319 h 1196"/>
                  <a:gd name="T100" fmla="*/ 101 w 1194"/>
                  <a:gd name="T101" fmla="*/ 253 h 1196"/>
                  <a:gd name="T102" fmla="*/ 253 w 1194"/>
                  <a:gd name="T103" fmla="*/ 101 h 1196"/>
                  <a:gd name="T104" fmla="*/ 318 w 1194"/>
                  <a:gd name="T105" fmla="*/ 93 h 1196"/>
                  <a:gd name="T106" fmla="*/ 374 w 1194"/>
                  <a:gd name="T107" fmla="*/ 131 h 1196"/>
                  <a:gd name="T108" fmla="*/ 428 w 1194"/>
                  <a:gd name="T109" fmla="*/ 64 h 1196"/>
                  <a:gd name="T110" fmla="*/ 468 w 1194"/>
                  <a:gd name="T111" fmla="*/ 11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94" h="1196">
                    <a:moveTo>
                      <a:pt x="597" y="310"/>
                    </a:moveTo>
                    <a:lnTo>
                      <a:pt x="550" y="313"/>
                    </a:lnTo>
                    <a:lnTo>
                      <a:pt x="506" y="324"/>
                    </a:lnTo>
                    <a:lnTo>
                      <a:pt x="464" y="341"/>
                    </a:lnTo>
                    <a:lnTo>
                      <a:pt x="427" y="366"/>
                    </a:lnTo>
                    <a:lnTo>
                      <a:pt x="393" y="394"/>
                    </a:lnTo>
                    <a:lnTo>
                      <a:pt x="364" y="427"/>
                    </a:lnTo>
                    <a:lnTo>
                      <a:pt x="341" y="466"/>
                    </a:lnTo>
                    <a:lnTo>
                      <a:pt x="324" y="507"/>
                    </a:lnTo>
                    <a:lnTo>
                      <a:pt x="313" y="552"/>
                    </a:lnTo>
                    <a:lnTo>
                      <a:pt x="308" y="597"/>
                    </a:lnTo>
                    <a:lnTo>
                      <a:pt x="313" y="644"/>
                    </a:lnTo>
                    <a:lnTo>
                      <a:pt x="324" y="689"/>
                    </a:lnTo>
                    <a:lnTo>
                      <a:pt x="341" y="730"/>
                    </a:lnTo>
                    <a:lnTo>
                      <a:pt x="364" y="767"/>
                    </a:lnTo>
                    <a:lnTo>
                      <a:pt x="393" y="802"/>
                    </a:lnTo>
                    <a:lnTo>
                      <a:pt x="427" y="830"/>
                    </a:lnTo>
                    <a:lnTo>
                      <a:pt x="464" y="853"/>
                    </a:lnTo>
                    <a:lnTo>
                      <a:pt x="506" y="870"/>
                    </a:lnTo>
                    <a:lnTo>
                      <a:pt x="550" y="882"/>
                    </a:lnTo>
                    <a:lnTo>
                      <a:pt x="597" y="886"/>
                    </a:lnTo>
                    <a:lnTo>
                      <a:pt x="644" y="882"/>
                    </a:lnTo>
                    <a:lnTo>
                      <a:pt x="689" y="870"/>
                    </a:lnTo>
                    <a:lnTo>
                      <a:pt x="729" y="853"/>
                    </a:lnTo>
                    <a:lnTo>
                      <a:pt x="767" y="830"/>
                    </a:lnTo>
                    <a:lnTo>
                      <a:pt x="800" y="802"/>
                    </a:lnTo>
                    <a:lnTo>
                      <a:pt x="829" y="767"/>
                    </a:lnTo>
                    <a:lnTo>
                      <a:pt x="853" y="730"/>
                    </a:lnTo>
                    <a:lnTo>
                      <a:pt x="870" y="689"/>
                    </a:lnTo>
                    <a:lnTo>
                      <a:pt x="881" y="644"/>
                    </a:lnTo>
                    <a:lnTo>
                      <a:pt x="884" y="597"/>
                    </a:lnTo>
                    <a:lnTo>
                      <a:pt x="881" y="552"/>
                    </a:lnTo>
                    <a:lnTo>
                      <a:pt x="870" y="507"/>
                    </a:lnTo>
                    <a:lnTo>
                      <a:pt x="853" y="466"/>
                    </a:lnTo>
                    <a:lnTo>
                      <a:pt x="829" y="427"/>
                    </a:lnTo>
                    <a:lnTo>
                      <a:pt x="800" y="394"/>
                    </a:lnTo>
                    <a:lnTo>
                      <a:pt x="767" y="366"/>
                    </a:lnTo>
                    <a:lnTo>
                      <a:pt x="729" y="341"/>
                    </a:lnTo>
                    <a:lnTo>
                      <a:pt x="689" y="324"/>
                    </a:lnTo>
                    <a:lnTo>
                      <a:pt x="644" y="313"/>
                    </a:lnTo>
                    <a:lnTo>
                      <a:pt x="597" y="310"/>
                    </a:lnTo>
                    <a:close/>
                    <a:moveTo>
                      <a:pt x="513" y="0"/>
                    </a:moveTo>
                    <a:lnTo>
                      <a:pt x="681" y="0"/>
                    </a:lnTo>
                    <a:lnTo>
                      <a:pt x="704" y="3"/>
                    </a:lnTo>
                    <a:lnTo>
                      <a:pt x="726" y="11"/>
                    </a:lnTo>
                    <a:lnTo>
                      <a:pt x="743" y="26"/>
                    </a:lnTo>
                    <a:lnTo>
                      <a:pt x="757" y="43"/>
                    </a:lnTo>
                    <a:lnTo>
                      <a:pt x="766" y="64"/>
                    </a:lnTo>
                    <a:lnTo>
                      <a:pt x="769" y="88"/>
                    </a:lnTo>
                    <a:lnTo>
                      <a:pt x="769" y="111"/>
                    </a:lnTo>
                    <a:lnTo>
                      <a:pt x="820" y="131"/>
                    </a:lnTo>
                    <a:lnTo>
                      <a:pt x="836" y="116"/>
                    </a:lnTo>
                    <a:lnTo>
                      <a:pt x="854" y="101"/>
                    </a:lnTo>
                    <a:lnTo>
                      <a:pt x="876" y="93"/>
                    </a:lnTo>
                    <a:lnTo>
                      <a:pt x="899" y="90"/>
                    </a:lnTo>
                    <a:lnTo>
                      <a:pt x="920" y="93"/>
                    </a:lnTo>
                    <a:lnTo>
                      <a:pt x="941" y="101"/>
                    </a:lnTo>
                    <a:lnTo>
                      <a:pt x="960" y="116"/>
                    </a:lnTo>
                    <a:lnTo>
                      <a:pt x="1079" y="234"/>
                    </a:lnTo>
                    <a:lnTo>
                      <a:pt x="1093" y="253"/>
                    </a:lnTo>
                    <a:lnTo>
                      <a:pt x="1102" y="274"/>
                    </a:lnTo>
                    <a:lnTo>
                      <a:pt x="1104" y="297"/>
                    </a:lnTo>
                    <a:lnTo>
                      <a:pt x="1102" y="319"/>
                    </a:lnTo>
                    <a:lnTo>
                      <a:pt x="1093" y="340"/>
                    </a:lnTo>
                    <a:lnTo>
                      <a:pt x="1079" y="359"/>
                    </a:lnTo>
                    <a:lnTo>
                      <a:pt x="1063" y="376"/>
                    </a:lnTo>
                    <a:lnTo>
                      <a:pt x="1083" y="426"/>
                    </a:lnTo>
                    <a:lnTo>
                      <a:pt x="1106" y="426"/>
                    </a:lnTo>
                    <a:lnTo>
                      <a:pt x="1130" y="429"/>
                    </a:lnTo>
                    <a:lnTo>
                      <a:pt x="1152" y="437"/>
                    </a:lnTo>
                    <a:lnTo>
                      <a:pt x="1169" y="451"/>
                    </a:lnTo>
                    <a:lnTo>
                      <a:pt x="1183" y="469"/>
                    </a:lnTo>
                    <a:lnTo>
                      <a:pt x="1192" y="490"/>
                    </a:lnTo>
                    <a:lnTo>
                      <a:pt x="1194" y="514"/>
                    </a:lnTo>
                    <a:lnTo>
                      <a:pt x="1194" y="682"/>
                    </a:lnTo>
                    <a:lnTo>
                      <a:pt x="1192" y="704"/>
                    </a:lnTo>
                    <a:lnTo>
                      <a:pt x="1183" y="726"/>
                    </a:lnTo>
                    <a:lnTo>
                      <a:pt x="1169" y="743"/>
                    </a:lnTo>
                    <a:lnTo>
                      <a:pt x="1152" y="757"/>
                    </a:lnTo>
                    <a:lnTo>
                      <a:pt x="1130" y="766"/>
                    </a:lnTo>
                    <a:lnTo>
                      <a:pt x="1106" y="770"/>
                    </a:lnTo>
                    <a:lnTo>
                      <a:pt x="1083" y="770"/>
                    </a:lnTo>
                    <a:lnTo>
                      <a:pt x="1063" y="820"/>
                    </a:lnTo>
                    <a:lnTo>
                      <a:pt x="1079" y="836"/>
                    </a:lnTo>
                    <a:lnTo>
                      <a:pt x="1093" y="854"/>
                    </a:lnTo>
                    <a:lnTo>
                      <a:pt x="1102" y="876"/>
                    </a:lnTo>
                    <a:lnTo>
                      <a:pt x="1104" y="899"/>
                    </a:lnTo>
                    <a:lnTo>
                      <a:pt x="1102" y="922"/>
                    </a:lnTo>
                    <a:lnTo>
                      <a:pt x="1093" y="942"/>
                    </a:lnTo>
                    <a:lnTo>
                      <a:pt x="1079" y="962"/>
                    </a:lnTo>
                    <a:lnTo>
                      <a:pt x="960" y="1079"/>
                    </a:lnTo>
                    <a:lnTo>
                      <a:pt x="941" y="1095"/>
                    </a:lnTo>
                    <a:lnTo>
                      <a:pt x="920" y="1103"/>
                    </a:lnTo>
                    <a:lnTo>
                      <a:pt x="899" y="1106"/>
                    </a:lnTo>
                    <a:lnTo>
                      <a:pt x="876" y="1103"/>
                    </a:lnTo>
                    <a:lnTo>
                      <a:pt x="854" y="1095"/>
                    </a:lnTo>
                    <a:lnTo>
                      <a:pt x="836" y="1079"/>
                    </a:lnTo>
                    <a:lnTo>
                      <a:pt x="820" y="1063"/>
                    </a:lnTo>
                    <a:lnTo>
                      <a:pt x="769" y="1085"/>
                    </a:lnTo>
                    <a:lnTo>
                      <a:pt x="769" y="1107"/>
                    </a:lnTo>
                    <a:lnTo>
                      <a:pt x="766" y="1130"/>
                    </a:lnTo>
                    <a:lnTo>
                      <a:pt x="757" y="1152"/>
                    </a:lnTo>
                    <a:lnTo>
                      <a:pt x="743" y="1169"/>
                    </a:lnTo>
                    <a:lnTo>
                      <a:pt x="726" y="1183"/>
                    </a:lnTo>
                    <a:lnTo>
                      <a:pt x="704" y="1192"/>
                    </a:lnTo>
                    <a:lnTo>
                      <a:pt x="681" y="1196"/>
                    </a:lnTo>
                    <a:lnTo>
                      <a:pt x="513" y="1196"/>
                    </a:lnTo>
                    <a:lnTo>
                      <a:pt x="490" y="1192"/>
                    </a:lnTo>
                    <a:lnTo>
                      <a:pt x="468" y="1183"/>
                    </a:lnTo>
                    <a:lnTo>
                      <a:pt x="451" y="1169"/>
                    </a:lnTo>
                    <a:lnTo>
                      <a:pt x="437" y="1152"/>
                    </a:lnTo>
                    <a:lnTo>
                      <a:pt x="428" y="1130"/>
                    </a:lnTo>
                    <a:lnTo>
                      <a:pt x="426" y="1107"/>
                    </a:lnTo>
                    <a:lnTo>
                      <a:pt x="426" y="1085"/>
                    </a:lnTo>
                    <a:lnTo>
                      <a:pt x="374" y="1063"/>
                    </a:lnTo>
                    <a:lnTo>
                      <a:pt x="358" y="1079"/>
                    </a:lnTo>
                    <a:lnTo>
                      <a:pt x="340" y="1095"/>
                    </a:lnTo>
                    <a:lnTo>
                      <a:pt x="318" y="1103"/>
                    </a:lnTo>
                    <a:lnTo>
                      <a:pt x="296" y="1106"/>
                    </a:lnTo>
                    <a:lnTo>
                      <a:pt x="274" y="1103"/>
                    </a:lnTo>
                    <a:lnTo>
                      <a:pt x="253" y="1095"/>
                    </a:lnTo>
                    <a:lnTo>
                      <a:pt x="234" y="1079"/>
                    </a:lnTo>
                    <a:lnTo>
                      <a:pt x="115" y="962"/>
                    </a:lnTo>
                    <a:lnTo>
                      <a:pt x="101" y="942"/>
                    </a:lnTo>
                    <a:lnTo>
                      <a:pt x="93" y="922"/>
                    </a:lnTo>
                    <a:lnTo>
                      <a:pt x="90" y="899"/>
                    </a:lnTo>
                    <a:lnTo>
                      <a:pt x="93" y="876"/>
                    </a:lnTo>
                    <a:lnTo>
                      <a:pt x="101" y="854"/>
                    </a:lnTo>
                    <a:lnTo>
                      <a:pt x="115" y="836"/>
                    </a:lnTo>
                    <a:lnTo>
                      <a:pt x="131" y="820"/>
                    </a:lnTo>
                    <a:lnTo>
                      <a:pt x="110" y="770"/>
                    </a:lnTo>
                    <a:lnTo>
                      <a:pt x="87" y="770"/>
                    </a:lnTo>
                    <a:lnTo>
                      <a:pt x="64" y="766"/>
                    </a:lnTo>
                    <a:lnTo>
                      <a:pt x="43" y="757"/>
                    </a:lnTo>
                    <a:lnTo>
                      <a:pt x="25" y="743"/>
                    </a:lnTo>
                    <a:lnTo>
                      <a:pt x="11" y="726"/>
                    </a:lnTo>
                    <a:lnTo>
                      <a:pt x="3" y="704"/>
                    </a:lnTo>
                    <a:lnTo>
                      <a:pt x="0" y="682"/>
                    </a:lnTo>
                    <a:lnTo>
                      <a:pt x="0" y="514"/>
                    </a:lnTo>
                    <a:lnTo>
                      <a:pt x="3" y="490"/>
                    </a:lnTo>
                    <a:lnTo>
                      <a:pt x="11" y="469"/>
                    </a:lnTo>
                    <a:lnTo>
                      <a:pt x="25" y="451"/>
                    </a:lnTo>
                    <a:lnTo>
                      <a:pt x="43" y="437"/>
                    </a:lnTo>
                    <a:lnTo>
                      <a:pt x="64" y="429"/>
                    </a:lnTo>
                    <a:lnTo>
                      <a:pt x="87" y="426"/>
                    </a:lnTo>
                    <a:lnTo>
                      <a:pt x="110" y="426"/>
                    </a:lnTo>
                    <a:lnTo>
                      <a:pt x="131" y="376"/>
                    </a:lnTo>
                    <a:lnTo>
                      <a:pt x="115" y="359"/>
                    </a:lnTo>
                    <a:lnTo>
                      <a:pt x="101" y="340"/>
                    </a:lnTo>
                    <a:lnTo>
                      <a:pt x="93" y="319"/>
                    </a:lnTo>
                    <a:lnTo>
                      <a:pt x="90" y="297"/>
                    </a:lnTo>
                    <a:lnTo>
                      <a:pt x="93" y="274"/>
                    </a:lnTo>
                    <a:lnTo>
                      <a:pt x="101" y="253"/>
                    </a:lnTo>
                    <a:lnTo>
                      <a:pt x="115" y="234"/>
                    </a:lnTo>
                    <a:lnTo>
                      <a:pt x="234" y="116"/>
                    </a:lnTo>
                    <a:lnTo>
                      <a:pt x="253" y="101"/>
                    </a:lnTo>
                    <a:lnTo>
                      <a:pt x="274" y="93"/>
                    </a:lnTo>
                    <a:lnTo>
                      <a:pt x="296" y="90"/>
                    </a:lnTo>
                    <a:lnTo>
                      <a:pt x="318" y="93"/>
                    </a:lnTo>
                    <a:lnTo>
                      <a:pt x="340" y="101"/>
                    </a:lnTo>
                    <a:lnTo>
                      <a:pt x="358" y="116"/>
                    </a:lnTo>
                    <a:lnTo>
                      <a:pt x="374" y="131"/>
                    </a:lnTo>
                    <a:lnTo>
                      <a:pt x="426" y="111"/>
                    </a:lnTo>
                    <a:lnTo>
                      <a:pt x="426" y="88"/>
                    </a:lnTo>
                    <a:lnTo>
                      <a:pt x="428" y="64"/>
                    </a:lnTo>
                    <a:lnTo>
                      <a:pt x="437" y="43"/>
                    </a:lnTo>
                    <a:lnTo>
                      <a:pt x="451" y="26"/>
                    </a:lnTo>
                    <a:lnTo>
                      <a:pt x="468" y="11"/>
                    </a:lnTo>
                    <a:lnTo>
                      <a:pt x="490" y="3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96" name="Group 95"/>
          <p:cNvGrpSpPr/>
          <p:nvPr/>
        </p:nvGrpSpPr>
        <p:grpSpPr>
          <a:xfrm>
            <a:off x="148422" y="3888714"/>
            <a:ext cx="727019" cy="533587"/>
            <a:chOff x="148422" y="3578812"/>
            <a:chExt cx="727019" cy="533587"/>
          </a:xfrm>
        </p:grpSpPr>
        <p:sp>
          <p:nvSpPr>
            <p:cNvPr id="103" name="Rectangle 17"/>
            <p:cNvSpPr>
              <a:spLocks/>
            </p:cNvSpPr>
            <p:nvPr/>
          </p:nvSpPr>
          <p:spPr bwMode="auto">
            <a:xfrm>
              <a:off x="148422" y="3835400"/>
              <a:ext cx="7270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Социальные сети</a:t>
              </a:r>
            </a:p>
          </p:txBody>
        </p:sp>
        <p:grpSp>
          <p:nvGrpSpPr>
            <p:cNvPr id="121" name="Group 16"/>
            <p:cNvGrpSpPr>
              <a:grpSpLocks noChangeAspect="1"/>
            </p:cNvGrpSpPr>
            <p:nvPr/>
          </p:nvGrpSpPr>
          <p:grpSpPr bwMode="auto">
            <a:xfrm>
              <a:off x="389395" y="3578812"/>
              <a:ext cx="259829" cy="259829"/>
              <a:chOff x="-783" y="2303"/>
              <a:chExt cx="491" cy="491"/>
            </a:xfrm>
            <a:solidFill>
              <a:schemeClr val="bg1"/>
            </a:solidFill>
          </p:grpSpPr>
          <p:sp>
            <p:nvSpPr>
              <p:cNvPr id="122" name="Freeform 18"/>
              <p:cNvSpPr>
                <a:spLocks/>
              </p:cNvSpPr>
              <p:nvPr/>
            </p:nvSpPr>
            <p:spPr bwMode="auto">
              <a:xfrm>
                <a:off x="-415" y="2395"/>
                <a:ext cx="36" cy="29"/>
              </a:xfrm>
              <a:custGeom>
                <a:avLst/>
                <a:gdLst>
                  <a:gd name="T0" fmla="*/ 131 w 252"/>
                  <a:gd name="T1" fmla="*/ 0 h 201"/>
                  <a:gd name="T2" fmla="*/ 146 w 252"/>
                  <a:gd name="T3" fmla="*/ 2 h 201"/>
                  <a:gd name="T4" fmla="*/ 160 w 252"/>
                  <a:gd name="T5" fmla="*/ 5 h 201"/>
                  <a:gd name="T6" fmla="*/ 173 w 252"/>
                  <a:gd name="T7" fmla="*/ 9 h 201"/>
                  <a:gd name="T8" fmla="*/ 181 w 252"/>
                  <a:gd name="T9" fmla="*/ 10 h 201"/>
                  <a:gd name="T10" fmla="*/ 199 w 252"/>
                  <a:gd name="T11" fmla="*/ 22 h 201"/>
                  <a:gd name="T12" fmla="*/ 217 w 252"/>
                  <a:gd name="T13" fmla="*/ 35 h 201"/>
                  <a:gd name="T14" fmla="*/ 232 w 252"/>
                  <a:gd name="T15" fmla="*/ 48 h 201"/>
                  <a:gd name="T16" fmla="*/ 244 w 252"/>
                  <a:gd name="T17" fmla="*/ 63 h 201"/>
                  <a:gd name="T18" fmla="*/ 252 w 252"/>
                  <a:gd name="T19" fmla="*/ 80 h 201"/>
                  <a:gd name="T20" fmla="*/ 252 w 252"/>
                  <a:gd name="T21" fmla="*/ 101 h 201"/>
                  <a:gd name="T22" fmla="*/ 251 w 252"/>
                  <a:gd name="T23" fmla="*/ 120 h 201"/>
                  <a:gd name="T24" fmla="*/ 247 w 252"/>
                  <a:gd name="T25" fmla="*/ 137 h 201"/>
                  <a:gd name="T26" fmla="*/ 240 w 252"/>
                  <a:gd name="T27" fmla="*/ 153 h 201"/>
                  <a:gd name="T28" fmla="*/ 231 w 252"/>
                  <a:gd name="T29" fmla="*/ 167 h 201"/>
                  <a:gd name="T30" fmla="*/ 217 w 252"/>
                  <a:gd name="T31" fmla="*/ 179 h 201"/>
                  <a:gd name="T32" fmla="*/ 199 w 252"/>
                  <a:gd name="T33" fmla="*/ 188 h 201"/>
                  <a:gd name="T34" fmla="*/ 178 w 252"/>
                  <a:gd name="T35" fmla="*/ 195 h 201"/>
                  <a:gd name="T36" fmla="*/ 152 w 252"/>
                  <a:gd name="T37" fmla="*/ 199 h 201"/>
                  <a:gd name="T38" fmla="*/ 121 w 252"/>
                  <a:gd name="T39" fmla="*/ 201 h 201"/>
                  <a:gd name="T40" fmla="*/ 95 w 252"/>
                  <a:gd name="T41" fmla="*/ 199 h 201"/>
                  <a:gd name="T42" fmla="*/ 73 w 252"/>
                  <a:gd name="T43" fmla="*/ 192 h 201"/>
                  <a:gd name="T44" fmla="*/ 51 w 252"/>
                  <a:gd name="T45" fmla="*/ 182 h 201"/>
                  <a:gd name="T46" fmla="*/ 34 w 252"/>
                  <a:gd name="T47" fmla="*/ 169 h 201"/>
                  <a:gd name="T48" fmla="*/ 19 w 252"/>
                  <a:gd name="T49" fmla="*/ 154 h 201"/>
                  <a:gd name="T50" fmla="*/ 9 w 252"/>
                  <a:gd name="T51" fmla="*/ 137 h 201"/>
                  <a:gd name="T52" fmla="*/ 2 w 252"/>
                  <a:gd name="T53" fmla="*/ 119 h 201"/>
                  <a:gd name="T54" fmla="*/ 0 w 252"/>
                  <a:gd name="T55" fmla="*/ 101 h 201"/>
                  <a:gd name="T56" fmla="*/ 3 w 252"/>
                  <a:gd name="T57" fmla="*/ 79 h 201"/>
                  <a:gd name="T58" fmla="*/ 11 w 252"/>
                  <a:gd name="T59" fmla="*/ 60 h 201"/>
                  <a:gd name="T60" fmla="*/ 22 w 252"/>
                  <a:gd name="T61" fmla="*/ 43 h 201"/>
                  <a:gd name="T62" fmla="*/ 40 w 252"/>
                  <a:gd name="T63" fmla="*/ 28 h 201"/>
                  <a:gd name="T64" fmla="*/ 59 w 252"/>
                  <a:gd name="T65" fmla="*/ 16 h 201"/>
                  <a:gd name="T66" fmla="*/ 80 w 252"/>
                  <a:gd name="T67" fmla="*/ 7 h 201"/>
                  <a:gd name="T68" fmla="*/ 105 w 252"/>
                  <a:gd name="T69" fmla="*/ 2 h 201"/>
                  <a:gd name="T70" fmla="*/ 131 w 252"/>
                  <a:gd name="T71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52" h="201">
                    <a:moveTo>
                      <a:pt x="131" y="0"/>
                    </a:moveTo>
                    <a:lnTo>
                      <a:pt x="146" y="2"/>
                    </a:lnTo>
                    <a:lnTo>
                      <a:pt x="160" y="5"/>
                    </a:lnTo>
                    <a:lnTo>
                      <a:pt x="173" y="9"/>
                    </a:lnTo>
                    <a:lnTo>
                      <a:pt x="181" y="10"/>
                    </a:lnTo>
                    <a:lnTo>
                      <a:pt x="199" y="22"/>
                    </a:lnTo>
                    <a:lnTo>
                      <a:pt x="217" y="35"/>
                    </a:lnTo>
                    <a:lnTo>
                      <a:pt x="232" y="48"/>
                    </a:lnTo>
                    <a:lnTo>
                      <a:pt x="244" y="63"/>
                    </a:lnTo>
                    <a:lnTo>
                      <a:pt x="252" y="80"/>
                    </a:lnTo>
                    <a:lnTo>
                      <a:pt x="252" y="101"/>
                    </a:lnTo>
                    <a:lnTo>
                      <a:pt x="251" y="120"/>
                    </a:lnTo>
                    <a:lnTo>
                      <a:pt x="247" y="137"/>
                    </a:lnTo>
                    <a:lnTo>
                      <a:pt x="240" y="153"/>
                    </a:lnTo>
                    <a:lnTo>
                      <a:pt x="231" y="167"/>
                    </a:lnTo>
                    <a:lnTo>
                      <a:pt x="217" y="179"/>
                    </a:lnTo>
                    <a:lnTo>
                      <a:pt x="199" y="188"/>
                    </a:lnTo>
                    <a:lnTo>
                      <a:pt x="178" y="195"/>
                    </a:lnTo>
                    <a:lnTo>
                      <a:pt x="152" y="199"/>
                    </a:lnTo>
                    <a:lnTo>
                      <a:pt x="121" y="201"/>
                    </a:lnTo>
                    <a:lnTo>
                      <a:pt x="95" y="199"/>
                    </a:lnTo>
                    <a:lnTo>
                      <a:pt x="73" y="192"/>
                    </a:lnTo>
                    <a:lnTo>
                      <a:pt x="51" y="182"/>
                    </a:lnTo>
                    <a:lnTo>
                      <a:pt x="34" y="169"/>
                    </a:lnTo>
                    <a:lnTo>
                      <a:pt x="19" y="154"/>
                    </a:lnTo>
                    <a:lnTo>
                      <a:pt x="9" y="137"/>
                    </a:lnTo>
                    <a:lnTo>
                      <a:pt x="2" y="119"/>
                    </a:lnTo>
                    <a:lnTo>
                      <a:pt x="0" y="101"/>
                    </a:lnTo>
                    <a:lnTo>
                      <a:pt x="3" y="79"/>
                    </a:lnTo>
                    <a:lnTo>
                      <a:pt x="11" y="60"/>
                    </a:lnTo>
                    <a:lnTo>
                      <a:pt x="22" y="43"/>
                    </a:lnTo>
                    <a:lnTo>
                      <a:pt x="40" y="28"/>
                    </a:lnTo>
                    <a:lnTo>
                      <a:pt x="59" y="16"/>
                    </a:lnTo>
                    <a:lnTo>
                      <a:pt x="80" y="7"/>
                    </a:lnTo>
                    <a:lnTo>
                      <a:pt x="105" y="2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3" name="Freeform 19"/>
              <p:cNvSpPr>
                <a:spLocks/>
              </p:cNvSpPr>
              <p:nvPr/>
            </p:nvSpPr>
            <p:spPr bwMode="auto">
              <a:xfrm>
                <a:off x="-409" y="2347"/>
                <a:ext cx="25" cy="31"/>
              </a:xfrm>
              <a:custGeom>
                <a:avLst/>
                <a:gdLst>
                  <a:gd name="T0" fmla="*/ 73 w 175"/>
                  <a:gd name="T1" fmla="*/ 0 h 220"/>
                  <a:gd name="T2" fmla="*/ 94 w 175"/>
                  <a:gd name="T3" fmla="*/ 3 h 220"/>
                  <a:gd name="T4" fmla="*/ 113 w 175"/>
                  <a:gd name="T5" fmla="*/ 11 h 220"/>
                  <a:gd name="T6" fmla="*/ 130 w 175"/>
                  <a:gd name="T7" fmla="*/ 25 h 220"/>
                  <a:gd name="T8" fmla="*/ 145 w 175"/>
                  <a:gd name="T9" fmla="*/ 42 h 220"/>
                  <a:gd name="T10" fmla="*/ 158 w 175"/>
                  <a:gd name="T11" fmla="*/ 62 h 220"/>
                  <a:gd name="T12" fmla="*/ 168 w 175"/>
                  <a:gd name="T13" fmla="*/ 85 h 220"/>
                  <a:gd name="T14" fmla="*/ 173 w 175"/>
                  <a:gd name="T15" fmla="*/ 110 h 220"/>
                  <a:gd name="T16" fmla="*/ 175 w 175"/>
                  <a:gd name="T17" fmla="*/ 136 h 220"/>
                  <a:gd name="T18" fmla="*/ 171 w 175"/>
                  <a:gd name="T19" fmla="*/ 158 h 220"/>
                  <a:gd name="T20" fmla="*/ 163 w 175"/>
                  <a:gd name="T21" fmla="*/ 179 h 220"/>
                  <a:gd name="T22" fmla="*/ 151 w 175"/>
                  <a:gd name="T23" fmla="*/ 196 h 220"/>
                  <a:gd name="T24" fmla="*/ 137 w 175"/>
                  <a:gd name="T25" fmla="*/ 210 h 220"/>
                  <a:gd name="T26" fmla="*/ 121 w 175"/>
                  <a:gd name="T27" fmla="*/ 218 h 220"/>
                  <a:gd name="T28" fmla="*/ 104 w 175"/>
                  <a:gd name="T29" fmla="*/ 220 h 220"/>
                  <a:gd name="T30" fmla="*/ 82 w 175"/>
                  <a:gd name="T31" fmla="*/ 218 h 220"/>
                  <a:gd name="T32" fmla="*/ 63 w 175"/>
                  <a:gd name="T33" fmla="*/ 210 h 220"/>
                  <a:gd name="T34" fmla="*/ 46 w 175"/>
                  <a:gd name="T35" fmla="*/ 196 h 220"/>
                  <a:gd name="T36" fmla="*/ 31 w 175"/>
                  <a:gd name="T37" fmla="*/ 179 h 220"/>
                  <a:gd name="T38" fmla="*/ 18 w 175"/>
                  <a:gd name="T39" fmla="*/ 158 h 220"/>
                  <a:gd name="T40" fmla="*/ 9 w 175"/>
                  <a:gd name="T41" fmla="*/ 136 h 220"/>
                  <a:gd name="T42" fmla="*/ 3 w 175"/>
                  <a:gd name="T43" fmla="*/ 110 h 220"/>
                  <a:gd name="T44" fmla="*/ 0 w 175"/>
                  <a:gd name="T45" fmla="*/ 89 h 220"/>
                  <a:gd name="T46" fmla="*/ 2 w 175"/>
                  <a:gd name="T47" fmla="*/ 67 h 220"/>
                  <a:gd name="T48" fmla="*/ 7 w 175"/>
                  <a:gd name="T49" fmla="*/ 49 h 220"/>
                  <a:gd name="T50" fmla="*/ 14 w 175"/>
                  <a:gd name="T51" fmla="*/ 32 h 220"/>
                  <a:gd name="T52" fmla="*/ 26 w 175"/>
                  <a:gd name="T53" fmla="*/ 19 h 220"/>
                  <a:gd name="T54" fmla="*/ 39 w 175"/>
                  <a:gd name="T55" fmla="*/ 9 h 220"/>
                  <a:gd name="T56" fmla="*/ 55 w 175"/>
                  <a:gd name="T57" fmla="*/ 2 h 220"/>
                  <a:gd name="T58" fmla="*/ 73 w 175"/>
                  <a:gd name="T59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75" h="220">
                    <a:moveTo>
                      <a:pt x="73" y="0"/>
                    </a:moveTo>
                    <a:lnTo>
                      <a:pt x="94" y="3"/>
                    </a:lnTo>
                    <a:lnTo>
                      <a:pt x="113" y="11"/>
                    </a:lnTo>
                    <a:lnTo>
                      <a:pt x="130" y="25"/>
                    </a:lnTo>
                    <a:lnTo>
                      <a:pt x="145" y="42"/>
                    </a:lnTo>
                    <a:lnTo>
                      <a:pt x="158" y="62"/>
                    </a:lnTo>
                    <a:lnTo>
                      <a:pt x="168" y="85"/>
                    </a:lnTo>
                    <a:lnTo>
                      <a:pt x="173" y="110"/>
                    </a:lnTo>
                    <a:lnTo>
                      <a:pt x="175" y="136"/>
                    </a:lnTo>
                    <a:lnTo>
                      <a:pt x="171" y="158"/>
                    </a:lnTo>
                    <a:lnTo>
                      <a:pt x="163" y="179"/>
                    </a:lnTo>
                    <a:lnTo>
                      <a:pt x="151" y="196"/>
                    </a:lnTo>
                    <a:lnTo>
                      <a:pt x="137" y="210"/>
                    </a:lnTo>
                    <a:lnTo>
                      <a:pt x="121" y="218"/>
                    </a:lnTo>
                    <a:lnTo>
                      <a:pt x="104" y="220"/>
                    </a:lnTo>
                    <a:lnTo>
                      <a:pt x="82" y="218"/>
                    </a:lnTo>
                    <a:lnTo>
                      <a:pt x="63" y="210"/>
                    </a:lnTo>
                    <a:lnTo>
                      <a:pt x="46" y="196"/>
                    </a:lnTo>
                    <a:lnTo>
                      <a:pt x="31" y="179"/>
                    </a:lnTo>
                    <a:lnTo>
                      <a:pt x="18" y="158"/>
                    </a:lnTo>
                    <a:lnTo>
                      <a:pt x="9" y="136"/>
                    </a:lnTo>
                    <a:lnTo>
                      <a:pt x="3" y="110"/>
                    </a:lnTo>
                    <a:lnTo>
                      <a:pt x="0" y="89"/>
                    </a:lnTo>
                    <a:lnTo>
                      <a:pt x="2" y="67"/>
                    </a:lnTo>
                    <a:lnTo>
                      <a:pt x="7" y="49"/>
                    </a:lnTo>
                    <a:lnTo>
                      <a:pt x="14" y="32"/>
                    </a:lnTo>
                    <a:lnTo>
                      <a:pt x="26" y="19"/>
                    </a:lnTo>
                    <a:lnTo>
                      <a:pt x="39" y="9"/>
                    </a:lnTo>
                    <a:lnTo>
                      <a:pt x="55" y="2"/>
                    </a:lnTo>
                    <a:lnTo>
                      <a:pt x="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4" name="Freeform 20"/>
              <p:cNvSpPr>
                <a:spLocks noEditPoints="1"/>
              </p:cNvSpPr>
              <p:nvPr/>
            </p:nvSpPr>
            <p:spPr bwMode="auto">
              <a:xfrm>
                <a:off x="-461" y="2303"/>
                <a:ext cx="167" cy="167"/>
              </a:xfrm>
              <a:custGeom>
                <a:avLst/>
                <a:gdLst>
                  <a:gd name="T0" fmla="*/ 394 w 1169"/>
                  <a:gd name="T1" fmla="*/ 292 h 1165"/>
                  <a:gd name="T2" fmla="*/ 322 w 1169"/>
                  <a:gd name="T3" fmla="*/ 340 h 1165"/>
                  <a:gd name="T4" fmla="*/ 292 w 1169"/>
                  <a:gd name="T5" fmla="*/ 412 h 1165"/>
                  <a:gd name="T6" fmla="*/ 315 w 1169"/>
                  <a:gd name="T7" fmla="*/ 485 h 1165"/>
                  <a:gd name="T8" fmla="*/ 377 w 1169"/>
                  <a:gd name="T9" fmla="*/ 532 h 1165"/>
                  <a:gd name="T10" fmla="*/ 453 w 1169"/>
                  <a:gd name="T11" fmla="*/ 543 h 1165"/>
                  <a:gd name="T12" fmla="*/ 443 w 1169"/>
                  <a:gd name="T13" fmla="*/ 572 h 1165"/>
                  <a:gd name="T14" fmla="*/ 452 w 1169"/>
                  <a:gd name="T15" fmla="*/ 623 h 1165"/>
                  <a:gd name="T16" fmla="*/ 386 w 1169"/>
                  <a:gd name="T17" fmla="*/ 646 h 1165"/>
                  <a:gd name="T18" fmla="*/ 294 w 1169"/>
                  <a:gd name="T19" fmla="*/ 681 h 1165"/>
                  <a:gd name="T20" fmla="*/ 245 w 1169"/>
                  <a:gd name="T21" fmla="*/ 748 h 1165"/>
                  <a:gd name="T22" fmla="*/ 252 w 1169"/>
                  <a:gd name="T23" fmla="*/ 812 h 1165"/>
                  <a:gd name="T24" fmla="*/ 299 w 1169"/>
                  <a:gd name="T25" fmla="*/ 855 h 1165"/>
                  <a:gd name="T26" fmla="*/ 374 w 1169"/>
                  <a:gd name="T27" fmla="*/ 879 h 1165"/>
                  <a:gd name="T28" fmla="*/ 468 w 1169"/>
                  <a:gd name="T29" fmla="*/ 882 h 1165"/>
                  <a:gd name="T30" fmla="*/ 549 w 1169"/>
                  <a:gd name="T31" fmla="*/ 858 h 1165"/>
                  <a:gd name="T32" fmla="*/ 598 w 1169"/>
                  <a:gd name="T33" fmla="*/ 813 h 1165"/>
                  <a:gd name="T34" fmla="*/ 614 w 1169"/>
                  <a:gd name="T35" fmla="*/ 753 h 1165"/>
                  <a:gd name="T36" fmla="*/ 603 w 1169"/>
                  <a:gd name="T37" fmla="*/ 686 h 1165"/>
                  <a:gd name="T38" fmla="*/ 554 w 1169"/>
                  <a:gd name="T39" fmla="*/ 633 h 1165"/>
                  <a:gd name="T40" fmla="*/ 521 w 1169"/>
                  <a:gd name="T41" fmla="*/ 607 h 1165"/>
                  <a:gd name="T42" fmla="*/ 503 w 1169"/>
                  <a:gd name="T43" fmla="*/ 572 h 1165"/>
                  <a:gd name="T44" fmla="*/ 516 w 1169"/>
                  <a:gd name="T45" fmla="*/ 544 h 1165"/>
                  <a:gd name="T46" fmla="*/ 560 w 1169"/>
                  <a:gd name="T47" fmla="*/ 504 h 1165"/>
                  <a:gd name="T48" fmla="*/ 592 w 1169"/>
                  <a:gd name="T49" fmla="*/ 445 h 1165"/>
                  <a:gd name="T50" fmla="*/ 589 w 1169"/>
                  <a:gd name="T51" fmla="*/ 380 h 1165"/>
                  <a:gd name="T52" fmla="*/ 563 w 1169"/>
                  <a:gd name="T53" fmla="*/ 330 h 1165"/>
                  <a:gd name="T54" fmla="*/ 594 w 1169"/>
                  <a:gd name="T55" fmla="*/ 312 h 1165"/>
                  <a:gd name="T56" fmla="*/ 806 w 1169"/>
                  <a:gd name="T57" fmla="*/ 272 h 1165"/>
                  <a:gd name="T58" fmla="*/ 694 w 1169"/>
                  <a:gd name="T59" fmla="*/ 423 h 1165"/>
                  <a:gd name="T60" fmla="*/ 846 w 1169"/>
                  <a:gd name="T61" fmla="*/ 533 h 1165"/>
                  <a:gd name="T62" fmla="*/ 956 w 1169"/>
                  <a:gd name="T63" fmla="*/ 382 h 1165"/>
                  <a:gd name="T64" fmla="*/ 806 w 1169"/>
                  <a:gd name="T65" fmla="*/ 272 h 1165"/>
                  <a:gd name="T66" fmla="*/ 725 w 1169"/>
                  <a:gd name="T67" fmla="*/ 13 h 1165"/>
                  <a:gd name="T68" fmla="*/ 890 w 1169"/>
                  <a:gd name="T69" fmla="*/ 77 h 1165"/>
                  <a:gd name="T70" fmla="*/ 1024 w 1169"/>
                  <a:gd name="T71" fmla="*/ 185 h 1165"/>
                  <a:gd name="T72" fmla="*/ 1118 w 1169"/>
                  <a:gd name="T73" fmla="*/ 331 h 1165"/>
                  <a:gd name="T74" fmla="*/ 1166 w 1169"/>
                  <a:gd name="T75" fmla="*/ 502 h 1165"/>
                  <a:gd name="T76" fmla="*/ 1156 w 1169"/>
                  <a:gd name="T77" fmla="*/ 684 h 1165"/>
                  <a:gd name="T78" fmla="*/ 1092 w 1169"/>
                  <a:gd name="T79" fmla="*/ 847 h 1165"/>
                  <a:gd name="T80" fmla="*/ 983 w 1169"/>
                  <a:gd name="T81" fmla="*/ 980 h 1165"/>
                  <a:gd name="T82" fmla="*/ 837 w 1169"/>
                  <a:gd name="T83" fmla="*/ 1075 h 1165"/>
                  <a:gd name="T84" fmla="*/ 666 w 1169"/>
                  <a:gd name="T85" fmla="*/ 1122 h 1165"/>
                  <a:gd name="T86" fmla="*/ 495 w 1169"/>
                  <a:gd name="T87" fmla="*/ 1113 h 1165"/>
                  <a:gd name="T88" fmla="*/ 342 w 1169"/>
                  <a:gd name="T89" fmla="*/ 1055 h 1165"/>
                  <a:gd name="T90" fmla="*/ 80 w 1169"/>
                  <a:gd name="T91" fmla="*/ 1165 h 1165"/>
                  <a:gd name="T92" fmla="*/ 22 w 1169"/>
                  <a:gd name="T93" fmla="*/ 1107 h 1165"/>
                  <a:gd name="T94" fmla="*/ 143 w 1169"/>
                  <a:gd name="T95" fmla="*/ 879 h 1165"/>
                  <a:gd name="T96" fmla="*/ 75 w 1169"/>
                  <a:gd name="T97" fmla="*/ 757 h 1165"/>
                  <a:gd name="T98" fmla="*/ 43 w 1169"/>
                  <a:gd name="T99" fmla="*/ 614 h 1165"/>
                  <a:gd name="T100" fmla="*/ 53 w 1169"/>
                  <a:gd name="T101" fmla="*/ 442 h 1165"/>
                  <a:gd name="T102" fmla="*/ 117 w 1169"/>
                  <a:gd name="T103" fmla="*/ 278 h 1165"/>
                  <a:gd name="T104" fmla="*/ 226 w 1169"/>
                  <a:gd name="T105" fmla="*/ 145 h 1165"/>
                  <a:gd name="T106" fmla="*/ 371 w 1169"/>
                  <a:gd name="T107" fmla="*/ 51 h 1165"/>
                  <a:gd name="T108" fmla="*/ 543 w 1169"/>
                  <a:gd name="T109" fmla="*/ 4 h 1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69" h="1165">
                    <a:moveTo>
                      <a:pt x="453" y="282"/>
                    </a:moveTo>
                    <a:lnTo>
                      <a:pt x="423" y="285"/>
                    </a:lnTo>
                    <a:lnTo>
                      <a:pt x="394" y="292"/>
                    </a:lnTo>
                    <a:lnTo>
                      <a:pt x="367" y="304"/>
                    </a:lnTo>
                    <a:lnTo>
                      <a:pt x="342" y="320"/>
                    </a:lnTo>
                    <a:lnTo>
                      <a:pt x="322" y="340"/>
                    </a:lnTo>
                    <a:lnTo>
                      <a:pt x="306" y="362"/>
                    </a:lnTo>
                    <a:lnTo>
                      <a:pt x="296" y="386"/>
                    </a:lnTo>
                    <a:lnTo>
                      <a:pt x="292" y="412"/>
                    </a:lnTo>
                    <a:lnTo>
                      <a:pt x="295" y="438"/>
                    </a:lnTo>
                    <a:lnTo>
                      <a:pt x="302" y="462"/>
                    </a:lnTo>
                    <a:lnTo>
                      <a:pt x="315" y="485"/>
                    </a:lnTo>
                    <a:lnTo>
                      <a:pt x="333" y="504"/>
                    </a:lnTo>
                    <a:lnTo>
                      <a:pt x="353" y="520"/>
                    </a:lnTo>
                    <a:lnTo>
                      <a:pt x="377" y="532"/>
                    </a:lnTo>
                    <a:lnTo>
                      <a:pt x="403" y="540"/>
                    </a:lnTo>
                    <a:lnTo>
                      <a:pt x="433" y="543"/>
                    </a:lnTo>
                    <a:lnTo>
                      <a:pt x="453" y="543"/>
                    </a:lnTo>
                    <a:lnTo>
                      <a:pt x="446" y="553"/>
                    </a:lnTo>
                    <a:lnTo>
                      <a:pt x="443" y="563"/>
                    </a:lnTo>
                    <a:lnTo>
                      <a:pt x="443" y="572"/>
                    </a:lnTo>
                    <a:lnTo>
                      <a:pt x="444" y="588"/>
                    </a:lnTo>
                    <a:lnTo>
                      <a:pt x="448" y="605"/>
                    </a:lnTo>
                    <a:lnTo>
                      <a:pt x="452" y="623"/>
                    </a:lnTo>
                    <a:lnTo>
                      <a:pt x="453" y="643"/>
                    </a:lnTo>
                    <a:lnTo>
                      <a:pt x="423" y="643"/>
                    </a:lnTo>
                    <a:lnTo>
                      <a:pt x="386" y="646"/>
                    </a:lnTo>
                    <a:lnTo>
                      <a:pt x="352" y="654"/>
                    </a:lnTo>
                    <a:lnTo>
                      <a:pt x="321" y="665"/>
                    </a:lnTo>
                    <a:lnTo>
                      <a:pt x="294" y="681"/>
                    </a:lnTo>
                    <a:lnTo>
                      <a:pt x="272" y="702"/>
                    </a:lnTo>
                    <a:lnTo>
                      <a:pt x="255" y="723"/>
                    </a:lnTo>
                    <a:lnTo>
                      <a:pt x="245" y="748"/>
                    </a:lnTo>
                    <a:lnTo>
                      <a:pt x="241" y="773"/>
                    </a:lnTo>
                    <a:lnTo>
                      <a:pt x="245" y="794"/>
                    </a:lnTo>
                    <a:lnTo>
                      <a:pt x="252" y="812"/>
                    </a:lnTo>
                    <a:lnTo>
                      <a:pt x="264" y="828"/>
                    </a:lnTo>
                    <a:lnTo>
                      <a:pt x="280" y="843"/>
                    </a:lnTo>
                    <a:lnTo>
                      <a:pt x="299" y="855"/>
                    </a:lnTo>
                    <a:lnTo>
                      <a:pt x="322" y="865"/>
                    </a:lnTo>
                    <a:lnTo>
                      <a:pt x="348" y="873"/>
                    </a:lnTo>
                    <a:lnTo>
                      <a:pt x="374" y="879"/>
                    </a:lnTo>
                    <a:lnTo>
                      <a:pt x="403" y="882"/>
                    </a:lnTo>
                    <a:lnTo>
                      <a:pt x="433" y="884"/>
                    </a:lnTo>
                    <a:lnTo>
                      <a:pt x="468" y="882"/>
                    </a:lnTo>
                    <a:lnTo>
                      <a:pt x="498" y="877"/>
                    </a:lnTo>
                    <a:lnTo>
                      <a:pt x="526" y="869"/>
                    </a:lnTo>
                    <a:lnTo>
                      <a:pt x="549" y="858"/>
                    </a:lnTo>
                    <a:lnTo>
                      <a:pt x="569" y="845"/>
                    </a:lnTo>
                    <a:lnTo>
                      <a:pt x="585" y="830"/>
                    </a:lnTo>
                    <a:lnTo>
                      <a:pt x="598" y="813"/>
                    </a:lnTo>
                    <a:lnTo>
                      <a:pt x="607" y="794"/>
                    </a:lnTo>
                    <a:lnTo>
                      <a:pt x="613" y="775"/>
                    </a:lnTo>
                    <a:lnTo>
                      <a:pt x="614" y="753"/>
                    </a:lnTo>
                    <a:lnTo>
                      <a:pt x="613" y="730"/>
                    </a:lnTo>
                    <a:lnTo>
                      <a:pt x="610" y="706"/>
                    </a:lnTo>
                    <a:lnTo>
                      <a:pt x="603" y="686"/>
                    </a:lnTo>
                    <a:lnTo>
                      <a:pt x="591" y="667"/>
                    </a:lnTo>
                    <a:lnTo>
                      <a:pt x="575" y="649"/>
                    </a:lnTo>
                    <a:lnTo>
                      <a:pt x="554" y="633"/>
                    </a:lnTo>
                    <a:lnTo>
                      <a:pt x="543" y="626"/>
                    </a:lnTo>
                    <a:lnTo>
                      <a:pt x="532" y="617"/>
                    </a:lnTo>
                    <a:lnTo>
                      <a:pt x="521" y="607"/>
                    </a:lnTo>
                    <a:lnTo>
                      <a:pt x="512" y="595"/>
                    </a:lnTo>
                    <a:lnTo>
                      <a:pt x="505" y="583"/>
                    </a:lnTo>
                    <a:lnTo>
                      <a:pt x="503" y="572"/>
                    </a:lnTo>
                    <a:lnTo>
                      <a:pt x="504" y="562"/>
                    </a:lnTo>
                    <a:lnTo>
                      <a:pt x="509" y="552"/>
                    </a:lnTo>
                    <a:lnTo>
                      <a:pt x="516" y="544"/>
                    </a:lnTo>
                    <a:lnTo>
                      <a:pt x="528" y="534"/>
                    </a:lnTo>
                    <a:lnTo>
                      <a:pt x="544" y="522"/>
                    </a:lnTo>
                    <a:lnTo>
                      <a:pt x="560" y="504"/>
                    </a:lnTo>
                    <a:lnTo>
                      <a:pt x="574" y="486"/>
                    </a:lnTo>
                    <a:lnTo>
                      <a:pt x="585" y="467"/>
                    </a:lnTo>
                    <a:lnTo>
                      <a:pt x="592" y="445"/>
                    </a:lnTo>
                    <a:lnTo>
                      <a:pt x="594" y="423"/>
                    </a:lnTo>
                    <a:lnTo>
                      <a:pt x="593" y="401"/>
                    </a:lnTo>
                    <a:lnTo>
                      <a:pt x="589" y="380"/>
                    </a:lnTo>
                    <a:lnTo>
                      <a:pt x="583" y="361"/>
                    </a:lnTo>
                    <a:lnTo>
                      <a:pt x="574" y="344"/>
                    </a:lnTo>
                    <a:lnTo>
                      <a:pt x="563" y="330"/>
                    </a:lnTo>
                    <a:lnTo>
                      <a:pt x="549" y="318"/>
                    </a:lnTo>
                    <a:lnTo>
                      <a:pt x="533" y="312"/>
                    </a:lnTo>
                    <a:lnTo>
                      <a:pt x="594" y="312"/>
                    </a:lnTo>
                    <a:lnTo>
                      <a:pt x="634" y="282"/>
                    </a:lnTo>
                    <a:lnTo>
                      <a:pt x="453" y="282"/>
                    </a:lnTo>
                    <a:close/>
                    <a:moveTo>
                      <a:pt x="806" y="272"/>
                    </a:moveTo>
                    <a:lnTo>
                      <a:pt x="806" y="382"/>
                    </a:lnTo>
                    <a:lnTo>
                      <a:pt x="694" y="382"/>
                    </a:lnTo>
                    <a:lnTo>
                      <a:pt x="694" y="423"/>
                    </a:lnTo>
                    <a:lnTo>
                      <a:pt x="806" y="423"/>
                    </a:lnTo>
                    <a:lnTo>
                      <a:pt x="806" y="533"/>
                    </a:lnTo>
                    <a:lnTo>
                      <a:pt x="846" y="533"/>
                    </a:lnTo>
                    <a:lnTo>
                      <a:pt x="846" y="423"/>
                    </a:lnTo>
                    <a:lnTo>
                      <a:pt x="956" y="423"/>
                    </a:lnTo>
                    <a:lnTo>
                      <a:pt x="956" y="382"/>
                    </a:lnTo>
                    <a:lnTo>
                      <a:pt x="846" y="382"/>
                    </a:lnTo>
                    <a:lnTo>
                      <a:pt x="846" y="272"/>
                    </a:lnTo>
                    <a:lnTo>
                      <a:pt x="806" y="272"/>
                    </a:lnTo>
                    <a:close/>
                    <a:moveTo>
                      <a:pt x="604" y="0"/>
                    </a:moveTo>
                    <a:lnTo>
                      <a:pt x="666" y="4"/>
                    </a:lnTo>
                    <a:lnTo>
                      <a:pt x="725" y="13"/>
                    </a:lnTo>
                    <a:lnTo>
                      <a:pt x="783" y="29"/>
                    </a:lnTo>
                    <a:lnTo>
                      <a:pt x="837" y="51"/>
                    </a:lnTo>
                    <a:lnTo>
                      <a:pt x="890" y="77"/>
                    </a:lnTo>
                    <a:lnTo>
                      <a:pt x="938" y="110"/>
                    </a:lnTo>
                    <a:lnTo>
                      <a:pt x="983" y="145"/>
                    </a:lnTo>
                    <a:lnTo>
                      <a:pt x="1024" y="185"/>
                    </a:lnTo>
                    <a:lnTo>
                      <a:pt x="1060" y="230"/>
                    </a:lnTo>
                    <a:lnTo>
                      <a:pt x="1092" y="278"/>
                    </a:lnTo>
                    <a:lnTo>
                      <a:pt x="1118" y="331"/>
                    </a:lnTo>
                    <a:lnTo>
                      <a:pt x="1140" y="385"/>
                    </a:lnTo>
                    <a:lnTo>
                      <a:pt x="1156" y="442"/>
                    </a:lnTo>
                    <a:lnTo>
                      <a:pt x="1166" y="502"/>
                    </a:lnTo>
                    <a:lnTo>
                      <a:pt x="1169" y="563"/>
                    </a:lnTo>
                    <a:lnTo>
                      <a:pt x="1166" y="624"/>
                    </a:lnTo>
                    <a:lnTo>
                      <a:pt x="1156" y="684"/>
                    </a:lnTo>
                    <a:lnTo>
                      <a:pt x="1140" y="740"/>
                    </a:lnTo>
                    <a:lnTo>
                      <a:pt x="1118" y="795"/>
                    </a:lnTo>
                    <a:lnTo>
                      <a:pt x="1092" y="847"/>
                    </a:lnTo>
                    <a:lnTo>
                      <a:pt x="1060" y="895"/>
                    </a:lnTo>
                    <a:lnTo>
                      <a:pt x="1024" y="939"/>
                    </a:lnTo>
                    <a:lnTo>
                      <a:pt x="983" y="980"/>
                    </a:lnTo>
                    <a:lnTo>
                      <a:pt x="938" y="1016"/>
                    </a:lnTo>
                    <a:lnTo>
                      <a:pt x="890" y="1048"/>
                    </a:lnTo>
                    <a:lnTo>
                      <a:pt x="837" y="1075"/>
                    </a:lnTo>
                    <a:lnTo>
                      <a:pt x="783" y="1096"/>
                    </a:lnTo>
                    <a:lnTo>
                      <a:pt x="725" y="1111"/>
                    </a:lnTo>
                    <a:lnTo>
                      <a:pt x="666" y="1122"/>
                    </a:lnTo>
                    <a:lnTo>
                      <a:pt x="604" y="1125"/>
                    </a:lnTo>
                    <a:lnTo>
                      <a:pt x="548" y="1122"/>
                    </a:lnTo>
                    <a:lnTo>
                      <a:pt x="495" y="1113"/>
                    </a:lnTo>
                    <a:lnTo>
                      <a:pt x="442" y="1098"/>
                    </a:lnTo>
                    <a:lnTo>
                      <a:pt x="392" y="1079"/>
                    </a:lnTo>
                    <a:lnTo>
                      <a:pt x="342" y="1055"/>
                    </a:lnTo>
                    <a:lnTo>
                      <a:pt x="296" y="1027"/>
                    </a:lnTo>
                    <a:lnTo>
                      <a:pt x="251" y="994"/>
                    </a:lnTo>
                    <a:lnTo>
                      <a:pt x="80" y="1165"/>
                    </a:lnTo>
                    <a:lnTo>
                      <a:pt x="63" y="1148"/>
                    </a:lnTo>
                    <a:lnTo>
                      <a:pt x="44" y="1128"/>
                    </a:lnTo>
                    <a:lnTo>
                      <a:pt x="22" y="1107"/>
                    </a:lnTo>
                    <a:lnTo>
                      <a:pt x="0" y="1085"/>
                    </a:lnTo>
                    <a:lnTo>
                      <a:pt x="170" y="915"/>
                    </a:lnTo>
                    <a:lnTo>
                      <a:pt x="143" y="879"/>
                    </a:lnTo>
                    <a:lnTo>
                      <a:pt x="117" y="841"/>
                    </a:lnTo>
                    <a:lnTo>
                      <a:pt x="94" y="800"/>
                    </a:lnTo>
                    <a:lnTo>
                      <a:pt x="75" y="757"/>
                    </a:lnTo>
                    <a:lnTo>
                      <a:pt x="60" y="711"/>
                    </a:lnTo>
                    <a:lnTo>
                      <a:pt x="49" y="664"/>
                    </a:lnTo>
                    <a:lnTo>
                      <a:pt x="43" y="614"/>
                    </a:lnTo>
                    <a:lnTo>
                      <a:pt x="39" y="563"/>
                    </a:lnTo>
                    <a:lnTo>
                      <a:pt x="44" y="502"/>
                    </a:lnTo>
                    <a:lnTo>
                      <a:pt x="53" y="442"/>
                    </a:lnTo>
                    <a:lnTo>
                      <a:pt x="68" y="385"/>
                    </a:lnTo>
                    <a:lnTo>
                      <a:pt x="90" y="331"/>
                    </a:lnTo>
                    <a:lnTo>
                      <a:pt x="117" y="278"/>
                    </a:lnTo>
                    <a:lnTo>
                      <a:pt x="149" y="230"/>
                    </a:lnTo>
                    <a:lnTo>
                      <a:pt x="185" y="185"/>
                    </a:lnTo>
                    <a:lnTo>
                      <a:pt x="226" y="145"/>
                    </a:lnTo>
                    <a:lnTo>
                      <a:pt x="270" y="110"/>
                    </a:lnTo>
                    <a:lnTo>
                      <a:pt x="320" y="77"/>
                    </a:lnTo>
                    <a:lnTo>
                      <a:pt x="371" y="51"/>
                    </a:lnTo>
                    <a:lnTo>
                      <a:pt x="426" y="29"/>
                    </a:lnTo>
                    <a:lnTo>
                      <a:pt x="483" y="13"/>
                    </a:lnTo>
                    <a:lnTo>
                      <a:pt x="543" y="4"/>
                    </a:lnTo>
                    <a:lnTo>
                      <a:pt x="60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5" name="Freeform 21"/>
              <p:cNvSpPr>
                <a:spLocks noEditPoints="1"/>
              </p:cNvSpPr>
              <p:nvPr/>
            </p:nvSpPr>
            <p:spPr bwMode="auto">
              <a:xfrm>
                <a:off x="-459" y="2628"/>
                <a:ext cx="167" cy="164"/>
              </a:xfrm>
              <a:custGeom>
                <a:avLst/>
                <a:gdLst>
                  <a:gd name="T0" fmla="*/ 434 w 1170"/>
                  <a:gd name="T1" fmla="*/ 852 h 1154"/>
                  <a:gd name="T2" fmla="*/ 747 w 1170"/>
                  <a:gd name="T3" fmla="*/ 492 h 1154"/>
                  <a:gd name="T4" fmla="*/ 680 w 1170"/>
                  <a:gd name="T5" fmla="*/ 509 h 1154"/>
                  <a:gd name="T6" fmla="*/ 641 w 1170"/>
                  <a:gd name="T7" fmla="*/ 542 h 1154"/>
                  <a:gd name="T8" fmla="*/ 515 w 1170"/>
                  <a:gd name="T9" fmla="*/ 502 h 1154"/>
                  <a:gd name="T10" fmla="*/ 636 w 1170"/>
                  <a:gd name="T11" fmla="*/ 632 h 1154"/>
                  <a:gd name="T12" fmla="*/ 665 w 1170"/>
                  <a:gd name="T13" fmla="*/ 600 h 1154"/>
                  <a:gd name="T14" fmla="*/ 714 w 1170"/>
                  <a:gd name="T15" fmla="*/ 595 h 1154"/>
                  <a:gd name="T16" fmla="*/ 750 w 1170"/>
                  <a:gd name="T17" fmla="*/ 629 h 1154"/>
                  <a:gd name="T18" fmla="*/ 756 w 1170"/>
                  <a:gd name="T19" fmla="*/ 852 h 1154"/>
                  <a:gd name="T20" fmla="*/ 886 w 1170"/>
                  <a:gd name="T21" fmla="*/ 621 h 1154"/>
                  <a:gd name="T22" fmla="*/ 861 w 1170"/>
                  <a:gd name="T23" fmla="*/ 547 h 1154"/>
                  <a:gd name="T24" fmla="*/ 812 w 1170"/>
                  <a:gd name="T25" fmla="*/ 506 h 1154"/>
                  <a:gd name="T26" fmla="*/ 747 w 1170"/>
                  <a:gd name="T27" fmla="*/ 492 h 1154"/>
                  <a:gd name="T28" fmla="*/ 347 w 1170"/>
                  <a:gd name="T29" fmla="*/ 340 h 1154"/>
                  <a:gd name="T30" fmla="*/ 315 w 1170"/>
                  <a:gd name="T31" fmla="*/ 376 h 1154"/>
                  <a:gd name="T32" fmla="*/ 322 w 1170"/>
                  <a:gd name="T33" fmla="*/ 420 h 1154"/>
                  <a:gd name="T34" fmla="*/ 364 w 1170"/>
                  <a:gd name="T35" fmla="*/ 449 h 1154"/>
                  <a:gd name="T36" fmla="*/ 418 w 1170"/>
                  <a:gd name="T37" fmla="*/ 445 h 1154"/>
                  <a:gd name="T38" fmla="*/ 448 w 1170"/>
                  <a:gd name="T39" fmla="*/ 410 h 1154"/>
                  <a:gd name="T40" fmla="*/ 445 w 1170"/>
                  <a:gd name="T41" fmla="*/ 363 h 1154"/>
                  <a:gd name="T42" fmla="*/ 403 w 1170"/>
                  <a:gd name="T43" fmla="*/ 334 h 1154"/>
                  <a:gd name="T44" fmla="*/ 242 w 1170"/>
                  <a:gd name="T45" fmla="*/ 170 h 1154"/>
                  <a:gd name="T46" fmla="*/ 359 w 1170"/>
                  <a:gd name="T47" fmla="*/ 94 h 1154"/>
                  <a:gd name="T48" fmla="*/ 497 w 1170"/>
                  <a:gd name="T49" fmla="*/ 49 h 1154"/>
                  <a:gd name="T50" fmla="*/ 657 w 1170"/>
                  <a:gd name="T51" fmla="*/ 43 h 1154"/>
                  <a:gd name="T52" fmla="*/ 829 w 1170"/>
                  <a:gd name="T53" fmla="*/ 88 h 1154"/>
                  <a:gd name="T54" fmla="*/ 975 w 1170"/>
                  <a:gd name="T55" fmla="*/ 180 h 1154"/>
                  <a:gd name="T56" fmla="*/ 1086 w 1170"/>
                  <a:gd name="T57" fmla="*/ 310 h 1154"/>
                  <a:gd name="T58" fmla="*/ 1153 w 1170"/>
                  <a:gd name="T59" fmla="*/ 472 h 1154"/>
                  <a:gd name="T60" fmla="*/ 1166 w 1170"/>
                  <a:gd name="T61" fmla="*/ 653 h 1154"/>
                  <a:gd name="T62" fmla="*/ 1119 w 1170"/>
                  <a:gd name="T63" fmla="*/ 824 h 1154"/>
                  <a:gd name="T64" fmla="*/ 1025 w 1170"/>
                  <a:gd name="T65" fmla="*/ 969 h 1154"/>
                  <a:gd name="T66" fmla="*/ 890 w 1170"/>
                  <a:gd name="T67" fmla="*/ 1077 h 1154"/>
                  <a:gd name="T68" fmla="*/ 726 w 1170"/>
                  <a:gd name="T69" fmla="*/ 1141 h 1154"/>
                  <a:gd name="T70" fmla="*/ 544 w 1170"/>
                  <a:gd name="T71" fmla="*/ 1150 h 1154"/>
                  <a:gd name="T72" fmla="*/ 372 w 1170"/>
                  <a:gd name="T73" fmla="*/ 1103 h 1154"/>
                  <a:gd name="T74" fmla="*/ 227 w 1170"/>
                  <a:gd name="T75" fmla="*/ 1009 h 1154"/>
                  <a:gd name="T76" fmla="*/ 117 w 1170"/>
                  <a:gd name="T77" fmla="*/ 876 h 1154"/>
                  <a:gd name="T78" fmla="*/ 54 w 1170"/>
                  <a:gd name="T79" fmla="*/ 712 h 1154"/>
                  <a:gd name="T80" fmla="*/ 44 w 1170"/>
                  <a:gd name="T81" fmla="*/ 537 h 1154"/>
                  <a:gd name="T82" fmla="*/ 86 w 1170"/>
                  <a:gd name="T83" fmla="*/ 380 h 1154"/>
                  <a:gd name="T84" fmla="*/ 172 w 1170"/>
                  <a:gd name="T85" fmla="*/ 241 h 1154"/>
                  <a:gd name="T86" fmla="*/ 36 w 1170"/>
                  <a:gd name="T87" fmla="*/ 39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70" h="1154">
                    <a:moveTo>
                      <a:pt x="324" y="502"/>
                    </a:moveTo>
                    <a:lnTo>
                      <a:pt x="324" y="852"/>
                    </a:lnTo>
                    <a:lnTo>
                      <a:pt x="434" y="852"/>
                    </a:lnTo>
                    <a:lnTo>
                      <a:pt x="434" y="502"/>
                    </a:lnTo>
                    <a:lnTo>
                      <a:pt x="324" y="502"/>
                    </a:lnTo>
                    <a:close/>
                    <a:moveTo>
                      <a:pt x="747" y="492"/>
                    </a:moveTo>
                    <a:lnTo>
                      <a:pt x="722" y="494"/>
                    </a:lnTo>
                    <a:lnTo>
                      <a:pt x="699" y="500"/>
                    </a:lnTo>
                    <a:lnTo>
                      <a:pt x="680" y="509"/>
                    </a:lnTo>
                    <a:lnTo>
                      <a:pt x="664" y="520"/>
                    </a:lnTo>
                    <a:lnTo>
                      <a:pt x="651" y="531"/>
                    </a:lnTo>
                    <a:lnTo>
                      <a:pt x="641" y="542"/>
                    </a:lnTo>
                    <a:lnTo>
                      <a:pt x="636" y="552"/>
                    </a:lnTo>
                    <a:lnTo>
                      <a:pt x="636" y="502"/>
                    </a:lnTo>
                    <a:lnTo>
                      <a:pt x="515" y="502"/>
                    </a:lnTo>
                    <a:lnTo>
                      <a:pt x="515" y="853"/>
                    </a:lnTo>
                    <a:lnTo>
                      <a:pt x="636" y="853"/>
                    </a:lnTo>
                    <a:lnTo>
                      <a:pt x="636" y="632"/>
                    </a:lnTo>
                    <a:lnTo>
                      <a:pt x="642" y="620"/>
                    </a:lnTo>
                    <a:lnTo>
                      <a:pt x="652" y="609"/>
                    </a:lnTo>
                    <a:lnTo>
                      <a:pt x="665" y="600"/>
                    </a:lnTo>
                    <a:lnTo>
                      <a:pt x="679" y="595"/>
                    </a:lnTo>
                    <a:lnTo>
                      <a:pt x="696" y="592"/>
                    </a:lnTo>
                    <a:lnTo>
                      <a:pt x="714" y="595"/>
                    </a:lnTo>
                    <a:lnTo>
                      <a:pt x="729" y="602"/>
                    </a:lnTo>
                    <a:lnTo>
                      <a:pt x="741" y="613"/>
                    </a:lnTo>
                    <a:lnTo>
                      <a:pt x="750" y="629"/>
                    </a:lnTo>
                    <a:lnTo>
                      <a:pt x="755" y="649"/>
                    </a:lnTo>
                    <a:lnTo>
                      <a:pt x="756" y="673"/>
                    </a:lnTo>
                    <a:lnTo>
                      <a:pt x="756" y="852"/>
                    </a:lnTo>
                    <a:lnTo>
                      <a:pt x="887" y="852"/>
                    </a:lnTo>
                    <a:lnTo>
                      <a:pt x="887" y="652"/>
                    </a:lnTo>
                    <a:lnTo>
                      <a:pt x="886" y="621"/>
                    </a:lnTo>
                    <a:lnTo>
                      <a:pt x="881" y="593"/>
                    </a:lnTo>
                    <a:lnTo>
                      <a:pt x="872" y="569"/>
                    </a:lnTo>
                    <a:lnTo>
                      <a:pt x="861" y="547"/>
                    </a:lnTo>
                    <a:lnTo>
                      <a:pt x="847" y="530"/>
                    </a:lnTo>
                    <a:lnTo>
                      <a:pt x="830" y="516"/>
                    </a:lnTo>
                    <a:lnTo>
                      <a:pt x="812" y="506"/>
                    </a:lnTo>
                    <a:lnTo>
                      <a:pt x="792" y="497"/>
                    </a:lnTo>
                    <a:lnTo>
                      <a:pt x="770" y="493"/>
                    </a:lnTo>
                    <a:lnTo>
                      <a:pt x="747" y="492"/>
                    </a:lnTo>
                    <a:close/>
                    <a:moveTo>
                      <a:pt x="384" y="330"/>
                    </a:moveTo>
                    <a:lnTo>
                      <a:pt x="364" y="334"/>
                    </a:lnTo>
                    <a:lnTo>
                      <a:pt x="347" y="340"/>
                    </a:lnTo>
                    <a:lnTo>
                      <a:pt x="333" y="350"/>
                    </a:lnTo>
                    <a:lnTo>
                      <a:pt x="322" y="363"/>
                    </a:lnTo>
                    <a:lnTo>
                      <a:pt x="315" y="376"/>
                    </a:lnTo>
                    <a:lnTo>
                      <a:pt x="313" y="391"/>
                    </a:lnTo>
                    <a:lnTo>
                      <a:pt x="315" y="406"/>
                    </a:lnTo>
                    <a:lnTo>
                      <a:pt x="322" y="420"/>
                    </a:lnTo>
                    <a:lnTo>
                      <a:pt x="333" y="432"/>
                    </a:lnTo>
                    <a:lnTo>
                      <a:pt x="347" y="443"/>
                    </a:lnTo>
                    <a:lnTo>
                      <a:pt x="364" y="449"/>
                    </a:lnTo>
                    <a:lnTo>
                      <a:pt x="384" y="451"/>
                    </a:lnTo>
                    <a:lnTo>
                      <a:pt x="402" y="449"/>
                    </a:lnTo>
                    <a:lnTo>
                      <a:pt x="418" y="445"/>
                    </a:lnTo>
                    <a:lnTo>
                      <a:pt x="430" y="436"/>
                    </a:lnTo>
                    <a:lnTo>
                      <a:pt x="441" y="425"/>
                    </a:lnTo>
                    <a:lnTo>
                      <a:pt x="448" y="410"/>
                    </a:lnTo>
                    <a:lnTo>
                      <a:pt x="455" y="391"/>
                    </a:lnTo>
                    <a:lnTo>
                      <a:pt x="451" y="376"/>
                    </a:lnTo>
                    <a:lnTo>
                      <a:pt x="445" y="363"/>
                    </a:lnTo>
                    <a:lnTo>
                      <a:pt x="434" y="350"/>
                    </a:lnTo>
                    <a:lnTo>
                      <a:pt x="420" y="340"/>
                    </a:lnTo>
                    <a:lnTo>
                      <a:pt x="403" y="334"/>
                    </a:lnTo>
                    <a:lnTo>
                      <a:pt x="384" y="330"/>
                    </a:lnTo>
                    <a:close/>
                    <a:moveTo>
                      <a:pt x="71" y="0"/>
                    </a:moveTo>
                    <a:lnTo>
                      <a:pt x="242" y="170"/>
                    </a:lnTo>
                    <a:lnTo>
                      <a:pt x="278" y="141"/>
                    </a:lnTo>
                    <a:lnTo>
                      <a:pt x="317" y="116"/>
                    </a:lnTo>
                    <a:lnTo>
                      <a:pt x="359" y="94"/>
                    </a:lnTo>
                    <a:lnTo>
                      <a:pt x="404" y="75"/>
                    </a:lnTo>
                    <a:lnTo>
                      <a:pt x="450" y="60"/>
                    </a:lnTo>
                    <a:lnTo>
                      <a:pt x="497" y="49"/>
                    </a:lnTo>
                    <a:lnTo>
                      <a:pt x="546" y="42"/>
                    </a:lnTo>
                    <a:lnTo>
                      <a:pt x="595" y="40"/>
                    </a:lnTo>
                    <a:lnTo>
                      <a:pt x="657" y="43"/>
                    </a:lnTo>
                    <a:lnTo>
                      <a:pt x="716" y="52"/>
                    </a:lnTo>
                    <a:lnTo>
                      <a:pt x="774" y="67"/>
                    </a:lnTo>
                    <a:lnTo>
                      <a:pt x="829" y="88"/>
                    </a:lnTo>
                    <a:lnTo>
                      <a:pt x="881" y="113"/>
                    </a:lnTo>
                    <a:lnTo>
                      <a:pt x="929" y="144"/>
                    </a:lnTo>
                    <a:lnTo>
                      <a:pt x="975" y="180"/>
                    </a:lnTo>
                    <a:lnTo>
                      <a:pt x="1016" y="219"/>
                    </a:lnTo>
                    <a:lnTo>
                      <a:pt x="1054" y="263"/>
                    </a:lnTo>
                    <a:lnTo>
                      <a:pt x="1086" y="310"/>
                    </a:lnTo>
                    <a:lnTo>
                      <a:pt x="1114" y="361"/>
                    </a:lnTo>
                    <a:lnTo>
                      <a:pt x="1136" y="415"/>
                    </a:lnTo>
                    <a:lnTo>
                      <a:pt x="1153" y="472"/>
                    </a:lnTo>
                    <a:lnTo>
                      <a:pt x="1164" y="530"/>
                    </a:lnTo>
                    <a:lnTo>
                      <a:pt x="1170" y="591"/>
                    </a:lnTo>
                    <a:lnTo>
                      <a:pt x="1166" y="653"/>
                    </a:lnTo>
                    <a:lnTo>
                      <a:pt x="1157" y="712"/>
                    </a:lnTo>
                    <a:lnTo>
                      <a:pt x="1141" y="770"/>
                    </a:lnTo>
                    <a:lnTo>
                      <a:pt x="1119" y="824"/>
                    </a:lnTo>
                    <a:lnTo>
                      <a:pt x="1093" y="876"/>
                    </a:lnTo>
                    <a:lnTo>
                      <a:pt x="1061" y="924"/>
                    </a:lnTo>
                    <a:lnTo>
                      <a:pt x="1025" y="969"/>
                    </a:lnTo>
                    <a:lnTo>
                      <a:pt x="984" y="1009"/>
                    </a:lnTo>
                    <a:lnTo>
                      <a:pt x="939" y="1046"/>
                    </a:lnTo>
                    <a:lnTo>
                      <a:pt x="890" y="1077"/>
                    </a:lnTo>
                    <a:lnTo>
                      <a:pt x="839" y="1103"/>
                    </a:lnTo>
                    <a:lnTo>
                      <a:pt x="784" y="1125"/>
                    </a:lnTo>
                    <a:lnTo>
                      <a:pt x="726" y="1141"/>
                    </a:lnTo>
                    <a:lnTo>
                      <a:pt x="667" y="1150"/>
                    </a:lnTo>
                    <a:lnTo>
                      <a:pt x="605" y="1154"/>
                    </a:lnTo>
                    <a:lnTo>
                      <a:pt x="544" y="1150"/>
                    </a:lnTo>
                    <a:lnTo>
                      <a:pt x="485" y="1141"/>
                    </a:lnTo>
                    <a:lnTo>
                      <a:pt x="427" y="1125"/>
                    </a:lnTo>
                    <a:lnTo>
                      <a:pt x="372" y="1103"/>
                    </a:lnTo>
                    <a:lnTo>
                      <a:pt x="320" y="1077"/>
                    </a:lnTo>
                    <a:lnTo>
                      <a:pt x="272" y="1046"/>
                    </a:lnTo>
                    <a:lnTo>
                      <a:pt x="227" y="1009"/>
                    </a:lnTo>
                    <a:lnTo>
                      <a:pt x="186" y="969"/>
                    </a:lnTo>
                    <a:lnTo>
                      <a:pt x="150" y="924"/>
                    </a:lnTo>
                    <a:lnTo>
                      <a:pt x="117" y="876"/>
                    </a:lnTo>
                    <a:lnTo>
                      <a:pt x="92" y="824"/>
                    </a:lnTo>
                    <a:lnTo>
                      <a:pt x="70" y="770"/>
                    </a:lnTo>
                    <a:lnTo>
                      <a:pt x="54" y="712"/>
                    </a:lnTo>
                    <a:lnTo>
                      <a:pt x="44" y="653"/>
                    </a:lnTo>
                    <a:lnTo>
                      <a:pt x="41" y="591"/>
                    </a:lnTo>
                    <a:lnTo>
                      <a:pt x="44" y="537"/>
                    </a:lnTo>
                    <a:lnTo>
                      <a:pt x="53" y="482"/>
                    </a:lnTo>
                    <a:lnTo>
                      <a:pt x="67" y="430"/>
                    </a:lnTo>
                    <a:lnTo>
                      <a:pt x="86" y="380"/>
                    </a:lnTo>
                    <a:lnTo>
                      <a:pt x="111" y="332"/>
                    </a:lnTo>
                    <a:lnTo>
                      <a:pt x="139" y="284"/>
                    </a:lnTo>
                    <a:lnTo>
                      <a:pt x="172" y="241"/>
                    </a:lnTo>
                    <a:lnTo>
                      <a:pt x="0" y="70"/>
                    </a:lnTo>
                    <a:lnTo>
                      <a:pt x="18" y="55"/>
                    </a:lnTo>
                    <a:lnTo>
                      <a:pt x="36" y="39"/>
                    </a:lnTo>
                    <a:lnTo>
                      <a:pt x="54" y="20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6" name="Freeform 22"/>
              <p:cNvSpPr>
                <a:spLocks noEditPoints="1"/>
              </p:cNvSpPr>
              <p:nvPr/>
            </p:nvSpPr>
            <p:spPr bwMode="auto">
              <a:xfrm>
                <a:off x="-783" y="2628"/>
                <a:ext cx="167" cy="166"/>
              </a:xfrm>
              <a:custGeom>
                <a:avLst/>
                <a:gdLst>
                  <a:gd name="T0" fmla="*/ 636 w 1169"/>
                  <a:gd name="T1" fmla="*/ 391 h 1164"/>
                  <a:gd name="T2" fmla="*/ 578 w 1169"/>
                  <a:gd name="T3" fmla="*/ 439 h 1164"/>
                  <a:gd name="T4" fmla="*/ 554 w 1169"/>
                  <a:gd name="T5" fmla="*/ 511 h 1164"/>
                  <a:gd name="T6" fmla="*/ 476 w 1169"/>
                  <a:gd name="T7" fmla="*/ 533 h 1164"/>
                  <a:gd name="T8" fmla="*/ 372 w 1169"/>
                  <a:gd name="T9" fmla="*/ 488 h 1164"/>
                  <a:gd name="T10" fmla="*/ 293 w 1169"/>
                  <a:gd name="T11" fmla="*/ 411 h 1164"/>
                  <a:gd name="T12" fmla="*/ 273 w 1169"/>
                  <a:gd name="T13" fmla="*/ 472 h 1164"/>
                  <a:gd name="T14" fmla="*/ 298 w 1169"/>
                  <a:gd name="T15" fmla="*/ 539 h 1164"/>
                  <a:gd name="T16" fmla="*/ 312 w 1169"/>
                  <a:gd name="T17" fmla="*/ 569 h 1164"/>
                  <a:gd name="T18" fmla="*/ 275 w 1169"/>
                  <a:gd name="T19" fmla="*/ 576 h 1164"/>
                  <a:gd name="T20" fmla="*/ 308 w 1169"/>
                  <a:gd name="T21" fmla="*/ 639 h 1164"/>
                  <a:gd name="T22" fmla="*/ 374 w 1169"/>
                  <a:gd name="T23" fmla="*/ 673 h 1164"/>
                  <a:gd name="T24" fmla="*/ 352 w 1169"/>
                  <a:gd name="T25" fmla="*/ 717 h 1164"/>
                  <a:gd name="T26" fmla="*/ 419 w 1169"/>
                  <a:gd name="T27" fmla="*/ 759 h 1164"/>
                  <a:gd name="T28" fmla="*/ 382 w 1169"/>
                  <a:gd name="T29" fmla="*/ 793 h 1164"/>
                  <a:gd name="T30" fmla="*/ 282 w 1169"/>
                  <a:gd name="T31" fmla="*/ 813 h 1164"/>
                  <a:gd name="T32" fmla="*/ 308 w 1169"/>
                  <a:gd name="T33" fmla="*/ 846 h 1164"/>
                  <a:gd name="T34" fmla="*/ 409 w 1169"/>
                  <a:gd name="T35" fmla="*/ 871 h 1164"/>
                  <a:gd name="T36" fmla="*/ 531 w 1169"/>
                  <a:gd name="T37" fmla="*/ 863 h 1164"/>
                  <a:gd name="T38" fmla="*/ 641 w 1169"/>
                  <a:gd name="T39" fmla="*/ 817 h 1164"/>
                  <a:gd name="T40" fmla="*/ 724 w 1169"/>
                  <a:gd name="T41" fmla="*/ 742 h 1164"/>
                  <a:gd name="T42" fmla="*/ 779 w 1169"/>
                  <a:gd name="T43" fmla="*/ 648 h 1164"/>
                  <a:gd name="T44" fmla="*/ 805 w 1169"/>
                  <a:gd name="T45" fmla="*/ 545 h 1164"/>
                  <a:gd name="T46" fmla="*/ 806 w 1169"/>
                  <a:gd name="T47" fmla="*/ 502 h 1164"/>
                  <a:gd name="T48" fmla="*/ 827 w 1169"/>
                  <a:gd name="T49" fmla="*/ 488 h 1164"/>
                  <a:gd name="T50" fmla="*/ 851 w 1169"/>
                  <a:gd name="T51" fmla="*/ 448 h 1164"/>
                  <a:gd name="T52" fmla="*/ 797 w 1169"/>
                  <a:gd name="T53" fmla="*/ 461 h 1164"/>
                  <a:gd name="T54" fmla="*/ 847 w 1169"/>
                  <a:gd name="T55" fmla="*/ 412 h 1164"/>
                  <a:gd name="T56" fmla="*/ 806 w 1169"/>
                  <a:gd name="T57" fmla="*/ 411 h 1164"/>
                  <a:gd name="T58" fmla="*/ 747 w 1169"/>
                  <a:gd name="T59" fmla="*/ 398 h 1164"/>
                  <a:gd name="T60" fmla="*/ 686 w 1169"/>
                  <a:gd name="T61" fmla="*/ 381 h 1164"/>
                  <a:gd name="T62" fmla="*/ 1125 w 1169"/>
                  <a:gd name="T63" fmla="*/ 36 h 1164"/>
                  <a:gd name="T64" fmla="*/ 998 w 1169"/>
                  <a:gd name="T65" fmla="*/ 250 h 1164"/>
                  <a:gd name="T66" fmla="*/ 1075 w 1169"/>
                  <a:gd name="T67" fmla="*/ 367 h 1164"/>
                  <a:gd name="T68" fmla="*/ 1120 w 1169"/>
                  <a:gd name="T69" fmla="*/ 505 h 1164"/>
                  <a:gd name="T70" fmla="*/ 1125 w 1169"/>
                  <a:gd name="T71" fmla="*/ 663 h 1164"/>
                  <a:gd name="T72" fmla="*/ 1079 w 1169"/>
                  <a:gd name="T73" fmla="*/ 834 h 1164"/>
                  <a:gd name="T74" fmla="*/ 983 w 1169"/>
                  <a:gd name="T75" fmla="*/ 978 h 1164"/>
                  <a:gd name="T76" fmla="*/ 849 w 1169"/>
                  <a:gd name="T77" fmla="*/ 1087 h 1164"/>
                  <a:gd name="T78" fmla="*/ 686 w 1169"/>
                  <a:gd name="T79" fmla="*/ 1152 h 1164"/>
                  <a:gd name="T80" fmla="*/ 502 w 1169"/>
                  <a:gd name="T81" fmla="*/ 1161 h 1164"/>
                  <a:gd name="T82" fmla="*/ 331 w 1169"/>
                  <a:gd name="T83" fmla="*/ 1114 h 1164"/>
                  <a:gd name="T84" fmla="*/ 186 w 1169"/>
                  <a:gd name="T85" fmla="*/ 1019 h 1164"/>
                  <a:gd name="T86" fmla="*/ 77 w 1169"/>
                  <a:gd name="T87" fmla="*/ 886 h 1164"/>
                  <a:gd name="T88" fmla="*/ 13 w 1169"/>
                  <a:gd name="T89" fmla="*/ 723 h 1164"/>
                  <a:gd name="T90" fmla="*/ 3 w 1169"/>
                  <a:gd name="T91" fmla="*/ 541 h 1164"/>
                  <a:gd name="T92" fmla="*/ 50 w 1169"/>
                  <a:gd name="T93" fmla="*/ 370 h 1164"/>
                  <a:gd name="T94" fmla="*/ 145 w 1169"/>
                  <a:gd name="T95" fmla="*/ 226 h 1164"/>
                  <a:gd name="T96" fmla="*/ 279 w 1169"/>
                  <a:gd name="T97" fmla="*/ 117 h 1164"/>
                  <a:gd name="T98" fmla="*/ 443 w 1169"/>
                  <a:gd name="T99" fmla="*/ 52 h 1164"/>
                  <a:gd name="T100" fmla="*/ 620 w 1169"/>
                  <a:gd name="T101" fmla="*/ 43 h 1164"/>
                  <a:gd name="T102" fmla="*/ 777 w 1169"/>
                  <a:gd name="T103" fmla="*/ 86 h 1164"/>
                  <a:gd name="T104" fmla="*/ 917 w 1169"/>
                  <a:gd name="T105" fmla="*/ 170 h 1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69" h="1164">
                    <a:moveTo>
                      <a:pt x="686" y="381"/>
                    </a:moveTo>
                    <a:lnTo>
                      <a:pt x="659" y="384"/>
                    </a:lnTo>
                    <a:lnTo>
                      <a:pt x="636" y="391"/>
                    </a:lnTo>
                    <a:lnTo>
                      <a:pt x="613" y="404"/>
                    </a:lnTo>
                    <a:lnTo>
                      <a:pt x="594" y="420"/>
                    </a:lnTo>
                    <a:lnTo>
                      <a:pt x="578" y="439"/>
                    </a:lnTo>
                    <a:lnTo>
                      <a:pt x="565" y="462"/>
                    </a:lnTo>
                    <a:lnTo>
                      <a:pt x="557" y="485"/>
                    </a:lnTo>
                    <a:lnTo>
                      <a:pt x="554" y="511"/>
                    </a:lnTo>
                    <a:lnTo>
                      <a:pt x="554" y="541"/>
                    </a:lnTo>
                    <a:lnTo>
                      <a:pt x="514" y="539"/>
                    </a:lnTo>
                    <a:lnTo>
                      <a:pt x="476" y="533"/>
                    </a:lnTo>
                    <a:lnTo>
                      <a:pt x="439" y="522"/>
                    </a:lnTo>
                    <a:lnTo>
                      <a:pt x="405" y="507"/>
                    </a:lnTo>
                    <a:lnTo>
                      <a:pt x="372" y="488"/>
                    </a:lnTo>
                    <a:lnTo>
                      <a:pt x="343" y="465"/>
                    </a:lnTo>
                    <a:lnTo>
                      <a:pt x="317" y="439"/>
                    </a:lnTo>
                    <a:lnTo>
                      <a:pt x="293" y="411"/>
                    </a:lnTo>
                    <a:lnTo>
                      <a:pt x="282" y="431"/>
                    </a:lnTo>
                    <a:lnTo>
                      <a:pt x="276" y="451"/>
                    </a:lnTo>
                    <a:lnTo>
                      <a:pt x="273" y="472"/>
                    </a:lnTo>
                    <a:lnTo>
                      <a:pt x="276" y="495"/>
                    </a:lnTo>
                    <a:lnTo>
                      <a:pt x="284" y="519"/>
                    </a:lnTo>
                    <a:lnTo>
                      <a:pt x="298" y="539"/>
                    </a:lnTo>
                    <a:lnTo>
                      <a:pt x="314" y="557"/>
                    </a:lnTo>
                    <a:lnTo>
                      <a:pt x="333" y="572"/>
                    </a:lnTo>
                    <a:lnTo>
                      <a:pt x="312" y="569"/>
                    </a:lnTo>
                    <a:lnTo>
                      <a:pt x="292" y="561"/>
                    </a:lnTo>
                    <a:lnTo>
                      <a:pt x="273" y="552"/>
                    </a:lnTo>
                    <a:lnTo>
                      <a:pt x="275" y="576"/>
                    </a:lnTo>
                    <a:lnTo>
                      <a:pt x="281" y="600"/>
                    </a:lnTo>
                    <a:lnTo>
                      <a:pt x="293" y="621"/>
                    </a:lnTo>
                    <a:lnTo>
                      <a:pt x="308" y="639"/>
                    </a:lnTo>
                    <a:lnTo>
                      <a:pt x="326" y="654"/>
                    </a:lnTo>
                    <a:lnTo>
                      <a:pt x="349" y="665"/>
                    </a:lnTo>
                    <a:lnTo>
                      <a:pt x="374" y="673"/>
                    </a:lnTo>
                    <a:lnTo>
                      <a:pt x="323" y="673"/>
                    </a:lnTo>
                    <a:lnTo>
                      <a:pt x="335" y="696"/>
                    </a:lnTo>
                    <a:lnTo>
                      <a:pt x="352" y="717"/>
                    </a:lnTo>
                    <a:lnTo>
                      <a:pt x="371" y="736"/>
                    </a:lnTo>
                    <a:lnTo>
                      <a:pt x="394" y="750"/>
                    </a:lnTo>
                    <a:lnTo>
                      <a:pt x="419" y="759"/>
                    </a:lnTo>
                    <a:lnTo>
                      <a:pt x="443" y="762"/>
                    </a:lnTo>
                    <a:lnTo>
                      <a:pt x="413" y="779"/>
                    </a:lnTo>
                    <a:lnTo>
                      <a:pt x="382" y="793"/>
                    </a:lnTo>
                    <a:lnTo>
                      <a:pt x="351" y="804"/>
                    </a:lnTo>
                    <a:lnTo>
                      <a:pt x="318" y="810"/>
                    </a:lnTo>
                    <a:lnTo>
                      <a:pt x="282" y="813"/>
                    </a:lnTo>
                    <a:lnTo>
                      <a:pt x="252" y="813"/>
                    </a:lnTo>
                    <a:lnTo>
                      <a:pt x="279" y="831"/>
                    </a:lnTo>
                    <a:lnTo>
                      <a:pt x="308" y="846"/>
                    </a:lnTo>
                    <a:lnTo>
                      <a:pt x="340" y="858"/>
                    </a:lnTo>
                    <a:lnTo>
                      <a:pt x="374" y="866"/>
                    </a:lnTo>
                    <a:lnTo>
                      <a:pt x="409" y="871"/>
                    </a:lnTo>
                    <a:lnTo>
                      <a:pt x="443" y="872"/>
                    </a:lnTo>
                    <a:lnTo>
                      <a:pt x="488" y="870"/>
                    </a:lnTo>
                    <a:lnTo>
                      <a:pt x="531" y="863"/>
                    </a:lnTo>
                    <a:lnTo>
                      <a:pt x="570" y="852"/>
                    </a:lnTo>
                    <a:lnTo>
                      <a:pt x="607" y="836"/>
                    </a:lnTo>
                    <a:lnTo>
                      <a:pt x="641" y="817"/>
                    </a:lnTo>
                    <a:lnTo>
                      <a:pt x="671" y="794"/>
                    </a:lnTo>
                    <a:lnTo>
                      <a:pt x="699" y="770"/>
                    </a:lnTo>
                    <a:lnTo>
                      <a:pt x="724" y="742"/>
                    </a:lnTo>
                    <a:lnTo>
                      <a:pt x="745" y="712"/>
                    </a:lnTo>
                    <a:lnTo>
                      <a:pt x="764" y="681"/>
                    </a:lnTo>
                    <a:lnTo>
                      <a:pt x="779" y="648"/>
                    </a:lnTo>
                    <a:lnTo>
                      <a:pt x="791" y="615"/>
                    </a:lnTo>
                    <a:lnTo>
                      <a:pt x="800" y="581"/>
                    </a:lnTo>
                    <a:lnTo>
                      <a:pt x="805" y="545"/>
                    </a:lnTo>
                    <a:lnTo>
                      <a:pt x="806" y="511"/>
                    </a:lnTo>
                    <a:lnTo>
                      <a:pt x="806" y="503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27" y="488"/>
                    </a:lnTo>
                    <a:lnTo>
                      <a:pt x="847" y="468"/>
                    </a:lnTo>
                    <a:lnTo>
                      <a:pt x="866" y="441"/>
                    </a:lnTo>
                    <a:lnTo>
                      <a:pt x="851" y="448"/>
                    </a:lnTo>
                    <a:lnTo>
                      <a:pt x="835" y="454"/>
                    </a:lnTo>
                    <a:lnTo>
                      <a:pt x="817" y="460"/>
                    </a:lnTo>
                    <a:lnTo>
                      <a:pt x="797" y="461"/>
                    </a:lnTo>
                    <a:lnTo>
                      <a:pt x="817" y="446"/>
                    </a:lnTo>
                    <a:lnTo>
                      <a:pt x="834" y="430"/>
                    </a:lnTo>
                    <a:lnTo>
                      <a:pt x="847" y="412"/>
                    </a:lnTo>
                    <a:lnTo>
                      <a:pt x="857" y="391"/>
                    </a:lnTo>
                    <a:lnTo>
                      <a:pt x="834" y="401"/>
                    </a:lnTo>
                    <a:lnTo>
                      <a:pt x="806" y="411"/>
                    </a:lnTo>
                    <a:lnTo>
                      <a:pt x="776" y="421"/>
                    </a:lnTo>
                    <a:lnTo>
                      <a:pt x="763" y="410"/>
                    </a:lnTo>
                    <a:lnTo>
                      <a:pt x="747" y="398"/>
                    </a:lnTo>
                    <a:lnTo>
                      <a:pt x="729" y="389"/>
                    </a:lnTo>
                    <a:lnTo>
                      <a:pt x="709" y="383"/>
                    </a:lnTo>
                    <a:lnTo>
                      <a:pt x="686" y="381"/>
                    </a:lnTo>
                    <a:close/>
                    <a:moveTo>
                      <a:pt x="1089" y="0"/>
                    </a:moveTo>
                    <a:lnTo>
                      <a:pt x="1106" y="16"/>
                    </a:lnTo>
                    <a:lnTo>
                      <a:pt x="1125" y="36"/>
                    </a:lnTo>
                    <a:lnTo>
                      <a:pt x="1147" y="58"/>
                    </a:lnTo>
                    <a:lnTo>
                      <a:pt x="1169" y="80"/>
                    </a:lnTo>
                    <a:lnTo>
                      <a:pt x="998" y="250"/>
                    </a:lnTo>
                    <a:lnTo>
                      <a:pt x="1026" y="287"/>
                    </a:lnTo>
                    <a:lnTo>
                      <a:pt x="1052" y="325"/>
                    </a:lnTo>
                    <a:lnTo>
                      <a:pt x="1075" y="367"/>
                    </a:lnTo>
                    <a:lnTo>
                      <a:pt x="1094" y="412"/>
                    </a:lnTo>
                    <a:lnTo>
                      <a:pt x="1109" y="458"/>
                    </a:lnTo>
                    <a:lnTo>
                      <a:pt x="1120" y="505"/>
                    </a:lnTo>
                    <a:lnTo>
                      <a:pt x="1126" y="553"/>
                    </a:lnTo>
                    <a:lnTo>
                      <a:pt x="1128" y="602"/>
                    </a:lnTo>
                    <a:lnTo>
                      <a:pt x="1125" y="663"/>
                    </a:lnTo>
                    <a:lnTo>
                      <a:pt x="1115" y="723"/>
                    </a:lnTo>
                    <a:lnTo>
                      <a:pt x="1100" y="779"/>
                    </a:lnTo>
                    <a:lnTo>
                      <a:pt x="1079" y="834"/>
                    </a:lnTo>
                    <a:lnTo>
                      <a:pt x="1052" y="886"/>
                    </a:lnTo>
                    <a:lnTo>
                      <a:pt x="1020" y="934"/>
                    </a:lnTo>
                    <a:lnTo>
                      <a:pt x="983" y="978"/>
                    </a:lnTo>
                    <a:lnTo>
                      <a:pt x="943" y="1019"/>
                    </a:lnTo>
                    <a:lnTo>
                      <a:pt x="899" y="1055"/>
                    </a:lnTo>
                    <a:lnTo>
                      <a:pt x="849" y="1087"/>
                    </a:lnTo>
                    <a:lnTo>
                      <a:pt x="798" y="1114"/>
                    </a:lnTo>
                    <a:lnTo>
                      <a:pt x="743" y="1135"/>
                    </a:lnTo>
                    <a:lnTo>
                      <a:pt x="686" y="1152"/>
                    </a:lnTo>
                    <a:lnTo>
                      <a:pt x="626" y="1161"/>
                    </a:lnTo>
                    <a:lnTo>
                      <a:pt x="565" y="1164"/>
                    </a:lnTo>
                    <a:lnTo>
                      <a:pt x="502" y="1161"/>
                    </a:lnTo>
                    <a:lnTo>
                      <a:pt x="443" y="1152"/>
                    </a:lnTo>
                    <a:lnTo>
                      <a:pt x="385" y="1135"/>
                    </a:lnTo>
                    <a:lnTo>
                      <a:pt x="331" y="1114"/>
                    </a:lnTo>
                    <a:lnTo>
                      <a:pt x="279" y="1087"/>
                    </a:lnTo>
                    <a:lnTo>
                      <a:pt x="231" y="1055"/>
                    </a:lnTo>
                    <a:lnTo>
                      <a:pt x="186" y="1019"/>
                    </a:lnTo>
                    <a:lnTo>
                      <a:pt x="145" y="978"/>
                    </a:lnTo>
                    <a:lnTo>
                      <a:pt x="108" y="934"/>
                    </a:lnTo>
                    <a:lnTo>
                      <a:pt x="77" y="886"/>
                    </a:lnTo>
                    <a:lnTo>
                      <a:pt x="50" y="834"/>
                    </a:lnTo>
                    <a:lnTo>
                      <a:pt x="29" y="779"/>
                    </a:lnTo>
                    <a:lnTo>
                      <a:pt x="13" y="723"/>
                    </a:lnTo>
                    <a:lnTo>
                      <a:pt x="3" y="663"/>
                    </a:lnTo>
                    <a:lnTo>
                      <a:pt x="0" y="602"/>
                    </a:lnTo>
                    <a:lnTo>
                      <a:pt x="3" y="541"/>
                    </a:lnTo>
                    <a:lnTo>
                      <a:pt x="13" y="481"/>
                    </a:lnTo>
                    <a:lnTo>
                      <a:pt x="29" y="425"/>
                    </a:lnTo>
                    <a:lnTo>
                      <a:pt x="50" y="370"/>
                    </a:lnTo>
                    <a:lnTo>
                      <a:pt x="77" y="318"/>
                    </a:lnTo>
                    <a:lnTo>
                      <a:pt x="108" y="270"/>
                    </a:lnTo>
                    <a:lnTo>
                      <a:pt x="145" y="226"/>
                    </a:lnTo>
                    <a:lnTo>
                      <a:pt x="186" y="185"/>
                    </a:lnTo>
                    <a:lnTo>
                      <a:pt x="231" y="149"/>
                    </a:lnTo>
                    <a:lnTo>
                      <a:pt x="279" y="117"/>
                    </a:lnTo>
                    <a:lnTo>
                      <a:pt x="331" y="90"/>
                    </a:lnTo>
                    <a:lnTo>
                      <a:pt x="385" y="69"/>
                    </a:lnTo>
                    <a:lnTo>
                      <a:pt x="443" y="52"/>
                    </a:lnTo>
                    <a:lnTo>
                      <a:pt x="502" y="43"/>
                    </a:lnTo>
                    <a:lnTo>
                      <a:pt x="565" y="40"/>
                    </a:lnTo>
                    <a:lnTo>
                      <a:pt x="620" y="43"/>
                    </a:lnTo>
                    <a:lnTo>
                      <a:pt x="674" y="51"/>
                    </a:lnTo>
                    <a:lnTo>
                      <a:pt x="727" y="66"/>
                    </a:lnTo>
                    <a:lnTo>
                      <a:pt x="777" y="86"/>
                    </a:lnTo>
                    <a:lnTo>
                      <a:pt x="827" y="109"/>
                    </a:lnTo>
                    <a:lnTo>
                      <a:pt x="873" y="138"/>
                    </a:lnTo>
                    <a:lnTo>
                      <a:pt x="917" y="170"/>
                    </a:lnTo>
                    <a:lnTo>
                      <a:pt x="108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7" name="Freeform 23"/>
              <p:cNvSpPr>
                <a:spLocks noEditPoints="1"/>
              </p:cNvSpPr>
              <p:nvPr/>
            </p:nvSpPr>
            <p:spPr bwMode="auto">
              <a:xfrm>
                <a:off x="-783" y="2305"/>
                <a:ext cx="165" cy="165"/>
              </a:xfrm>
              <a:custGeom>
                <a:avLst/>
                <a:gdLst>
                  <a:gd name="T0" fmla="*/ 597 w 1159"/>
                  <a:gd name="T1" fmla="*/ 272 h 1154"/>
                  <a:gd name="T2" fmla="*/ 552 w 1159"/>
                  <a:gd name="T3" fmla="*/ 283 h 1154"/>
                  <a:gd name="T4" fmla="*/ 522 w 1159"/>
                  <a:gd name="T5" fmla="*/ 306 h 1154"/>
                  <a:gd name="T6" fmla="*/ 503 w 1159"/>
                  <a:gd name="T7" fmla="*/ 338 h 1154"/>
                  <a:gd name="T8" fmla="*/ 495 w 1159"/>
                  <a:gd name="T9" fmla="*/ 379 h 1154"/>
                  <a:gd name="T10" fmla="*/ 494 w 1159"/>
                  <a:gd name="T11" fmla="*/ 461 h 1154"/>
                  <a:gd name="T12" fmla="*/ 423 w 1159"/>
                  <a:gd name="T13" fmla="*/ 561 h 1154"/>
                  <a:gd name="T14" fmla="*/ 484 w 1159"/>
                  <a:gd name="T15" fmla="*/ 843 h 1154"/>
                  <a:gd name="T16" fmla="*/ 604 w 1159"/>
                  <a:gd name="T17" fmla="*/ 561 h 1154"/>
                  <a:gd name="T18" fmla="*/ 705 w 1159"/>
                  <a:gd name="T19" fmla="*/ 461 h 1154"/>
                  <a:gd name="T20" fmla="*/ 615 w 1159"/>
                  <a:gd name="T21" fmla="*/ 412 h 1154"/>
                  <a:gd name="T22" fmla="*/ 616 w 1159"/>
                  <a:gd name="T23" fmla="*/ 387 h 1154"/>
                  <a:gd name="T24" fmla="*/ 627 w 1159"/>
                  <a:gd name="T25" fmla="*/ 374 h 1154"/>
                  <a:gd name="T26" fmla="*/ 655 w 1159"/>
                  <a:gd name="T27" fmla="*/ 371 h 1154"/>
                  <a:gd name="T28" fmla="*/ 705 w 1159"/>
                  <a:gd name="T29" fmla="*/ 271 h 1154"/>
                  <a:gd name="T30" fmla="*/ 554 w 1159"/>
                  <a:gd name="T31" fmla="*/ 0 h 1154"/>
                  <a:gd name="T32" fmla="*/ 675 w 1159"/>
                  <a:gd name="T33" fmla="*/ 13 h 1154"/>
                  <a:gd name="T34" fmla="*/ 788 w 1159"/>
                  <a:gd name="T35" fmla="*/ 49 h 1154"/>
                  <a:gd name="T36" fmla="*/ 888 w 1159"/>
                  <a:gd name="T37" fmla="*/ 108 h 1154"/>
                  <a:gd name="T38" fmla="*/ 974 w 1159"/>
                  <a:gd name="T39" fmla="*/ 185 h 1154"/>
                  <a:gd name="T40" fmla="*/ 1041 w 1159"/>
                  <a:gd name="T41" fmla="*/ 278 h 1154"/>
                  <a:gd name="T42" fmla="*/ 1090 w 1159"/>
                  <a:gd name="T43" fmla="*/ 384 h 1154"/>
                  <a:gd name="T44" fmla="*/ 1115 w 1159"/>
                  <a:gd name="T45" fmla="*/ 501 h 1154"/>
                  <a:gd name="T46" fmla="*/ 1115 w 1159"/>
                  <a:gd name="T47" fmla="*/ 617 h 1154"/>
                  <a:gd name="T48" fmla="*/ 1093 w 1159"/>
                  <a:gd name="T49" fmla="*/ 723 h 1154"/>
                  <a:gd name="T50" fmla="*/ 1049 w 1159"/>
                  <a:gd name="T51" fmla="*/ 822 h 1154"/>
                  <a:gd name="T52" fmla="*/ 988 w 1159"/>
                  <a:gd name="T53" fmla="*/ 913 h 1154"/>
                  <a:gd name="T54" fmla="*/ 1142 w 1159"/>
                  <a:gd name="T55" fmla="*/ 1099 h 1154"/>
                  <a:gd name="T56" fmla="*/ 1106 w 1159"/>
                  <a:gd name="T57" fmla="*/ 1133 h 1154"/>
                  <a:gd name="T58" fmla="*/ 917 w 1159"/>
                  <a:gd name="T59" fmla="*/ 984 h 1154"/>
                  <a:gd name="T60" fmla="*/ 843 w 1159"/>
                  <a:gd name="T61" fmla="*/ 1037 h 1154"/>
                  <a:gd name="T62" fmla="*/ 756 w 1159"/>
                  <a:gd name="T63" fmla="*/ 1079 h 1154"/>
                  <a:gd name="T64" fmla="*/ 662 w 1159"/>
                  <a:gd name="T65" fmla="*/ 1105 h 1154"/>
                  <a:gd name="T66" fmla="*/ 565 w 1159"/>
                  <a:gd name="T67" fmla="*/ 1114 h 1154"/>
                  <a:gd name="T68" fmla="*/ 443 w 1159"/>
                  <a:gd name="T69" fmla="*/ 1101 h 1154"/>
                  <a:gd name="T70" fmla="*/ 331 w 1159"/>
                  <a:gd name="T71" fmla="*/ 1064 h 1154"/>
                  <a:gd name="T72" fmla="*/ 231 w 1159"/>
                  <a:gd name="T73" fmla="*/ 1006 h 1154"/>
                  <a:gd name="T74" fmla="*/ 145 w 1159"/>
                  <a:gd name="T75" fmla="*/ 930 h 1154"/>
                  <a:gd name="T76" fmla="*/ 77 w 1159"/>
                  <a:gd name="T77" fmla="*/ 838 h 1154"/>
                  <a:gd name="T78" fmla="*/ 29 w 1159"/>
                  <a:gd name="T79" fmla="*/ 735 h 1154"/>
                  <a:gd name="T80" fmla="*/ 3 w 1159"/>
                  <a:gd name="T81" fmla="*/ 621 h 1154"/>
                  <a:gd name="T82" fmla="*/ 3 w 1159"/>
                  <a:gd name="T83" fmla="*/ 505 h 1154"/>
                  <a:gd name="T84" fmla="*/ 25 w 1159"/>
                  <a:gd name="T85" fmla="*/ 395 h 1154"/>
                  <a:gd name="T86" fmla="*/ 65 w 1159"/>
                  <a:gd name="T87" fmla="*/ 294 h 1154"/>
                  <a:gd name="T88" fmla="*/ 124 w 1159"/>
                  <a:gd name="T89" fmla="*/ 204 h 1154"/>
                  <a:gd name="T90" fmla="*/ 200 w 1159"/>
                  <a:gd name="T91" fmla="*/ 128 h 1154"/>
                  <a:gd name="T92" fmla="*/ 288 w 1159"/>
                  <a:gd name="T93" fmla="*/ 68 h 1154"/>
                  <a:gd name="T94" fmla="*/ 387 w 1159"/>
                  <a:gd name="T95" fmla="*/ 25 h 1154"/>
                  <a:gd name="T96" fmla="*/ 497 w 1159"/>
                  <a:gd name="T97" fmla="*/ 2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59" h="1154">
                    <a:moveTo>
                      <a:pt x="625" y="271"/>
                    </a:moveTo>
                    <a:lnTo>
                      <a:pt x="597" y="272"/>
                    </a:lnTo>
                    <a:lnTo>
                      <a:pt x="572" y="277"/>
                    </a:lnTo>
                    <a:lnTo>
                      <a:pt x="552" y="283"/>
                    </a:lnTo>
                    <a:lnTo>
                      <a:pt x="536" y="293"/>
                    </a:lnTo>
                    <a:lnTo>
                      <a:pt x="522" y="306"/>
                    </a:lnTo>
                    <a:lnTo>
                      <a:pt x="511" y="321"/>
                    </a:lnTo>
                    <a:lnTo>
                      <a:pt x="503" y="338"/>
                    </a:lnTo>
                    <a:lnTo>
                      <a:pt x="498" y="357"/>
                    </a:lnTo>
                    <a:lnTo>
                      <a:pt x="495" y="379"/>
                    </a:lnTo>
                    <a:lnTo>
                      <a:pt x="494" y="401"/>
                    </a:lnTo>
                    <a:lnTo>
                      <a:pt x="494" y="461"/>
                    </a:lnTo>
                    <a:lnTo>
                      <a:pt x="423" y="461"/>
                    </a:lnTo>
                    <a:lnTo>
                      <a:pt x="423" y="561"/>
                    </a:lnTo>
                    <a:lnTo>
                      <a:pt x="484" y="561"/>
                    </a:lnTo>
                    <a:lnTo>
                      <a:pt x="484" y="843"/>
                    </a:lnTo>
                    <a:lnTo>
                      <a:pt x="604" y="843"/>
                    </a:lnTo>
                    <a:lnTo>
                      <a:pt x="604" y="561"/>
                    </a:lnTo>
                    <a:lnTo>
                      <a:pt x="696" y="561"/>
                    </a:lnTo>
                    <a:lnTo>
                      <a:pt x="705" y="461"/>
                    </a:lnTo>
                    <a:lnTo>
                      <a:pt x="615" y="461"/>
                    </a:lnTo>
                    <a:lnTo>
                      <a:pt x="615" y="412"/>
                    </a:lnTo>
                    <a:lnTo>
                      <a:pt x="615" y="398"/>
                    </a:lnTo>
                    <a:lnTo>
                      <a:pt x="616" y="387"/>
                    </a:lnTo>
                    <a:lnTo>
                      <a:pt x="619" y="380"/>
                    </a:lnTo>
                    <a:lnTo>
                      <a:pt x="627" y="374"/>
                    </a:lnTo>
                    <a:lnTo>
                      <a:pt x="638" y="372"/>
                    </a:lnTo>
                    <a:lnTo>
                      <a:pt x="655" y="371"/>
                    </a:lnTo>
                    <a:lnTo>
                      <a:pt x="705" y="371"/>
                    </a:lnTo>
                    <a:lnTo>
                      <a:pt x="705" y="271"/>
                    </a:lnTo>
                    <a:lnTo>
                      <a:pt x="625" y="271"/>
                    </a:lnTo>
                    <a:close/>
                    <a:moveTo>
                      <a:pt x="554" y="0"/>
                    </a:moveTo>
                    <a:lnTo>
                      <a:pt x="616" y="3"/>
                    </a:lnTo>
                    <a:lnTo>
                      <a:pt x="675" y="13"/>
                    </a:lnTo>
                    <a:lnTo>
                      <a:pt x="733" y="28"/>
                    </a:lnTo>
                    <a:lnTo>
                      <a:pt x="788" y="49"/>
                    </a:lnTo>
                    <a:lnTo>
                      <a:pt x="839" y="76"/>
                    </a:lnTo>
                    <a:lnTo>
                      <a:pt x="888" y="108"/>
                    </a:lnTo>
                    <a:lnTo>
                      <a:pt x="933" y="145"/>
                    </a:lnTo>
                    <a:lnTo>
                      <a:pt x="974" y="185"/>
                    </a:lnTo>
                    <a:lnTo>
                      <a:pt x="1010" y="230"/>
                    </a:lnTo>
                    <a:lnTo>
                      <a:pt x="1041" y="278"/>
                    </a:lnTo>
                    <a:lnTo>
                      <a:pt x="1068" y="329"/>
                    </a:lnTo>
                    <a:lnTo>
                      <a:pt x="1090" y="384"/>
                    </a:lnTo>
                    <a:lnTo>
                      <a:pt x="1106" y="441"/>
                    </a:lnTo>
                    <a:lnTo>
                      <a:pt x="1115" y="501"/>
                    </a:lnTo>
                    <a:lnTo>
                      <a:pt x="1119" y="561"/>
                    </a:lnTo>
                    <a:lnTo>
                      <a:pt x="1115" y="617"/>
                    </a:lnTo>
                    <a:lnTo>
                      <a:pt x="1107" y="670"/>
                    </a:lnTo>
                    <a:lnTo>
                      <a:pt x="1093" y="723"/>
                    </a:lnTo>
                    <a:lnTo>
                      <a:pt x="1074" y="774"/>
                    </a:lnTo>
                    <a:lnTo>
                      <a:pt x="1049" y="822"/>
                    </a:lnTo>
                    <a:lnTo>
                      <a:pt x="1021" y="869"/>
                    </a:lnTo>
                    <a:lnTo>
                      <a:pt x="988" y="913"/>
                    </a:lnTo>
                    <a:lnTo>
                      <a:pt x="1159" y="1084"/>
                    </a:lnTo>
                    <a:lnTo>
                      <a:pt x="1142" y="1099"/>
                    </a:lnTo>
                    <a:lnTo>
                      <a:pt x="1124" y="1115"/>
                    </a:lnTo>
                    <a:lnTo>
                      <a:pt x="1106" y="1133"/>
                    </a:lnTo>
                    <a:lnTo>
                      <a:pt x="1089" y="1154"/>
                    </a:lnTo>
                    <a:lnTo>
                      <a:pt x="917" y="984"/>
                    </a:lnTo>
                    <a:lnTo>
                      <a:pt x="881" y="1012"/>
                    </a:lnTo>
                    <a:lnTo>
                      <a:pt x="843" y="1037"/>
                    </a:lnTo>
                    <a:lnTo>
                      <a:pt x="801" y="1060"/>
                    </a:lnTo>
                    <a:lnTo>
                      <a:pt x="756" y="1079"/>
                    </a:lnTo>
                    <a:lnTo>
                      <a:pt x="710" y="1094"/>
                    </a:lnTo>
                    <a:lnTo>
                      <a:pt x="662" y="1105"/>
                    </a:lnTo>
                    <a:lnTo>
                      <a:pt x="614" y="1111"/>
                    </a:lnTo>
                    <a:lnTo>
                      <a:pt x="565" y="1114"/>
                    </a:lnTo>
                    <a:lnTo>
                      <a:pt x="502" y="1111"/>
                    </a:lnTo>
                    <a:lnTo>
                      <a:pt x="443" y="1101"/>
                    </a:lnTo>
                    <a:lnTo>
                      <a:pt x="385" y="1085"/>
                    </a:lnTo>
                    <a:lnTo>
                      <a:pt x="331" y="1064"/>
                    </a:lnTo>
                    <a:lnTo>
                      <a:pt x="279" y="1037"/>
                    </a:lnTo>
                    <a:lnTo>
                      <a:pt x="231" y="1006"/>
                    </a:lnTo>
                    <a:lnTo>
                      <a:pt x="186" y="970"/>
                    </a:lnTo>
                    <a:lnTo>
                      <a:pt x="145" y="930"/>
                    </a:lnTo>
                    <a:lnTo>
                      <a:pt x="108" y="886"/>
                    </a:lnTo>
                    <a:lnTo>
                      <a:pt x="77" y="838"/>
                    </a:lnTo>
                    <a:lnTo>
                      <a:pt x="50" y="788"/>
                    </a:lnTo>
                    <a:lnTo>
                      <a:pt x="29" y="735"/>
                    </a:lnTo>
                    <a:lnTo>
                      <a:pt x="13" y="679"/>
                    </a:lnTo>
                    <a:lnTo>
                      <a:pt x="3" y="621"/>
                    </a:lnTo>
                    <a:lnTo>
                      <a:pt x="0" y="561"/>
                    </a:lnTo>
                    <a:lnTo>
                      <a:pt x="3" y="505"/>
                    </a:lnTo>
                    <a:lnTo>
                      <a:pt x="11" y="448"/>
                    </a:lnTo>
                    <a:lnTo>
                      <a:pt x="25" y="395"/>
                    </a:lnTo>
                    <a:lnTo>
                      <a:pt x="43" y="342"/>
                    </a:lnTo>
                    <a:lnTo>
                      <a:pt x="65" y="294"/>
                    </a:lnTo>
                    <a:lnTo>
                      <a:pt x="93" y="247"/>
                    </a:lnTo>
                    <a:lnTo>
                      <a:pt x="124" y="204"/>
                    </a:lnTo>
                    <a:lnTo>
                      <a:pt x="160" y="164"/>
                    </a:lnTo>
                    <a:lnTo>
                      <a:pt x="200" y="128"/>
                    </a:lnTo>
                    <a:lnTo>
                      <a:pt x="241" y="95"/>
                    </a:lnTo>
                    <a:lnTo>
                      <a:pt x="288" y="68"/>
                    </a:lnTo>
                    <a:lnTo>
                      <a:pt x="336" y="44"/>
                    </a:lnTo>
                    <a:lnTo>
                      <a:pt x="387" y="25"/>
                    </a:lnTo>
                    <a:lnTo>
                      <a:pt x="441" y="11"/>
                    </a:lnTo>
                    <a:lnTo>
                      <a:pt x="497" y="2"/>
                    </a:lnTo>
                    <a:lnTo>
                      <a:pt x="5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8" name="Freeform 24"/>
              <p:cNvSpPr>
                <a:spLocks/>
              </p:cNvSpPr>
              <p:nvPr/>
            </p:nvSpPr>
            <p:spPr bwMode="auto">
              <a:xfrm>
                <a:off x="-618" y="2470"/>
                <a:ext cx="160" cy="159"/>
              </a:xfrm>
              <a:custGeom>
                <a:avLst/>
                <a:gdLst>
                  <a:gd name="T0" fmla="*/ 659 w 1119"/>
                  <a:gd name="T1" fmla="*/ 9 h 1114"/>
                  <a:gd name="T2" fmla="*/ 638 w 1119"/>
                  <a:gd name="T3" fmla="*/ 40 h 1114"/>
                  <a:gd name="T4" fmla="*/ 667 w 1119"/>
                  <a:gd name="T5" fmla="*/ 61 h 1114"/>
                  <a:gd name="T6" fmla="*/ 718 w 1119"/>
                  <a:gd name="T7" fmla="*/ 97 h 1114"/>
                  <a:gd name="T8" fmla="*/ 746 w 1119"/>
                  <a:gd name="T9" fmla="*/ 160 h 1114"/>
                  <a:gd name="T10" fmla="*/ 748 w 1119"/>
                  <a:gd name="T11" fmla="*/ 304 h 1114"/>
                  <a:gd name="T12" fmla="*/ 770 w 1119"/>
                  <a:gd name="T13" fmla="*/ 310 h 1114"/>
                  <a:gd name="T14" fmla="*/ 766 w 1119"/>
                  <a:gd name="T15" fmla="*/ 351 h 1114"/>
                  <a:gd name="T16" fmla="*/ 761 w 1119"/>
                  <a:gd name="T17" fmla="*/ 391 h 1114"/>
                  <a:gd name="T18" fmla="*/ 753 w 1119"/>
                  <a:gd name="T19" fmla="*/ 409 h 1114"/>
                  <a:gd name="T20" fmla="*/ 747 w 1119"/>
                  <a:gd name="T21" fmla="*/ 411 h 1114"/>
                  <a:gd name="T22" fmla="*/ 737 w 1119"/>
                  <a:gd name="T23" fmla="*/ 464 h 1114"/>
                  <a:gd name="T24" fmla="*/ 704 w 1119"/>
                  <a:gd name="T25" fmla="*/ 537 h 1114"/>
                  <a:gd name="T26" fmla="*/ 695 w 1119"/>
                  <a:gd name="T27" fmla="*/ 559 h 1114"/>
                  <a:gd name="T28" fmla="*/ 706 w 1119"/>
                  <a:gd name="T29" fmla="*/ 622 h 1114"/>
                  <a:gd name="T30" fmla="*/ 710 w 1119"/>
                  <a:gd name="T31" fmla="*/ 629 h 1114"/>
                  <a:gd name="T32" fmla="*/ 711 w 1119"/>
                  <a:gd name="T33" fmla="*/ 632 h 1114"/>
                  <a:gd name="T34" fmla="*/ 732 w 1119"/>
                  <a:gd name="T35" fmla="*/ 637 h 1114"/>
                  <a:gd name="T36" fmla="*/ 737 w 1119"/>
                  <a:gd name="T37" fmla="*/ 681 h 1114"/>
                  <a:gd name="T38" fmla="*/ 761 w 1119"/>
                  <a:gd name="T39" fmla="*/ 720 h 1114"/>
                  <a:gd name="T40" fmla="*/ 961 w 1119"/>
                  <a:gd name="T41" fmla="*/ 781 h 1114"/>
                  <a:gd name="T42" fmla="*/ 1059 w 1119"/>
                  <a:gd name="T43" fmla="*/ 820 h 1114"/>
                  <a:gd name="T44" fmla="*/ 1041 w 1119"/>
                  <a:gd name="T45" fmla="*/ 965 h 1114"/>
                  <a:gd name="T46" fmla="*/ 870 w 1119"/>
                  <a:gd name="T47" fmla="*/ 1032 h 1114"/>
                  <a:gd name="T48" fmla="*/ 671 w 1119"/>
                  <a:gd name="T49" fmla="*/ 1103 h 1114"/>
                  <a:gd name="T50" fmla="*/ 423 w 1119"/>
                  <a:gd name="T51" fmla="*/ 1090 h 1114"/>
                  <a:gd name="T52" fmla="*/ 271 w 1119"/>
                  <a:gd name="T53" fmla="*/ 1027 h 1114"/>
                  <a:gd name="T54" fmla="*/ 126 w 1119"/>
                  <a:gd name="T55" fmla="*/ 970 h 1114"/>
                  <a:gd name="T56" fmla="*/ 51 w 1119"/>
                  <a:gd name="T57" fmla="*/ 833 h 1114"/>
                  <a:gd name="T58" fmla="*/ 100 w 1119"/>
                  <a:gd name="T59" fmla="*/ 803 h 1114"/>
                  <a:gd name="T60" fmla="*/ 197 w 1119"/>
                  <a:gd name="T61" fmla="*/ 776 h 1114"/>
                  <a:gd name="T62" fmla="*/ 312 w 1119"/>
                  <a:gd name="T63" fmla="*/ 737 h 1114"/>
                  <a:gd name="T64" fmla="*/ 365 w 1119"/>
                  <a:gd name="T65" fmla="*/ 714 h 1114"/>
                  <a:gd name="T66" fmla="*/ 383 w 1119"/>
                  <a:gd name="T67" fmla="*/ 663 h 1114"/>
                  <a:gd name="T68" fmla="*/ 393 w 1119"/>
                  <a:gd name="T69" fmla="*/ 634 h 1114"/>
                  <a:gd name="T70" fmla="*/ 411 w 1119"/>
                  <a:gd name="T71" fmla="*/ 629 h 1114"/>
                  <a:gd name="T72" fmla="*/ 414 w 1119"/>
                  <a:gd name="T73" fmla="*/ 623 h 1114"/>
                  <a:gd name="T74" fmla="*/ 423 w 1119"/>
                  <a:gd name="T75" fmla="*/ 568 h 1114"/>
                  <a:gd name="T76" fmla="*/ 415 w 1119"/>
                  <a:gd name="T77" fmla="*/ 533 h 1114"/>
                  <a:gd name="T78" fmla="*/ 389 w 1119"/>
                  <a:gd name="T79" fmla="*/ 472 h 1114"/>
                  <a:gd name="T80" fmla="*/ 373 w 1119"/>
                  <a:gd name="T81" fmla="*/ 411 h 1114"/>
                  <a:gd name="T82" fmla="*/ 367 w 1119"/>
                  <a:gd name="T83" fmla="*/ 409 h 1114"/>
                  <a:gd name="T84" fmla="*/ 356 w 1119"/>
                  <a:gd name="T85" fmla="*/ 388 h 1114"/>
                  <a:gd name="T86" fmla="*/ 342 w 1119"/>
                  <a:gd name="T87" fmla="*/ 346 h 1114"/>
                  <a:gd name="T88" fmla="*/ 336 w 1119"/>
                  <a:gd name="T89" fmla="*/ 314 h 1114"/>
                  <a:gd name="T90" fmla="*/ 356 w 1119"/>
                  <a:gd name="T91" fmla="*/ 303 h 1114"/>
                  <a:gd name="T92" fmla="*/ 361 w 1119"/>
                  <a:gd name="T93" fmla="*/ 303 h 1114"/>
                  <a:gd name="T94" fmla="*/ 363 w 1119"/>
                  <a:gd name="T95" fmla="*/ 294 h 1114"/>
                  <a:gd name="T96" fmla="*/ 372 w 1119"/>
                  <a:gd name="T97" fmla="*/ 127 h 1114"/>
                  <a:gd name="T98" fmla="*/ 445 w 1119"/>
                  <a:gd name="T99" fmla="*/ 60 h 1114"/>
                  <a:gd name="T100" fmla="*/ 569 w 1119"/>
                  <a:gd name="T101" fmla="*/ 16 h 1114"/>
                  <a:gd name="T102" fmla="*/ 636 w 1119"/>
                  <a:gd name="T103" fmla="*/ 2 h 1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19" h="1114">
                    <a:moveTo>
                      <a:pt x="655" y="0"/>
                    </a:moveTo>
                    <a:lnTo>
                      <a:pt x="665" y="0"/>
                    </a:lnTo>
                    <a:lnTo>
                      <a:pt x="664" y="6"/>
                    </a:lnTo>
                    <a:lnTo>
                      <a:pt x="659" y="9"/>
                    </a:lnTo>
                    <a:lnTo>
                      <a:pt x="652" y="14"/>
                    </a:lnTo>
                    <a:lnTo>
                      <a:pt x="645" y="20"/>
                    </a:lnTo>
                    <a:lnTo>
                      <a:pt x="638" y="30"/>
                    </a:lnTo>
                    <a:lnTo>
                      <a:pt x="638" y="40"/>
                    </a:lnTo>
                    <a:lnTo>
                      <a:pt x="645" y="50"/>
                    </a:lnTo>
                    <a:lnTo>
                      <a:pt x="651" y="51"/>
                    </a:lnTo>
                    <a:lnTo>
                      <a:pt x="659" y="55"/>
                    </a:lnTo>
                    <a:lnTo>
                      <a:pt x="667" y="61"/>
                    </a:lnTo>
                    <a:lnTo>
                      <a:pt x="680" y="69"/>
                    </a:lnTo>
                    <a:lnTo>
                      <a:pt x="695" y="80"/>
                    </a:lnTo>
                    <a:lnTo>
                      <a:pt x="706" y="86"/>
                    </a:lnTo>
                    <a:lnTo>
                      <a:pt x="718" y="97"/>
                    </a:lnTo>
                    <a:lnTo>
                      <a:pt x="728" y="109"/>
                    </a:lnTo>
                    <a:lnTo>
                      <a:pt x="737" y="124"/>
                    </a:lnTo>
                    <a:lnTo>
                      <a:pt x="743" y="141"/>
                    </a:lnTo>
                    <a:lnTo>
                      <a:pt x="746" y="160"/>
                    </a:lnTo>
                    <a:lnTo>
                      <a:pt x="746" y="281"/>
                    </a:lnTo>
                    <a:lnTo>
                      <a:pt x="746" y="292"/>
                    </a:lnTo>
                    <a:lnTo>
                      <a:pt x="747" y="299"/>
                    </a:lnTo>
                    <a:lnTo>
                      <a:pt x="748" y="304"/>
                    </a:lnTo>
                    <a:lnTo>
                      <a:pt x="751" y="304"/>
                    </a:lnTo>
                    <a:lnTo>
                      <a:pt x="756" y="301"/>
                    </a:lnTo>
                    <a:lnTo>
                      <a:pt x="765" y="303"/>
                    </a:lnTo>
                    <a:lnTo>
                      <a:pt x="770" y="310"/>
                    </a:lnTo>
                    <a:lnTo>
                      <a:pt x="772" y="318"/>
                    </a:lnTo>
                    <a:lnTo>
                      <a:pt x="772" y="329"/>
                    </a:lnTo>
                    <a:lnTo>
                      <a:pt x="770" y="341"/>
                    </a:lnTo>
                    <a:lnTo>
                      <a:pt x="766" y="351"/>
                    </a:lnTo>
                    <a:lnTo>
                      <a:pt x="766" y="365"/>
                    </a:lnTo>
                    <a:lnTo>
                      <a:pt x="766" y="376"/>
                    </a:lnTo>
                    <a:lnTo>
                      <a:pt x="764" y="384"/>
                    </a:lnTo>
                    <a:lnTo>
                      <a:pt x="761" y="391"/>
                    </a:lnTo>
                    <a:lnTo>
                      <a:pt x="756" y="402"/>
                    </a:lnTo>
                    <a:lnTo>
                      <a:pt x="755" y="405"/>
                    </a:lnTo>
                    <a:lnTo>
                      <a:pt x="754" y="407"/>
                    </a:lnTo>
                    <a:lnTo>
                      <a:pt x="753" y="409"/>
                    </a:lnTo>
                    <a:lnTo>
                      <a:pt x="751" y="410"/>
                    </a:lnTo>
                    <a:lnTo>
                      <a:pt x="749" y="410"/>
                    </a:lnTo>
                    <a:lnTo>
                      <a:pt x="748" y="411"/>
                    </a:lnTo>
                    <a:lnTo>
                      <a:pt x="747" y="411"/>
                    </a:lnTo>
                    <a:lnTo>
                      <a:pt x="746" y="411"/>
                    </a:lnTo>
                    <a:lnTo>
                      <a:pt x="746" y="424"/>
                    </a:lnTo>
                    <a:lnTo>
                      <a:pt x="742" y="442"/>
                    </a:lnTo>
                    <a:lnTo>
                      <a:pt x="737" y="464"/>
                    </a:lnTo>
                    <a:lnTo>
                      <a:pt x="729" y="487"/>
                    </a:lnTo>
                    <a:lnTo>
                      <a:pt x="719" y="511"/>
                    </a:lnTo>
                    <a:lnTo>
                      <a:pt x="706" y="532"/>
                    </a:lnTo>
                    <a:lnTo>
                      <a:pt x="704" y="537"/>
                    </a:lnTo>
                    <a:lnTo>
                      <a:pt x="700" y="542"/>
                    </a:lnTo>
                    <a:lnTo>
                      <a:pt x="697" y="546"/>
                    </a:lnTo>
                    <a:lnTo>
                      <a:pt x="695" y="551"/>
                    </a:lnTo>
                    <a:lnTo>
                      <a:pt x="695" y="559"/>
                    </a:lnTo>
                    <a:lnTo>
                      <a:pt x="696" y="570"/>
                    </a:lnTo>
                    <a:lnTo>
                      <a:pt x="697" y="582"/>
                    </a:lnTo>
                    <a:lnTo>
                      <a:pt x="700" y="601"/>
                    </a:lnTo>
                    <a:lnTo>
                      <a:pt x="706" y="622"/>
                    </a:lnTo>
                    <a:lnTo>
                      <a:pt x="708" y="625"/>
                    </a:lnTo>
                    <a:lnTo>
                      <a:pt x="709" y="627"/>
                    </a:lnTo>
                    <a:lnTo>
                      <a:pt x="710" y="628"/>
                    </a:lnTo>
                    <a:lnTo>
                      <a:pt x="710" y="629"/>
                    </a:lnTo>
                    <a:lnTo>
                      <a:pt x="710" y="630"/>
                    </a:lnTo>
                    <a:lnTo>
                      <a:pt x="710" y="632"/>
                    </a:lnTo>
                    <a:lnTo>
                      <a:pt x="711" y="632"/>
                    </a:lnTo>
                    <a:lnTo>
                      <a:pt x="711" y="632"/>
                    </a:lnTo>
                    <a:lnTo>
                      <a:pt x="713" y="632"/>
                    </a:lnTo>
                    <a:lnTo>
                      <a:pt x="715" y="632"/>
                    </a:lnTo>
                    <a:lnTo>
                      <a:pt x="725" y="633"/>
                    </a:lnTo>
                    <a:lnTo>
                      <a:pt x="732" y="637"/>
                    </a:lnTo>
                    <a:lnTo>
                      <a:pt x="735" y="643"/>
                    </a:lnTo>
                    <a:lnTo>
                      <a:pt x="736" y="651"/>
                    </a:lnTo>
                    <a:lnTo>
                      <a:pt x="736" y="663"/>
                    </a:lnTo>
                    <a:lnTo>
                      <a:pt x="737" y="681"/>
                    </a:lnTo>
                    <a:lnTo>
                      <a:pt x="741" y="696"/>
                    </a:lnTo>
                    <a:lnTo>
                      <a:pt x="748" y="707"/>
                    </a:lnTo>
                    <a:lnTo>
                      <a:pt x="754" y="716"/>
                    </a:lnTo>
                    <a:lnTo>
                      <a:pt x="761" y="720"/>
                    </a:lnTo>
                    <a:lnTo>
                      <a:pt x="766" y="722"/>
                    </a:lnTo>
                    <a:lnTo>
                      <a:pt x="832" y="744"/>
                    </a:lnTo>
                    <a:lnTo>
                      <a:pt x="897" y="763"/>
                    </a:lnTo>
                    <a:lnTo>
                      <a:pt x="961" y="781"/>
                    </a:lnTo>
                    <a:lnTo>
                      <a:pt x="1028" y="803"/>
                    </a:lnTo>
                    <a:lnTo>
                      <a:pt x="1038" y="805"/>
                    </a:lnTo>
                    <a:lnTo>
                      <a:pt x="1048" y="810"/>
                    </a:lnTo>
                    <a:lnTo>
                      <a:pt x="1059" y="820"/>
                    </a:lnTo>
                    <a:lnTo>
                      <a:pt x="1069" y="833"/>
                    </a:lnTo>
                    <a:lnTo>
                      <a:pt x="1119" y="953"/>
                    </a:lnTo>
                    <a:lnTo>
                      <a:pt x="1079" y="957"/>
                    </a:lnTo>
                    <a:lnTo>
                      <a:pt x="1041" y="965"/>
                    </a:lnTo>
                    <a:lnTo>
                      <a:pt x="1000" y="978"/>
                    </a:lnTo>
                    <a:lnTo>
                      <a:pt x="958" y="994"/>
                    </a:lnTo>
                    <a:lnTo>
                      <a:pt x="915" y="1012"/>
                    </a:lnTo>
                    <a:lnTo>
                      <a:pt x="870" y="1032"/>
                    </a:lnTo>
                    <a:lnTo>
                      <a:pt x="824" y="1053"/>
                    </a:lnTo>
                    <a:lnTo>
                      <a:pt x="776" y="1072"/>
                    </a:lnTo>
                    <a:lnTo>
                      <a:pt x="724" y="1089"/>
                    </a:lnTo>
                    <a:lnTo>
                      <a:pt x="671" y="1103"/>
                    </a:lnTo>
                    <a:lnTo>
                      <a:pt x="615" y="1114"/>
                    </a:lnTo>
                    <a:lnTo>
                      <a:pt x="514" y="1114"/>
                    </a:lnTo>
                    <a:lnTo>
                      <a:pt x="467" y="1103"/>
                    </a:lnTo>
                    <a:lnTo>
                      <a:pt x="423" y="1090"/>
                    </a:lnTo>
                    <a:lnTo>
                      <a:pt x="383" y="1076"/>
                    </a:lnTo>
                    <a:lnTo>
                      <a:pt x="344" y="1060"/>
                    </a:lnTo>
                    <a:lnTo>
                      <a:pt x="307" y="1043"/>
                    </a:lnTo>
                    <a:lnTo>
                      <a:pt x="271" y="1027"/>
                    </a:lnTo>
                    <a:lnTo>
                      <a:pt x="236" y="1011"/>
                    </a:lnTo>
                    <a:lnTo>
                      <a:pt x="200" y="995"/>
                    </a:lnTo>
                    <a:lnTo>
                      <a:pt x="164" y="981"/>
                    </a:lnTo>
                    <a:lnTo>
                      <a:pt x="126" y="970"/>
                    </a:lnTo>
                    <a:lnTo>
                      <a:pt x="86" y="961"/>
                    </a:lnTo>
                    <a:lnTo>
                      <a:pt x="44" y="955"/>
                    </a:lnTo>
                    <a:lnTo>
                      <a:pt x="0" y="953"/>
                    </a:lnTo>
                    <a:lnTo>
                      <a:pt x="51" y="833"/>
                    </a:lnTo>
                    <a:lnTo>
                      <a:pt x="58" y="825"/>
                    </a:lnTo>
                    <a:lnTo>
                      <a:pt x="68" y="818"/>
                    </a:lnTo>
                    <a:lnTo>
                      <a:pt x="82" y="810"/>
                    </a:lnTo>
                    <a:lnTo>
                      <a:pt x="100" y="803"/>
                    </a:lnTo>
                    <a:lnTo>
                      <a:pt x="119" y="798"/>
                    </a:lnTo>
                    <a:lnTo>
                      <a:pt x="141" y="793"/>
                    </a:lnTo>
                    <a:lnTo>
                      <a:pt x="168" y="784"/>
                    </a:lnTo>
                    <a:lnTo>
                      <a:pt x="197" y="776"/>
                    </a:lnTo>
                    <a:lnTo>
                      <a:pt x="227" y="766"/>
                    </a:lnTo>
                    <a:lnTo>
                      <a:pt x="257" y="757"/>
                    </a:lnTo>
                    <a:lnTo>
                      <a:pt x="286" y="747"/>
                    </a:lnTo>
                    <a:lnTo>
                      <a:pt x="312" y="737"/>
                    </a:lnTo>
                    <a:lnTo>
                      <a:pt x="334" y="729"/>
                    </a:lnTo>
                    <a:lnTo>
                      <a:pt x="353" y="722"/>
                    </a:lnTo>
                    <a:lnTo>
                      <a:pt x="359" y="720"/>
                    </a:lnTo>
                    <a:lnTo>
                      <a:pt x="365" y="714"/>
                    </a:lnTo>
                    <a:lnTo>
                      <a:pt x="372" y="704"/>
                    </a:lnTo>
                    <a:lnTo>
                      <a:pt x="377" y="691"/>
                    </a:lnTo>
                    <a:lnTo>
                      <a:pt x="382" y="678"/>
                    </a:lnTo>
                    <a:lnTo>
                      <a:pt x="383" y="663"/>
                    </a:lnTo>
                    <a:lnTo>
                      <a:pt x="384" y="652"/>
                    </a:lnTo>
                    <a:lnTo>
                      <a:pt x="385" y="643"/>
                    </a:lnTo>
                    <a:lnTo>
                      <a:pt x="387" y="637"/>
                    </a:lnTo>
                    <a:lnTo>
                      <a:pt x="393" y="634"/>
                    </a:lnTo>
                    <a:lnTo>
                      <a:pt x="403" y="633"/>
                    </a:lnTo>
                    <a:lnTo>
                      <a:pt x="406" y="632"/>
                    </a:lnTo>
                    <a:lnTo>
                      <a:pt x="409" y="630"/>
                    </a:lnTo>
                    <a:lnTo>
                      <a:pt x="411" y="629"/>
                    </a:lnTo>
                    <a:lnTo>
                      <a:pt x="412" y="627"/>
                    </a:lnTo>
                    <a:lnTo>
                      <a:pt x="413" y="625"/>
                    </a:lnTo>
                    <a:lnTo>
                      <a:pt x="413" y="624"/>
                    </a:lnTo>
                    <a:lnTo>
                      <a:pt x="414" y="623"/>
                    </a:lnTo>
                    <a:lnTo>
                      <a:pt x="414" y="622"/>
                    </a:lnTo>
                    <a:lnTo>
                      <a:pt x="419" y="606"/>
                    </a:lnTo>
                    <a:lnTo>
                      <a:pt x="422" y="587"/>
                    </a:lnTo>
                    <a:lnTo>
                      <a:pt x="423" y="568"/>
                    </a:lnTo>
                    <a:lnTo>
                      <a:pt x="423" y="552"/>
                    </a:lnTo>
                    <a:lnTo>
                      <a:pt x="422" y="545"/>
                    </a:lnTo>
                    <a:lnTo>
                      <a:pt x="418" y="539"/>
                    </a:lnTo>
                    <a:lnTo>
                      <a:pt x="415" y="533"/>
                    </a:lnTo>
                    <a:lnTo>
                      <a:pt x="414" y="532"/>
                    </a:lnTo>
                    <a:lnTo>
                      <a:pt x="404" y="515"/>
                    </a:lnTo>
                    <a:lnTo>
                      <a:pt x="397" y="494"/>
                    </a:lnTo>
                    <a:lnTo>
                      <a:pt x="389" y="472"/>
                    </a:lnTo>
                    <a:lnTo>
                      <a:pt x="384" y="450"/>
                    </a:lnTo>
                    <a:lnTo>
                      <a:pt x="378" y="428"/>
                    </a:lnTo>
                    <a:lnTo>
                      <a:pt x="373" y="411"/>
                    </a:lnTo>
                    <a:lnTo>
                      <a:pt x="373" y="411"/>
                    </a:lnTo>
                    <a:lnTo>
                      <a:pt x="371" y="411"/>
                    </a:lnTo>
                    <a:lnTo>
                      <a:pt x="370" y="411"/>
                    </a:lnTo>
                    <a:lnTo>
                      <a:pt x="368" y="410"/>
                    </a:lnTo>
                    <a:lnTo>
                      <a:pt x="367" y="409"/>
                    </a:lnTo>
                    <a:lnTo>
                      <a:pt x="364" y="407"/>
                    </a:lnTo>
                    <a:lnTo>
                      <a:pt x="363" y="405"/>
                    </a:lnTo>
                    <a:lnTo>
                      <a:pt x="363" y="402"/>
                    </a:lnTo>
                    <a:lnTo>
                      <a:pt x="356" y="388"/>
                    </a:lnTo>
                    <a:lnTo>
                      <a:pt x="349" y="376"/>
                    </a:lnTo>
                    <a:lnTo>
                      <a:pt x="344" y="364"/>
                    </a:lnTo>
                    <a:lnTo>
                      <a:pt x="343" y="351"/>
                    </a:lnTo>
                    <a:lnTo>
                      <a:pt x="342" y="346"/>
                    </a:lnTo>
                    <a:lnTo>
                      <a:pt x="340" y="339"/>
                    </a:lnTo>
                    <a:lnTo>
                      <a:pt x="338" y="331"/>
                    </a:lnTo>
                    <a:lnTo>
                      <a:pt x="336" y="323"/>
                    </a:lnTo>
                    <a:lnTo>
                      <a:pt x="336" y="314"/>
                    </a:lnTo>
                    <a:lnTo>
                      <a:pt x="339" y="308"/>
                    </a:lnTo>
                    <a:lnTo>
                      <a:pt x="344" y="302"/>
                    </a:lnTo>
                    <a:lnTo>
                      <a:pt x="353" y="301"/>
                    </a:lnTo>
                    <a:lnTo>
                      <a:pt x="356" y="303"/>
                    </a:lnTo>
                    <a:lnTo>
                      <a:pt x="358" y="304"/>
                    </a:lnTo>
                    <a:lnTo>
                      <a:pt x="359" y="305"/>
                    </a:lnTo>
                    <a:lnTo>
                      <a:pt x="361" y="304"/>
                    </a:lnTo>
                    <a:lnTo>
                      <a:pt x="361" y="303"/>
                    </a:lnTo>
                    <a:lnTo>
                      <a:pt x="362" y="301"/>
                    </a:lnTo>
                    <a:lnTo>
                      <a:pt x="362" y="299"/>
                    </a:lnTo>
                    <a:lnTo>
                      <a:pt x="362" y="297"/>
                    </a:lnTo>
                    <a:lnTo>
                      <a:pt x="363" y="294"/>
                    </a:lnTo>
                    <a:lnTo>
                      <a:pt x="363" y="291"/>
                    </a:lnTo>
                    <a:lnTo>
                      <a:pt x="363" y="171"/>
                    </a:lnTo>
                    <a:lnTo>
                      <a:pt x="365" y="147"/>
                    </a:lnTo>
                    <a:lnTo>
                      <a:pt x="372" y="127"/>
                    </a:lnTo>
                    <a:lnTo>
                      <a:pt x="383" y="109"/>
                    </a:lnTo>
                    <a:lnTo>
                      <a:pt x="397" y="94"/>
                    </a:lnTo>
                    <a:lnTo>
                      <a:pt x="414" y="80"/>
                    </a:lnTo>
                    <a:lnTo>
                      <a:pt x="445" y="60"/>
                    </a:lnTo>
                    <a:lnTo>
                      <a:pt x="480" y="42"/>
                    </a:lnTo>
                    <a:lnTo>
                      <a:pt x="517" y="30"/>
                    </a:lnTo>
                    <a:lnTo>
                      <a:pt x="554" y="20"/>
                    </a:lnTo>
                    <a:lnTo>
                      <a:pt x="569" y="16"/>
                    </a:lnTo>
                    <a:lnTo>
                      <a:pt x="586" y="11"/>
                    </a:lnTo>
                    <a:lnTo>
                      <a:pt x="604" y="8"/>
                    </a:lnTo>
                    <a:lnTo>
                      <a:pt x="621" y="5"/>
                    </a:lnTo>
                    <a:lnTo>
                      <a:pt x="636" y="2"/>
                    </a:lnTo>
                    <a:lnTo>
                      <a:pt x="648" y="1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82" name="Rectangle 81"/>
          <p:cNvSpPr/>
          <p:nvPr/>
        </p:nvSpPr>
        <p:spPr bwMode="ltGray">
          <a:xfrm>
            <a:off x="6174395" y="-2"/>
            <a:ext cx="2969606" cy="43409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000" b="1" i="1" dirty="0" smtClean="0">
                <a:solidFill>
                  <a:schemeClr val="bg1"/>
                </a:solidFill>
                <a:latin typeface="+mj-lt"/>
              </a:rPr>
              <a:t>Банковские услуги, телекоммуникации, розничные сети</a:t>
            </a:r>
            <a:endParaRPr lang="ru-RU" sz="1000" b="1" i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11255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8835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3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598079"/>
            <a:ext cx="73896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Обработка в режиме реального времени</a:t>
            </a:r>
          </a:p>
        </p:txBody>
      </p:sp>
      <p:sp>
        <p:nvSpPr>
          <p:cNvPr id="40" name="Rectangle 17"/>
          <p:cNvSpPr>
            <a:spLocks/>
          </p:cNvSpPr>
          <p:nvPr/>
        </p:nvSpPr>
        <p:spPr bwMode="auto">
          <a:xfrm>
            <a:off x="284929" y="3245601"/>
            <a:ext cx="59051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Данные</a:t>
            </a:r>
            <a:endParaRPr lang="ru-RU" sz="1050" b="1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812122" y="5516250"/>
            <a:ext cx="7137400" cy="12824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1" algn="r">
              <a:lnSpc>
                <a:spcPts val="2000"/>
              </a:lnSpc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регулярно обновляемая</a:t>
            </a:r>
          </a:p>
          <a:p>
            <a:pPr algn="r">
              <a:lnSpc>
                <a:spcPts val="2000"/>
              </a:lnSpc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 информация о текущем местоположении магазинов </a:t>
            </a:r>
          </a:p>
          <a:p>
            <a:pPr algn="r">
              <a:lnSpc>
                <a:spcPts val="2000"/>
              </a:lnSpc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~400 000 записей</a:t>
            </a:r>
            <a:r>
              <a:rPr sz="1400" i="1" dirty="0">
                <a:solidFill>
                  <a:schemeClr val="bg1"/>
                </a:solidFill>
                <a:latin typeface="+mj-lt"/>
              </a:rPr>
              <a:t/>
            </a:r>
            <a:br>
              <a:rPr sz="1400" i="1" dirty="0">
                <a:solidFill>
                  <a:schemeClr val="bg1"/>
                </a:solidFill>
                <a:latin typeface="+mj-lt"/>
              </a:rPr>
            </a:b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гипермаркеты, супермаркеты, дискаунтеры, АЗС и магазины шаговой доступности 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7725713" y="2591978"/>
            <a:ext cx="1418286" cy="864843"/>
            <a:chOff x="1446993" y="1852748"/>
            <a:chExt cx="2076407" cy="1026683"/>
          </a:xfrm>
        </p:grpSpPr>
        <p:sp>
          <p:nvSpPr>
            <p:cNvPr id="139" name="TextBox 53"/>
            <p:cNvSpPr txBox="1">
              <a:spLocks noChangeArrowheads="1"/>
            </p:cNvSpPr>
            <p:nvPr/>
          </p:nvSpPr>
          <p:spPr bwMode="auto">
            <a:xfrm>
              <a:off x="1798948" y="2550596"/>
              <a:ext cx="1145484" cy="3288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ru-RU" sz="900" i="1" dirty="0" smtClean="0">
                  <a:solidFill>
                    <a:schemeClr val="bg1"/>
                  </a:solidFill>
                  <a:latin typeface="+mj-lt"/>
                </a:rPr>
                <a:t>Внешние данные</a:t>
              </a:r>
              <a:endParaRPr lang="ru-RU" sz="9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0" name="Flowchart: Magnetic Disk 139"/>
            <p:cNvSpPr/>
            <p:nvPr/>
          </p:nvSpPr>
          <p:spPr bwMode="auto">
            <a:xfrm>
              <a:off x="1446993" y="2527149"/>
              <a:ext cx="223884" cy="200783"/>
            </a:xfrm>
            <a:prstGeom prst="flowChartMagneticDisk">
              <a:avLst/>
            </a:prstGeom>
            <a:solidFill>
              <a:srgbClr val="A7A49B"/>
            </a:solidFill>
            <a:ln w="3175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900" b="1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7" name="TextBox 56"/>
            <p:cNvSpPr txBox="1">
              <a:spLocks noChangeArrowheads="1"/>
            </p:cNvSpPr>
            <p:nvPr/>
          </p:nvSpPr>
          <p:spPr bwMode="auto">
            <a:xfrm>
              <a:off x="1798948" y="1876195"/>
              <a:ext cx="1387868" cy="3288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ru-RU" sz="900" i="1" dirty="0" smtClean="0">
                  <a:solidFill>
                    <a:schemeClr val="bg1"/>
                  </a:solidFill>
                  <a:latin typeface="+mj-lt"/>
                </a:rPr>
                <a:t>Расчетные таблицы</a:t>
              </a:r>
              <a:endParaRPr lang="ru-RU" sz="9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8" name="Flowchart: Magnetic Disk 137"/>
            <p:cNvSpPr/>
            <p:nvPr/>
          </p:nvSpPr>
          <p:spPr bwMode="auto">
            <a:xfrm>
              <a:off x="1446993" y="1852748"/>
              <a:ext cx="223881" cy="200783"/>
            </a:xfrm>
            <a:prstGeom prst="flowChartMagneticDisk">
              <a:avLst/>
            </a:prstGeom>
            <a:solidFill>
              <a:schemeClr val="accent5">
                <a:lumMod val="60000"/>
                <a:lumOff val="40000"/>
              </a:schemeClr>
            </a:solidFill>
            <a:ln w="3175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900" b="1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5" name="Flowchart: Magnetic Disk 134"/>
            <p:cNvSpPr/>
            <p:nvPr/>
          </p:nvSpPr>
          <p:spPr bwMode="auto">
            <a:xfrm>
              <a:off x="1446993" y="2189948"/>
              <a:ext cx="223881" cy="200783"/>
            </a:xfrm>
            <a:prstGeom prst="flowChartMagneticDisk">
              <a:avLst/>
            </a:prstGeom>
            <a:solidFill>
              <a:schemeClr val="tx2"/>
            </a:solidFill>
            <a:ln w="3175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900" b="1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6" name="TextBox 62"/>
            <p:cNvSpPr txBox="1">
              <a:spLocks noChangeArrowheads="1"/>
            </p:cNvSpPr>
            <p:nvPr/>
          </p:nvSpPr>
          <p:spPr bwMode="auto">
            <a:xfrm>
              <a:off x="1798946" y="2213395"/>
              <a:ext cx="1724454" cy="3288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ru-RU" sz="900" i="1" dirty="0" smtClean="0">
                  <a:solidFill>
                    <a:schemeClr val="bg1"/>
                  </a:solidFill>
                  <a:latin typeface="+mj-lt"/>
                </a:rPr>
                <a:t>Внутренние клиентские данные</a:t>
              </a:r>
              <a:endParaRPr lang="ru-RU" sz="900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1489634" y="1088998"/>
            <a:ext cx="7137400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Инструмент для сбора данных обрабатывает терабайты данных с официальных веб-сайтов банков, розничных сетей, Google Maps и пр.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1939832" y="1774750"/>
            <a:ext cx="5428648" cy="2371677"/>
            <a:chOff x="1472895" y="1773779"/>
            <a:chExt cx="7137400" cy="3118200"/>
          </a:xfrm>
        </p:grpSpPr>
        <p:sp>
          <p:nvSpPr>
            <p:cNvPr id="11" name="Donut 10"/>
            <p:cNvSpPr/>
            <p:nvPr/>
          </p:nvSpPr>
          <p:spPr bwMode="ltGray">
            <a:xfrm>
              <a:off x="3653667" y="2191979"/>
              <a:ext cx="2700000" cy="2700000"/>
            </a:xfrm>
            <a:prstGeom prst="donut">
              <a:avLst>
                <a:gd name="adj" fmla="val 12883"/>
              </a:avLst>
            </a:prstGeom>
            <a:solidFill>
              <a:srgbClr val="8E8A8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4" name="Rectangle 31"/>
            <p:cNvSpPr>
              <a:spLocks noChangeArrowheads="1"/>
            </p:cNvSpPr>
            <p:nvPr/>
          </p:nvSpPr>
          <p:spPr bwMode="auto">
            <a:xfrm>
              <a:off x="2227056" y="2191155"/>
              <a:ext cx="2217293" cy="20232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>
                <a:spcBef>
                  <a:spcPct val="0"/>
                </a:spcBef>
                <a:tabLst>
                  <a:tab pos="8521700" algn="r"/>
                </a:tabLst>
              </a:pPr>
              <a:r>
                <a:rPr lang="ru-RU" sz="1000" i="1" dirty="0" smtClean="0">
                  <a:solidFill>
                    <a:schemeClr val="bg1"/>
                  </a:solidFill>
                  <a:latin typeface="+mj-lt"/>
                </a:rPr>
                <a:t>Демографические сведения</a:t>
              </a:r>
              <a:endParaRPr lang="ru-RU" sz="10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5" name="Rectangle 32"/>
            <p:cNvSpPr>
              <a:spLocks noChangeArrowheads="1"/>
            </p:cNvSpPr>
            <p:nvPr/>
          </p:nvSpPr>
          <p:spPr bwMode="auto">
            <a:xfrm>
              <a:off x="2227056" y="4366532"/>
              <a:ext cx="1867193" cy="20232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>
                <a:spcBef>
                  <a:spcPct val="0"/>
                </a:spcBef>
                <a:tabLst>
                  <a:tab pos="8521700" algn="r"/>
                </a:tabLst>
              </a:pPr>
              <a:r>
                <a:rPr lang="ru-RU" sz="1000" i="1" dirty="0" smtClean="0">
                  <a:solidFill>
                    <a:schemeClr val="bg1"/>
                  </a:solidFill>
                  <a:latin typeface="+mj-lt"/>
                </a:rPr>
                <a:t>Банковские отделения</a:t>
              </a:r>
              <a:endParaRPr lang="ru-RU" sz="10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6" name="Rectangle 34"/>
            <p:cNvSpPr>
              <a:spLocks noChangeArrowheads="1"/>
            </p:cNvSpPr>
            <p:nvPr/>
          </p:nvSpPr>
          <p:spPr bwMode="auto">
            <a:xfrm>
              <a:off x="5628913" y="1988829"/>
              <a:ext cx="2158943" cy="60698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r">
                <a:spcBef>
                  <a:spcPct val="0"/>
                </a:spcBef>
                <a:tabLst>
                  <a:tab pos="8521700" algn="r"/>
                </a:tabLst>
              </a:pPr>
              <a:r>
                <a:rPr lang="ru-RU" sz="1000" i="1" dirty="0" smtClean="0">
                  <a:solidFill>
                    <a:schemeClr val="bg1"/>
                  </a:solidFill>
                  <a:latin typeface="+mj-lt"/>
                </a:rPr>
                <a:t>Объекты инфраструктуры (точки интереса)</a:t>
              </a:r>
              <a:endParaRPr lang="ru-RU" sz="10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7" name="Rectangle 38"/>
            <p:cNvSpPr>
              <a:spLocks noChangeArrowheads="1"/>
            </p:cNvSpPr>
            <p:nvPr/>
          </p:nvSpPr>
          <p:spPr bwMode="auto">
            <a:xfrm flipH="1">
              <a:off x="5572994" y="4366530"/>
              <a:ext cx="2214861" cy="20232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r">
                <a:spcBef>
                  <a:spcPct val="0"/>
                </a:spcBef>
                <a:tabLst>
                  <a:tab pos="8521700" algn="r"/>
                </a:tabLst>
              </a:pPr>
              <a:r>
                <a:rPr lang="ru-RU" sz="1000" i="1" dirty="0" smtClean="0">
                  <a:solidFill>
                    <a:schemeClr val="bg1"/>
                  </a:solidFill>
                  <a:latin typeface="+mj-lt"/>
                </a:rPr>
                <a:t>КПЭ собственной сети</a:t>
              </a:r>
              <a:endParaRPr lang="ru-RU" sz="10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8" name="Flowchart: Magnetic Disk 77"/>
            <p:cNvSpPr/>
            <p:nvPr/>
          </p:nvSpPr>
          <p:spPr bwMode="ltGray">
            <a:xfrm>
              <a:off x="4156386" y="3040215"/>
              <a:ext cx="1678648" cy="937616"/>
            </a:xfrm>
            <a:prstGeom prst="flowChartMagneticDisk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rgbClr val="747066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bIns="36000" anchor="ctr"/>
            <a:lstStyle/>
            <a:p>
              <a:pPr algn="ctr">
                <a:defRPr/>
              </a:pPr>
              <a:r>
                <a:rPr lang="ru-RU" sz="1400" b="1" i="1" dirty="0" smtClean="0">
                  <a:solidFill>
                    <a:schemeClr val="bg1"/>
                  </a:solidFill>
                  <a:latin typeface="+mj-lt"/>
                </a:rPr>
                <a:t>Витрина </a:t>
              </a:r>
              <a:r>
                <a:rPr i="1">
                  <a:solidFill>
                    <a:schemeClr val="bg1"/>
                  </a:solidFill>
                  <a:latin typeface="+mj-lt"/>
                </a:rPr>
                <a:t/>
              </a:r>
              <a:br>
                <a:rPr i="1">
                  <a:solidFill>
                    <a:schemeClr val="bg1"/>
                  </a:solidFill>
                  <a:latin typeface="+mj-lt"/>
                </a:rPr>
              </a:br>
              <a:r>
                <a:rPr lang="ru-RU" sz="1400" b="1" i="1" dirty="0" smtClean="0">
                  <a:solidFill>
                    <a:schemeClr val="bg1"/>
                  </a:solidFill>
                  <a:latin typeface="+mj-lt"/>
                </a:rPr>
                <a:t>геоданных</a:t>
              </a:r>
            </a:p>
          </p:txBody>
        </p:sp>
        <p:sp>
          <p:nvSpPr>
            <p:cNvPr id="82" name="Flowchart: Magnetic Disk 81"/>
            <p:cNvSpPr/>
            <p:nvPr/>
          </p:nvSpPr>
          <p:spPr bwMode="auto">
            <a:xfrm>
              <a:off x="1472895" y="2060081"/>
              <a:ext cx="648049" cy="464480"/>
            </a:xfrm>
            <a:prstGeom prst="flowChartMagneticDisk">
              <a:avLst/>
            </a:prstGeom>
            <a:solidFill>
              <a:srgbClr val="A7A49B"/>
            </a:solidFill>
            <a:ln w="1905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000" b="1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2" name="Flowchart: Magnetic Disk 121"/>
            <p:cNvSpPr/>
            <p:nvPr/>
          </p:nvSpPr>
          <p:spPr bwMode="auto">
            <a:xfrm>
              <a:off x="1472895" y="3147768"/>
              <a:ext cx="648049" cy="464480"/>
            </a:xfrm>
            <a:prstGeom prst="flowChartMagneticDisk">
              <a:avLst/>
            </a:prstGeom>
            <a:solidFill>
              <a:srgbClr val="A7A49B"/>
            </a:solidFill>
            <a:ln w="1905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000" b="1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3" name="Flowchart: Magnetic Disk 122"/>
            <p:cNvSpPr/>
            <p:nvPr/>
          </p:nvSpPr>
          <p:spPr bwMode="auto">
            <a:xfrm>
              <a:off x="1472895" y="4235456"/>
              <a:ext cx="648049" cy="464480"/>
            </a:xfrm>
            <a:prstGeom prst="flowChartMagneticDisk">
              <a:avLst/>
            </a:prstGeom>
            <a:solidFill>
              <a:srgbClr val="A7A49B"/>
            </a:solidFill>
            <a:ln w="1905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000" b="1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4" name="Flowchart: Magnetic Disk 123"/>
            <p:cNvSpPr/>
            <p:nvPr/>
          </p:nvSpPr>
          <p:spPr bwMode="auto">
            <a:xfrm>
              <a:off x="7886390" y="4208624"/>
              <a:ext cx="723153" cy="518145"/>
            </a:xfrm>
            <a:prstGeom prst="flowChartMagneticDisk">
              <a:avLst/>
            </a:prstGeom>
            <a:solidFill>
              <a:schemeClr val="tx2"/>
            </a:solidFill>
            <a:ln w="1905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000" b="1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5" name="Flowchart: Magnetic Disk 124"/>
            <p:cNvSpPr/>
            <p:nvPr/>
          </p:nvSpPr>
          <p:spPr bwMode="auto">
            <a:xfrm>
              <a:off x="7886390" y="3147768"/>
              <a:ext cx="723905" cy="518850"/>
            </a:xfrm>
            <a:prstGeom prst="flowChartMagneticDisk">
              <a:avLst/>
            </a:prstGeom>
            <a:solidFill>
              <a:srgbClr val="A7A49B"/>
            </a:solidFill>
            <a:ln w="1905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000" b="1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6" name="Flowchart: Magnetic Disk 125"/>
            <p:cNvSpPr/>
            <p:nvPr/>
          </p:nvSpPr>
          <p:spPr bwMode="auto">
            <a:xfrm>
              <a:off x="7886390" y="2032896"/>
              <a:ext cx="723905" cy="518850"/>
            </a:xfrm>
            <a:prstGeom prst="flowChartMagneticDisk">
              <a:avLst/>
            </a:prstGeom>
            <a:solidFill>
              <a:srgbClr val="A7A49B"/>
            </a:solidFill>
            <a:ln w="1905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000" b="1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7" name="Rectangle 31"/>
            <p:cNvSpPr>
              <a:spLocks noChangeArrowheads="1"/>
            </p:cNvSpPr>
            <p:nvPr/>
          </p:nvSpPr>
          <p:spPr bwMode="auto">
            <a:xfrm>
              <a:off x="2227056" y="3308037"/>
              <a:ext cx="2217293" cy="20232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>
                <a:spcBef>
                  <a:spcPct val="0"/>
                </a:spcBef>
                <a:tabLst>
                  <a:tab pos="8521700" algn="r"/>
                </a:tabLst>
              </a:pPr>
              <a:r>
                <a:rPr lang="ru-RU" sz="1000" i="1" dirty="0" smtClean="0">
                  <a:solidFill>
                    <a:schemeClr val="bg1"/>
                  </a:solidFill>
                  <a:latin typeface="+mj-lt"/>
                </a:rPr>
                <a:t>Розничные филиалы</a:t>
              </a:r>
              <a:endParaRPr lang="ru-RU" sz="10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8" name="Rectangle 34"/>
            <p:cNvSpPr>
              <a:spLocks noChangeArrowheads="1"/>
            </p:cNvSpPr>
            <p:nvPr/>
          </p:nvSpPr>
          <p:spPr bwMode="auto">
            <a:xfrm>
              <a:off x="5628913" y="3308037"/>
              <a:ext cx="2158943" cy="20232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r">
                <a:spcBef>
                  <a:spcPct val="0"/>
                </a:spcBef>
                <a:tabLst>
                  <a:tab pos="8521700" algn="r"/>
                </a:tabLst>
              </a:pPr>
              <a:r>
                <a:rPr lang="ru-RU" sz="1000" i="1" dirty="0" smtClean="0">
                  <a:solidFill>
                    <a:schemeClr val="bg1"/>
                  </a:solidFill>
                  <a:latin typeface="+mj-lt"/>
                </a:rPr>
                <a:t>Окружение</a:t>
              </a:r>
              <a:endParaRPr lang="ru-RU" sz="10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9" name="Freeform 128"/>
            <p:cNvSpPr/>
            <p:nvPr/>
          </p:nvSpPr>
          <p:spPr bwMode="ltGray">
            <a:xfrm>
              <a:off x="2227057" y="2479042"/>
              <a:ext cx="2264217" cy="442859"/>
            </a:xfrm>
            <a:custGeom>
              <a:avLst/>
              <a:gdLst>
                <a:gd name="connsiteX0" fmla="*/ 0 w 1441450"/>
                <a:gd name="connsiteY0" fmla="*/ 0 h 317500"/>
                <a:gd name="connsiteX1" fmla="*/ 1308100 w 1441450"/>
                <a:gd name="connsiteY1" fmla="*/ 0 h 317500"/>
                <a:gd name="connsiteX2" fmla="*/ 1441450 w 144145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1450" h="317500">
                  <a:moveTo>
                    <a:pt x="0" y="0"/>
                  </a:moveTo>
                  <a:lnTo>
                    <a:pt x="1308100" y="0"/>
                  </a:lnTo>
                  <a:lnTo>
                    <a:pt x="1441450" y="317500"/>
                  </a:lnTo>
                </a:path>
              </a:pathLst>
            </a:custGeom>
            <a:noFill/>
            <a:ln w="19050" cap="rnd">
              <a:solidFill>
                <a:schemeClr val="tx2">
                  <a:lumMod val="20000"/>
                  <a:lumOff val="80000"/>
                </a:schemeClr>
              </a:solidFill>
              <a:prstDash val="sysDot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0" name="Freeform 129"/>
            <p:cNvSpPr/>
            <p:nvPr/>
          </p:nvSpPr>
          <p:spPr bwMode="ltGray">
            <a:xfrm flipH="1">
              <a:off x="5523638" y="2479042"/>
              <a:ext cx="2264217" cy="442859"/>
            </a:xfrm>
            <a:custGeom>
              <a:avLst/>
              <a:gdLst>
                <a:gd name="connsiteX0" fmla="*/ 0 w 1441450"/>
                <a:gd name="connsiteY0" fmla="*/ 0 h 317500"/>
                <a:gd name="connsiteX1" fmla="*/ 1308100 w 1441450"/>
                <a:gd name="connsiteY1" fmla="*/ 0 h 317500"/>
                <a:gd name="connsiteX2" fmla="*/ 1441450 w 144145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1450" h="317500">
                  <a:moveTo>
                    <a:pt x="0" y="0"/>
                  </a:moveTo>
                  <a:lnTo>
                    <a:pt x="1308100" y="0"/>
                  </a:lnTo>
                  <a:lnTo>
                    <a:pt x="1441450" y="317500"/>
                  </a:lnTo>
                </a:path>
              </a:pathLst>
            </a:custGeom>
            <a:noFill/>
            <a:ln w="19050" cap="rnd">
              <a:solidFill>
                <a:schemeClr val="tx2">
                  <a:lumMod val="20000"/>
                  <a:lumOff val="80000"/>
                </a:schemeClr>
              </a:solidFill>
              <a:prstDash val="sysDot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1" name="Freeform 130"/>
            <p:cNvSpPr/>
            <p:nvPr/>
          </p:nvSpPr>
          <p:spPr bwMode="ltGray">
            <a:xfrm flipV="1">
              <a:off x="2227057" y="4209385"/>
              <a:ext cx="2264217" cy="442859"/>
            </a:xfrm>
            <a:custGeom>
              <a:avLst/>
              <a:gdLst>
                <a:gd name="connsiteX0" fmla="*/ 0 w 1441450"/>
                <a:gd name="connsiteY0" fmla="*/ 0 h 317500"/>
                <a:gd name="connsiteX1" fmla="*/ 1308100 w 1441450"/>
                <a:gd name="connsiteY1" fmla="*/ 0 h 317500"/>
                <a:gd name="connsiteX2" fmla="*/ 1441450 w 144145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1450" h="317500">
                  <a:moveTo>
                    <a:pt x="0" y="0"/>
                  </a:moveTo>
                  <a:lnTo>
                    <a:pt x="1308100" y="0"/>
                  </a:lnTo>
                  <a:lnTo>
                    <a:pt x="1441450" y="317500"/>
                  </a:lnTo>
                </a:path>
              </a:pathLst>
            </a:custGeom>
            <a:noFill/>
            <a:ln w="19050" cap="rnd">
              <a:solidFill>
                <a:schemeClr val="tx2">
                  <a:lumMod val="20000"/>
                  <a:lumOff val="80000"/>
                </a:schemeClr>
              </a:solidFill>
              <a:prstDash val="sysDot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2" name="Freeform 131"/>
            <p:cNvSpPr/>
            <p:nvPr/>
          </p:nvSpPr>
          <p:spPr bwMode="ltGray">
            <a:xfrm flipH="1" flipV="1">
              <a:off x="5523638" y="4209385"/>
              <a:ext cx="2264217" cy="442859"/>
            </a:xfrm>
            <a:custGeom>
              <a:avLst/>
              <a:gdLst>
                <a:gd name="connsiteX0" fmla="*/ 0 w 1441450"/>
                <a:gd name="connsiteY0" fmla="*/ 0 h 317500"/>
                <a:gd name="connsiteX1" fmla="*/ 1308100 w 1441450"/>
                <a:gd name="connsiteY1" fmla="*/ 0 h 317500"/>
                <a:gd name="connsiteX2" fmla="*/ 1441450 w 144145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1450" h="317500">
                  <a:moveTo>
                    <a:pt x="0" y="0"/>
                  </a:moveTo>
                  <a:lnTo>
                    <a:pt x="1308100" y="0"/>
                  </a:lnTo>
                  <a:lnTo>
                    <a:pt x="1441450" y="317500"/>
                  </a:lnTo>
                </a:path>
              </a:pathLst>
            </a:custGeom>
            <a:noFill/>
            <a:ln w="19050" cap="rnd">
              <a:solidFill>
                <a:schemeClr val="tx2">
                  <a:lumMod val="20000"/>
                  <a:lumOff val="80000"/>
                </a:schemeClr>
              </a:solidFill>
              <a:prstDash val="sysDot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133" name="Straight Connector 132"/>
            <p:cNvCxnSpPr/>
            <p:nvPr/>
          </p:nvCxnSpPr>
          <p:spPr>
            <a:xfrm>
              <a:off x="2227057" y="3565642"/>
              <a:ext cx="1741069" cy="0"/>
            </a:xfrm>
            <a:prstGeom prst="line">
              <a:avLst/>
            </a:prstGeom>
            <a:noFill/>
            <a:ln w="19050" cap="rnd">
              <a:solidFill>
                <a:schemeClr val="tx2">
                  <a:lumMod val="20000"/>
                  <a:lumOff val="80000"/>
                </a:schemeClr>
              </a:solidFill>
              <a:prstDash val="sysDot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Straight Connector 133"/>
            <p:cNvCxnSpPr/>
            <p:nvPr/>
          </p:nvCxnSpPr>
          <p:spPr>
            <a:xfrm flipH="1">
              <a:off x="6036891" y="3565642"/>
              <a:ext cx="1741069" cy="0"/>
            </a:xfrm>
            <a:prstGeom prst="line">
              <a:avLst/>
            </a:prstGeom>
            <a:noFill/>
            <a:ln w="19050" cap="rnd">
              <a:solidFill>
                <a:schemeClr val="tx2">
                  <a:lumMod val="20000"/>
                  <a:lumOff val="80000"/>
                </a:schemeClr>
              </a:solidFill>
              <a:prstDash val="sysDot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4349003" y="4541684"/>
              <a:ext cx="1277970" cy="33125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-RU" sz="900" i="1" dirty="0" smtClean="0">
                  <a:solidFill>
                    <a:schemeClr val="bg1"/>
                  </a:solidFill>
                  <a:latin typeface="+mj-lt"/>
                </a:rPr>
                <a:t>Система загрузки данных</a:t>
              </a:r>
            </a:p>
          </p:txBody>
        </p:sp>
        <p:sp>
          <p:nvSpPr>
            <p:cNvPr id="63" name="Freeform 4839"/>
            <p:cNvSpPr>
              <a:spLocks noEditPoints="1"/>
            </p:cNvSpPr>
            <p:nvPr/>
          </p:nvSpPr>
          <p:spPr bwMode="auto">
            <a:xfrm>
              <a:off x="1652253" y="2856248"/>
              <a:ext cx="289331" cy="391711"/>
            </a:xfrm>
            <a:custGeom>
              <a:avLst/>
              <a:gdLst>
                <a:gd name="T0" fmla="*/ 166 w 260"/>
                <a:gd name="T1" fmla="*/ 342 h 352"/>
                <a:gd name="T2" fmla="*/ 162 w 260"/>
                <a:gd name="T3" fmla="*/ 350 h 352"/>
                <a:gd name="T4" fmla="*/ 154 w 260"/>
                <a:gd name="T5" fmla="*/ 352 h 352"/>
                <a:gd name="T6" fmla="*/ 2 w 260"/>
                <a:gd name="T7" fmla="*/ 302 h 352"/>
                <a:gd name="T8" fmla="*/ 0 w 260"/>
                <a:gd name="T9" fmla="*/ 88 h 352"/>
                <a:gd name="T10" fmla="*/ 4 w 260"/>
                <a:gd name="T11" fmla="*/ 80 h 352"/>
                <a:gd name="T12" fmla="*/ 158 w 260"/>
                <a:gd name="T13" fmla="*/ 124 h 352"/>
                <a:gd name="T14" fmla="*/ 166 w 260"/>
                <a:gd name="T15" fmla="*/ 134 h 352"/>
                <a:gd name="T16" fmla="*/ 62 w 260"/>
                <a:gd name="T17" fmla="*/ 70 h 352"/>
                <a:gd name="T18" fmla="*/ 70 w 260"/>
                <a:gd name="T19" fmla="*/ 46 h 352"/>
                <a:gd name="T20" fmla="*/ 88 w 260"/>
                <a:gd name="T21" fmla="*/ 34 h 352"/>
                <a:gd name="T22" fmla="*/ 106 w 260"/>
                <a:gd name="T23" fmla="*/ 42 h 352"/>
                <a:gd name="T24" fmla="*/ 120 w 260"/>
                <a:gd name="T25" fmla="*/ 80 h 352"/>
                <a:gd name="T26" fmla="*/ 142 w 260"/>
                <a:gd name="T27" fmla="*/ 100 h 352"/>
                <a:gd name="T28" fmla="*/ 140 w 260"/>
                <a:gd name="T29" fmla="*/ 82 h 352"/>
                <a:gd name="T30" fmla="*/ 128 w 260"/>
                <a:gd name="T31" fmla="*/ 40 h 352"/>
                <a:gd name="T32" fmla="*/ 106 w 260"/>
                <a:gd name="T33" fmla="*/ 18 h 352"/>
                <a:gd name="T34" fmla="*/ 88 w 260"/>
                <a:gd name="T35" fmla="*/ 16 h 352"/>
                <a:gd name="T36" fmla="*/ 60 w 260"/>
                <a:gd name="T37" fmla="*/ 28 h 352"/>
                <a:gd name="T38" fmla="*/ 46 w 260"/>
                <a:gd name="T39" fmla="*/ 52 h 352"/>
                <a:gd name="T40" fmla="*/ 60 w 260"/>
                <a:gd name="T41" fmla="*/ 74 h 352"/>
                <a:gd name="T42" fmla="*/ 256 w 260"/>
                <a:gd name="T43" fmla="*/ 110 h 352"/>
                <a:gd name="T44" fmla="*/ 248 w 260"/>
                <a:gd name="T45" fmla="*/ 108 h 352"/>
                <a:gd name="T46" fmla="*/ 182 w 260"/>
                <a:gd name="T47" fmla="*/ 128 h 352"/>
                <a:gd name="T48" fmla="*/ 180 w 260"/>
                <a:gd name="T49" fmla="*/ 342 h 352"/>
                <a:gd name="T50" fmla="*/ 184 w 260"/>
                <a:gd name="T51" fmla="*/ 350 h 352"/>
                <a:gd name="T52" fmla="*/ 194 w 260"/>
                <a:gd name="T53" fmla="*/ 350 h 352"/>
                <a:gd name="T54" fmla="*/ 248 w 260"/>
                <a:gd name="T55" fmla="*/ 336 h 352"/>
                <a:gd name="T56" fmla="*/ 256 w 260"/>
                <a:gd name="T57" fmla="*/ 334 h 352"/>
                <a:gd name="T58" fmla="*/ 260 w 260"/>
                <a:gd name="T59" fmla="*/ 118 h 352"/>
                <a:gd name="T60" fmla="*/ 256 w 260"/>
                <a:gd name="T61" fmla="*/ 110 h 352"/>
                <a:gd name="T62" fmla="*/ 214 w 260"/>
                <a:gd name="T63" fmla="*/ 84 h 352"/>
                <a:gd name="T64" fmla="*/ 214 w 260"/>
                <a:gd name="T65" fmla="*/ 68 h 352"/>
                <a:gd name="T66" fmla="*/ 200 w 260"/>
                <a:gd name="T67" fmla="*/ 26 h 352"/>
                <a:gd name="T68" fmla="*/ 178 w 260"/>
                <a:gd name="T69" fmla="*/ 4 h 352"/>
                <a:gd name="T70" fmla="*/ 162 w 260"/>
                <a:gd name="T71" fmla="*/ 0 h 352"/>
                <a:gd name="T72" fmla="*/ 134 w 260"/>
                <a:gd name="T73" fmla="*/ 12 h 352"/>
                <a:gd name="T74" fmla="*/ 136 w 260"/>
                <a:gd name="T75" fmla="*/ 26 h 352"/>
                <a:gd name="T76" fmla="*/ 144 w 260"/>
                <a:gd name="T77" fmla="*/ 28 h 352"/>
                <a:gd name="T78" fmla="*/ 162 w 260"/>
                <a:gd name="T79" fmla="*/ 20 h 352"/>
                <a:gd name="T80" fmla="*/ 178 w 260"/>
                <a:gd name="T81" fmla="*/ 26 h 352"/>
                <a:gd name="T82" fmla="*/ 194 w 260"/>
                <a:gd name="T83" fmla="*/ 62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0" h="352">
                  <a:moveTo>
                    <a:pt x="166" y="134"/>
                  </a:moveTo>
                  <a:lnTo>
                    <a:pt x="166" y="342"/>
                  </a:lnTo>
                  <a:lnTo>
                    <a:pt x="166" y="342"/>
                  </a:lnTo>
                  <a:lnTo>
                    <a:pt x="164" y="346"/>
                  </a:lnTo>
                  <a:lnTo>
                    <a:pt x="162" y="350"/>
                  </a:lnTo>
                  <a:lnTo>
                    <a:pt x="162" y="350"/>
                  </a:lnTo>
                  <a:lnTo>
                    <a:pt x="156" y="352"/>
                  </a:lnTo>
                  <a:lnTo>
                    <a:pt x="156" y="352"/>
                  </a:lnTo>
                  <a:lnTo>
                    <a:pt x="154" y="352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2" y="302"/>
                  </a:lnTo>
                  <a:lnTo>
                    <a:pt x="0" y="296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2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8" y="78"/>
                  </a:lnTo>
                  <a:lnTo>
                    <a:pt x="14" y="78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64" y="128"/>
                  </a:lnTo>
                  <a:lnTo>
                    <a:pt x="166" y="134"/>
                  </a:lnTo>
                  <a:lnTo>
                    <a:pt x="166" y="134"/>
                  </a:lnTo>
                  <a:close/>
                  <a:moveTo>
                    <a:pt x="62" y="70"/>
                  </a:moveTo>
                  <a:lnTo>
                    <a:pt x="62" y="70"/>
                  </a:lnTo>
                  <a:lnTo>
                    <a:pt x="64" y="64"/>
                  </a:lnTo>
                  <a:lnTo>
                    <a:pt x="66" y="52"/>
                  </a:lnTo>
                  <a:lnTo>
                    <a:pt x="70" y="46"/>
                  </a:lnTo>
                  <a:lnTo>
                    <a:pt x="74" y="40"/>
                  </a:lnTo>
                  <a:lnTo>
                    <a:pt x="80" y="36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98" y="36"/>
                  </a:lnTo>
                  <a:lnTo>
                    <a:pt x="106" y="42"/>
                  </a:lnTo>
                  <a:lnTo>
                    <a:pt x="112" y="50"/>
                  </a:lnTo>
                  <a:lnTo>
                    <a:pt x="116" y="60"/>
                  </a:lnTo>
                  <a:lnTo>
                    <a:pt x="120" y="80"/>
                  </a:lnTo>
                  <a:lnTo>
                    <a:pt x="122" y="94"/>
                  </a:lnTo>
                  <a:lnTo>
                    <a:pt x="142" y="100"/>
                  </a:lnTo>
                  <a:lnTo>
                    <a:pt x="142" y="100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40" y="82"/>
                  </a:lnTo>
                  <a:lnTo>
                    <a:pt x="138" y="70"/>
                  </a:lnTo>
                  <a:lnTo>
                    <a:pt x="134" y="54"/>
                  </a:lnTo>
                  <a:lnTo>
                    <a:pt x="128" y="40"/>
                  </a:lnTo>
                  <a:lnTo>
                    <a:pt x="118" y="28"/>
                  </a:lnTo>
                  <a:lnTo>
                    <a:pt x="112" y="22"/>
                  </a:lnTo>
                  <a:lnTo>
                    <a:pt x="106" y="18"/>
                  </a:lnTo>
                  <a:lnTo>
                    <a:pt x="9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78" y="16"/>
                  </a:lnTo>
                  <a:lnTo>
                    <a:pt x="68" y="20"/>
                  </a:lnTo>
                  <a:lnTo>
                    <a:pt x="60" y="28"/>
                  </a:lnTo>
                  <a:lnTo>
                    <a:pt x="54" y="34"/>
                  </a:lnTo>
                  <a:lnTo>
                    <a:pt x="50" y="44"/>
                  </a:lnTo>
                  <a:lnTo>
                    <a:pt x="46" y="52"/>
                  </a:lnTo>
                  <a:lnTo>
                    <a:pt x="44" y="68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2" y="70"/>
                  </a:lnTo>
                  <a:lnTo>
                    <a:pt x="62" y="70"/>
                  </a:lnTo>
                  <a:close/>
                  <a:moveTo>
                    <a:pt x="256" y="110"/>
                  </a:moveTo>
                  <a:lnTo>
                    <a:pt x="256" y="110"/>
                  </a:lnTo>
                  <a:lnTo>
                    <a:pt x="252" y="108"/>
                  </a:lnTo>
                  <a:lnTo>
                    <a:pt x="248" y="108"/>
                  </a:lnTo>
                  <a:lnTo>
                    <a:pt x="186" y="124"/>
                  </a:lnTo>
                  <a:lnTo>
                    <a:pt x="186" y="124"/>
                  </a:lnTo>
                  <a:lnTo>
                    <a:pt x="182" y="128"/>
                  </a:lnTo>
                  <a:lnTo>
                    <a:pt x="180" y="134"/>
                  </a:lnTo>
                  <a:lnTo>
                    <a:pt x="180" y="342"/>
                  </a:lnTo>
                  <a:lnTo>
                    <a:pt x="180" y="342"/>
                  </a:lnTo>
                  <a:lnTo>
                    <a:pt x="180" y="346"/>
                  </a:lnTo>
                  <a:lnTo>
                    <a:pt x="184" y="350"/>
                  </a:lnTo>
                  <a:lnTo>
                    <a:pt x="184" y="350"/>
                  </a:lnTo>
                  <a:lnTo>
                    <a:pt x="188" y="352"/>
                  </a:lnTo>
                  <a:lnTo>
                    <a:pt x="188" y="352"/>
                  </a:lnTo>
                  <a:lnTo>
                    <a:pt x="194" y="350"/>
                  </a:lnTo>
                  <a:lnTo>
                    <a:pt x="226" y="330"/>
                  </a:lnTo>
                  <a:lnTo>
                    <a:pt x="248" y="336"/>
                  </a:lnTo>
                  <a:lnTo>
                    <a:pt x="248" y="336"/>
                  </a:lnTo>
                  <a:lnTo>
                    <a:pt x="252" y="336"/>
                  </a:lnTo>
                  <a:lnTo>
                    <a:pt x="256" y="334"/>
                  </a:lnTo>
                  <a:lnTo>
                    <a:pt x="256" y="334"/>
                  </a:lnTo>
                  <a:lnTo>
                    <a:pt x="258" y="330"/>
                  </a:lnTo>
                  <a:lnTo>
                    <a:pt x="260" y="326"/>
                  </a:lnTo>
                  <a:lnTo>
                    <a:pt x="260" y="118"/>
                  </a:lnTo>
                  <a:lnTo>
                    <a:pt x="260" y="118"/>
                  </a:lnTo>
                  <a:lnTo>
                    <a:pt x="258" y="114"/>
                  </a:lnTo>
                  <a:lnTo>
                    <a:pt x="256" y="110"/>
                  </a:lnTo>
                  <a:lnTo>
                    <a:pt x="256" y="110"/>
                  </a:lnTo>
                  <a:close/>
                  <a:moveTo>
                    <a:pt x="214" y="84"/>
                  </a:moveTo>
                  <a:lnTo>
                    <a:pt x="214" y="84"/>
                  </a:lnTo>
                  <a:lnTo>
                    <a:pt x="216" y="82"/>
                  </a:lnTo>
                  <a:lnTo>
                    <a:pt x="216" y="82"/>
                  </a:lnTo>
                  <a:lnTo>
                    <a:pt x="214" y="68"/>
                  </a:lnTo>
                  <a:lnTo>
                    <a:pt x="212" y="54"/>
                  </a:lnTo>
                  <a:lnTo>
                    <a:pt x="208" y="40"/>
                  </a:lnTo>
                  <a:lnTo>
                    <a:pt x="200" y="26"/>
                  </a:lnTo>
                  <a:lnTo>
                    <a:pt x="192" y="12"/>
                  </a:lnTo>
                  <a:lnTo>
                    <a:pt x="186" y="8"/>
                  </a:lnTo>
                  <a:lnTo>
                    <a:pt x="178" y="4"/>
                  </a:lnTo>
                  <a:lnTo>
                    <a:pt x="170" y="2"/>
                  </a:lnTo>
                  <a:lnTo>
                    <a:pt x="162" y="0"/>
                  </a:lnTo>
                  <a:lnTo>
                    <a:pt x="162" y="0"/>
                  </a:lnTo>
                  <a:lnTo>
                    <a:pt x="150" y="2"/>
                  </a:lnTo>
                  <a:lnTo>
                    <a:pt x="142" y="6"/>
                  </a:lnTo>
                  <a:lnTo>
                    <a:pt x="134" y="12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36" y="26"/>
                  </a:lnTo>
                  <a:lnTo>
                    <a:pt x="142" y="34"/>
                  </a:lnTo>
                  <a:lnTo>
                    <a:pt x="142" y="34"/>
                  </a:lnTo>
                  <a:lnTo>
                    <a:pt x="144" y="28"/>
                  </a:lnTo>
                  <a:lnTo>
                    <a:pt x="150" y="24"/>
                  </a:lnTo>
                  <a:lnTo>
                    <a:pt x="154" y="22"/>
                  </a:lnTo>
                  <a:lnTo>
                    <a:pt x="162" y="20"/>
                  </a:lnTo>
                  <a:lnTo>
                    <a:pt x="162" y="20"/>
                  </a:lnTo>
                  <a:lnTo>
                    <a:pt x="170" y="22"/>
                  </a:lnTo>
                  <a:lnTo>
                    <a:pt x="178" y="26"/>
                  </a:lnTo>
                  <a:lnTo>
                    <a:pt x="184" y="34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6" y="78"/>
                  </a:lnTo>
                  <a:lnTo>
                    <a:pt x="214" y="8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4" name="Freeform 4806"/>
            <p:cNvSpPr>
              <a:spLocks noEditPoints="1"/>
            </p:cNvSpPr>
            <p:nvPr/>
          </p:nvSpPr>
          <p:spPr bwMode="auto">
            <a:xfrm>
              <a:off x="1587369" y="3970369"/>
              <a:ext cx="419100" cy="368439"/>
            </a:xfrm>
            <a:custGeom>
              <a:avLst/>
              <a:gdLst>
                <a:gd name="T0" fmla="*/ 310 w 364"/>
                <a:gd name="T1" fmla="*/ 104 h 320"/>
                <a:gd name="T2" fmla="*/ 314 w 364"/>
                <a:gd name="T3" fmla="*/ 242 h 320"/>
                <a:gd name="T4" fmla="*/ 304 w 364"/>
                <a:gd name="T5" fmla="*/ 252 h 320"/>
                <a:gd name="T6" fmla="*/ 276 w 364"/>
                <a:gd name="T7" fmla="*/ 248 h 320"/>
                <a:gd name="T8" fmla="*/ 274 w 364"/>
                <a:gd name="T9" fmla="*/ 110 h 320"/>
                <a:gd name="T10" fmla="*/ 284 w 364"/>
                <a:gd name="T11" fmla="*/ 100 h 320"/>
                <a:gd name="T12" fmla="*/ 26 w 364"/>
                <a:gd name="T13" fmla="*/ 66 h 320"/>
                <a:gd name="T14" fmla="*/ 178 w 364"/>
                <a:gd name="T15" fmla="*/ 0 h 320"/>
                <a:gd name="T16" fmla="*/ 180 w 364"/>
                <a:gd name="T17" fmla="*/ 0 h 320"/>
                <a:gd name="T18" fmla="*/ 184 w 364"/>
                <a:gd name="T19" fmla="*/ 0 h 320"/>
                <a:gd name="T20" fmla="*/ 186 w 364"/>
                <a:gd name="T21" fmla="*/ 0 h 320"/>
                <a:gd name="T22" fmla="*/ 332 w 364"/>
                <a:gd name="T23" fmla="*/ 62 h 320"/>
                <a:gd name="T24" fmla="*/ 338 w 364"/>
                <a:gd name="T25" fmla="*/ 74 h 320"/>
                <a:gd name="T26" fmla="*/ 328 w 364"/>
                <a:gd name="T27" fmla="*/ 82 h 320"/>
                <a:gd name="T28" fmla="*/ 36 w 364"/>
                <a:gd name="T29" fmla="*/ 82 h 320"/>
                <a:gd name="T30" fmla="*/ 26 w 364"/>
                <a:gd name="T31" fmla="*/ 72 h 320"/>
                <a:gd name="T32" fmla="*/ 168 w 364"/>
                <a:gd name="T33" fmla="*/ 56 h 320"/>
                <a:gd name="T34" fmla="*/ 190 w 364"/>
                <a:gd name="T35" fmla="*/ 60 h 320"/>
                <a:gd name="T36" fmla="*/ 200 w 364"/>
                <a:gd name="T37" fmla="*/ 42 h 320"/>
                <a:gd name="T38" fmla="*/ 182 w 364"/>
                <a:gd name="T39" fmla="*/ 24 h 320"/>
                <a:gd name="T40" fmla="*/ 164 w 364"/>
                <a:gd name="T41" fmla="*/ 36 h 320"/>
                <a:gd name="T42" fmla="*/ 230 w 364"/>
                <a:gd name="T43" fmla="*/ 252 h 320"/>
                <a:gd name="T44" fmla="*/ 240 w 364"/>
                <a:gd name="T45" fmla="*/ 242 h 320"/>
                <a:gd name="T46" fmla="*/ 236 w 364"/>
                <a:gd name="T47" fmla="*/ 104 h 320"/>
                <a:gd name="T48" fmla="*/ 134 w 364"/>
                <a:gd name="T49" fmla="*/ 100 h 320"/>
                <a:gd name="T50" fmla="*/ 124 w 364"/>
                <a:gd name="T51" fmla="*/ 110 h 320"/>
                <a:gd name="T52" fmla="*/ 128 w 364"/>
                <a:gd name="T53" fmla="*/ 248 h 320"/>
                <a:gd name="T54" fmla="*/ 162 w 364"/>
                <a:gd name="T55" fmla="*/ 170 h 320"/>
                <a:gd name="T56" fmla="*/ 174 w 364"/>
                <a:gd name="T57" fmla="*/ 152 h 320"/>
                <a:gd name="T58" fmla="*/ 196 w 364"/>
                <a:gd name="T59" fmla="*/ 156 h 320"/>
                <a:gd name="T60" fmla="*/ 230 w 364"/>
                <a:gd name="T61" fmla="*/ 252 h 320"/>
                <a:gd name="T62" fmla="*/ 332 w 364"/>
                <a:gd name="T63" fmla="*/ 286 h 320"/>
                <a:gd name="T64" fmla="*/ 338 w 364"/>
                <a:gd name="T65" fmla="*/ 278 h 320"/>
                <a:gd name="T66" fmla="*/ 328 w 364"/>
                <a:gd name="T67" fmla="*/ 268 h 320"/>
                <a:gd name="T68" fmla="*/ 28 w 364"/>
                <a:gd name="T69" fmla="*/ 270 h 320"/>
                <a:gd name="T70" fmla="*/ 26 w 364"/>
                <a:gd name="T71" fmla="*/ 282 h 320"/>
                <a:gd name="T72" fmla="*/ 36 w 364"/>
                <a:gd name="T73" fmla="*/ 288 h 320"/>
                <a:gd name="T74" fmla="*/ 6 w 364"/>
                <a:gd name="T75" fmla="*/ 302 h 320"/>
                <a:gd name="T76" fmla="*/ 0 w 364"/>
                <a:gd name="T77" fmla="*/ 310 h 320"/>
                <a:gd name="T78" fmla="*/ 10 w 364"/>
                <a:gd name="T79" fmla="*/ 320 h 320"/>
                <a:gd name="T80" fmla="*/ 362 w 364"/>
                <a:gd name="T81" fmla="*/ 318 h 320"/>
                <a:gd name="T82" fmla="*/ 364 w 364"/>
                <a:gd name="T83" fmla="*/ 306 h 320"/>
                <a:gd name="T84" fmla="*/ 354 w 364"/>
                <a:gd name="T85" fmla="*/ 300 h 320"/>
                <a:gd name="T86" fmla="*/ 54 w 364"/>
                <a:gd name="T87" fmla="*/ 104 h 320"/>
                <a:gd name="T88" fmla="*/ 50 w 364"/>
                <a:gd name="T89" fmla="*/ 242 h 320"/>
                <a:gd name="T90" fmla="*/ 60 w 364"/>
                <a:gd name="T91" fmla="*/ 252 h 320"/>
                <a:gd name="T92" fmla="*/ 88 w 364"/>
                <a:gd name="T93" fmla="*/ 248 h 320"/>
                <a:gd name="T94" fmla="*/ 90 w 364"/>
                <a:gd name="T95" fmla="*/ 110 h 320"/>
                <a:gd name="T96" fmla="*/ 80 w 364"/>
                <a:gd name="T97" fmla="*/ 10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4" h="320">
                  <a:moveTo>
                    <a:pt x="304" y="100"/>
                  </a:moveTo>
                  <a:lnTo>
                    <a:pt x="304" y="100"/>
                  </a:lnTo>
                  <a:lnTo>
                    <a:pt x="308" y="102"/>
                  </a:lnTo>
                  <a:lnTo>
                    <a:pt x="310" y="104"/>
                  </a:lnTo>
                  <a:lnTo>
                    <a:pt x="312" y="106"/>
                  </a:lnTo>
                  <a:lnTo>
                    <a:pt x="314" y="110"/>
                  </a:lnTo>
                  <a:lnTo>
                    <a:pt x="314" y="242"/>
                  </a:lnTo>
                  <a:lnTo>
                    <a:pt x="314" y="242"/>
                  </a:lnTo>
                  <a:lnTo>
                    <a:pt x="312" y="246"/>
                  </a:lnTo>
                  <a:lnTo>
                    <a:pt x="310" y="248"/>
                  </a:lnTo>
                  <a:lnTo>
                    <a:pt x="308" y="250"/>
                  </a:lnTo>
                  <a:lnTo>
                    <a:pt x="304" y="252"/>
                  </a:lnTo>
                  <a:lnTo>
                    <a:pt x="284" y="252"/>
                  </a:lnTo>
                  <a:lnTo>
                    <a:pt x="284" y="252"/>
                  </a:lnTo>
                  <a:lnTo>
                    <a:pt x="280" y="250"/>
                  </a:lnTo>
                  <a:lnTo>
                    <a:pt x="276" y="248"/>
                  </a:lnTo>
                  <a:lnTo>
                    <a:pt x="274" y="246"/>
                  </a:lnTo>
                  <a:lnTo>
                    <a:pt x="274" y="242"/>
                  </a:lnTo>
                  <a:lnTo>
                    <a:pt x="274" y="110"/>
                  </a:lnTo>
                  <a:lnTo>
                    <a:pt x="274" y="110"/>
                  </a:lnTo>
                  <a:lnTo>
                    <a:pt x="274" y="106"/>
                  </a:lnTo>
                  <a:lnTo>
                    <a:pt x="276" y="104"/>
                  </a:lnTo>
                  <a:lnTo>
                    <a:pt x="280" y="102"/>
                  </a:lnTo>
                  <a:lnTo>
                    <a:pt x="284" y="100"/>
                  </a:lnTo>
                  <a:lnTo>
                    <a:pt x="304" y="100"/>
                  </a:lnTo>
                  <a:close/>
                  <a:moveTo>
                    <a:pt x="26" y="72"/>
                  </a:moveTo>
                  <a:lnTo>
                    <a:pt x="26" y="72"/>
                  </a:lnTo>
                  <a:lnTo>
                    <a:pt x="26" y="66"/>
                  </a:lnTo>
                  <a:lnTo>
                    <a:pt x="32" y="62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332" y="62"/>
                  </a:lnTo>
                  <a:lnTo>
                    <a:pt x="332" y="62"/>
                  </a:lnTo>
                  <a:lnTo>
                    <a:pt x="336" y="64"/>
                  </a:lnTo>
                  <a:lnTo>
                    <a:pt x="338" y="72"/>
                  </a:lnTo>
                  <a:lnTo>
                    <a:pt x="338" y="72"/>
                  </a:lnTo>
                  <a:lnTo>
                    <a:pt x="338" y="74"/>
                  </a:lnTo>
                  <a:lnTo>
                    <a:pt x="336" y="78"/>
                  </a:lnTo>
                  <a:lnTo>
                    <a:pt x="332" y="80"/>
                  </a:lnTo>
                  <a:lnTo>
                    <a:pt x="328" y="82"/>
                  </a:lnTo>
                  <a:lnTo>
                    <a:pt x="328" y="82"/>
                  </a:lnTo>
                  <a:lnTo>
                    <a:pt x="328" y="82"/>
                  </a:lnTo>
                  <a:lnTo>
                    <a:pt x="182" y="82"/>
                  </a:lnTo>
                  <a:lnTo>
                    <a:pt x="182" y="82"/>
                  </a:lnTo>
                  <a:lnTo>
                    <a:pt x="36" y="82"/>
                  </a:lnTo>
                  <a:lnTo>
                    <a:pt x="36" y="82"/>
                  </a:lnTo>
                  <a:lnTo>
                    <a:pt x="30" y="78"/>
                  </a:lnTo>
                  <a:lnTo>
                    <a:pt x="26" y="72"/>
                  </a:lnTo>
                  <a:lnTo>
                    <a:pt x="26" y="72"/>
                  </a:lnTo>
                  <a:close/>
                  <a:moveTo>
                    <a:pt x="164" y="42"/>
                  </a:moveTo>
                  <a:lnTo>
                    <a:pt x="164" y="42"/>
                  </a:lnTo>
                  <a:lnTo>
                    <a:pt x="164" y="50"/>
                  </a:lnTo>
                  <a:lnTo>
                    <a:pt x="168" y="56"/>
                  </a:lnTo>
                  <a:lnTo>
                    <a:pt x="174" y="60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190" y="60"/>
                  </a:lnTo>
                  <a:lnTo>
                    <a:pt x="196" y="56"/>
                  </a:lnTo>
                  <a:lnTo>
                    <a:pt x="200" y="50"/>
                  </a:lnTo>
                  <a:lnTo>
                    <a:pt x="200" y="42"/>
                  </a:lnTo>
                  <a:lnTo>
                    <a:pt x="200" y="42"/>
                  </a:lnTo>
                  <a:lnTo>
                    <a:pt x="200" y="36"/>
                  </a:lnTo>
                  <a:lnTo>
                    <a:pt x="196" y="30"/>
                  </a:lnTo>
                  <a:lnTo>
                    <a:pt x="190" y="26"/>
                  </a:lnTo>
                  <a:lnTo>
                    <a:pt x="182" y="24"/>
                  </a:lnTo>
                  <a:lnTo>
                    <a:pt x="182" y="24"/>
                  </a:lnTo>
                  <a:lnTo>
                    <a:pt x="174" y="26"/>
                  </a:lnTo>
                  <a:lnTo>
                    <a:pt x="168" y="30"/>
                  </a:lnTo>
                  <a:lnTo>
                    <a:pt x="164" y="36"/>
                  </a:lnTo>
                  <a:lnTo>
                    <a:pt x="164" y="42"/>
                  </a:lnTo>
                  <a:lnTo>
                    <a:pt x="164" y="42"/>
                  </a:lnTo>
                  <a:close/>
                  <a:moveTo>
                    <a:pt x="230" y="252"/>
                  </a:moveTo>
                  <a:lnTo>
                    <a:pt x="230" y="252"/>
                  </a:lnTo>
                  <a:lnTo>
                    <a:pt x="234" y="250"/>
                  </a:lnTo>
                  <a:lnTo>
                    <a:pt x="236" y="248"/>
                  </a:lnTo>
                  <a:lnTo>
                    <a:pt x="238" y="246"/>
                  </a:lnTo>
                  <a:lnTo>
                    <a:pt x="240" y="242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38" y="106"/>
                  </a:lnTo>
                  <a:lnTo>
                    <a:pt x="236" y="104"/>
                  </a:lnTo>
                  <a:lnTo>
                    <a:pt x="234" y="102"/>
                  </a:lnTo>
                  <a:lnTo>
                    <a:pt x="230" y="100"/>
                  </a:lnTo>
                  <a:lnTo>
                    <a:pt x="134" y="100"/>
                  </a:lnTo>
                  <a:lnTo>
                    <a:pt x="134" y="100"/>
                  </a:lnTo>
                  <a:lnTo>
                    <a:pt x="130" y="102"/>
                  </a:lnTo>
                  <a:lnTo>
                    <a:pt x="128" y="104"/>
                  </a:lnTo>
                  <a:lnTo>
                    <a:pt x="126" y="106"/>
                  </a:lnTo>
                  <a:lnTo>
                    <a:pt x="124" y="110"/>
                  </a:lnTo>
                  <a:lnTo>
                    <a:pt x="124" y="242"/>
                  </a:lnTo>
                  <a:lnTo>
                    <a:pt x="124" y="242"/>
                  </a:lnTo>
                  <a:lnTo>
                    <a:pt x="126" y="246"/>
                  </a:lnTo>
                  <a:lnTo>
                    <a:pt x="128" y="248"/>
                  </a:lnTo>
                  <a:lnTo>
                    <a:pt x="130" y="250"/>
                  </a:lnTo>
                  <a:lnTo>
                    <a:pt x="134" y="252"/>
                  </a:lnTo>
                  <a:lnTo>
                    <a:pt x="162" y="252"/>
                  </a:lnTo>
                  <a:lnTo>
                    <a:pt x="162" y="170"/>
                  </a:lnTo>
                  <a:lnTo>
                    <a:pt x="162" y="170"/>
                  </a:lnTo>
                  <a:lnTo>
                    <a:pt x="164" y="162"/>
                  </a:lnTo>
                  <a:lnTo>
                    <a:pt x="168" y="156"/>
                  </a:lnTo>
                  <a:lnTo>
                    <a:pt x="174" y="152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90" y="152"/>
                  </a:lnTo>
                  <a:lnTo>
                    <a:pt x="196" y="156"/>
                  </a:lnTo>
                  <a:lnTo>
                    <a:pt x="200" y="162"/>
                  </a:lnTo>
                  <a:lnTo>
                    <a:pt x="202" y="170"/>
                  </a:lnTo>
                  <a:lnTo>
                    <a:pt x="202" y="252"/>
                  </a:lnTo>
                  <a:lnTo>
                    <a:pt x="230" y="252"/>
                  </a:lnTo>
                  <a:close/>
                  <a:moveTo>
                    <a:pt x="36" y="288"/>
                  </a:moveTo>
                  <a:lnTo>
                    <a:pt x="328" y="288"/>
                  </a:lnTo>
                  <a:lnTo>
                    <a:pt x="328" y="288"/>
                  </a:lnTo>
                  <a:lnTo>
                    <a:pt x="332" y="286"/>
                  </a:lnTo>
                  <a:lnTo>
                    <a:pt x="336" y="284"/>
                  </a:lnTo>
                  <a:lnTo>
                    <a:pt x="338" y="282"/>
                  </a:lnTo>
                  <a:lnTo>
                    <a:pt x="338" y="278"/>
                  </a:lnTo>
                  <a:lnTo>
                    <a:pt x="338" y="278"/>
                  </a:lnTo>
                  <a:lnTo>
                    <a:pt x="338" y="274"/>
                  </a:lnTo>
                  <a:lnTo>
                    <a:pt x="336" y="270"/>
                  </a:lnTo>
                  <a:lnTo>
                    <a:pt x="332" y="268"/>
                  </a:lnTo>
                  <a:lnTo>
                    <a:pt x="328" y="268"/>
                  </a:lnTo>
                  <a:lnTo>
                    <a:pt x="36" y="268"/>
                  </a:lnTo>
                  <a:lnTo>
                    <a:pt x="36" y="268"/>
                  </a:lnTo>
                  <a:lnTo>
                    <a:pt x="32" y="268"/>
                  </a:lnTo>
                  <a:lnTo>
                    <a:pt x="28" y="270"/>
                  </a:lnTo>
                  <a:lnTo>
                    <a:pt x="26" y="274"/>
                  </a:lnTo>
                  <a:lnTo>
                    <a:pt x="26" y="278"/>
                  </a:lnTo>
                  <a:lnTo>
                    <a:pt x="26" y="278"/>
                  </a:lnTo>
                  <a:lnTo>
                    <a:pt x="26" y="282"/>
                  </a:lnTo>
                  <a:lnTo>
                    <a:pt x="28" y="284"/>
                  </a:lnTo>
                  <a:lnTo>
                    <a:pt x="32" y="286"/>
                  </a:lnTo>
                  <a:lnTo>
                    <a:pt x="36" y="288"/>
                  </a:lnTo>
                  <a:lnTo>
                    <a:pt x="36" y="288"/>
                  </a:lnTo>
                  <a:close/>
                  <a:moveTo>
                    <a:pt x="354" y="300"/>
                  </a:moveTo>
                  <a:lnTo>
                    <a:pt x="10" y="300"/>
                  </a:lnTo>
                  <a:lnTo>
                    <a:pt x="10" y="300"/>
                  </a:lnTo>
                  <a:lnTo>
                    <a:pt x="6" y="302"/>
                  </a:lnTo>
                  <a:lnTo>
                    <a:pt x="2" y="304"/>
                  </a:lnTo>
                  <a:lnTo>
                    <a:pt x="0" y="306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0" y="314"/>
                  </a:lnTo>
                  <a:lnTo>
                    <a:pt x="2" y="318"/>
                  </a:lnTo>
                  <a:lnTo>
                    <a:pt x="6" y="320"/>
                  </a:lnTo>
                  <a:lnTo>
                    <a:pt x="10" y="320"/>
                  </a:lnTo>
                  <a:lnTo>
                    <a:pt x="354" y="320"/>
                  </a:lnTo>
                  <a:lnTo>
                    <a:pt x="354" y="320"/>
                  </a:lnTo>
                  <a:lnTo>
                    <a:pt x="358" y="320"/>
                  </a:lnTo>
                  <a:lnTo>
                    <a:pt x="362" y="318"/>
                  </a:lnTo>
                  <a:lnTo>
                    <a:pt x="364" y="314"/>
                  </a:lnTo>
                  <a:lnTo>
                    <a:pt x="364" y="310"/>
                  </a:lnTo>
                  <a:lnTo>
                    <a:pt x="364" y="310"/>
                  </a:lnTo>
                  <a:lnTo>
                    <a:pt x="364" y="306"/>
                  </a:lnTo>
                  <a:lnTo>
                    <a:pt x="362" y="304"/>
                  </a:lnTo>
                  <a:lnTo>
                    <a:pt x="358" y="302"/>
                  </a:lnTo>
                  <a:lnTo>
                    <a:pt x="354" y="300"/>
                  </a:lnTo>
                  <a:lnTo>
                    <a:pt x="354" y="300"/>
                  </a:lnTo>
                  <a:close/>
                  <a:moveTo>
                    <a:pt x="60" y="100"/>
                  </a:moveTo>
                  <a:lnTo>
                    <a:pt x="60" y="100"/>
                  </a:lnTo>
                  <a:lnTo>
                    <a:pt x="56" y="102"/>
                  </a:lnTo>
                  <a:lnTo>
                    <a:pt x="54" y="104"/>
                  </a:lnTo>
                  <a:lnTo>
                    <a:pt x="52" y="106"/>
                  </a:lnTo>
                  <a:lnTo>
                    <a:pt x="50" y="110"/>
                  </a:lnTo>
                  <a:lnTo>
                    <a:pt x="50" y="242"/>
                  </a:lnTo>
                  <a:lnTo>
                    <a:pt x="50" y="242"/>
                  </a:lnTo>
                  <a:lnTo>
                    <a:pt x="52" y="246"/>
                  </a:lnTo>
                  <a:lnTo>
                    <a:pt x="54" y="248"/>
                  </a:lnTo>
                  <a:lnTo>
                    <a:pt x="56" y="250"/>
                  </a:lnTo>
                  <a:lnTo>
                    <a:pt x="60" y="252"/>
                  </a:lnTo>
                  <a:lnTo>
                    <a:pt x="80" y="252"/>
                  </a:lnTo>
                  <a:lnTo>
                    <a:pt x="80" y="252"/>
                  </a:lnTo>
                  <a:lnTo>
                    <a:pt x="84" y="250"/>
                  </a:lnTo>
                  <a:lnTo>
                    <a:pt x="88" y="248"/>
                  </a:lnTo>
                  <a:lnTo>
                    <a:pt x="90" y="246"/>
                  </a:lnTo>
                  <a:lnTo>
                    <a:pt x="90" y="242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88" y="104"/>
                  </a:lnTo>
                  <a:lnTo>
                    <a:pt x="84" y="102"/>
                  </a:lnTo>
                  <a:lnTo>
                    <a:pt x="80" y="100"/>
                  </a:lnTo>
                  <a:lnTo>
                    <a:pt x="60" y="10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6" name="Freeform 4920"/>
            <p:cNvSpPr>
              <a:spLocks noEditPoints="1"/>
            </p:cNvSpPr>
            <p:nvPr/>
          </p:nvSpPr>
          <p:spPr bwMode="auto">
            <a:xfrm>
              <a:off x="1566732" y="1773779"/>
              <a:ext cx="460374" cy="375569"/>
            </a:xfrm>
            <a:custGeom>
              <a:avLst/>
              <a:gdLst>
                <a:gd name="T0" fmla="*/ 196 w 380"/>
                <a:gd name="T1" fmla="*/ 2 h 310"/>
                <a:gd name="T2" fmla="*/ 118 w 380"/>
                <a:gd name="T3" fmla="*/ 46 h 310"/>
                <a:gd name="T4" fmla="*/ 116 w 380"/>
                <a:gd name="T5" fmla="*/ 6 h 310"/>
                <a:gd name="T6" fmla="*/ 108 w 380"/>
                <a:gd name="T7" fmla="*/ 0 h 310"/>
                <a:gd name="T8" fmla="*/ 64 w 380"/>
                <a:gd name="T9" fmla="*/ 0 h 310"/>
                <a:gd name="T10" fmla="*/ 58 w 380"/>
                <a:gd name="T11" fmla="*/ 10 h 310"/>
                <a:gd name="T12" fmla="*/ 4 w 380"/>
                <a:gd name="T13" fmla="*/ 120 h 310"/>
                <a:gd name="T14" fmla="*/ 0 w 380"/>
                <a:gd name="T15" fmla="*/ 132 h 310"/>
                <a:gd name="T16" fmla="*/ 56 w 380"/>
                <a:gd name="T17" fmla="*/ 138 h 310"/>
                <a:gd name="T18" fmla="*/ 58 w 380"/>
                <a:gd name="T19" fmla="*/ 300 h 310"/>
                <a:gd name="T20" fmla="*/ 72 w 380"/>
                <a:gd name="T21" fmla="*/ 310 h 310"/>
                <a:gd name="T22" fmla="*/ 120 w 380"/>
                <a:gd name="T23" fmla="*/ 306 h 310"/>
                <a:gd name="T24" fmla="*/ 102 w 380"/>
                <a:gd name="T25" fmla="*/ 252 h 310"/>
                <a:gd name="T26" fmla="*/ 96 w 380"/>
                <a:gd name="T27" fmla="*/ 250 h 310"/>
                <a:gd name="T28" fmla="*/ 92 w 380"/>
                <a:gd name="T29" fmla="*/ 182 h 310"/>
                <a:gd name="T30" fmla="*/ 96 w 380"/>
                <a:gd name="T31" fmla="*/ 176 h 310"/>
                <a:gd name="T32" fmla="*/ 162 w 380"/>
                <a:gd name="T33" fmla="*/ 172 h 310"/>
                <a:gd name="T34" fmla="*/ 170 w 380"/>
                <a:gd name="T35" fmla="*/ 176 h 310"/>
                <a:gd name="T36" fmla="*/ 172 w 380"/>
                <a:gd name="T37" fmla="*/ 242 h 310"/>
                <a:gd name="T38" fmla="*/ 170 w 380"/>
                <a:gd name="T39" fmla="*/ 250 h 310"/>
                <a:gd name="T40" fmla="*/ 146 w 380"/>
                <a:gd name="T41" fmla="*/ 252 h 310"/>
                <a:gd name="T42" fmla="*/ 144 w 380"/>
                <a:gd name="T43" fmla="*/ 306 h 310"/>
                <a:gd name="T44" fmla="*/ 232 w 380"/>
                <a:gd name="T45" fmla="*/ 310 h 310"/>
                <a:gd name="T46" fmla="*/ 226 w 380"/>
                <a:gd name="T47" fmla="*/ 252 h 310"/>
                <a:gd name="T48" fmla="*/ 198 w 380"/>
                <a:gd name="T49" fmla="*/ 250 h 310"/>
                <a:gd name="T50" fmla="*/ 192 w 380"/>
                <a:gd name="T51" fmla="*/ 244 h 310"/>
                <a:gd name="T52" fmla="*/ 212 w 380"/>
                <a:gd name="T53" fmla="*/ 180 h 310"/>
                <a:gd name="T54" fmla="*/ 256 w 380"/>
                <a:gd name="T55" fmla="*/ 172 h 310"/>
                <a:gd name="T56" fmla="*/ 266 w 380"/>
                <a:gd name="T57" fmla="*/ 180 h 310"/>
                <a:gd name="T58" fmla="*/ 288 w 380"/>
                <a:gd name="T59" fmla="*/ 242 h 310"/>
                <a:gd name="T60" fmla="*/ 284 w 380"/>
                <a:gd name="T61" fmla="*/ 250 h 310"/>
                <a:gd name="T62" fmla="*/ 278 w 380"/>
                <a:gd name="T63" fmla="*/ 252 h 310"/>
                <a:gd name="T64" fmla="*/ 254 w 380"/>
                <a:gd name="T65" fmla="*/ 298 h 310"/>
                <a:gd name="T66" fmla="*/ 246 w 380"/>
                <a:gd name="T67" fmla="*/ 310 h 310"/>
                <a:gd name="T68" fmla="*/ 314 w 380"/>
                <a:gd name="T69" fmla="*/ 310 h 310"/>
                <a:gd name="T70" fmla="*/ 324 w 380"/>
                <a:gd name="T71" fmla="*/ 294 h 310"/>
                <a:gd name="T72" fmla="*/ 370 w 380"/>
                <a:gd name="T73" fmla="*/ 138 h 310"/>
                <a:gd name="T74" fmla="*/ 374 w 380"/>
                <a:gd name="T75" fmla="*/ 138 h 310"/>
                <a:gd name="T76" fmla="*/ 380 w 380"/>
                <a:gd name="T77" fmla="*/ 128 h 310"/>
                <a:gd name="T78" fmla="*/ 376 w 380"/>
                <a:gd name="T79" fmla="*/ 120 h 310"/>
                <a:gd name="T80" fmla="*/ 132 w 380"/>
                <a:gd name="T81" fmla="*/ 162 h 310"/>
                <a:gd name="T82" fmla="*/ 110 w 380"/>
                <a:gd name="T83" fmla="*/ 146 h 310"/>
                <a:gd name="T84" fmla="*/ 110 w 380"/>
                <a:gd name="T85" fmla="*/ 128 h 310"/>
                <a:gd name="T86" fmla="*/ 132 w 380"/>
                <a:gd name="T87" fmla="*/ 114 h 310"/>
                <a:gd name="T88" fmla="*/ 150 w 380"/>
                <a:gd name="T89" fmla="*/ 120 h 310"/>
                <a:gd name="T90" fmla="*/ 156 w 380"/>
                <a:gd name="T91" fmla="*/ 138 h 310"/>
                <a:gd name="T92" fmla="*/ 142 w 380"/>
                <a:gd name="T93" fmla="*/ 160 h 310"/>
                <a:gd name="T94" fmla="*/ 240 w 380"/>
                <a:gd name="T95" fmla="*/ 162 h 310"/>
                <a:gd name="T96" fmla="*/ 222 w 380"/>
                <a:gd name="T97" fmla="*/ 154 h 310"/>
                <a:gd name="T98" fmla="*/ 216 w 380"/>
                <a:gd name="T99" fmla="*/ 138 h 310"/>
                <a:gd name="T100" fmla="*/ 230 w 380"/>
                <a:gd name="T101" fmla="*/ 116 h 310"/>
                <a:gd name="T102" fmla="*/ 248 w 380"/>
                <a:gd name="T103" fmla="*/ 116 h 310"/>
                <a:gd name="T104" fmla="*/ 264 w 380"/>
                <a:gd name="T105" fmla="*/ 138 h 310"/>
                <a:gd name="T106" fmla="*/ 256 w 380"/>
                <a:gd name="T107" fmla="*/ 154 h 310"/>
                <a:gd name="T108" fmla="*/ 240 w 380"/>
                <a:gd name="T109" fmla="*/ 162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0" h="310">
                  <a:moveTo>
                    <a:pt x="376" y="120"/>
                  </a:moveTo>
                  <a:lnTo>
                    <a:pt x="196" y="2"/>
                  </a:lnTo>
                  <a:lnTo>
                    <a:pt x="196" y="2"/>
                  </a:lnTo>
                  <a:lnTo>
                    <a:pt x="190" y="0"/>
                  </a:lnTo>
                  <a:lnTo>
                    <a:pt x="184" y="2"/>
                  </a:lnTo>
                  <a:lnTo>
                    <a:pt x="118" y="46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6" y="6"/>
                  </a:lnTo>
                  <a:lnTo>
                    <a:pt x="114" y="4"/>
                  </a:lnTo>
                  <a:lnTo>
                    <a:pt x="112" y="0"/>
                  </a:lnTo>
                  <a:lnTo>
                    <a:pt x="10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4" y="0"/>
                  </a:lnTo>
                  <a:lnTo>
                    <a:pt x="60" y="4"/>
                  </a:lnTo>
                  <a:lnTo>
                    <a:pt x="58" y="6"/>
                  </a:lnTo>
                  <a:lnTo>
                    <a:pt x="58" y="10"/>
                  </a:lnTo>
                  <a:lnTo>
                    <a:pt x="58" y="86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0" y="124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4" y="136"/>
                  </a:lnTo>
                  <a:lnTo>
                    <a:pt x="10" y="138"/>
                  </a:lnTo>
                  <a:lnTo>
                    <a:pt x="56" y="138"/>
                  </a:lnTo>
                  <a:lnTo>
                    <a:pt x="56" y="294"/>
                  </a:lnTo>
                  <a:lnTo>
                    <a:pt x="56" y="294"/>
                  </a:lnTo>
                  <a:lnTo>
                    <a:pt x="58" y="300"/>
                  </a:lnTo>
                  <a:lnTo>
                    <a:pt x="62" y="306"/>
                  </a:lnTo>
                  <a:lnTo>
                    <a:pt x="66" y="310"/>
                  </a:lnTo>
                  <a:lnTo>
                    <a:pt x="72" y="310"/>
                  </a:lnTo>
                  <a:lnTo>
                    <a:pt x="126" y="310"/>
                  </a:lnTo>
                  <a:lnTo>
                    <a:pt x="126" y="310"/>
                  </a:lnTo>
                  <a:lnTo>
                    <a:pt x="120" y="306"/>
                  </a:lnTo>
                  <a:lnTo>
                    <a:pt x="118" y="298"/>
                  </a:lnTo>
                  <a:lnTo>
                    <a:pt x="118" y="252"/>
                  </a:lnTo>
                  <a:lnTo>
                    <a:pt x="102" y="252"/>
                  </a:lnTo>
                  <a:lnTo>
                    <a:pt x="102" y="252"/>
                  </a:lnTo>
                  <a:lnTo>
                    <a:pt x="98" y="252"/>
                  </a:lnTo>
                  <a:lnTo>
                    <a:pt x="96" y="250"/>
                  </a:lnTo>
                  <a:lnTo>
                    <a:pt x="94" y="246"/>
                  </a:lnTo>
                  <a:lnTo>
                    <a:pt x="92" y="242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94" y="178"/>
                  </a:lnTo>
                  <a:lnTo>
                    <a:pt x="96" y="176"/>
                  </a:lnTo>
                  <a:lnTo>
                    <a:pt x="98" y="174"/>
                  </a:lnTo>
                  <a:lnTo>
                    <a:pt x="102" y="172"/>
                  </a:lnTo>
                  <a:lnTo>
                    <a:pt x="162" y="172"/>
                  </a:lnTo>
                  <a:lnTo>
                    <a:pt x="162" y="172"/>
                  </a:lnTo>
                  <a:lnTo>
                    <a:pt x="166" y="174"/>
                  </a:lnTo>
                  <a:lnTo>
                    <a:pt x="170" y="176"/>
                  </a:lnTo>
                  <a:lnTo>
                    <a:pt x="172" y="178"/>
                  </a:lnTo>
                  <a:lnTo>
                    <a:pt x="172" y="182"/>
                  </a:lnTo>
                  <a:lnTo>
                    <a:pt x="172" y="242"/>
                  </a:lnTo>
                  <a:lnTo>
                    <a:pt x="172" y="242"/>
                  </a:lnTo>
                  <a:lnTo>
                    <a:pt x="172" y="246"/>
                  </a:lnTo>
                  <a:lnTo>
                    <a:pt x="170" y="250"/>
                  </a:lnTo>
                  <a:lnTo>
                    <a:pt x="166" y="252"/>
                  </a:lnTo>
                  <a:lnTo>
                    <a:pt x="162" y="252"/>
                  </a:lnTo>
                  <a:lnTo>
                    <a:pt x="146" y="252"/>
                  </a:lnTo>
                  <a:lnTo>
                    <a:pt x="146" y="298"/>
                  </a:lnTo>
                  <a:lnTo>
                    <a:pt x="146" y="298"/>
                  </a:lnTo>
                  <a:lnTo>
                    <a:pt x="144" y="306"/>
                  </a:lnTo>
                  <a:lnTo>
                    <a:pt x="140" y="310"/>
                  </a:lnTo>
                  <a:lnTo>
                    <a:pt x="232" y="310"/>
                  </a:lnTo>
                  <a:lnTo>
                    <a:pt x="232" y="310"/>
                  </a:lnTo>
                  <a:lnTo>
                    <a:pt x="228" y="306"/>
                  </a:lnTo>
                  <a:lnTo>
                    <a:pt x="226" y="298"/>
                  </a:lnTo>
                  <a:lnTo>
                    <a:pt x="226" y="252"/>
                  </a:lnTo>
                  <a:lnTo>
                    <a:pt x="202" y="252"/>
                  </a:lnTo>
                  <a:lnTo>
                    <a:pt x="202" y="252"/>
                  </a:lnTo>
                  <a:lnTo>
                    <a:pt x="198" y="250"/>
                  </a:lnTo>
                  <a:lnTo>
                    <a:pt x="194" y="248"/>
                  </a:lnTo>
                  <a:lnTo>
                    <a:pt x="194" y="248"/>
                  </a:lnTo>
                  <a:lnTo>
                    <a:pt x="192" y="244"/>
                  </a:lnTo>
                  <a:lnTo>
                    <a:pt x="192" y="238"/>
                  </a:lnTo>
                  <a:lnTo>
                    <a:pt x="212" y="180"/>
                  </a:lnTo>
                  <a:lnTo>
                    <a:pt x="212" y="180"/>
                  </a:lnTo>
                  <a:lnTo>
                    <a:pt x="216" y="174"/>
                  </a:lnTo>
                  <a:lnTo>
                    <a:pt x="222" y="172"/>
                  </a:lnTo>
                  <a:lnTo>
                    <a:pt x="256" y="172"/>
                  </a:lnTo>
                  <a:lnTo>
                    <a:pt x="256" y="172"/>
                  </a:lnTo>
                  <a:lnTo>
                    <a:pt x="262" y="174"/>
                  </a:lnTo>
                  <a:lnTo>
                    <a:pt x="266" y="180"/>
                  </a:lnTo>
                  <a:lnTo>
                    <a:pt x="286" y="238"/>
                  </a:lnTo>
                  <a:lnTo>
                    <a:pt x="286" y="238"/>
                  </a:lnTo>
                  <a:lnTo>
                    <a:pt x="288" y="242"/>
                  </a:lnTo>
                  <a:lnTo>
                    <a:pt x="288" y="242"/>
                  </a:lnTo>
                  <a:lnTo>
                    <a:pt x="286" y="246"/>
                  </a:lnTo>
                  <a:lnTo>
                    <a:pt x="284" y="250"/>
                  </a:lnTo>
                  <a:lnTo>
                    <a:pt x="282" y="252"/>
                  </a:lnTo>
                  <a:lnTo>
                    <a:pt x="278" y="252"/>
                  </a:lnTo>
                  <a:lnTo>
                    <a:pt x="278" y="252"/>
                  </a:lnTo>
                  <a:lnTo>
                    <a:pt x="278" y="252"/>
                  </a:lnTo>
                  <a:lnTo>
                    <a:pt x="254" y="252"/>
                  </a:lnTo>
                  <a:lnTo>
                    <a:pt x="254" y="298"/>
                  </a:lnTo>
                  <a:lnTo>
                    <a:pt x="254" y="298"/>
                  </a:lnTo>
                  <a:lnTo>
                    <a:pt x="252" y="306"/>
                  </a:lnTo>
                  <a:lnTo>
                    <a:pt x="246" y="310"/>
                  </a:lnTo>
                  <a:lnTo>
                    <a:pt x="308" y="310"/>
                  </a:lnTo>
                  <a:lnTo>
                    <a:pt x="308" y="310"/>
                  </a:lnTo>
                  <a:lnTo>
                    <a:pt x="314" y="310"/>
                  </a:lnTo>
                  <a:lnTo>
                    <a:pt x="318" y="306"/>
                  </a:lnTo>
                  <a:lnTo>
                    <a:pt x="322" y="300"/>
                  </a:lnTo>
                  <a:lnTo>
                    <a:pt x="324" y="294"/>
                  </a:lnTo>
                  <a:lnTo>
                    <a:pt x="324" y="138"/>
                  </a:lnTo>
                  <a:lnTo>
                    <a:pt x="370" y="138"/>
                  </a:lnTo>
                  <a:lnTo>
                    <a:pt x="370" y="138"/>
                  </a:lnTo>
                  <a:lnTo>
                    <a:pt x="370" y="138"/>
                  </a:lnTo>
                  <a:lnTo>
                    <a:pt x="370" y="138"/>
                  </a:lnTo>
                  <a:lnTo>
                    <a:pt x="374" y="138"/>
                  </a:lnTo>
                  <a:lnTo>
                    <a:pt x="378" y="136"/>
                  </a:lnTo>
                  <a:lnTo>
                    <a:pt x="380" y="132"/>
                  </a:lnTo>
                  <a:lnTo>
                    <a:pt x="380" y="128"/>
                  </a:lnTo>
                  <a:lnTo>
                    <a:pt x="380" y="128"/>
                  </a:lnTo>
                  <a:lnTo>
                    <a:pt x="380" y="122"/>
                  </a:lnTo>
                  <a:lnTo>
                    <a:pt x="376" y="120"/>
                  </a:lnTo>
                  <a:lnTo>
                    <a:pt x="376" y="120"/>
                  </a:lnTo>
                  <a:close/>
                  <a:moveTo>
                    <a:pt x="132" y="162"/>
                  </a:moveTo>
                  <a:lnTo>
                    <a:pt x="132" y="162"/>
                  </a:lnTo>
                  <a:lnTo>
                    <a:pt x="124" y="160"/>
                  </a:lnTo>
                  <a:lnTo>
                    <a:pt x="116" y="154"/>
                  </a:lnTo>
                  <a:lnTo>
                    <a:pt x="110" y="146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10" y="128"/>
                  </a:lnTo>
                  <a:lnTo>
                    <a:pt x="116" y="120"/>
                  </a:lnTo>
                  <a:lnTo>
                    <a:pt x="124" y="116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42" y="116"/>
                  </a:lnTo>
                  <a:lnTo>
                    <a:pt x="150" y="120"/>
                  </a:lnTo>
                  <a:lnTo>
                    <a:pt x="154" y="128"/>
                  </a:lnTo>
                  <a:lnTo>
                    <a:pt x="156" y="138"/>
                  </a:lnTo>
                  <a:lnTo>
                    <a:pt x="156" y="138"/>
                  </a:lnTo>
                  <a:lnTo>
                    <a:pt x="154" y="146"/>
                  </a:lnTo>
                  <a:lnTo>
                    <a:pt x="150" y="154"/>
                  </a:lnTo>
                  <a:lnTo>
                    <a:pt x="142" y="160"/>
                  </a:lnTo>
                  <a:lnTo>
                    <a:pt x="132" y="162"/>
                  </a:lnTo>
                  <a:lnTo>
                    <a:pt x="132" y="162"/>
                  </a:lnTo>
                  <a:close/>
                  <a:moveTo>
                    <a:pt x="240" y="162"/>
                  </a:moveTo>
                  <a:lnTo>
                    <a:pt x="240" y="162"/>
                  </a:lnTo>
                  <a:lnTo>
                    <a:pt x="230" y="160"/>
                  </a:lnTo>
                  <a:lnTo>
                    <a:pt x="222" y="154"/>
                  </a:lnTo>
                  <a:lnTo>
                    <a:pt x="218" y="146"/>
                  </a:lnTo>
                  <a:lnTo>
                    <a:pt x="216" y="138"/>
                  </a:lnTo>
                  <a:lnTo>
                    <a:pt x="216" y="138"/>
                  </a:lnTo>
                  <a:lnTo>
                    <a:pt x="218" y="128"/>
                  </a:lnTo>
                  <a:lnTo>
                    <a:pt x="222" y="120"/>
                  </a:lnTo>
                  <a:lnTo>
                    <a:pt x="230" y="116"/>
                  </a:lnTo>
                  <a:lnTo>
                    <a:pt x="240" y="114"/>
                  </a:lnTo>
                  <a:lnTo>
                    <a:pt x="240" y="114"/>
                  </a:lnTo>
                  <a:lnTo>
                    <a:pt x="248" y="116"/>
                  </a:lnTo>
                  <a:lnTo>
                    <a:pt x="256" y="120"/>
                  </a:lnTo>
                  <a:lnTo>
                    <a:pt x="262" y="128"/>
                  </a:lnTo>
                  <a:lnTo>
                    <a:pt x="264" y="138"/>
                  </a:lnTo>
                  <a:lnTo>
                    <a:pt x="264" y="138"/>
                  </a:lnTo>
                  <a:lnTo>
                    <a:pt x="262" y="146"/>
                  </a:lnTo>
                  <a:lnTo>
                    <a:pt x="256" y="154"/>
                  </a:lnTo>
                  <a:lnTo>
                    <a:pt x="248" y="160"/>
                  </a:lnTo>
                  <a:lnTo>
                    <a:pt x="240" y="162"/>
                  </a:lnTo>
                  <a:lnTo>
                    <a:pt x="240" y="16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9" name="Freeform 4936"/>
            <p:cNvSpPr>
              <a:spLocks noEditPoints="1"/>
            </p:cNvSpPr>
            <p:nvPr/>
          </p:nvSpPr>
          <p:spPr bwMode="auto">
            <a:xfrm>
              <a:off x="8032742" y="3906805"/>
              <a:ext cx="430448" cy="406535"/>
            </a:xfrm>
            <a:custGeom>
              <a:avLst/>
              <a:gdLst>
                <a:gd name="T0" fmla="*/ 198 w 396"/>
                <a:gd name="T1" fmla="*/ 218 h 374"/>
                <a:gd name="T2" fmla="*/ 178 w 396"/>
                <a:gd name="T3" fmla="*/ 198 h 374"/>
                <a:gd name="T4" fmla="*/ 206 w 396"/>
                <a:gd name="T5" fmla="*/ 180 h 374"/>
                <a:gd name="T6" fmla="*/ 396 w 396"/>
                <a:gd name="T7" fmla="*/ 198 h 374"/>
                <a:gd name="T8" fmla="*/ 332 w 396"/>
                <a:gd name="T9" fmla="*/ 344 h 374"/>
                <a:gd name="T10" fmla="*/ 230 w 396"/>
                <a:gd name="T11" fmla="*/ 334 h 374"/>
                <a:gd name="T12" fmla="*/ 150 w 396"/>
                <a:gd name="T13" fmla="*/ 328 h 374"/>
                <a:gd name="T14" fmla="*/ 46 w 396"/>
                <a:gd name="T15" fmla="*/ 324 h 374"/>
                <a:gd name="T16" fmla="*/ 0 w 396"/>
                <a:gd name="T17" fmla="*/ 198 h 374"/>
                <a:gd name="T18" fmla="*/ 34 w 396"/>
                <a:gd name="T19" fmla="*/ 88 h 374"/>
                <a:gd name="T20" fmla="*/ 122 w 396"/>
                <a:gd name="T21" fmla="*/ 16 h 374"/>
                <a:gd name="T22" fmla="*/ 218 w 396"/>
                <a:gd name="T23" fmla="*/ 2 h 374"/>
                <a:gd name="T24" fmla="*/ 324 w 396"/>
                <a:gd name="T25" fmla="*/ 46 h 374"/>
                <a:gd name="T26" fmla="*/ 386 w 396"/>
                <a:gd name="T27" fmla="*/ 140 h 374"/>
                <a:gd name="T28" fmla="*/ 310 w 396"/>
                <a:gd name="T29" fmla="*/ 134 h 374"/>
                <a:gd name="T30" fmla="*/ 352 w 396"/>
                <a:gd name="T31" fmla="*/ 120 h 374"/>
                <a:gd name="T32" fmla="*/ 354 w 396"/>
                <a:gd name="T33" fmla="*/ 104 h 374"/>
                <a:gd name="T34" fmla="*/ 310 w 396"/>
                <a:gd name="T35" fmla="*/ 122 h 374"/>
                <a:gd name="T36" fmla="*/ 262 w 396"/>
                <a:gd name="T37" fmla="*/ 86 h 374"/>
                <a:gd name="T38" fmla="*/ 292 w 396"/>
                <a:gd name="T39" fmla="*/ 54 h 374"/>
                <a:gd name="T40" fmla="*/ 286 w 396"/>
                <a:gd name="T41" fmla="*/ 38 h 374"/>
                <a:gd name="T42" fmla="*/ 258 w 396"/>
                <a:gd name="T43" fmla="*/ 76 h 374"/>
                <a:gd name="T44" fmla="*/ 188 w 396"/>
                <a:gd name="T45" fmla="*/ 60 h 374"/>
                <a:gd name="T46" fmla="*/ 202 w 396"/>
                <a:gd name="T47" fmla="*/ 68 h 374"/>
                <a:gd name="T48" fmla="*/ 208 w 396"/>
                <a:gd name="T49" fmla="*/ 22 h 374"/>
                <a:gd name="T50" fmla="*/ 190 w 396"/>
                <a:gd name="T51" fmla="*/ 18 h 374"/>
                <a:gd name="T52" fmla="*/ 58 w 396"/>
                <a:gd name="T53" fmla="*/ 208 h 374"/>
                <a:gd name="T54" fmla="*/ 68 w 396"/>
                <a:gd name="T55" fmla="*/ 194 h 374"/>
                <a:gd name="T56" fmla="*/ 22 w 396"/>
                <a:gd name="T57" fmla="*/ 188 h 374"/>
                <a:gd name="T58" fmla="*/ 18 w 396"/>
                <a:gd name="T59" fmla="*/ 206 h 374"/>
                <a:gd name="T60" fmla="*/ 84 w 396"/>
                <a:gd name="T61" fmla="*/ 260 h 374"/>
                <a:gd name="T62" fmla="*/ 40 w 396"/>
                <a:gd name="T63" fmla="*/ 278 h 374"/>
                <a:gd name="T64" fmla="*/ 48 w 396"/>
                <a:gd name="T65" fmla="*/ 294 h 374"/>
                <a:gd name="T66" fmla="*/ 88 w 396"/>
                <a:gd name="T67" fmla="*/ 270 h 374"/>
                <a:gd name="T68" fmla="*/ 54 w 396"/>
                <a:gd name="T69" fmla="*/ 104 h 374"/>
                <a:gd name="T70" fmla="*/ 38 w 396"/>
                <a:gd name="T71" fmla="*/ 110 h 374"/>
                <a:gd name="T72" fmla="*/ 78 w 396"/>
                <a:gd name="T73" fmla="*/ 138 h 374"/>
                <a:gd name="T74" fmla="*/ 88 w 396"/>
                <a:gd name="T75" fmla="*/ 126 h 374"/>
                <a:gd name="T76" fmla="*/ 120 w 396"/>
                <a:gd name="T77" fmla="*/ 44 h 374"/>
                <a:gd name="T78" fmla="*/ 104 w 396"/>
                <a:gd name="T79" fmla="*/ 42 h 374"/>
                <a:gd name="T80" fmla="*/ 124 w 396"/>
                <a:gd name="T81" fmla="*/ 86 h 374"/>
                <a:gd name="T82" fmla="*/ 138 w 396"/>
                <a:gd name="T83" fmla="*/ 80 h 374"/>
                <a:gd name="T84" fmla="*/ 224 w 396"/>
                <a:gd name="T85" fmla="*/ 174 h 374"/>
                <a:gd name="T86" fmla="*/ 188 w 396"/>
                <a:gd name="T87" fmla="*/ 164 h 374"/>
                <a:gd name="T88" fmla="*/ 164 w 396"/>
                <a:gd name="T89" fmla="*/ 186 h 374"/>
                <a:gd name="T90" fmla="*/ 176 w 396"/>
                <a:gd name="T91" fmla="*/ 226 h 374"/>
                <a:gd name="T92" fmla="*/ 216 w 396"/>
                <a:gd name="T93" fmla="*/ 228 h 374"/>
                <a:gd name="T94" fmla="*/ 324 w 396"/>
                <a:gd name="T95" fmla="*/ 258 h 374"/>
                <a:gd name="T96" fmla="*/ 310 w 396"/>
                <a:gd name="T97" fmla="*/ 262 h 374"/>
                <a:gd name="T98" fmla="*/ 342 w 396"/>
                <a:gd name="T99" fmla="*/ 292 h 374"/>
                <a:gd name="T100" fmla="*/ 358 w 396"/>
                <a:gd name="T101" fmla="*/ 286 h 374"/>
                <a:gd name="T102" fmla="*/ 380 w 396"/>
                <a:gd name="T103" fmla="*/ 198 h 374"/>
                <a:gd name="T104" fmla="*/ 338 w 396"/>
                <a:gd name="T105" fmla="*/ 188 h 374"/>
                <a:gd name="T106" fmla="*/ 328 w 396"/>
                <a:gd name="T107" fmla="*/ 202 h 374"/>
                <a:gd name="T108" fmla="*/ 374 w 396"/>
                <a:gd name="T109" fmla="*/ 208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96" h="374">
                  <a:moveTo>
                    <a:pt x="218" y="198"/>
                  </a:moveTo>
                  <a:lnTo>
                    <a:pt x="218" y="198"/>
                  </a:lnTo>
                  <a:lnTo>
                    <a:pt x="216" y="206"/>
                  </a:lnTo>
                  <a:lnTo>
                    <a:pt x="212" y="212"/>
                  </a:lnTo>
                  <a:lnTo>
                    <a:pt x="206" y="216"/>
                  </a:lnTo>
                  <a:lnTo>
                    <a:pt x="198" y="218"/>
                  </a:lnTo>
                  <a:lnTo>
                    <a:pt x="198" y="218"/>
                  </a:lnTo>
                  <a:lnTo>
                    <a:pt x="190" y="216"/>
                  </a:lnTo>
                  <a:lnTo>
                    <a:pt x="184" y="212"/>
                  </a:lnTo>
                  <a:lnTo>
                    <a:pt x="180" y="206"/>
                  </a:lnTo>
                  <a:lnTo>
                    <a:pt x="178" y="198"/>
                  </a:lnTo>
                  <a:lnTo>
                    <a:pt x="178" y="198"/>
                  </a:lnTo>
                  <a:lnTo>
                    <a:pt x="180" y="190"/>
                  </a:lnTo>
                  <a:lnTo>
                    <a:pt x="184" y="184"/>
                  </a:lnTo>
                  <a:lnTo>
                    <a:pt x="190" y="180"/>
                  </a:lnTo>
                  <a:lnTo>
                    <a:pt x="198" y="178"/>
                  </a:lnTo>
                  <a:lnTo>
                    <a:pt x="198" y="178"/>
                  </a:lnTo>
                  <a:lnTo>
                    <a:pt x="206" y="180"/>
                  </a:lnTo>
                  <a:lnTo>
                    <a:pt x="212" y="184"/>
                  </a:lnTo>
                  <a:lnTo>
                    <a:pt x="216" y="190"/>
                  </a:lnTo>
                  <a:lnTo>
                    <a:pt x="218" y="198"/>
                  </a:lnTo>
                  <a:lnTo>
                    <a:pt x="218" y="198"/>
                  </a:lnTo>
                  <a:close/>
                  <a:moveTo>
                    <a:pt x="396" y="198"/>
                  </a:moveTo>
                  <a:lnTo>
                    <a:pt x="396" y="198"/>
                  </a:lnTo>
                  <a:lnTo>
                    <a:pt x="394" y="226"/>
                  </a:lnTo>
                  <a:lnTo>
                    <a:pt x="388" y="254"/>
                  </a:lnTo>
                  <a:lnTo>
                    <a:pt x="378" y="278"/>
                  </a:lnTo>
                  <a:lnTo>
                    <a:pt x="366" y="302"/>
                  </a:lnTo>
                  <a:lnTo>
                    <a:pt x="350" y="324"/>
                  </a:lnTo>
                  <a:lnTo>
                    <a:pt x="332" y="344"/>
                  </a:lnTo>
                  <a:lnTo>
                    <a:pt x="310" y="360"/>
                  </a:lnTo>
                  <a:lnTo>
                    <a:pt x="288" y="374"/>
                  </a:lnTo>
                  <a:lnTo>
                    <a:pt x="262" y="322"/>
                  </a:lnTo>
                  <a:lnTo>
                    <a:pt x="262" y="322"/>
                  </a:lnTo>
                  <a:lnTo>
                    <a:pt x="246" y="328"/>
                  </a:lnTo>
                  <a:lnTo>
                    <a:pt x="230" y="334"/>
                  </a:lnTo>
                  <a:lnTo>
                    <a:pt x="214" y="336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82" y="336"/>
                  </a:lnTo>
                  <a:lnTo>
                    <a:pt x="166" y="334"/>
                  </a:lnTo>
                  <a:lnTo>
                    <a:pt x="150" y="328"/>
                  </a:lnTo>
                  <a:lnTo>
                    <a:pt x="134" y="322"/>
                  </a:lnTo>
                  <a:lnTo>
                    <a:pt x="108" y="374"/>
                  </a:lnTo>
                  <a:lnTo>
                    <a:pt x="108" y="374"/>
                  </a:lnTo>
                  <a:lnTo>
                    <a:pt x="86" y="360"/>
                  </a:lnTo>
                  <a:lnTo>
                    <a:pt x="64" y="344"/>
                  </a:lnTo>
                  <a:lnTo>
                    <a:pt x="46" y="324"/>
                  </a:lnTo>
                  <a:lnTo>
                    <a:pt x="30" y="302"/>
                  </a:lnTo>
                  <a:lnTo>
                    <a:pt x="18" y="278"/>
                  </a:lnTo>
                  <a:lnTo>
                    <a:pt x="8" y="254"/>
                  </a:lnTo>
                  <a:lnTo>
                    <a:pt x="2" y="226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2" y="178"/>
                  </a:lnTo>
                  <a:lnTo>
                    <a:pt x="4" y="158"/>
                  </a:lnTo>
                  <a:lnTo>
                    <a:pt x="10" y="140"/>
                  </a:lnTo>
                  <a:lnTo>
                    <a:pt x="16" y="122"/>
                  </a:lnTo>
                  <a:lnTo>
                    <a:pt x="24" y="104"/>
                  </a:lnTo>
                  <a:lnTo>
                    <a:pt x="34" y="88"/>
                  </a:lnTo>
                  <a:lnTo>
                    <a:pt x="46" y="72"/>
                  </a:lnTo>
                  <a:lnTo>
                    <a:pt x="58" y="58"/>
                  </a:lnTo>
                  <a:lnTo>
                    <a:pt x="72" y="46"/>
                  </a:lnTo>
                  <a:lnTo>
                    <a:pt x="88" y="34"/>
                  </a:lnTo>
                  <a:lnTo>
                    <a:pt x="104" y="24"/>
                  </a:lnTo>
                  <a:lnTo>
                    <a:pt x="122" y="16"/>
                  </a:lnTo>
                  <a:lnTo>
                    <a:pt x="140" y="10"/>
                  </a:lnTo>
                  <a:lnTo>
                    <a:pt x="158" y="4"/>
                  </a:lnTo>
                  <a:lnTo>
                    <a:pt x="178" y="2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218" y="2"/>
                  </a:lnTo>
                  <a:lnTo>
                    <a:pt x="238" y="4"/>
                  </a:lnTo>
                  <a:lnTo>
                    <a:pt x="256" y="10"/>
                  </a:lnTo>
                  <a:lnTo>
                    <a:pt x="274" y="16"/>
                  </a:lnTo>
                  <a:lnTo>
                    <a:pt x="292" y="24"/>
                  </a:lnTo>
                  <a:lnTo>
                    <a:pt x="308" y="34"/>
                  </a:lnTo>
                  <a:lnTo>
                    <a:pt x="324" y="46"/>
                  </a:lnTo>
                  <a:lnTo>
                    <a:pt x="338" y="58"/>
                  </a:lnTo>
                  <a:lnTo>
                    <a:pt x="350" y="72"/>
                  </a:lnTo>
                  <a:lnTo>
                    <a:pt x="362" y="88"/>
                  </a:lnTo>
                  <a:lnTo>
                    <a:pt x="372" y="104"/>
                  </a:lnTo>
                  <a:lnTo>
                    <a:pt x="380" y="122"/>
                  </a:lnTo>
                  <a:lnTo>
                    <a:pt x="386" y="140"/>
                  </a:lnTo>
                  <a:lnTo>
                    <a:pt x="392" y="158"/>
                  </a:lnTo>
                  <a:lnTo>
                    <a:pt x="394" y="178"/>
                  </a:lnTo>
                  <a:lnTo>
                    <a:pt x="396" y="198"/>
                  </a:lnTo>
                  <a:lnTo>
                    <a:pt x="396" y="198"/>
                  </a:lnTo>
                  <a:close/>
                  <a:moveTo>
                    <a:pt x="310" y="134"/>
                  </a:moveTo>
                  <a:lnTo>
                    <a:pt x="310" y="134"/>
                  </a:lnTo>
                  <a:lnTo>
                    <a:pt x="314" y="138"/>
                  </a:lnTo>
                  <a:lnTo>
                    <a:pt x="318" y="138"/>
                  </a:lnTo>
                  <a:lnTo>
                    <a:pt x="318" y="138"/>
                  </a:lnTo>
                  <a:lnTo>
                    <a:pt x="324" y="138"/>
                  </a:lnTo>
                  <a:lnTo>
                    <a:pt x="352" y="120"/>
                  </a:lnTo>
                  <a:lnTo>
                    <a:pt x="352" y="120"/>
                  </a:lnTo>
                  <a:lnTo>
                    <a:pt x="356" y="118"/>
                  </a:lnTo>
                  <a:lnTo>
                    <a:pt x="356" y="114"/>
                  </a:lnTo>
                  <a:lnTo>
                    <a:pt x="358" y="110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4" y="104"/>
                  </a:lnTo>
                  <a:lnTo>
                    <a:pt x="350" y="102"/>
                  </a:lnTo>
                  <a:lnTo>
                    <a:pt x="346" y="102"/>
                  </a:lnTo>
                  <a:lnTo>
                    <a:pt x="342" y="104"/>
                  </a:lnTo>
                  <a:lnTo>
                    <a:pt x="314" y="120"/>
                  </a:lnTo>
                  <a:lnTo>
                    <a:pt x="314" y="120"/>
                  </a:lnTo>
                  <a:lnTo>
                    <a:pt x="310" y="122"/>
                  </a:lnTo>
                  <a:lnTo>
                    <a:pt x="308" y="126"/>
                  </a:lnTo>
                  <a:lnTo>
                    <a:pt x="308" y="130"/>
                  </a:lnTo>
                  <a:lnTo>
                    <a:pt x="310" y="134"/>
                  </a:lnTo>
                  <a:lnTo>
                    <a:pt x="310" y="134"/>
                  </a:lnTo>
                  <a:close/>
                  <a:moveTo>
                    <a:pt x="262" y="86"/>
                  </a:moveTo>
                  <a:lnTo>
                    <a:pt x="262" y="86"/>
                  </a:lnTo>
                  <a:lnTo>
                    <a:pt x="268" y="88"/>
                  </a:lnTo>
                  <a:lnTo>
                    <a:pt x="268" y="88"/>
                  </a:lnTo>
                  <a:lnTo>
                    <a:pt x="272" y="86"/>
                  </a:lnTo>
                  <a:lnTo>
                    <a:pt x="276" y="82"/>
                  </a:lnTo>
                  <a:lnTo>
                    <a:pt x="292" y="54"/>
                  </a:lnTo>
                  <a:lnTo>
                    <a:pt x="292" y="54"/>
                  </a:lnTo>
                  <a:lnTo>
                    <a:pt x="294" y="50"/>
                  </a:lnTo>
                  <a:lnTo>
                    <a:pt x="294" y="46"/>
                  </a:lnTo>
                  <a:lnTo>
                    <a:pt x="292" y="42"/>
                  </a:lnTo>
                  <a:lnTo>
                    <a:pt x="290" y="40"/>
                  </a:lnTo>
                  <a:lnTo>
                    <a:pt x="290" y="40"/>
                  </a:lnTo>
                  <a:lnTo>
                    <a:pt x="286" y="38"/>
                  </a:lnTo>
                  <a:lnTo>
                    <a:pt x="282" y="40"/>
                  </a:lnTo>
                  <a:lnTo>
                    <a:pt x="278" y="40"/>
                  </a:lnTo>
                  <a:lnTo>
                    <a:pt x="276" y="44"/>
                  </a:lnTo>
                  <a:lnTo>
                    <a:pt x="258" y="72"/>
                  </a:lnTo>
                  <a:lnTo>
                    <a:pt x="258" y="72"/>
                  </a:lnTo>
                  <a:lnTo>
                    <a:pt x="258" y="76"/>
                  </a:lnTo>
                  <a:lnTo>
                    <a:pt x="258" y="80"/>
                  </a:lnTo>
                  <a:lnTo>
                    <a:pt x="260" y="84"/>
                  </a:lnTo>
                  <a:lnTo>
                    <a:pt x="262" y="86"/>
                  </a:lnTo>
                  <a:lnTo>
                    <a:pt x="262" y="86"/>
                  </a:lnTo>
                  <a:close/>
                  <a:moveTo>
                    <a:pt x="188" y="60"/>
                  </a:moveTo>
                  <a:lnTo>
                    <a:pt x="188" y="60"/>
                  </a:lnTo>
                  <a:lnTo>
                    <a:pt x="188" y="62"/>
                  </a:lnTo>
                  <a:lnTo>
                    <a:pt x="190" y="66"/>
                  </a:lnTo>
                  <a:lnTo>
                    <a:pt x="194" y="68"/>
                  </a:lnTo>
                  <a:lnTo>
                    <a:pt x="198" y="70"/>
                  </a:lnTo>
                  <a:lnTo>
                    <a:pt x="198" y="70"/>
                  </a:lnTo>
                  <a:lnTo>
                    <a:pt x="202" y="68"/>
                  </a:lnTo>
                  <a:lnTo>
                    <a:pt x="206" y="66"/>
                  </a:lnTo>
                  <a:lnTo>
                    <a:pt x="208" y="62"/>
                  </a:lnTo>
                  <a:lnTo>
                    <a:pt x="208" y="60"/>
                  </a:lnTo>
                  <a:lnTo>
                    <a:pt x="208" y="26"/>
                  </a:lnTo>
                  <a:lnTo>
                    <a:pt x="208" y="26"/>
                  </a:lnTo>
                  <a:lnTo>
                    <a:pt x="208" y="22"/>
                  </a:lnTo>
                  <a:lnTo>
                    <a:pt x="206" y="18"/>
                  </a:lnTo>
                  <a:lnTo>
                    <a:pt x="202" y="16"/>
                  </a:lnTo>
                  <a:lnTo>
                    <a:pt x="198" y="16"/>
                  </a:lnTo>
                  <a:lnTo>
                    <a:pt x="198" y="16"/>
                  </a:lnTo>
                  <a:lnTo>
                    <a:pt x="194" y="16"/>
                  </a:lnTo>
                  <a:lnTo>
                    <a:pt x="190" y="18"/>
                  </a:lnTo>
                  <a:lnTo>
                    <a:pt x="188" y="22"/>
                  </a:lnTo>
                  <a:lnTo>
                    <a:pt x="188" y="26"/>
                  </a:lnTo>
                  <a:lnTo>
                    <a:pt x="188" y="60"/>
                  </a:lnTo>
                  <a:close/>
                  <a:moveTo>
                    <a:pt x="26" y="208"/>
                  </a:moveTo>
                  <a:lnTo>
                    <a:pt x="58" y="208"/>
                  </a:lnTo>
                  <a:lnTo>
                    <a:pt x="58" y="208"/>
                  </a:lnTo>
                  <a:lnTo>
                    <a:pt x="62" y="208"/>
                  </a:lnTo>
                  <a:lnTo>
                    <a:pt x="66" y="206"/>
                  </a:lnTo>
                  <a:lnTo>
                    <a:pt x="68" y="202"/>
                  </a:lnTo>
                  <a:lnTo>
                    <a:pt x="68" y="198"/>
                  </a:lnTo>
                  <a:lnTo>
                    <a:pt x="68" y="198"/>
                  </a:lnTo>
                  <a:lnTo>
                    <a:pt x="68" y="194"/>
                  </a:lnTo>
                  <a:lnTo>
                    <a:pt x="66" y="190"/>
                  </a:lnTo>
                  <a:lnTo>
                    <a:pt x="62" y="188"/>
                  </a:lnTo>
                  <a:lnTo>
                    <a:pt x="58" y="188"/>
                  </a:lnTo>
                  <a:lnTo>
                    <a:pt x="26" y="188"/>
                  </a:lnTo>
                  <a:lnTo>
                    <a:pt x="26" y="188"/>
                  </a:lnTo>
                  <a:lnTo>
                    <a:pt x="22" y="188"/>
                  </a:lnTo>
                  <a:lnTo>
                    <a:pt x="18" y="190"/>
                  </a:lnTo>
                  <a:lnTo>
                    <a:pt x="16" y="194"/>
                  </a:lnTo>
                  <a:lnTo>
                    <a:pt x="16" y="198"/>
                  </a:lnTo>
                  <a:lnTo>
                    <a:pt x="16" y="198"/>
                  </a:lnTo>
                  <a:lnTo>
                    <a:pt x="16" y="202"/>
                  </a:lnTo>
                  <a:lnTo>
                    <a:pt x="18" y="206"/>
                  </a:lnTo>
                  <a:lnTo>
                    <a:pt x="22" y="208"/>
                  </a:lnTo>
                  <a:lnTo>
                    <a:pt x="26" y="208"/>
                  </a:lnTo>
                  <a:lnTo>
                    <a:pt x="26" y="208"/>
                  </a:lnTo>
                  <a:close/>
                  <a:moveTo>
                    <a:pt x="86" y="262"/>
                  </a:moveTo>
                  <a:lnTo>
                    <a:pt x="86" y="262"/>
                  </a:lnTo>
                  <a:lnTo>
                    <a:pt x="84" y="260"/>
                  </a:lnTo>
                  <a:lnTo>
                    <a:pt x="80" y="258"/>
                  </a:lnTo>
                  <a:lnTo>
                    <a:pt x="76" y="258"/>
                  </a:lnTo>
                  <a:lnTo>
                    <a:pt x="72" y="258"/>
                  </a:lnTo>
                  <a:lnTo>
                    <a:pt x="44" y="276"/>
                  </a:lnTo>
                  <a:lnTo>
                    <a:pt x="44" y="276"/>
                  </a:lnTo>
                  <a:lnTo>
                    <a:pt x="40" y="278"/>
                  </a:lnTo>
                  <a:lnTo>
                    <a:pt x="40" y="282"/>
                  </a:lnTo>
                  <a:lnTo>
                    <a:pt x="38" y="286"/>
                  </a:lnTo>
                  <a:lnTo>
                    <a:pt x="40" y="290"/>
                  </a:lnTo>
                  <a:lnTo>
                    <a:pt x="40" y="290"/>
                  </a:lnTo>
                  <a:lnTo>
                    <a:pt x="44" y="292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54" y="292"/>
                  </a:lnTo>
                  <a:lnTo>
                    <a:pt x="82" y="276"/>
                  </a:lnTo>
                  <a:lnTo>
                    <a:pt x="82" y="276"/>
                  </a:lnTo>
                  <a:lnTo>
                    <a:pt x="86" y="274"/>
                  </a:lnTo>
                  <a:lnTo>
                    <a:pt x="88" y="270"/>
                  </a:lnTo>
                  <a:lnTo>
                    <a:pt x="88" y="266"/>
                  </a:lnTo>
                  <a:lnTo>
                    <a:pt x="86" y="262"/>
                  </a:lnTo>
                  <a:lnTo>
                    <a:pt x="86" y="262"/>
                  </a:lnTo>
                  <a:close/>
                  <a:moveTo>
                    <a:pt x="82" y="120"/>
                  </a:moveTo>
                  <a:lnTo>
                    <a:pt x="54" y="104"/>
                  </a:lnTo>
                  <a:lnTo>
                    <a:pt x="54" y="104"/>
                  </a:lnTo>
                  <a:lnTo>
                    <a:pt x="50" y="102"/>
                  </a:lnTo>
                  <a:lnTo>
                    <a:pt x="46" y="102"/>
                  </a:lnTo>
                  <a:lnTo>
                    <a:pt x="42" y="104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38" y="110"/>
                  </a:lnTo>
                  <a:lnTo>
                    <a:pt x="40" y="114"/>
                  </a:lnTo>
                  <a:lnTo>
                    <a:pt x="40" y="118"/>
                  </a:lnTo>
                  <a:lnTo>
                    <a:pt x="44" y="120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8" y="138"/>
                  </a:lnTo>
                  <a:lnTo>
                    <a:pt x="78" y="138"/>
                  </a:lnTo>
                  <a:lnTo>
                    <a:pt x="82" y="138"/>
                  </a:lnTo>
                  <a:lnTo>
                    <a:pt x="86" y="134"/>
                  </a:lnTo>
                  <a:lnTo>
                    <a:pt x="86" y="134"/>
                  </a:lnTo>
                  <a:lnTo>
                    <a:pt x="88" y="130"/>
                  </a:lnTo>
                  <a:lnTo>
                    <a:pt x="88" y="126"/>
                  </a:lnTo>
                  <a:lnTo>
                    <a:pt x="86" y="122"/>
                  </a:lnTo>
                  <a:lnTo>
                    <a:pt x="82" y="120"/>
                  </a:lnTo>
                  <a:lnTo>
                    <a:pt x="82" y="120"/>
                  </a:lnTo>
                  <a:close/>
                  <a:moveTo>
                    <a:pt x="138" y="72"/>
                  </a:moveTo>
                  <a:lnTo>
                    <a:pt x="120" y="44"/>
                  </a:lnTo>
                  <a:lnTo>
                    <a:pt x="120" y="44"/>
                  </a:lnTo>
                  <a:lnTo>
                    <a:pt x="118" y="40"/>
                  </a:lnTo>
                  <a:lnTo>
                    <a:pt x="114" y="40"/>
                  </a:lnTo>
                  <a:lnTo>
                    <a:pt x="110" y="38"/>
                  </a:lnTo>
                  <a:lnTo>
                    <a:pt x="106" y="40"/>
                  </a:lnTo>
                  <a:lnTo>
                    <a:pt x="106" y="40"/>
                  </a:lnTo>
                  <a:lnTo>
                    <a:pt x="104" y="42"/>
                  </a:lnTo>
                  <a:lnTo>
                    <a:pt x="102" y="46"/>
                  </a:lnTo>
                  <a:lnTo>
                    <a:pt x="102" y="50"/>
                  </a:lnTo>
                  <a:lnTo>
                    <a:pt x="104" y="54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24" y="86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34" y="86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8" y="80"/>
                  </a:lnTo>
                  <a:lnTo>
                    <a:pt x="138" y="76"/>
                  </a:lnTo>
                  <a:lnTo>
                    <a:pt x="138" y="72"/>
                  </a:lnTo>
                  <a:lnTo>
                    <a:pt x="138" y="72"/>
                  </a:lnTo>
                  <a:close/>
                  <a:moveTo>
                    <a:pt x="372" y="152"/>
                  </a:moveTo>
                  <a:lnTo>
                    <a:pt x="224" y="174"/>
                  </a:lnTo>
                  <a:lnTo>
                    <a:pt x="224" y="174"/>
                  </a:lnTo>
                  <a:lnTo>
                    <a:pt x="218" y="168"/>
                  </a:lnTo>
                  <a:lnTo>
                    <a:pt x="212" y="166"/>
                  </a:lnTo>
                  <a:lnTo>
                    <a:pt x="206" y="164"/>
                  </a:lnTo>
                  <a:lnTo>
                    <a:pt x="198" y="162"/>
                  </a:lnTo>
                  <a:lnTo>
                    <a:pt x="198" y="162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2" y="166"/>
                  </a:lnTo>
                  <a:lnTo>
                    <a:pt x="176" y="170"/>
                  </a:lnTo>
                  <a:lnTo>
                    <a:pt x="172" y="174"/>
                  </a:lnTo>
                  <a:lnTo>
                    <a:pt x="168" y="180"/>
                  </a:lnTo>
                  <a:lnTo>
                    <a:pt x="164" y="186"/>
                  </a:lnTo>
                  <a:lnTo>
                    <a:pt x="162" y="194"/>
                  </a:lnTo>
                  <a:lnTo>
                    <a:pt x="162" y="200"/>
                  </a:lnTo>
                  <a:lnTo>
                    <a:pt x="164" y="208"/>
                  </a:lnTo>
                  <a:lnTo>
                    <a:pt x="164" y="208"/>
                  </a:lnTo>
                  <a:lnTo>
                    <a:pt x="168" y="218"/>
                  </a:lnTo>
                  <a:lnTo>
                    <a:pt x="176" y="226"/>
                  </a:lnTo>
                  <a:lnTo>
                    <a:pt x="186" y="232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208" y="232"/>
                  </a:lnTo>
                  <a:lnTo>
                    <a:pt x="208" y="232"/>
                  </a:lnTo>
                  <a:lnTo>
                    <a:pt x="216" y="228"/>
                  </a:lnTo>
                  <a:lnTo>
                    <a:pt x="224" y="222"/>
                  </a:lnTo>
                  <a:lnTo>
                    <a:pt x="228" y="216"/>
                  </a:lnTo>
                  <a:lnTo>
                    <a:pt x="232" y="208"/>
                  </a:lnTo>
                  <a:lnTo>
                    <a:pt x="372" y="152"/>
                  </a:lnTo>
                  <a:close/>
                  <a:moveTo>
                    <a:pt x="352" y="276"/>
                  </a:moveTo>
                  <a:lnTo>
                    <a:pt x="324" y="258"/>
                  </a:lnTo>
                  <a:lnTo>
                    <a:pt x="324" y="258"/>
                  </a:lnTo>
                  <a:lnTo>
                    <a:pt x="320" y="258"/>
                  </a:lnTo>
                  <a:lnTo>
                    <a:pt x="316" y="258"/>
                  </a:lnTo>
                  <a:lnTo>
                    <a:pt x="312" y="260"/>
                  </a:lnTo>
                  <a:lnTo>
                    <a:pt x="310" y="262"/>
                  </a:lnTo>
                  <a:lnTo>
                    <a:pt x="310" y="262"/>
                  </a:lnTo>
                  <a:lnTo>
                    <a:pt x="308" y="266"/>
                  </a:lnTo>
                  <a:lnTo>
                    <a:pt x="308" y="270"/>
                  </a:lnTo>
                  <a:lnTo>
                    <a:pt x="310" y="274"/>
                  </a:lnTo>
                  <a:lnTo>
                    <a:pt x="314" y="276"/>
                  </a:lnTo>
                  <a:lnTo>
                    <a:pt x="342" y="292"/>
                  </a:lnTo>
                  <a:lnTo>
                    <a:pt x="342" y="292"/>
                  </a:lnTo>
                  <a:lnTo>
                    <a:pt x="348" y="294"/>
                  </a:lnTo>
                  <a:lnTo>
                    <a:pt x="348" y="294"/>
                  </a:lnTo>
                  <a:lnTo>
                    <a:pt x="352" y="292"/>
                  </a:lnTo>
                  <a:lnTo>
                    <a:pt x="356" y="290"/>
                  </a:lnTo>
                  <a:lnTo>
                    <a:pt x="356" y="290"/>
                  </a:lnTo>
                  <a:lnTo>
                    <a:pt x="358" y="286"/>
                  </a:lnTo>
                  <a:lnTo>
                    <a:pt x="356" y="282"/>
                  </a:lnTo>
                  <a:lnTo>
                    <a:pt x="356" y="278"/>
                  </a:lnTo>
                  <a:lnTo>
                    <a:pt x="352" y="276"/>
                  </a:lnTo>
                  <a:lnTo>
                    <a:pt x="352" y="276"/>
                  </a:lnTo>
                  <a:close/>
                  <a:moveTo>
                    <a:pt x="380" y="198"/>
                  </a:moveTo>
                  <a:lnTo>
                    <a:pt x="380" y="198"/>
                  </a:lnTo>
                  <a:lnTo>
                    <a:pt x="380" y="194"/>
                  </a:lnTo>
                  <a:lnTo>
                    <a:pt x="378" y="190"/>
                  </a:lnTo>
                  <a:lnTo>
                    <a:pt x="374" y="188"/>
                  </a:lnTo>
                  <a:lnTo>
                    <a:pt x="370" y="188"/>
                  </a:lnTo>
                  <a:lnTo>
                    <a:pt x="338" y="188"/>
                  </a:lnTo>
                  <a:lnTo>
                    <a:pt x="338" y="188"/>
                  </a:lnTo>
                  <a:lnTo>
                    <a:pt x="334" y="188"/>
                  </a:lnTo>
                  <a:lnTo>
                    <a:pt x="330" y="190"/>
                  </a:lnTo>
                  <a:lnTo>
                    <a:pt x="328" y="194"/>
                  </a:lnTo>
                  <a:lnTo>
                    <a:pt x="328" y="198"/>
                  </a:lnTo>
                  <a:lnTo>
                    <a:pt x="328" y="198"/>
                  </a:lnTo>
                  <a:lnTo>
                    <a:pt x="328" y="202"/>
                  </a:lnTo>
                  <a:lnTo>
                    <a:pt x="330" y="206"/>
                  </a:lnTo>
                  <a:lnTo>
                    <a:pt x="334" y="208"/>
                  </a:lnTo>
                  <a:lnTo>
                    <a:pt x="338" y="208"/>
                  </a:lnTo>
                  <a:lnTo>
                    <a:pt x="370" y="208"/>
                  </a:lnTo>
                  <a:lnTo>
                    <a:pt x="370" y="208"/>
                  </a:lnTo>
                  <a:lnTo>
                    <a:pt x="374" y="208"/>
                  </a:lnTo>
                  <a:lnTo>
                    <a:pt x="378" y="206"/>
                  </a:lnTo>
                  <a:lnTo>
                    <a:pt x="380" y="202"/>
                  </a:lnTo>
                  <a:lnTo>
                    <a:pt x="380" y="198"/>
                  </a:lnTo>
                  <a:lnTo>
                    <a:pt x="380" y="19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0" name="Freeform 4985"/>
            <p:cNvSpPr>
              <a:spLocks noEditPoints="1"/>
            </p:cNvSpPr>
            <p:nvPr/>
          </p:nvSpPr>
          <p:spPr bwMode="auto">
            <a:xfrm>
              <a:off x="8054352" y="1788584"/>
              <a:ext cx="387981" cy="354033"/>
            </a:xfrm>
            <a:custGeom>
              <a:avLst/>
              <a:gdLst>
                <a:gd name="T0" fmla="*/ 282 w 320"/>
                <a:gd name="T1" fmla="*/ 112 h 292"/>
                <a:gd name="T2" fmla="*/ 294 w 320"/>
                <a:gd name="T3" fmla="*/ 114 h 292"/>
                <a:gd name="T4" fmla="*/ 308 w 320"/>
                <a:gd name="T5" fmla="*/ 120 h 292"/>
                <a:gd name="T6" fmla="*/ 320 w 320"/>
                <a:gd name="T7" fmla="*/ 138 h 292"/>
                <a:gd name="T8" fmla="*/ 320 w 320"/>
                <a:gd name="T9" fmla="*/ 196 h 292"/>
                <a:gd name="T10" fmla="*/ 320 w 320"/>
                <a:gd name="T11" fmla="*/ 202 h 292"/>
                <a:gd name="T12" fmla="*/ 316 w 320"/>
                <a:gd name="T13" fmla="*/ 214 h 292"/>
                <a:gd name="T14" fmla="*/ 304 w 320"/>
                <a:gd name="T15" fmla="*/ 228 h 292"/>
                <a:gd name="T16" fmla="*/ 282 w 320"/>
                <a:gd name="T17" fmla="*/ 234 h 292"/>
                <a:gd name="T18" fmla="*/ 252 w 320"/>
                <a:gd name="T19" fmla="*/ 234 h 292"/>
                <a:gd name="T20" fmla="*/ 260 w 320"/>
                <a:gd name="T21" fmla="*/ 264 h 292"/>
                <a:gd name="T22" fmla="*/ 272 w 320"/>
                <a:gd name="T23" fmla="*/ 286 h 292"/>
                <a:gd name="T24" fmla="*/ 278 w 320"/>
                <a:gd name="T25" fmla="*/ 292 h 292"/>
                <a:gd name="T26" fmla="*/ 254 w 320"/>
                <a:gd name="T27" fmla="*/ 278 h 292"/>
                <a:gd name="T28" fmla="*/ 234 w 320"/>
                <a:gd name="T29" fmla="*/ 260 h 292"/>
                <a:gd name="T30" fmla="*/ 218 w 320"/>
                <a:gd name="T31" fmla="*/ 234 h 292"/>
                <a:gd name="T32" fmla="*/ 198 w 320"/>
                <a:gd name="T33" fmla="*/ 234 h 292"/>
                <a:gd name="T34" fmla="*/ 186 w 320"/>
                <a:gd name="T35" fmla="*/ 232 h 292"/>
                <a:gd name="T36" fmla="*/ 172 w 320"/>
                <a:gd name="T37" fmla="*/ 224 h 292"/>
                <a:gd name="T38" fmla="*/ 162 w 320"/>
                <a:gd name="T39" fmla="*/ 208 h 292"/>
                <a:gd name="T40" fmla="*/ 160 w 320"/>
                <a:gd name="T41" fmla="*/ 150 h 292"/>
                <a:gd name="T42" fmla="*/ 160 w 320"/>
                <a:gd name="T43" fmla="*/ 144 h 292"/>
                <a:gd name="T44" fmla="*/ 164 w 320"/>
                <a:gd name="T45" fmla="*/ 130 h 292"/>
                <a:gd name="T46" fmla="*/ 176 w 320"/>
                <a:gd name="T47" fmla="*/ 118 h 292"/>
                <a:gd name="T48" fmla="*/ 198 w 320"/>
                <a:gd name="T49" fmla="*/ 112 h 292"/>
                <a:gd name="T50" fmla="*/ 140 w 320"/>
                <a:gd name="T51" fmla="*/ 150 h 292"/>
                <a:gd name="T52" fmla="*/ 142 w 320"/>
                <a:gd name="T53" fmla="*/ 142 h 292"/>
                <a:gd name="T54" fmla="*/ 148 w 320"/>
                <a:gd name="T55" fmla="*/ 122 h 292"/>
                <a:gd name="T56" fmla="*/ 162 w 320"/>
                <a:gd name="T57" fmla="*/ 104 h 292"/>
                <a:gd name="T58" fmla="*/ 184 w 320"/>
                <a:gd name="T59" fmla="*/ 94 h 292"/>
                <a:gd name="T60" fmla="*/ 282 w 320"/>
                <a:gd name="T61" fmla="*/ 92 h 292"/>
                <a:gd name="T62" fmla="*/ 288 w 320"/>
                <a:gd name="T63" fmla="*/ 94 h 292"/>
                <a:gd name="T64" fmla="*/ 288 w 320"/>
                <a:gd name="T65" fmla="*/ 52 h 292"/>
                <a:gd name="T66" fmla="*/ 286 w 320"/>
                <a:gd name="T67" fmla="*/ 36 h 292"/>
                <a:gd name="T68" fmla="*/ 276 w 320"/>
                <a:gd name="T69" fmla="*/ 16 h 292"/>
                <a:gd name="T70" fmla="*/ 254 w 320"/>
                <a:gd name="T71" fmla="*/ 2 h 292"/>
                <a:gd name="T72" fmla="*/ 236 w 320"/>
                <a:gd name="T73" fmla="*/ 0 h 292"/>
                <a:gd name="T74" fmla="*/ 52 w 320"/>
                <a:gd name="T75" fmla="*/ 0 h 292"/>
                <a:gd name="T76" fmla="*/ 34 w 320"/>
                <a:gd name="T77" fmla="*/ 2 h 292"/>
                <a:gd name="T78" fmla="*/ 16 w 320"/>
                <a:gd name="T79" fmla="*/ 12 h 292"/>
                <a:gd name="T80" fmla="*/ 2 w 320"/>
                <a:gd name="T81" fmla="*/ 34 h 292"/>
                <a:gd name="T82" fmla="*/ 0 w 320"/>
                <a:gd name="T83" fmla="*/ 52 h 292"/>
                <a:gd name="T84" fmla="*/ 0 w 320"/>
                <a:gd name="T85" fmla="*/ 112 h 292"/>
                <a:gd name="T86" fmla="*/ 2 w 320"/>
                <a:gd name="T87" fmla="*/ 130 h 292"/>
                <a:gd name="T88" fmla="*/ 12 w 320"/>
                <a:gd name="T89" fmla="*/ 148 h 292"/>
                <a:gd name="T90" fmla="*/ 34 w 320"/>
                <a:gd name="T91" fmla="*/ 162 h 292"/>
                <a:gd name="T92" fmla="*/ 52 w 320"/>
                <a:gd name="T93" fmla="*/ 164 h 292"/>
                <a:gd name="T94" fmla="*/ 64 w 320"/>
                <a:gd name="T95" fmla="*/ 164 h 292"/>
                <a:gd name="T96" fmla="*/ 54 w 320"/>
                <a:gd name="T97" fmla="*/ 206 h 292"/>
                <a:gd name="T98" fmla="*/ 44 w 320"/>
                <a:gd name="T99" fmla="*/ 226 h 292"/>
                <a:gd name="T100" fmla="*/ 30 w 320"/>
                <a:gd name="T101" fmla="*/ 244 h 292"/>
                <a:gd name="T102" fmla="*/ 40 w 320"/>
                <a:gd name="T103" fmla="*/ 240 h 292"/>
                <a:gd name="T104" fmla="*/ 62 w 320"/>
                <a:gd name="T105" fmla="*/ 226 h 292"/>
                <a:gd name="T106" fmla="*/ 90 w 320"/>
                <a:gd name="T107" fmla="*/ 200 h 292"/>
                <a:gd name="T108" fmla="*/ 110 w 320"/>
                <a:gd name="T109" fmla="*/ 164 h 292"/>
                <a:gd name="T110" fmla="*/ 140 w 320"/>
                <a:gd name="T111" fmla="*/ 15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0" h="292">
                  <a:moveTo>
                    <a:pt x="282" y="112"/>
                  </a:moveTo>
                  <a:lnTo>
                    <a:pt x="282" y="112"/>
                  </a:lnTo>
                  <a:lnTo>
                    <a:pt x="288" y="112"/>
                  </a:lnTo>
                  <a:lnTo>
                    <a:pt x="294" y="114"/>
                  </a:lnTo>
                  <a:lnTo>
                    <a:pt x="302" y="116"/>
                  </a:lnTo>
                  <a:lnTo>
                    <a:pt x="308" y="120"/>
                  </a:lnTo>
                  <a:lnTo>
                    <a:pt x="314" y="128"/>
                  </a:lnTo>
                  <a:lnTo>
                    <a:pt x="320" y="138"/>
                  </a:lnTo>
                  <a:lnTo>
                    <a:pt x="320" y="150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202"/>
                  </a:lnTo>
                  <a:lnTo>
                    <a:pt x="318" y="208"/>
                  </a:lnTo>
                  <a:lnTo>
                    <a:pt x="316" y="214"/>
                  </a:lnTo>
                  <a:lnTo>
                    <a:pt x="312" y="222"/>
                  </a:lnTo>
                  <a:lnTo>
                    <a:pt x="304" y="228"/>
                  </a:lnTo>
                  <a:lnTo>
                    <a:pt x="294" y="232"/>
                  </a:lnTo>
                  <a:lnTo>
                    <a:pt x="282" y="234"/>
                  </a:lnTo>
                  <a:lnTo>
                    <a:pt x="252" y="234"/>
                  </a:lnTo>
                  <a:lnTo>
                    <a:pt x="252" y="234"/>
                  </a:lnTo>
                  <a:lnTo>
                    <a:pt x="256" y="248"/>
                  </a:lnTo>
                  <a:lnTo>
                    <a:pt x="260" y="264"/>
                  </a:lnTo>
                  <a:lnTo>
                    <a:pt x="268" y="280"/>
                  </a:lnTo>
                  <a:lnTo>
                    <a:pt x="272" y="286"/>
                  </a:lnTo>
                  <a:lnTo>
                    <a:pt x="278" y="292"/>
                  </a:lnTo>
                  <a:lnTo>
                    <a:pt x="278" y="292"/>
                  </a:lnTo>
                  <a:lnTo>
                    <a:pt x="272" y="290"/>
                  </a:lnTo>
                  <a:lnTo>
                    <a:pt x="254" y="278"/>
                  </a:lnTo>
                  <a:lnTo>
                    <a:pt x="244" y="270"/>
                  </a:lnTo>
                  <a:lnTo>
                    <a:pt x="234" y="260"/>
                  </a:lnTo>
                  <a:lnTo>
                    <a:pt x="226" y="248"/>
                  </a:lnTo>
                  <a:lnTo>
                    <a:pt x="218" y="234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192" y="234"/>
                  </a:lnTo>
                  <a:lnTo>
                    <a:pt x="186" y="232"/>
                  </a:lnTo>
                  <a:lnTo>
                    <a:pt x="180" y="230"/>
                  </a:lnTo>
                  <a:lnTo>
                    <a:pt x="172" y="224"/>
                  </a:lnTo>
                  <a:lnTo>
                    <a:pt x="166" y="218"/>
                  </a:lnTo>
                  <a:lnTo>
                    <a:pt x="162" y="208"/>
                  </a:lnTo>
                  <a:lnTo>
                    <a:pt x="160" y="196"/>
                  </a:lnTo>
                  <a:lnTo>
                    <a:pt x="160" y="150"/>
                  </a:lnTo>
                  <a:lnTo>
                    <a:pt x="160" y="150"/>
                  </a:lnTo>
                  <a:lnTo>
                    <a:pt x="160" y="144"/>
                  </a:lnTo>
                  <a:lnTo>
                    <a:pt x="162" y="138"/>
                  </a:lnTo>
                  <a:lnTo>
                    <a:pt x="164" y="130"/>
                  </a:lnTo>
                  <a:lnTo>
                    <a:pt x="170" y="124"/>
                  </a:lnTo>
                  <a:lnTo>
                    <a:pt x="176" y="118"/>
                  </a:lnTo>
                  <a:lnTo>
                    <a:pt x="186" y="114"/>
                  </a:lnTo>
                  <a:lnTo>
                    <a:pt x="198" y="112"/>
                  </a:lnTo>
                  <a:lnTo>
                    <a:pt x="282" y="112"/>
                  </a:lnTo>
                  <a:close/>
                  <a:moveTo>
                    <a:pt x="140" y="150"/>
                  </a:moveTo>
                  <a:lnTo>
                    <a:pt x="140" y="150"/>
                  </a:lnTo>
                  <a:lnTo>
                    <a:pt x="142" y="142"/>
                  </a:lnTo>
                  <a:lnTo>
                    <a:pt x="144" y="132"/>
                  </a:lnTo>
                  <a:lnTo>
                    <a:pt x="148" y="122"/>
                  </a:lnTo>
                  <a:lnTo>
                    <a:pt x="154" y="112"/>
                  </a:lnTo>
                  <a:lnTo>
                    <a:pt x="162" y="104"/>
                  </a:lnTo>
                  <a:lnTo>
                    <a:pt x="172" y="98"/>
                  </a:lnTo>
                  <a:lnTo>
                    <a:pt x="184" y="94"/>
                  </a:lnTo>
                  <a:lnTo>
                    <a:pt x="198" y="92"/>
                  </a:lnTo>
                  <a:lnTo>
                    <a:pt x="282" y="92"/>
                  </a:lnTo>
                  <a:lnTo>
                    <a:pt x="282" y="92"/>
                  </a:lnTo>
                  <a:lnTo>
                    <a:pt x="288" y="94"/>
                  </a:lnTo>
                  <a:lnTo>
                    <a:pt x="288" y="52"/>
                  </a:lnTo>
                  <a:lnTo>
                    <a:pt x="288" y="52"/>
                  </a:lnTo>
                  <a:lnTo>
                    <a:pt x="288" y="44"/>
                  </a:lnTo>
                  <a:lnTo>
                    <a:pt x="286" y="36"/>
                  </a:lnTo>
                  <a:lnTo>
                    <a:pt x="282" y="26"/>
                  </a:lnTo>
                  <a:lnTo>
                    <a:pt x="276" y="16"/>
                  </a:lnTo>
                  <a:lnTo>
                    <a:pt x="266" y="8"/>
                  </a:lnTo>
                  <a:lnTo>
                    <a:pt x="254" y="2"/>
                  </a:lnTo>
                  <a:lnTo>
                    <a:pt x="246" y="0"/>
                  </a:lnTo>
                  <a:lnTo>
                    <a:pt x="236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4" y="0"/>
                  </a:lnTo>
                  <a:lnTo>
                    <a:pt x="34" y="2"/>
                  </a:lnTo>
                  <a:lnTo>
                    <a:pt x="26" y="6"/>
                  </a:lnTo>
                  <a:lnTo>
                    <a:pt x="16" y="12"/>
                  </a:lnTo>
                  <a:lnTo>
                    <a:pt x="8" y="22"/>
                  </a:lnTo>
                  <a:lnTo>
                    <a:pt x="2" y="34"/>
                  </a:lnTo>
                  <a:lnTo>
                    <a:pt x="0" y="42"/>
                  </a:lnTo>
                  <a:lnTo>
                    <a:pt x="0" y="5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20"/>
                  </a:lnTo>
                  <a:lnTo>
                    <a:pt x="2" y="130"/>
                  </a:lnTo>
                  <a:lnTo>
                    <a:pt x="6" y="138"/>
                  </a:lnTo>
                  <a:lnTo>
                    <a:pt x="12" y="148"/>
                  </a:lnTo>
                  <a:lnTo>
                    <a:pt x="22" y="156"/>
                  </a:lnTo>
                  <a:lnTo>
                    <a:pt x="34" y="162"/>
                  </a:lnTo>
                  <a:lnTo>
                    <a:pt x="42" y="164"/>
                  </a:lnTo>
                  <a:lnTo>
                    <a:pt x="52" y="164"/>
                  </a:lnTo>
                  <a:lnTo>
                    <a:pt x="64" y="164"/>
                  </a:lnTo>
                  <a:lnTo>
                    <a:pt x="64" y="164"/>
                  </a:lnTo>
                  <a:lnTo>
                    <a:pt x="60" y="186"/>
                  </a:lnTo>
                  <a:lnTo>
                    <a:pt x="54" y="206"/>
                  </a:lnTo>
                  <a:lnTo>
                    <a:pt x="50" y="218"/>
                  </a:lnTo>
                  <a:lnTo>
                    <a:pt x="44" y="226"/>
                  </a:lnTo>
                  <a:lnTo>
                    <a:pt x="38" y="236"/>
                  </a:lnTo>
                  <a:lnTo>
                    <a:pt x="30" y="244"/>
                  </a:lnTo>
                  <a:lnTo>
                    <a:pt x="30" y="244"/>
                  </a:lnTo>
                  <a:lnTo>
                    <a:pt x="40" y="240"/>
                  </a:lnTo>
                  <a:lnTo>
                    <a:pt x="50" y="234"/>
                  </a:lnTo>
                  <a:lnTo>
                    <a:pt x="62" y="226"/>
                  </a:lnTo>
                  <a:lnTo>
                    <a:pt x="76" y="214"/>
                  </a:lnTo>
                  <a:lnTo>
                    <a:pt x="90" y="200"/>
                  </a:lnTo>
                  <a:lnTo>
                    <a:pt x="102" y="184"/>
                  </a:lnTo>
                  <a:lnTo>
                    <a:pt x="110" y="164"/>
                  </a:lnTo>
                  <a:lnTo>
                    <a:pt x="140" y="164"/>
                  </a:lnTo>
                  <a:lnTo>
                    <a:pt x="140" y="15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012358" y="2708426"/>
              <a:ext cx="471968" cy="557775"/>
              <a:chOff x="-4891314" y="-1059541"/>
              <a:chExt cx="4210948" cy="4976530"/>
            </a:xfrm>
          </p:grpSpPr>
          <p:grpSp>
            <p:nvGrpSpPr>
              <p:cNvPr id="18" name="Group 17"/>
              <p:cNvGrpSpPr/>
              <p:nvPr/>
            </p:nvGrpSpPr>
            <p:grpSpPr>
              <a:xfrm>
                <a:off x="-4879056" y="-1059541"/>
                <a:ext cx="4198690" cy="4953197"/>
                <a:chOff x="8060638" y="2811945"/>
                <a:chExt cx="375408" cy="442869"/>
              </a:xfrm>
            </p:grpSpPr>
            <p:sp>
              <p:nvSpPr>
                <p:cNvPr id="86" name="Freeform 6"/>
                <p:cNvSpPr>
                  <a:spLocks/>
                </p:cNvSpPr>
                <p:nvPr/>
              </p:nvSpPr>
              <p:spPr bwMode="auto">
                <a:xfrm>
                  <a:off x="8340011" y="2811946"/>
                  <a:ext cx="96035" cy="432535"/>
                </a:xfrm>
                <a:custGeom>
                  <a:avLst/>
                  <a:gdLst>
                    <a:gd name="connsiteX0" fmla="*/ 10000 w 10000"/>
                    <a:gd name="connsiteY0" fmla="*/ 864 h 10750"/>
                    <a:gd name="connsiteX1" fmla="*/ 0 w 10000"/>
                    <a:gd name="connsiteY1" fmla="*/ 0 h 10750"/>
                    <a:gd name="connsiteX2" fmla="*/ 0 w 10000"/>
                    <a:gd name="connsiteY2" fmla="*/ 10750 h 10750"/>
                    <a:gd name="connsiteX3" fmla="*/ 10000 w 10000"/>
                    <a:gd name="connsiteY3" fmla="*/ 10000 h 10750"/>
                    <a:gd name="connsiteX4" fmla="*/ 10000 w 10000"/>
                    <a:gd name="connsiteY4" fmla="*/ 864 h 10750"/>
                    <a:gd name="connsiteX0" fmla="*/ 10000 w 10000"/>
                    <a:gd name="connsiteY0" fmla="*/ 864 h 10475"/>
                    <a:gd name="connsiteX1" fmla="*/ 0 w 10000"/>
                    <a:gd name="connsiteY1" fmla="*/ 0 h 10475"/>
                    <a:gd name="connsiteX2" fmla="*/ 0 w 10000"/>
                    <a:gd name="connsiteY2" fmla="*/ 10475 h 10475"/>
                    <a:gd name="connsiteX3" fmla="*/ 10000 w 10000"/>
                    <a:gd name="connsiteY3" fmla="*/ 10000 h 10475"/>
                    <a:gd name="connsiteX4" fmla="*/ 10000 w 10000"/>
                    <a:gd name="connsiteY4" fmla="*/ 864 h 10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475">
                      <a:moveTo>
                        <a:pt x="10000" y="864"/>
                      </a:moveTo>
                      <a:lnTo>
                        <a:pt x="0" y="0"/>
                      </a:lnTo>
                      <a:lnTo>
                        <a:pt x="0" y="10475"/>
                      </a:lnTo>
                      <a:lnTo>
                        <a:pt x="10000" y="10000"/>
                      </a:lnTo>
                      <a:lnTo>
                        <a:pt x="10000" y="86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87" name="Freeform 7"/>
                <p:cNvSpPr>
                  <a:spLocks noEditPoints="1"/>
                </p:cNvSpPr>
                <p:nvPr/>
              </p:nvSpPr>
              <p:spPr bwMode="auto">
                <a:xfrm>
                  <a:off x="8232336" y="2811945"/>
                  <a:ext cx="93124" cy="412921"/>
                </a:xfrm>
                <a:custGeom>
                  <a:avLst/>
                  <a:gdLst/>
                  <a:ahLst/>
                  <a:cxnLst>
                    <a:cxn ang="0">
                      <a:pos x="0" y="52"/>
                    </a:cxn>
                    <a:cxn ang="0">
                      <a:pos x="0" y="226"/>
                    </a:cxn>
                    <a:cxn ang="0">
                      <a:pos x="22" y="236"/>
                    </a:cxn>
                    <a:cxn ang="0">
                      <a:pos x="22" y="180"/>
                    </a:cxn>
                    <a:cxn ang="0">
                      <a:pos x="46" y="172"/>
                    </a:cxn>
                    <a:cxn ang="0">
                      <a:pos x="46" y="244"/>
                    </a:cxn>
                    <a:cxn ang="0">
                      <a:pos x="62" y="250"/>
                    </a:cxn>
                    <a:cxn ang="0">
                      <a:pos x="62" y="258"/>
                    </a:cxn>
                    <a:cxn ang="0">
                      <a:pos x="62" y="602"/>
                    </a:cxn>
                    <a:cxn ang="0">
                      <a:pos x="128" y="602"/>
                    </a:cxn>
                    <a:cxn ang="0">
                      <a:pos x="128" y="0"/>
                    </a:cxn>
                    <a:cxn ang="0">
                      <a:pos x="0" y="52"/>
                    </a:cxn>
                    <a:cxn ang="0">
                      <a:pos x="22" y="138"/>
                    </a:cxn>
                    <a:cxn ang="0">
                      <a:pos x="22" y="70"/>
                    </a:cxn>
                    <a:cxn ang="0">
                      <a:pos x="46" y="62"/>
                    </a:cxn>
                    <a:cxn ang="0">
                      <a:pos x="46" y="132"/>
                    </a:cxn>
                    <a:cxn ang="0">
                      <a:pos x="22" y="138"/>
                    </a:cxn>
                    <a:cxn ang="0">
                      <a:pos x="80" y="48"/>
                    </a:cxn>
                    <a:cxn ang="0">
                      <a:pos x="104" y="40"/>
                    </a:cxn>
                    <a:cxn ang="0">
                      <a:pos x="104" y="114"/>
                    </a:cxn>
                    <a:cxn ang="0">
                      <a:pos x="80" y="118"/>
                    </a:cxn>
                    <a:cxn ang="0">
                      <a:pos x="80" y="48"/>
                    </a:cxn>
                    <a:cxn ang="0">
                      <a:pos x="80" y="568"/>
                    </a:cxn>
                    <a:cxn ang="0">
                      <a:pos x="80" y="502"/>
                    </a:cxn>
                    <a:cxn ang="0">
                      <a:pos x="102" y="496"/>
                    </a:cxn>
                    <a:cxn ang="0">
                      <a:pos x="102" y="566"/>
                    </a:cxn>
                    <a:cxn ang="0">
                      <a:pos x="80" y="568"/>
                    </a:cxn>
                    <a:cxn ang="0">
                      <a:pos x="80" y="384"/>
                    </a:cxn>
                    <a:cxn ang="0">
                      <a:pos x="102" y="376"/>
                    </a:cxn>
                    <a:cxn ang="0">
                      <a:pos x="102" y="450"/>
                    </a:cxn>
                    <a:cxn ang="0">
                      <a:pos x="80" y="452"/>
                    </a:cxn>
                    <a:cxn ang="0">
                      <a:pos x="80" y="384"/>
                    </a:cxn>
                    <a:cxn ang="0">
                      <a:pos x="102" y="340"/>
                    </a:cxn>
                    <a:cxn ang="0">
                      <a:pos x="80" y="344"/>
                    </a:cxn>
                    <a:cxn ang="0">
                      <a:pos x="80" y="274"/>
                    </a:cxn>
                    <a:cxn ang="0">
                      <a:pos x="102" y="266"/>
                    </a:cxn>
                    <a:cxn ang="0">
                      <a:pos x="102" y="340"/>
                    </a:cxn>
                    <a:cxn ang="0">
                      <a:pos x="104" y="224"/>
                    </a:cxn>
                    <a:cxn ang="0">
                      <a:pos x="80" y="230"/>
                    </a:cxn>
                    <a:cxn ang="0">
                      <a:pos x="80" y="158"/>
                    </a:cxn>
                    <a:cxn ang="0">
                      <a:pos x="104" y="150"/>
                    </a:cxn>
                    <a:cxn ang="0">
                      <a:pos x="104" y="224"/>
                    </a:cxn>
                  </a:cxnLst>
                  <a:rect l="0" t="0" r="r" b="b"/>
                  <a:pathLst>
                    <a:path w="128" h="602">
                      <a:moveTo>
                        <a:pt x="0" y="52"/>
                      </a:moveTo>
                      <a:lnTo>
                        <a:pt x="0" y="226"/>
                      </a:lnTo>
                      <a:lnTo>
                        <a:pt x="22" y="236"/>
                      </a:lnTo>
                      <a:lnTo>
                        <a:pt x="22" y="180"/>
                      </a:lnTo>
                      <a:lnTo>
                        <a:pt x="46" y="172"/>
                      </a:lnTo>
                      <a:lnTo>
                        <a:pt x="46" y="244"/>
                      </a:lnTo>
                      <a:lnTo>
                        <a:pt x="62" y="250"/>
                      </a:lnTo>
                      <a:lnTo>
                        <a:pt x="62" y="258"/>
                      </a:lnTo>
                      <a:lnTo>
                        <a:pt x="62" y="602"/>
                      </a:lnTo>
                      <a:lnTo>
                        <a:pt x="128" y="602"/>
                      </a:lnTo>
                      <a:lnTo>
                        <a:pt x="128" y="0"/>
                      </a:lnTo>
                      <a:lnTo>
                        <a:pt x="0" y="52"/>
                      </a:lnTo>
                      <a:close/>
                      <a:moveTo>
                        <a:pt x="22" y="138"/>
                      </a:moveTo>
                      <a:lnTo>
                        <a:pt x="22" y="70"/>
                      </a:lnTo>
                      <a:lnTo>
                        <a:pt x="46" y="62"/>
                      </a:lnTo>
                      <a:lnTo>
                        <a:pt x="46" y="132"/>
                      </a:lnTo>
                      <a:lnTo>
                        <a:pt x="22" y="138"/>
                      </a:lnTo>
                      <a:close/>
                      <a:moveTo>
                        <a:pt x="80" y="48"/>
                      </a:moveTo>
                      <a:lnTo>
                        <a:pt x="104" y="40"/>
                      </a:lnTo>
                      <a:lnTo>
                        <a:pt x="104" y="114"/>
                      </a:lnTo>
                      <a:lnTo>
                        <a:pt x="80" y="118"/>
                      </a:lnTo>
                      <a:lnTo>
                        <a:pt x="80" y="48"/>
                      </a:lnTo>
                      <a:close/>
                      <a:moveTo>
                        <a:pt x="80" y="568"/>
                      </a:moveTo>
                      <a:lnTo>
                        <a:pt x="80" y="502"/>
                      </a:lnTo>
                      <a:lnTo>
                        <a:pt x="102" y="496"/>
                      </a:lnTo>
                      <a:lnTo>
                        <a:pt x="102" y="566"/>
                      </a:lnTo>
                      <a:lnTo>
                        <a:pt x="80" y="568"/>
                      </a:lnTo>
                      <a:close/>
                      <a:moveTo>
                        <a:pt x="80" y="384"/>
                      </a:moveTo>
                      <a:lnTo>
                        <a:pt x="102" y="376"/>
                      </a:lnTo>
                      <a:lnTo>
                        <a:pt x="102" y="450"/>
                      </a:lnTo>
                      <a:lnTo>
                        <a:pt x="80" y="452"/>
                      </a:lnTo>
                      <a:lnTo>
                        <a:pt x="80" y="384"/>
                      </a:lnTo>
                      <a:close/>
                      <a:moveTo>
                        <a:pt x="102" y="340"/>
                      </a:moveTo>
                      <a:lnTo>
                        <a:pt x="80" y="344"/>
                      </a:lnTo>
                      <a:lnTo>
                        <a:pt x="80" y="274"/>
                      </a:lnTo>
                      <a:lnTo>
                        <a:pt x="102" y="266"/>
                      </a:lnTo>
                      <a:lnTo>
                        <a:pt x="102" y="340"/>
                      </a:lnTo>
                      <a:close/>
                      <a:moveTo>
                        <a:pt x="104" y="224"/>
                      </a:moveTo>
                      <a:lnTo>
                        <a:pt x="80" y="230"/>
                      </a:lnTo>
                      <a:lnTo>
                        <a:pt x="80" y="158"/>
                      </a:lnTo>
                      <a:lnTo>
                        <a:pt x="104" y="150"/>
                      </a:lnTo>
                      <a:lnTo>
                        <a:pt x="104" y="22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88" name="Freeform 8"/>
                <p:cNvSpPr>
                  <a:spLocks/>
                </p:cNvSpPr>
                <p:nvPr/>
              </p:nvSpPr>
              <p:spPr bwMode="auto">
                <a:xfrm>
                  <a:off x="8169768" y="2954616"/>
                  <a:ext cx="94580" cy="300198"/>
                </a:xfrm>
                <a:custGeom>
                  <a:avLst/>
                  <a:gdLst>
                    <a:gd name="connsiteX0" fmla="*/ 0 w 10000"/>
                    <a:gd name="connsiteY0" fmla="*/ 0 h 11052"/>
                    <a:gd name="connsiteX1" fmla="*/ 0 w 10000"/>
                    <a:gd name="connsiteY1" fmla="*/ 11052 h 11052"/>
                    <a:gd name="connsiteX2" fmla="*/ 10000 w 10000"/>
                    <a:gd name="connsiteY2" fmla="*/ 10000 h 11052"/>
                    <a:gd name="connsiteX3" fmla="*/ 10000 w 10000"/>
                    <a:gd name="connsiteY3" fmla="*/ 1313 h 11052"/>
                    <a:gd name="connsiteX4" fmla="*/ 0 w 10000"/>
                    <a:gd name="connsiteY4" fmla="*/ 0 h 110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1052">
                      <a:moveTo>
                        <a:pt x="0" y="0"/>
                      </a:moveTo>
                      <a:lnTo>
                        <a:pt x="0" y="11052"/>
                      </a:lnTo>
                      <a:lnTo>
                        <a:pt x="10000" y="10000"/>
                      </a:lnTo>
                      <a:lnTo>
                        <a:pt x="10000" y="131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89" name="Freeform 9"/>
                <p:cNvSpPr>
                  <a:spLocks noEditPoints="1"/>
                </p:cNvSpPr>
                <p:nvPr/>
              </p:nvSpPr>
              <p:spPr bwMode="auto">
                <a:xfrm>
                  <a:off x="8060638" y="2954615"/>
                  <a:ext cx="94580" cy="271623"/>
                </a:xfrm>
                <a:custGeom>
                  <a:avLst/>
                  <a:gdLst/>
                  <a:ahLst/>
                  <a:cxnLst>
                    <a:cxn ang="0">
                      <a:pos x="0" y="50"/>
                    </a:cxn>
                    <a:cxn ang="0">
                      <a:pos x="0" y="396"/>
                    </a:cxn>
                    <a:cxn ang="0">
                      <a:pos x="130" y="396"/>
                    </a:cxn>
                    <a:cxn ang="0">
                      <a:pos x="130" y="0"/>
                    </a:cxn>
                    <a:cxn ang="0">
                      <a:pos x="0" y="50"/>
                    </a:cxn>
                    <a:cxn ang="0">
                      <a:pos x="78" y="52"/>
                    </a:cxn>
                    <a:cxn ang="0">
                      <a:pos x="100" y="46"/>
                    </a:cxn>
                    <a:cxn ang="0">
                      <a:pos x="100" y="120"/>
                    </a:cxn>
                    <a:cxn ang="0">
                      <a:pos x="78" y="124"/>
                    </a:cxn>
                    <a:cxn ang="0">
                      <a:pos x="78" y="52"/>
                    </a:cxn>
                    <a:cxn ang="0">
                      <a:pos x="24" y="70"/>
                    </a:cxn>
                    <a:cxn ang="0">
                      <a:pos x="46" y="62"/>
                    </a:cxn>
                    <a:cxn ang="0">
                      <a:pos x="46" y="136"/>
                    </a:cxn>
                    <a:cxn ang="0">
                      <a:pos x="24" y="140"/>
                    </a:cxn>
                    <a:cxn ang="0">
                      <a:pos x="24" y="70"/>
                    </a:cxn>
                    <a:cxn ang="0">
                      <a:pos x="46" y="174"/>
                    </a:cxn>
                    <a:cxn ang="0">
                      <a:pos x="46" y="246"/>
                    </a:cxn>
                    <a:cxn ang="0">
                      <a:pos x="24" y="250"/>
                    </a:cxn>
                    <a:cxn ang="0">
                      <a:pos x="24" y="180"/>
                    </a:cxn>
                    <a:cxn ang="0">
                      <a:pos x="46" y="174"/>
                    </a:cxn>
                    <a:cxn ang="0">
                      <a:pos x="46" y="358"/>
                    </a:cxn>
                    <a:cxn ang="0">
                      <a:pos x="24" y="358"/>
                    </a:cxn>
                    <a:cxn ang="0">
                      <a:pos x="24" y="292"/>
                    </a:cxn>
                    <a:cxn ang="0">
                      <a:pos x="46" y="288"/>
                    </a:cxn>
                    <a:cxn ang="0">
                      <a:pos x="46" y="358"/>
                    </a:cxn>
                    <a:cxn ang="0">
                      <a:pos x="78" y="164"/>
                    </a:cxn>
                    <a:cxn ang="0">
                      <a:pos x="100" y="158"/>
                    </a:cxn>
                    <a:cxn ang="0">
                      <a:pos x="100" y="232"/>
                    </a:cxn>
                    <a:cxn ang="0">
                      <a:pos x="76" y="236"/>
                    </a:cxn>
                    <a:cxn ang="0">
                      <a:pos x="78" y="164"/>
                    </a:cxn>
                    <a:cxn ang="0">
                      <a:pos x="100" y="356"/>
                    </a:cxn>
                    <a:cxn ang="0">
                      <a:pos x="78" y="356"/>
                    </a:cxn>
                    <a:cxn ang="0">
                      <a:pos x="78" y="282"/>
                    </a:cxn>
                    <a:cxn ang="0">
                      <a:pos x="100" y="276"/>
                    </a:cxn>
                    <a:cxn ang="0">
                      <a:pos x="100" y="356"/>
                    </a:cxn>
                  </a:cxnLst>
                  <a:rect l="0" t="0" r="r" b="b"/>
                  <a:pathLst>
                    <a:path w="130" h="396">
                      <a:moveTo>
                        <a:pt x="0" y="50"/>
                      </a:moveTo>
                      <a:lnTo>
                        <a:pt x="0" y="396"/>
                      </a:lnTo>
                      <a:lnTo>
                        <a:pt x="130" y="396"/>
                      </a:lnTo>
                      <a:lnTo>
                        <a:pt x="130" y="0"/>
                      </a:lnTo>
                      <a:lnTo>
                        <a:pt x="0" y="50"/>
                      </a:lnTo>
                      <a:close/>
                      <a:moveTo>
                        <a:pt x="78" y="52"/>
                      </a:moveTo>
                      <a:lnTo>
                        <a:pt x="100" y="46"/>
                      </a:lnTo>
                      <a:lnTo>
                        <a:pt x="100" y="120"/>
                      </a:lnTo>
                      <a:lnTo>
                        <a:pt x="78" y="124"/>
                      </a:lnTo>
                      <a:lnTo>
                        <a:pt x="78" y="52"/>
                      </a:lnTo>
                      <a:close/>
                      <a:moveTo>
                        <a:pt x="24" y="70"/>
                      </a:moveTo>
                      <a:lnTo>
                        <a:pt x="46" y="62"/>
                      </a:lnTo>
                      <a:lnTo>
                        <a:pt x="46" y="136"/>
                      </a:lnTo>
                      <a:lnTo>
                        <a:pt x="24" y="140"/>
                      </a:lnTo>
                      <a:lnTo>
                        <a:pt x="24" y="70"/>
                      </a:lnTo>
                      <a:close/>
                      <a:moveTo>
                        <a:pt x="46" y="174"/>
                      </a:moveTo>
                      <a:lnTo>
                        <a:pt x="46" y="246"/>
                      </a:lnTo>
                      <a:lnTo>
                        <a:pt x="24" y="250"/>
                      </a:lnTo>
                      <a:lnTo>
                        <a:pt x="24" y="180"/>
                      </a:lnTo>
                      <a:lnTo>
                        <a:pt x="46" y="174"/>
                      </a:lnTo>
                      <a:close/>
                      <a:moveTo>
                        <a:pt x="46" y="358"/>
                      </a:moveTo>
                      <a:lnTo>
                        <a:pt x="24" y="358"/>
                      </a:lnTo>
                      <a:lnTo>
                        <a:pt x="24" y="292"/>
                      </a:lnTo>
                      <a:lnTo>
                        <a:pt x="46" y="288"/>
                      </a:lnTo>
                      <a:lnTo>
                        <a:pt x="46" y="358"/>
                      </a:lnTo>
                      <a:close/>
                      <a:moveTo>
                        <a:pt x="78" y="164"/>
                      </a:moveTo>
                      <a:lnTo>
                        <a:pt x="100" y="158"/>
                      </a:lnTo>
                      <a:lnTo>
                        <a:pt x="100" y="232"/>
                      </a:lnTo>
                      <a:lnTo>
                        <a:pt x="76" y="236"/>
                      </a:lnTo>
                      <a:lnTo>
                        <a:pt x="78" y="164"/>
                      </a:lnTo>
                      <a:close/>
                      <a:moveTo>
                        <a:pt x="100" y="356"/>
                      </a:moveTo>
                      <a:lnTo>
                        <a:pt x="78" y="356"/>
                      </a:lnTo>
                      <a:lnTo>
                        <a:pt x="78" y="282"/>
                      </a:lnTo>
                      <a:lnTo>
                        <a:pt x="100" y="276"/>
                      </a:lnTo>
                      <a:lnTo>
                        <a:pt x="100" y="35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20" name="Freeform 19"/>
              <p:cNvSpPr/>
              <p:nvPr/>
            </p:nvSpPr>
            <p:spPr bwMode="ltGray">
              <a:xfrm>
                <a:off x="-4891314" y="3539618"/>
                <a:ext cx="1069945" cy="377371"/>
              </a:xfrm>
              <a:custGeom>
                <a:avLst/>
                <a:gdLst>
                  <a:gd name="connsiteX0" fmla="*/ 0 w 1074057"/>
                  <a:gd name="connsiteY0" fmla="*/ 14514 h 377371"/>
                  <a:gd name="connsiteX1" fmla="*/ 1074057 w 1074057"/>
                  <a:gd name="connsiteY1" fmla="*/ 0 h 377371"/>
                  <a:gd name="connsiteX2" fmla="*/ 1074057 w 1074057"/>
                  <a:gd name="connsiteY2" fmla="*/ 377371 h 377371"/>
                  <a:gd name="connsiteX3" fmla="*/ 0 w 1074057"/>
                  <a:gd name="connsiteY3" fmla="*/ 14514 h 37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74057" h="377371">
                    <a:moveTo>
                      <a:pt x="0" y="14514"/>
                    </a:moveTo>
                    <a:lnTo>
                      <a:pt x="1074057" y="0"/>
                    </a:lnTo>
                    <a:lnTo>
                      <a:pt x="1074057" y="377371"/>
                    </a:lnTo>
                    <a:lnTo>
                      <a:pt x="0" y="14514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i="1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1" name="Freeform 90"/>
              <p:cNvSpPr/>
              <p:nvPr/>
            </p:nvSpPr>
            <p:spPr bwMode="ltGray">
              <a:xfrm>
                <a:off x="-2456157" y="3520822"/>
                <a:ext cx="538843" cy="250371"/>
              </a:xfrm>
              <a:custGeom>
                <a:avLst/>
                <a:gdLst>
                  <a:gd name="connsiteX0" fmla="*/ 0 w 1074057"/>
                  <a:gd name="connsiteY0" fmla="*/ 14514 h 377371"/>
                  <a:gd name="connsiteX1" fmla="*/ 1074057 w 1074057"/>
                  <a:gd name="connsiteY1" fmla="*/ 0 h 377371"/>
                  <a:gd name="connsiteX2" fmla="*/ 1074057 w 1074057"/>
                  <a:gd name="connsiteY2" fmla="*/ 377371 h 377371"/>
                  <a:gd name="connsiteX3" fmla="*/ 0 w 1074057"/>
                  <a:gd name="connsiteY3" fmla="*/ 14514 h 377371"/>
                  <a:gd name="connsiteX0" fmla="*/ 0 w 551543"/>
                  <a:gd name="connsiteY0" fmla="*/ 58056 h 377371"/>
                  <a:gd name="connsiteX1" fmla="*/ 551543 w 551543"/>
                  <a:gd name="connsiteY1" fmla="*/ 0 h 377371"/>
                  <a:gd name="connsiteX2" fmla="*/ 551543 w 551543"/>
                  <a:gd name="connsiteY2" fmla="*/ 377371 h 377371"/>
                  <a:gd name="connsiteX3" fmla="*/ 0 w 551543"/>
                  <a:gd name="connsiteY3" fmla="*/ 58056 h 377371"/>
                  <a:gd name="connsiteX0" fmla="*/ 0 w 551543"/>
                  <a:gd name="connsiteY0" fmla="*/ 0 h 377372"/>
                  <a:gd name="connsiteX1" fmla="*/ 551543 w 551543"/>
                  <a:gd name="connsiteY1" fmla="*/ 1 h 377372"/>
                  <a:gd name="connsiteX2" fmla="*/ 551543 w 551543"/>
                  <a:gd name="connsiteY2" fmla="*/ 377372 h 377372"/>
                  <a:gd name="connsiteX3" fmla="*/ 0 w 551543"/>
                  <a:gd name="connsiteY3" fmla="*/ 0 h 377372"/>
                  <a:gd name="connsiteX0" fmla="*/ 0 w 551543"/>
                  <a:gd name="connsiteY0" fmla="*/ 0 h 377372"/>
                  <a:gd name="connsiteX1" fmla="*/ 551543 w 551543"/>
                  <a:gd name="connsiteY1" fmla="*/ 1 h 377372"/>
                  <a:gd name="connsiteX2" fmla="*/ 551543 w 551543"/>
                  <a:gd name="connsiteY2" fmla="*/ 377372 h 377372"/>
                  <a:gd name="connsiteX3" fmla="*/ 0 w 551543"/>
                  <a:gd name="connsiteY3" fmla="*/ 0 h 377372"/>
                  <a:gd name="connsiteX0" fmla="*/ 0 w 488043"/>
                  <a:gd name="connsiteY0" fmla="*/ 0 h 390072"/>
                  <a:gd name="connsiteX1" fmla="*/ 488043 w 488043"/>
                  <a:gd name="connsiteY1" fmla="*/ 12701 h 390072"/>
                  <a:gd name="connsiteX2" fmla="*/ 488043 w 488043"/>
                  <a:gd name="connsiteY2" fmla="*/ 390072 h 390072"/>
                  <a:gd name="connsiteX3" fmla="*/ 0 w 488043"/>
                  <a:gd name="connsiteY3" fmla="*/ 0 h 390072"/>
                  <a:gd name="connsiteX0" fmla="*/ 0 w 526143"/>
                  <a:gd name="connsiteY0" fmla="*/ 0 h 383722"/>
                  <a:gd name="connsiteX1" fmla="*/ 526143 w 526143"/>
                  <a:gd name="connsiteY1" fmla="*/ 6351 h 383722"/>
                  <a:gd name="connsiteX2" fmla="*/ 526143 w 526143"/>
                  <a:gd name="connsiteY2" fmla="*/ 383722 h 383722"/>
                  <a:gd name="connsiteX3" fmla="*/ 0 w 526143"/>
                  <a:gd name="connsiteY3" fmla="*/ 0 h 383722"/>
                  <a:gd name="connsiteX0" fmla="*/ 0 w 538843"/>
                  <a:gd name="connsiteY0" fmla="*/ 0 h 383722"/>
                  <a:gd name="connsiteX1" fmla="*/ 538843 w 538843"/>
                  <a:gd name="connsiteY1" fmla="*/ 6351 h 383722"/>
                  <a:gd name="connsiteX2" fmla="*/ 538843 w 538843"/>
                  <a:gd name="connsiteY2" fmla="*/ 383722 h 383722"/>
                  <a:gd name="connsiteX3" fmla="*/ 0 w 538843"/>
                  <a:gd name="connsiteY3" fmla="*/ 0 h 383722"/>
                  <a:gd name="connsiteX0" fmla="*/ 0 w 545193"/>
                  <a:gd name="connsiteY0" fmla="*/ 0 h 390072"/>
                  <a:gd name="connsiteX1" fmla="*/ 545193 w 545193"/>
                  <a:gd name="connsiteY1" fmla="*/ 12701 h 390072"/>
                  <a:gd name="connsiteX2" fmla="*/ 545193 w 545193"/>
                  <a:gd name="connsiteY2" fmla="*/ 390072 h 390072"/>
                  <a:gd name="connsiteX3" fmla="*/ 0 w 545193"/>
                  <a:gd name="connsiteY3" fmla="*/ 0 h 390072"/>
                  <a:gd name="connsiteX0" fmla="*/ 0 w 545193"/>
                  <a:gd name="connsiteY0" fmla="*/ 0 h 263072"/>
                  <a:gd name="connsiteX1" fmla="*/ 545193 w 545193"/>
                  <a:gd name="connsiteY1" fmla="*/ 12701 h 263072"/>
                  <a:gd name="connsiteX2" fmla="*/ 538843 w 545193"/>
                  <a:gd name="connsiteY2" fmla="*/ 263072 h 263072"/>
                  <a:gd name="connsiteX3" fmla="*/ 0 w 545193"/>
                  <a:gd name="connsiteY3" fmla="*/ 0 h 263072"/>
                  <a:gd name="connsiteX0" fmla="*/ 0 w 557893"/>
                  <a:gd name="connsiteY0" fmla="*/ 31749 h 250371"/>
                  <a:gd name="connsiteX1" fmla="*/ 557893 w 557893"/>
                  <a:gd name="connsiteY1" fmla="*/ 0 h 250371"/>
                  <a:gd name="connsiteX2" fmla="*/ 551543 w 557893"/>
                  <a:gd name="connsiteY2" fmla="*/ 250371 h 250371"/>
                  <a:gd name="connsiteX3" fmla="*/ 0 w 557893"/>
                  <a:gd name="connsiteY3" fmla="*/ 31749 h 250371"/>
                  <a:gd name="connsiteX0" fmla="*/ 0 w 538843"/>
                  <a:gd name="connsiteY0" fmla="*/ 31749 h 250371"/>
                  <a:gd name="connsiteX1" fmla="*/ 538843 w 538843"/>
                  <a:gd name="connsiteY1" fmla="*/ 0 h 250371"/>
                  <a:gd name="connsiteX2" fmla="*/ 532493 w 538843"/>
                  <a:gd name="connsiteY2" fmla="*/ 250371 h 250371"/>
                  <a:gd name="connsiteX3" fmla="*/ 0 w 538843"/>
                  <a:gd name="connsiteY3" fmla="*/ 31749 h 250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8843" h="250371">
                    <a:moveTo>
                      <a:pt x="0" y="31749"/>
                    </a:moveTo>
                    <a:lnTo>
                      <a:pt x="538843" y="0"/>
                    </a:lnTo>
                    <a:lnTo>
                      <a:pt x="532493" y="250371"/>
                    </a:lnTo>
                    <a:lnTo>
                      <a:pt x="0" y="31749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i="1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451941" y="304800"/>
            <a:ext cx="7137706" cy="914400"/>
          </a:xfrm>
        </p:spPr>
        <p:txBody>
          <a:bodyPr/>
          <a:lstStyle/>
          <a:p>
            <a:r>
              <a:rPr lang="ru-RU" smtClean="0"/>
              <a:t>Преодоление ограничений, связанных с доступностью данных</a:t>
            </a:r>
            <a:endParaRPr lang="ru-RU" dirty="0"/>
          </a:p>
        </p:txBody>
      </p:sp>
      <p:cxnSp>
        <p:nvCxnSpPr>
          <p:cNvPr id="84" name="Straight Connector 83"/>
          <p:cNvCxnSpPr/>
          <p:nvPr/>
        </p:nvCxnSpPr>
        <p:spPr>
          <a:xfrm>
            <a:off x="-773796" y="4707561"/>
            <a:ext cx="0" cy="820918"/>
          </a:xfrm>
          <a:prstGeom prst="line">
            <a:avLst/>
          </a:prstGeom>
          <a:noFill/>
          <a:ln w="19050" cap="rnd">
            <a:solidFill>
              <a:schemeClr val="tx2">
                <a:lumMod val="20000"/>
                <a:lumOff val="80000"/>
              </a:schemeClr>
            </a:solidFill>
            <a:prstDash val="sysDot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6" name="TextBox 45"/>
          <p:cNvSpPr txBox="1"/>
          <p:nvPr/>
        </p:nvSpPr>
        <p:spPr>
          <a:xfrm>
            <a:off x="3352800" y="296167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endParaRPr lang="en-US" sz="2000" i="1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2" name="Rectangle 31"/>
          <p:cNvSpPr>
            <a:spLocks noChangeArrowheads="1"/>
          </p:cNvSpPr>
          <p:nvPr/>
        </p:nvSpPr>
        <p:spPr bwMode="auto">
          <a:xfrm>
            <a:off x="1916829" y="5183914"/>
            <a:ext cx="1383640" cy="3693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ct val="0"/>
              </a:spcBef>
              <a:tabLst>
                <a:tab pos="8521700" algn="r"/>
              </a:tabLst>
            </a:pP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Система прогнозирования</a:t>
            </a:r>
            <a:endParaRPr lang="ru-RU" sz="12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3" name="Rectangle 31"/>
          <p:cNvSpPr>
            <a:spLocks noChangeArrowheads="1"/>
          </p:cNvSpPr>
          <p:nvPr/>
        </p:nvSpPr>
        <p:spPr bwMode="auto">
          <a:xfrm>
            <a:off x="4190931" y="5183914"/>
            <a:ext cx="1383640" cy="3693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ct val="0"/>
              </a:spcBef>
              <a:tabLst>
                <a:tab pos="8521700" algn="r"/>
              </a:tabLst>
            </a:pP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Система моделирования</a:t>
            </a:r>
            <a:endParaRPr lang="ru-RU" sz="12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4" name="Rectangle 31"/>
          <p:cNvSpPr>
            <a:spLocks noChangeArrowheads="1"/>
          </p:cNvSpPr>
          <p:nvPr/>
        </p:nvSpPr>
        <p:spPr bwMode="auto">
          <a:xfrm>
            <a:off x="6521311" y="5045818"/>
            <a:ext cx="1693194" cy="3693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ct val="0"/>
              </a:spcBef>
              <a:tabLst>
                <a:tab pos="8521700" algn="r"/>
              </a:tabLst>
            </a:pP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Система визуализации</a:t>
            </a:r>
            <a:endParaRPr lang="ru-RU" sz="1200" i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98" name="Straight Arrow Connector 97"/>
          <p:cNvCxnSpPr/>
          <p:nvPr/>
        </p:nvCxnSpPr>
        <p:spPr>
          <a:xfrm flipH="1">
            <a:off x="2420655" y="4499944"/>
            <a:ext cx="782" cy="223958"/>
          </a:xfrm>
          <a:prstGeom prst="straightConnector1">
            <a:avLst/>
          </a:prstGeom>
          <a:noFill/>
          <a:ln w="19050" cap="rnd">
            <a:solidFill>
              <a:schemeClr val="tx2">
                <a:lumMod val="20000"/>
                <a:lumOff val="80000"/>
              </a:schemeClr>
            </a:solidFill>
            <a:prstDash val="sysDot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0" name="Straight Arrow Connector 99"/>
          <p:cNvCxnSpPr/>
          <p:nvPr/>
        </p:nvCxnSpPr>
        <p:spPr>
          <a:xfrm flipH="1">
            <a:off x="4633589" y="4512813"/>
            <a:ext cx="782" cy="223958"/>
          </a:xfrm>
          <a:prstGeom prst="straightConnector1">
            <a:avLst/>
          </a:prstGeom>
          <a:noFill/>
          <a:ln w="19050" cap="rnd">
            <a:solidFill>
              <a:schemeClr val="tx2">
                <a:lumMod val="20000"/>
                <a:lumOff val="80000"/>
              </a:schemeClr>
            </a:solidFill>
            <a:prstDash val="sysDot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1" name="Straight Arrow Connector 100"/>
          <p:cNvCxnSpPr/>
          <p:nvPr/>
        </p:nvCxnSpPr>
        <p:spPr>
          <a:xfrm flipH="1">
            <a:off x="7260591" y="4499944"/>
            <a:ext cx="782" cy="223958"/>
          </a:xfrm>
          <a:prstGeom prst="straightConnector1">
            <a:avLst/>
          </a:prstGeom>
          <a:noFill/>
          <a:ln w="19050" cap="rnd">
            <a:solidFill>
              <a:schemeClr val="tx2">
                <a:lumMod val="20000"/>
                <a:lumOff val="80000"/>
              </a:schemeClr>
            </a:solidFill>
            <a:prstDash val="sysDot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6" name="Straight Connector 55"/>
          <p:cNvCxnSpPr/>
          <p:nvPr/>
        </p:nvCxnSpPr>
        <p:spPr>
          <a:xfrm flipV="1">
            <a:off x="2420655" y="4474571"/>
            <a:ext cx="4839936" cy="7666"/>
          </a:xfrm>
          <a:prstGeom prst="line">
            <a:avLst/>
          </a:prstGeom>
          <a:ln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11" idx="4"/>
          </p:cNvCxnSpPr>
          <p:nvPr/>
        </p:nvCxnSpPr>
        <p:spPr>
          <a:xfrm>
            <a:off x="4625308" y="4146427"/>
            <a:ext cx="8281" cy="335810"/>
          </a:xfrm>
          <a:prstGeom prst="line">
            <a:avLst/>
          </a:prstGeom>
          <a:ln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17"/>
          <p:cNvSpPr>
            <a:spLocks/>
          </p:cNvSpPr>
          <p:nvPr/>
        </p:nvSpPr>
        <p:spPr bwMode="auto">
          <a:xfrm>
            <a:off x="142451" y="1229912"/>
            <a:ext cx="73896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Text Mining</a:t>
            </a:r>
            <a:endParaRPr lang="ru-RU" sz="800" i="1" dirty="0">
              <a:solidFill>
                <a:schemeClr val="bg1"/>
              </a:solidFill>
              <a:latin typeface="+mj-lt"/>
              <a:sym typeface="Helvetica Neue" charset="0"/>
            </a:endParaRPr>
          </a:p>
        </p:txBody>
      </p:sp>
      <p:sp>
        <p:nvSpPr>
          <p:cNvPr id="81" name="Rectangle 17"/>
          <p:cNvSpPr>
            <a:spLocks/>
          </p:cNvSpPr>
          <p:nvPr/>
        </p:nvSpPr>
        <p:spPr bwMode="auto">
          <a:xfrm>
            <a:off x="142451" y="1677079"/>
            <a:ext cx="73896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 err="1" smtClean="0">
                <a:solidFill>
                  <a:schemeClr val="bg1"/>
                </a:solidFill>
                <a:latin typeface="+mj-lt"/>
                <a:sym typeface="Helvetica Neue" charset="0"/>
              </a:rPr>
              <a:t>ГеоАналитика</a:t>
            </a:r>
            <a:endParaRPr lang="ru-RU" sz="800" i="1" dirty="0">
              <a:solidFill>
                <a:schemeClr val="bg1"/>
              </a:solidFill>
              <a:latin typeface="+mj-lt"/>
              <a:sym typeface="Helvetica Neue" charset="0"/>
            </a:endParaRPr>
          </a:p>
        </p:txBody>
      </p:sp>
      <p:sp>
        <p:nvSpPr>
          <p:cNvPr id="156" name="Freeform 4849"/>
          <p:cNvSpPr>
            <a:spLocks noEditPoints="1"/>
          </p:cNvSpPr>
          <p:nvPr/>
        </p:nvSpPr>
        <p:spPr bwMode="auto">
          <a:xfrm>
            <a:off x="4426407" y="4801278"/>
            <a:ext cx="414364" cy="335072"/>
          </a:xfrm>
          <a:custGeom>
            <a:avLst/>
            <a:gdLst>
              <a:gd name="T0" fmla="*/ 0 w 324"/>
              <a:gd name="T1" fmla="*/ 136 h 262"/>
              <a:gd name="T2" fmla="*/ 0 w 324"/>
              <a:gd name="T3" fmla="*/ 132 h 262"/>
              <a:gd name="T4" fmla="*/ 6 w 324"/>
              <a:gd name="T5" fmla="*/ 126 h 262"/>
              <a:gd name="T6" fmla="*/ 46 w 324"/>
              <a:gd name="T7" fmla="*/ 126 h 262"/>
              <a:gd name="T8" fmla="*/ 50 w 324"/>
              <a:gd name="T9" fmla="*/ 126 h 262"/>
              <a:gd name="T10" fmla="*/ 56 w 324"/>
              <a:gd name="T11" fmla="*/ 132 h 262"/>
              <a:gd name="T12" fmla="*/ 56 w 324"/>
              <a:gd name="T13" fmla="*/ 212 h 262"/>
              <a:gd name="T14" fmla="*/ 56 w 324"/>
              <a:gd name="T15" fmla="*/ 216 h 262"/>
              <a:gd name="T16" fmla="*/ 50 w 324"/>
              <a:gd name="T17" fmla="*/ 220 h 262"/>
              <a:gd name="T18" fmla="*/ 10 w 324"/>
              <a:gd name="T19" fmla="*/ 222 h 262"/>
              <a:gd name="T20" fmla="*/ 6 w 324"/>
              <a:gd name="T21" fmla="*/ 220 h 262"/>
              <a:gd name="T22" fmla="*/ 0 w 324"/>
              <a:gd name="T23" fmla="*/ 216 h 262"/>
              <a:gd name="T24" fmla="*/ 0 w 324"/>
              <a:gd name="T25" fmla="*/ 212 h 262"/>
              <a:gd name="T26" fmla="*/ 136 w 324"/>
              <a:gd name="T27" fmla="*/ 222 h 262"/>
              <a:gd name="T28" fmla="*/ 140 w 324"/>
              <a:gd name="T29" fmla="*/ 220 h 262"/>
              <a:gd name="T30" fmla="*/ 144 w 324"/>
              <a:gd name="T31" fmla="*/ 216 h 262"/>
              <a:gd name="T32" fmla="*/ 146 w 324"/>
              <a:gd name="T33" fmla="*/ 58 h 262"/>
              <a:gd name="T34" fmla="*/ 144 w 324"/>
              <a:gd name="T35" fmla="*/ 54 h 262"/>
              <a:gd name="T36" fmla="*/ 140 w 324"/>
              <a:gd name="T37" fmla="*/ 50 h 262"/>
              <a:gd name="T38" fmla="*/ 100 w 324"/>
              <a:gd name="T39" fmla="*/ 48 h 262"/>
              <a:gd name="T40" fmla="*/ 96 w 324"/>
              <a:gd name="T41" fmla="*/ 50 h 262"/>
              <a:gd name="T42" fmla="*/ 90 w 324"/>
              <a:gd name="T43" fmla="*/ 54 h 262"/>
              <a:gd name="T44" fmla="*/ 90 w 324"/>
              <a:gd name="T45" fmla="*/ 212 h 262"/>
              <a:gd name="T46" fmla="*/ 90 w 324"/>
              <a:gd name="T47" fmla="*/ 216 h 262"/>
              <a:gd name="T48" fmla="*/ 96 w 324"/>
              <a:gd name="T49" fmla="*/ 220 h 262"/>
              <a:gd name="T50" fmla="*/ 100 w 324"/>
              <a:gd name="T51" fmla="*/ 222 h 262"/>
              <a:gd name="T52" fmla="*/ 224 w 324"/>
              <a:gd name="T53" fmla="*/ 222 h 262"/>
              <a:gd name="T54" fmla="*/ 228 w 324"/>
              <a:gd name="T55" fmla="*/ 220 h 262"/>
              <a:gd name="T56" fmla="*/ 234 w 324"/>
              <a:gd name="T57" fmla="*/ 216 h 262"/>
              <a:gd name="T58" fmla="*/ 234 w 324"/>
              <a:gd name="T59" fmla="*/ 86 h 262"/>
              <a:gd name="T60" fmla="*/ 234 w 324"/>
              <a:gd name="T61" fmla="*/ 82 h 262"/>
              <a:gd name="T62" fmla="*/ 228 w 324"/>
              <a:gd name="T63" fmla="*/ 76 h 262"/>
              <a:gd name="T64" fmla="*/ 188 w 324"/>
              <a:gd name="T65" fmla="*/ 76 h 262"/>
              <a:gd name="T66" fmla="*/ 184 w 324"/>
              <a:gd name="T67" fmla="*/ 76 h 262"/>
              <a:gd name="T68" fmla="*/ 180 w 324"/>
              <a:gd name="T69" fmla="*/ 82 h 262"/>
              <a:gd name="T70" fmla="*/ 178 w 324"/>
              <a:gd name="T71" fmla="*/ 212 h 262"/>
              <a:gd name="T72" fmla="*/ 180 w 324"/>
              <a:gd name="T73" fmla="*/ 216 h 262"/>
              <a:gd name="T74" fmla="*/ 184 w 324"/>
              <a:gd name="T75" fmla="*/ 220 h 262"/>
              <a:gd name="T76" fmla="*/ 188 w 324"/>
              <a:gd name="T77" fmla="*/ 222 h 262"/>
              <a:gd name="T78" fmla="*/ 278 w 324"/>
              <a:gd name="T79" fmla="*/ 0 h 262"/>
              <a:gd name="T80" fmla="*/ 274 w 324"/>
              <a:gd name="T81" fmla="*/ 0 h 262"/>
              <a:gd name="T82" fmla="*/ 268 w 324"/>
              <a:gd name="T83" fmla="*/ 6 h 262"/>
              <a:gd name="T84" fmla="*/ 268 w 324"/>
              <a:gd name="T85" fmla="*/ 212 h 262"/>
              <a:gd name="T86" fmla="*/ 268 w 324"/>
              <a:gd name="T87" fmla="*/ 216 h 262"/>
              <a:gd name="T88" fmla="*/ 274 w 324"/>
              <a:gd name="T89" fmla="*/ 220 h 262"/>
              <a:gd name="T90" fmla="*/ 314 w 324"/>
              <a:gd name="T91" fmla="*/ 222 h 262"/>
              <a:gd name="T92" fmla="*/ 318 w 324"/>
              <a:gd name="T93" fmla="*/ 220 h 262"/>
              <a:gd name="T94" fmla="*/ 324 w 324"/>
              <a:gd name="T95" fmla="*/ 216 h 262"/>
              <a:gd name="T96" fmla="*/ 324 w 324"/>
              <a:gd name="T97" fmla="*/ 10 h 262"/>
              <a:gd name="T98" fmla="*/ 324 w 324"/>
              <a:gd name="T99" fmla="*/ 6 h 262"/>
              <a:gd name="T100" fmla="*/ 318 w 324"/>
              <a:gd name="T101" fmla="*/ 0 h 262"/>
              <a:gd name="T102" fmla="*/ 314 w 324"/>
              <a:gd name="T103" fmla="*/ 0 h 262"/>
              <a:gd name="T104" fmla="*/ 0 w 324"/>
              <a:gd name="T105" fmla="*/ 242 h 262"/>
              <a:gd name="T106" fmla="*/ 324 w 324"/>
              <a:gd name="T107" fmla="*/ 262 h 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24" h="262">
                <a:moveTo>
                  <a:pt x="0" y="212"/>
                </a:moveTo>
                <a:lnTo>
                  <a:pt x="0" y="136"/>
                </a:lnTo>
                <a:lnTo>
                  <a:pt x="0" y="136"/>
                </a:lnTo>
                <a:lnTo>
                  <a:pt x="0" y="132"/>
                </a:lnTo>
                <a:lnTo>
                  <a:pt x="2" y="128"/>
                </a:lnTo>
                <a:lnTo>
                  <a:pt x="6" y="126"/>
                </a:lnTo>
                <a:lnTo>
                  <a:pt x="10" y="126"/>
                </a:lnTo>
                <a:lnTo>
                  <a:pt x="46" y="126"/>
                </a:lnTo>
                <a:lnTo>
                  <a:pt x="46" y="126"/>
                </a:lnTo>
                <a:lnTo>
                  <a:pt x="50" y="126"/>
                </a:lnTo>
                <a:lnTo>
                  <a:pt x="54" y="128"/>
                </a:lnTo>
                <a:lnTo>
                  <a:pt x="56" y="132"/>
                </a:lnTo>
                <a:lnTo>
                  <a:pt x="56" y="136"/>
                </a:lnTo>
                <a:lnTo>
                  <a:pt x="56" y="212"/>
                </a:lnTo>
                <a:lnTo>
                  <a:pt x="56" y="212"/>
                </a:lnTo>
                <a:lnTo>
                  <a:pt x="56" y="216"/>
                </a:lnTo>
                <a:lnTo>
                  <a:pt x="54" y="218"/>
                </a:lnTo>
                <a:lnTo>
                  <a:pt x="50" y="220"/>
                </a:lnTo>
                <a:lnTo>
                  <a:pt x="46" y="222"/>
                </a:lnTo>
                <a:lnTo>
                  <a:pt x="10" y="222"/>
                </a:lnTo>
                <a:lnTo>
                  <a:pt x="10" y="222"/>
                </a:lnTo>
                <a:lnTo>
                  <a:pt x="6" y="220"/>
                </a:lnTo>
                <a:lnTo>
                  <a:pt x="2" y="218"/>
                </a:lnTo>
                <a:lnTo>
                  <a:pt x="0" y="216"/>
                </a:lnTo>
                <a:lnTo>
                  <a:pt x="0" y="212"/>
                </a:lnTo>
                <a:lnTo>
                  <a:pt x="0" y="212"/>
                </a:lnTo>
                <a:close/>
                <a:moveTo>
                  <a:pt x="100" y="222"/>
                </a:moveTo>
                <a:lnTo>
                  <a:pt x="136" y="222"/>
                </a:lnTo>
                <a:lnTo>
                  <a:pt x="136" y="222"/>
                </a:lnTo>
                <a:lnTo>
                  <a:pt x="140" y="220"/>
                </a:lnTo>
                <a:lnTo>
                  <a:pt x="142" y="218"/>
                </a:lnTo>
                <a:lnTo>
                  <a:pt x="144" y="216"/>
                </a:lnTo>
                <a:lnTo>
                  <a:pt x="146" y="212"/>
                </a:lnTo>
                <a:lnTo>
                  <a:pt x="146" y="58"/>
                </a:lnTo>
                <a:lnTo>
                  <a:pt x="146" y="58"/>
                </a:lnTo>
                <a:lnTo>
                  <a:pt x="144" y="54"/>
                </a:lnTo>
                <a:lnTo>
                  <a:pt x="142" y="52"/>
                </a:lnTo>
                <a:lnTo>
                  <a:pt x="140" y="50"/>
                </a:lnTo>
                <a:lnTo>
                  <a:pt x="136" y="48"/>
                </a:lnTo>
                <a:lnTo>
                  <a:pt x="100" y="48"/>
                </a:lnTo>
                <a:lnTo>
                  <a:pt x="100" y="48"/>
                </a:lnTo>
                <a:lnTo>
                  <a:pt x="96" y="50"/>
                </a:lnTo>
                <a:lnTo>
                  <a:pt x="92" y="52"/>
                </a:lnTo>
                <a:lnTo>
                  <a:pt x="90" y="54"/>
                </a:lnTo>
                <a:lnTo>
                  <a:pt x="90" y="58"/>
                </a:lnTo>
                <a:lnTo>
                  <a:pt x="90" y="212"/>
                </a:lnTo>
                <a:lnTo>
                  <a:pt x="90" y="212"/>
                </a:lnTo>
                <a:lnTo>
                  <a:pt x="90" y="216"/>
                </a:lnTo>
                <a:lnTo>
                  <a:pt x="92" y="218"/>
                </a:lnTo>
                <a:lnTo>
                  <a:pt x="96" y="220"/>
                </a:lnTo>
                <a:lnTo>
                  <a:pt x="100" y="222"/>
                </a:lnTo>
                <a:lnTo>
                  <a:pt x="100" y="222"/>
                </a:lnTo>
                <a:close/>
                <a:moveTo>
                  <a:pt x="188" y="222"/>
                </a:moveTo>
                <a:lnTo>
                  <a:pt x="224" y="222"/>
                </a:lnTo>
                <a:lnTo>
                  <a:pt x="224" y="222"/>
                </a:lnTo>
                <a:lnTo>
                  <a:pt x="228" y="220"/>
                </a:lnTo>
                <a:lnTo>
                  <a:pt x="232" y="218"/>
                </a:lnTo>
                <a:lnTo>
                  <a:pt x="234" y="216"/>
                </a:lnTo>
                <a:lnTo>
                  <a:pt x="234" y="212"/>
                </a:lnTo>
                <a:lnTo>
                  <a:pt x="234" y="86"/>
                </a:lnTo>
                <a:lnTo>
                  <a:pt x="234" y="86"/>
                </a:lnTo>
                <a:lnTo>
                  <a:pt x="234" y="82"/>
                </a:lnTo>
                <a:lnTo>
                  <a:pt x="232" y="78"/>
                </a:lnTo>
                <a:lnTo>
                  <a:pt x="228" y="76"/>
                </a:lnTo>
                <a:lnTo>
                  <a:pt x="224" y="76"/>
                </a:lnTo>
                <a:lnTo>
                  <a:pt x="188" y="76"/>
                </a:lnTo>
                <a:lnTo>
                  <a:pt x="188" y="76"/>
                </a:lnTo>
                <a:lnTo>
                  <a:pt x="184" y="76"/>
                </a:lnTo>
                <a:lnTo>
                  <a:pt x="182" y="78"/>
                </a:lnTo>
                <a:lnTo>
                  <a:pt x="180" y="82"/>
                </a:lnTo>
                <a:lnTo>
                  <a:pt x="178" y="86"/>
                </a:lnTo>
                <a:lnTo>
                  <a:pt x="178" y="212"/>
                </a:lnTo>
                <a:lnTo>
                  <a:pt x="178" y="212"/>
                </a:lnTo>
                <a:lnTo>
                  <a:pt x="180" y="216"/>
                </a:lnTo>
                <a:lnTo>
                  <a:pt x="182" y="218"/>
                </a:lnTo>
                <a:lnTo>
                  <a:pt x="184" y="220"/>
                </a:lnTo>
                <a:lnTo>
                  <a:pt x="188" y="222"/>
                </a:lnTo>
                <a:lnTo>
                  <a:pt x="188" y="222"/>
                </a:lnTo>
                <a:close/>
                <a:moveTo>
                  <a:pt x="314" y="0"/>
                </a:moveTo>
                <a:lnTo>
                  <a:pt x="278" y="0"/>
                </a:lnTo>
                <a:lnTo>
                  <a:pt x="278" y="0"/>
                </a:lnTo>
                <a:lnTo>
                  <a:pt x="274" y="0"/>
                </a:lnTo>
                <a:lnTo>
                  <a:pt x="270" y="2"/>
                </a:lnTo>
                <a:lnTo>
                  <a:pt x="268" y="6"/>
                </a:lnTo>
                <a:lnTo>
                  <a:pt x="268" y="10"/>
                </a:lnTo>
                <a:lnTo>
                  <a:pt x="268" y="212"/>
                </a:lnTo>
                <a:lnTo>
                  <a:pt x="268" y="212"/>
                </a:lnTo>
                <a:lnTo>
                  <a:pt x="268" y="216"/>
                </a:lnTo>
                <a:lnTo>
                  <a:pt x="270" y="218"/>
                </a:lnTo>
                <a:lnTo>
                  <a:pt x="274" y="220"/>
                </a:lnTo>
                <a:lnTo>
                  <a:pt x="278" y="222"/>
                </a:lnTo>
                <a:lnTo>
                  <a:pt x="314" y="222"/>
                </a:lnTo>
                <a:lnTo>
                  <a:pt x="314" y="222"/>
                </a:lnTo>
                <a:lnTo>
                  <a:pt x="318" y="220"/>
                </a:lnTo>
                <a:lnTo>
                  <a:pt x="322" y="218"/>
                </a:lnTo>
                <a:lnTo>
                  <a:pt x="324" y="216"/>
                </a:lnTo>
                <a:lnTo>
                  <a:pt x="324" y="212"/>
                </a:lnTo>
                <a:lnTo>
                  <a:pt x="324" y="10"/>
                </a:lnTo>
                <a:lnTo>
                  <a:pt x="324" y="10"/>
                </a:lnTo>
                <a:lnTo>
                  <a:pt x="324" y="6"/>
                </a:lnTo>
                <a:lnTo>
                  <a:pt x="322" y="2"/>
                </a:lnTo>
                <a:lnTo>
                  <a:pt x="318" y="0"/>
                </a:lnTo>
                <a:lnTo>
                  <a:pt x="314" y="0"/>
                </a:lnTo>
                <a:lnTo>
                  <a:pt x="314" y="0"/>
                </a:lnTo>
                <a:close/>
                <a:moveTo>
                  <a:pt x="324" y="242"/>
                </a:moveTo>
                <a:lnTo>
                  <a:pt x="0" y="242"/>
                </a:lnTo>
                <a:lnTo>
                  <a:pt x="0" y="262"/>
                </a:lnTo>
                <a:lnTo>
                  <a:pt x="324" y="262"/>
                </a:lnTo>
                <a:lnTo>
                  <a:pt x="324" y="24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7" name="Freeform 4889"/>
          <p:cNvSpPr>
            <a:spLocks noEditPoints="1"/>
          </p:cNvSpPr>
          <p:nvPr/>
        </p:nvSpPr>
        <p:spPr bwMode="auto">
          <a:xfrm>
            <a:off x="2288965" y="4764291"/>
            <a:ext cx="263380" cy="403308"/>
          </a:xfrm>
          <a:custGeom>
            <a:avLst/>
            <a:gdLst>
              <a:gd name="T0" fmla="*/ 12 w 218"/>
              <a:gd name="T1" fmla="*/ 62 h 384"/>
              <a:gd name="T2" fmla="*/ 6 w 218"/>
              <a:gd name="T3" fmla="*/ 46 h 384"/>
              <a:gd name="T4" fmla="*/ 124 w 218"/>
              <a:gd name="T5" fmla="*/ 0 h 384"/>
              <a:gd name="T6" fmla="*/ 142 w 218"/>
              <a:gd name="T7" fmla="*/ 6 h 384"/>
              <a:gd name="T8" fmla="*/ 144 w 218"/>
              <a:gd name="T9" fmla="*/ 24 h 384"/>
              <a:gd name="T10" fmla="*/ 26 w 218"/>
              <a:gd name="T11" fmla="*/ 64 h 384"/>
              <a:gd name="T12" fmla="*/ 22 w 218"/>
              <a:gd name="T13" fmla="*/ 118 h 384"/>
              <a:gd name="T14" fmla="*/ 218 w 218"/>
              <a:gd name="T15" fmla="*/ 54 h 384"/>
              <a:gd name="T16" fmla="*/ 216 w 218"/>
              <a:gd name="T17" fmla="*/ 36 h 384"/>
              <a:gd name="T18" fmla="*/ 12 w 218"/>
              <a:gd name="T19" fmla="*/ 86 h 384"/>
              <a:gd name="T20" fmla="*/ 2 w 218"/>
              <a:gd name="T21" fmla="*/ 100 h 384"/>
              <a:gd name="T22" fmla="*/ 8 w 218"/>
              <a:gd name="T23" fmla="*/ 116 h 384"/>
              <a:gd name="T24" fmla="*/ 68 w 218"/>
              <a:gd name="T25" fmla="*/ 236 h 384"/>
              <a:gd name="T26" fmla="*/ 84 w 218"/>
              <a:gd name="T27" fmla="*/ 218 h 384"/>
              <a:gd name="T28" fmla="*/ 68 w 218"/>
              <a:gd name="T29" fmla="*/ 172 h 384"/>
              <a:gd name="T30" fmla="*/ 212 w 218"/>
              <a:gd name="T31" fmla="*/ 114 h 384"/>
              <a:gd name="T32" fmla="*/ 218 w 218"/>
              <a:gd name="T33" fmla="*/ 96 h 384"/>
              <a:gd name="T34" fmla="*/ 198 w 218"/>
              <a:gd name="T35" fmla="*/ 84 h 384"/>
              <a:gd name="T36" fmla="*/ 4 w 218"/>
              <a:gd name="T37" fmla="*/ 146 h 384"/>
              <a:gd name="T38" fmla="*/ 2 w 218"/>
              <a:gd name="T39" fmla="*/ 160 h 384"/>
              <a:gd name="T40" fmla="*/ 12 w 218"/>
              <a:gd name="T41" fmla="*/ 172 h 384"/>
              <a:gd name="T42" fmla="*/ 44 w 218"/>
              <a:gd name="T43" fmla="*/ 198 h 384"/>
              <a:gd name="T44" fmla="*/ 52 w 218"/>
              <a:gd name="T45" fmla="*/ 224 h 384"/>
              <a:gd name="T46" fmla="*/ 148 w 218"/>
              <a:gd name="T47" fmla="*/ 236 h 384"/>
              <a:gd name="T48" fmla="*/ 164 w 218"/>
              <a:gd name="T49" fmla="*/ 224 h 384"/>
              <a:gd name="T50" fmla="*/ 172 w 218"/>
              <a:gd name="T51" fmla="*/ 198 h 384"/>
              <a:gd name="T52" fmla="*/ 204 w 218"/>
              <a:gd name="T53" fmla="*/ 172 h 384"/>
              <a:gd name="T54" fmla="*/ 216 w 218"/>
              <a:gd name="T55" fmla="*/ 156 h 384"/>
              <a:gd name="T56" fmla="*/ 206 w 218"/>
              <a:gd name="T57" fmla="*/ 140 h 384"/>
              <a:gd name="T58" fmla="*/ 182 w 218"/>
              <a:gd name="T59" fmla="*/ 144 h 384"/>
              <a:gd name="T60" fmla="*/ 142 w 218"/>
              <a:gd name="T61" fmla="*/ 182 h 384"/>
              <a:gd name="T62" fmla="*/ 132 w 218"/>
              <a:gd name="T63" fmla="*/ 218 h 384"/>
              <a:gd name="T64" fmla="*/ 148 w 218"/>
              <a:gd name="T65" fmla="*/ 236 h 384"/>
              <a:gd name="T66" fmla="*/ 150 w 218"/>
              <a:gd name="T67" fmla="*/ 354 h 384"/>
              <a:gd name="T68" fmla="*/ 152 w 218"/>
              <a:gd name="T69" fmla="*/ 344 h 384"/>
              <a:gd name="T70" fmla="*/ 76 w 218"/>
              <a:gd name="T71" fmla="*/ 340 h 384"/>
              <a:gd name="T72" fmla="*/ 68 w 218"/>
              <a:gd name="T73" fmla="*/ 344 h 384"/>
              <a:gd name="T74" fmla="*/ 70 w 218"/>
              <a:gd name="T75" fmla="*/ 354 h 384"/>
              <a:gd name="T76" fmla="*/ 128 w 218"/>
              <a:gd name="T77" fmla="*/ 384 h 384"/>
              <a:gd name="T78" fmla="*/ 136 w 218"/>
              <a:gd name="T79" fmla="*/ 380 h 384"/>
              <a:gd name="T80" fmla="*/ 134 w 218"/>
              <a:gd name="T81" fmla="*/ 370 h 384"/>
              <a:gd name="T82" fmla="*/ 92 w 218"/>
              <a:gd name="T83" fmla="*/ 368 h 384"/>
              <a:gd name="T84" fmla="*/ 82 w 218"/>
              <a:gd name="T85" fmla="*/ 376 h 384"/>
              <a:gd name="T86" fmla="*/ 88 w 218"/>
              <a:gd name="T87" fmla="*/ 384 h 384"/>
              <a:gd name="T88" fmla="*/ 48 w 218"/>
              <a:gd name="T89" fmla="*/ 248 h 384"/>
              <a:gd name="T90" fmla="*/ 40 w 218"/>
              <a:gd name="T91" fmla="*/ 254 h 384"/>
              <a:gd name="T92" fmla="*/ 40 w 218"/>
              <a:gd name="T93" fmla="*/ 310 h 384"/>
              <a:gd name="T94" fmla="*/ 60 w 218"/>
              <a:gd name="T95" fmla="*/ 328 h 384"/>
              <a:gd name="T96" fmla="*/ 160 w 218"/>
              <a:gd name="T97" fmla="*/ 328 h 384"/>
              <a:gd name="T98" fmla="*/ 180 w 218"/>
              <a:gd name="T99" fmla="*/ 310 h 384"/>
              <a:gd name="T100" fmla="*/ 178 w 218"/>
              <a:gd name="T101" fmla="*/ 254 h 384"/>
              <a:gd name="T102" fmla="*/ 172 w 218"/>
              <a:gd name="T103" fmla="*/ 248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18" h="384">
                <a:moveTo>
                  <a:pt x="22" y="66"/>
                </a:moveTo>
                <a:lnTo>
                  <a:pt x="22" y="66"/>
                </a:lnTo>
                <a:lnTo>
                  <a:pt x="16" y="64"/>
                </a:lnTo>
                <a:lnTo>
                  <a:pt x="12" y="62"/>
                </a:lnTo>
                <a:lnTo>
                  <a:pt x="8" y="58"/>
                </a:lnTo>
                <a:lnTo>
                  <a:pt x="6" y="54"/>
                </a:lnTo>
                <a:lnTo>
                  <a:pt x="6" y="54"/>
                </a:lnTo>
                <a:lnTo>
                  <a:pt x="6" y="46"/>
                </a:lnTo>
                <a:lnTo>
                  <a:pt x="8" y="40"/>
                </a:lnTo>
                <a:lnTo>
                  <a:pt x="12" y="36"/>
                </a:lnTo>
                <a:lnTo>
                  <a:pt x="18" y="32"/>
                </a:lnTo>
                <a:lnTo>
                  <a:pt x="124" y="0"/>
                </a:lnTo>
                <a:lnTo>
                  <a:pt x="124" y="0"/>
                </a:lnTo>
                <a:lnTo>
                  <a:pt x="130" y="0"/>
                </a:lnTo>
                <a:lnTo>
                  <a:pt x="136" y="2"/>
                </a:lnTo>
                <a:lnTo>
                  <a:pt x="142" y="6"/>
                </a:lnTo>
                <a:lnTo>
                  <a:pt x="146" y="12"/>
                </a:lnTo>
                <a:lnTo>
                  <a:pt x="146" y="12"/>
                </a:lnTo>
                <a:lnTo>
                  <a:pt x="146" y="18"/>
                </a:lnTo>
                <a:lnTo>
                  <a:pt x="144" y="24"/>
                </a:lnTo>
                <a:lnTo>
                  <a:pt x="140" y="28"/>
                </a:lnTo>
                <a:lnTo>
                  <a:pt x="134" y="32"/>
                </a:lnTo>
                <a:lnTo>
                  <a:pt x="26" y="64"/>
                </a:lnTo>
                <a:lnTo>
                  <a:pt x="26" y="64"/>
                </a:lnTo>
                <a:lnTo>
                  <a:pt x="22" y="66"/>
                </a:lnTo>
                <a:close/>
                <a:moveTo>
                  <a:pt x="18" y="118"/>
                </a:moveTo>
                <a:lnTo>
                  <a:pt x="18" y="118"/>
                </a:lnTo>
                <a:lnTo>
                  <a:pt x="22" y="118"/>
                </a:lnTo>
                <a:lnTo>
                  <a:pt x="208" y="64"/>
                </a:lnTo>
                <a:lnTo>
                  <a:pt x="208" y="64"/>
                </a:lnTo>
                <a:lnTo>
                  <a:pt x="212" y="60"/>
                </a:lnTo>
                <a:lnTo>
                  <a:pt x="218" y="54"/>
                </a:lnTo>
                <a:lnTo>
                  <a:pt x="218" y="48"/>
                </a:lnTo>
                <a:lnTo>
                  <a:pt x="218" y="42"/>
                </a:lnTo>
                <a:lnTo>
                  <a:pt x="218" y="42"/>
                </a:lnTo>
                <a:lnTo>
                  <a:pt x="216" y="36"/>
                </a:lnTo>
                <a:lnTo>
                  <a:pt x="210" y="32"/>
                </a:lnTo>
                <a:lnTo>
                  <a:pt x="204" y="30"/>
                </a:lnTo>
                <a:lnTo>
                  <a:pt x="198" y="30"/>
                </a:lnTo>
                <a:lnTo>
                  <a:pt x="12" y="86"/>
                </a:lnTo>
                <a:lnTo>
                  <a:pt x="12" y="86"/>
                </a:lnTo>
                <a:lnTo>
                  <a:pt x="8" y="90"/>
                </a:lnTo>
                <a:lnTo>
                  <a:pt x="2" y="94"/>
                </a:lnTo>
                <a:lnTo>
                  <a:pt x="2" y="100"/>
                </a:lnTo>
                <a:lnTo>
                  <a:pt x="2" y="106"/>
                </a:lnTo>
                <a:lnTo>
                  <a:pt x="2" y="106"/>
                </a:lnTo>
                <a:lnTo>
                  <a:pt x="4" y="112"/>
                </a:lnTo>
                <a:lnTo>
                  <a:pt x="8" y="116"/>
                </a:lnTo>
                <a:lnTo>
                  <a:pt x="12" y="118"/>
                </a:lnTo>
                <a:lnTo>
                  <a:pt x="18" y="118"/>
                </a:lnTo>
                <a:close/>
                <a:moveTo>
                  <a:pt x="68" y="236"/>
                </a:moveTo>
                <a:lnTo>
                  <a:pt x="68" y="236"/>
                </a:lnTo>
                <a:lnTo>
                  <a:pt x="74" y="234"/>
                </a:lnTo>
                <a:lnTo>
                  <a:pt x="80" y="230"/>
                </a:lnTo>
                <a:lnTo>
                  <a:pt x="84" y="224"/>
                </a:lnTo>
                <a:lnTo>
                  <a:pt x="84" y="218"/>
                </a:lnTo>
                <a:lnTo>
                  <a:pt x="84" y="218"/>
                </a:lnTo>
                <a:lnTo>
                  <a:pt x="82" y="200"/>
                </a:lnTo>
                <a:lnTo>
                  <a:pt x="76" y="184"/>
                </a:lnTo>
                <a:lnTo>
                  <a:pt x="68" y="172"/>
                </a:lnTo>
                <a:lnTo>
                  <a:pt x="58" y="162"/>
                </a:lnTo>
                <a:lnTo>
                  <a:pt x="208" y="116"/>
                </a:lnTo>
                <a:lnTo>
                  <a:pt x="208" y="116"/>
                </a:lnTo>
                <a:lnTo>
                  <a:pt x="212" y="114"/>
                </a:lnTo>
                <a:lnTo>
                  <a:pt x="218" y="108"/>
                </a:lnTo>
                <a:lnTo>
                  <a:pt x="218" y="102"/>
                </a:lnTo>
                <a:lnTo>
                  <a:pt x="218" y="96"/>
                </a:lnTo>
                <a:lnTo>
                  <a:pt x="218" y="96"/>
                </a:lnTo>
                <a:lnTo>
                  <a:pt x="216" y="90"/>
                </a:lnTo>
                <a:lnTo>
                  <a:pt x="210" y="86"/>
                </a:lnTo>
                <a:lnTo>
                  <a:pt x="204" y="84"/>
                </a:lnTo>
                <a:lnTo>
                  <a:pt x="198" y="84"/>
                </a:lnTo>
                <a:lnTo>
                  <a:pt x="12" y="140"/>
                </a:lnTo>
                <a:lnTo>
                  <a:pt x="12" y="140"/>
                </a:lnTo>
                <a:lnTo>
                  <a:pt x="8" y="142"/>
                </a:lnTo>
                <a:lnTo>
                  <a:pt x="4" y="146"/>
                </a:lnTo>
                <a:lnTo>
                  <a:pt x="2" y="150"/>
                </a:lnTo>
                <a:lnTo>
                  <a:pt x="0" y="156"/>
                </a:lnTo>
                <a:lnTo>
                  <a:pt x="0" y="156"/>
                </a:lnTo>
                <a:lnTo>
                  <a:pt x="2" y="160"/>
                </a:lnTo>
                <a:lnTo>
                  <a:pt x="4" y="166"/>
                </a:lnTo>
                <a:lnTo>
                  <a:pt x="8" y="168"/>
                </a:lnTo>
                <a:lnTo>
                  <a:pt x="12" y="172"/>
                </a:lnTo>
                <a:lnTo>
                  <a:pt x="12" y="172"/>
                </a:lnTo>
                <a:lnTo>
                  <a:pt x="18" y="174"/>
                </a:lnTo>
                <a:lnTo>
                  <a:pt x="32" y="182"/>
                </a:lnTo>
                <a:lnTo>
                  <a:pt x="38" y="190"/>
                </a:lnTo>
                <a:lnTo>
                  <a:pt x="44" y="198"/>
                </a:lnTo>
                <a:lnTo>
                  <a:pt x="50" y="206"/>
                </a:lnTo>
                <a:lnTo>
                  <a:pt x="50" y="218"/>
                </a:lnTo>
                <a:lnTo>
                  <a:pt x="50" y="218"/>
                </a:lnTo>
                <a:lnTo>
                  <a:pt x="52" y="224"/>
                </a:lnTo>
                <a:lnTo>
                  <a:pt x="56" y="230"/>
                </a:lnTo>
                <a:lnTo>
                  <a:pt x="62" y="234"/>
                </a:lnTo>
                <a:lnTo>
                  <a:pt x="68" y="236"/>
                </a:lnTo>
                <a:close/>
                <a:moveTo>
                  <a:pt x="148" y="236"/>
                </a:moveTo>
                <a:lnTo>
                  <a:pt x="148" y="236"/>
                </a:lnTo>
                <a:lnTo>
                  <a:pt x="156" y="234"/>
                </a:lnTo>
                <a:lnTo>
                  <a:pt x="160" y="230"/>
                </a:lnTo>
                <a:lnTo>
                  <a:pt x="164" y="224"/>
                </a:lnTo>
                <a:lnTo>
                  <a:pt x="166" y="218"/>
                </a:lnTo>
                <a:lnTo>
                  <a:pt x="166" y="218"/>
                </a:lnTo>
                <a:lnTo>
                  <a:pt x="168" y="206"/>
                </a:lnTo>
                <a:lnTo>
                  <a:pt x="172" y="198"/>
                </a:lnTo>
                <a:lnTo>
                  <a:pt x="178" y="190"/>
                </a:lnTo>
                <a:lnTo>
                  <a:pt x="184" y="182"/>
                </a:lnTo>
                <a:lnTo>
                  <a:pt x="198" y="174"/>
                </a:lnTo>
                <a:lnTo>
                  <a:pt x="204" y="172"/>
                </a:lnTo>
                <a:lnTo>
                  <a:pt x="204" y="172"/>
                </a:lnTo>
                <a:lnTo>
                  <a:pt x="210" y="168"/>
                </a:lnTo>
                <a:lnTo>
                  <a:pt x="214" y="162"/>
                </a:lnTo>
                <a:lnTo>
                  <a:pt x="216" y="156"/>
                </a:lnTo>
                <a:lnTo>
                  <a:pt x="214" y="150"/>
                </a:lnTo>
                <a:lnTo>
                  <a:pt x="214" y="150"/>
                </a:lnTo>
                <a:lnTo>
                  <a:pt x="212" y="144"/>
                </a:lnTo>
                <a:lnTo>
                  <a:pt x="206" y="140"/>
                </a:lnTo>
                <a:lnTo>
                  <a:pt x="200" y="138"/>
                </a:lnTo>
                <a:lnTo>
                  <a:pt x="194" y="140"/>
                </a:lnTo>
                <a:lnTo>
                  <a:pt x="194" y="140"/>
                </a:lnTo>
                <a:lnTo>
                  <a:pt x="182" y="144"/>
                </a:lnTo>
                <a:lnTo>
                  <a:pt x="172" y="150"/>
                </a:lnTo>
                <a:lnTo>
                  <a:pt x="162" y="158"/>
                </a:lnTo>
                <a:lnTo>
                  <a:pt x="150" y="168"/>
                </a:lnTo>
                <a:lnTo>
                  <a:pt x="142" y="182"/>
                </a:lnTo>
                <a:lnTo>
                  <a:pt x="134" y="198"/>
                </a:lnTo>
                <a:lnTo>
                  <a:pt x="132" y="208"/>
                </a:lnTo>
                <a:lnTo>
                  <a:pt x="132" y="218"/>
                </a:lnTo>
                <a:lnTo>
                  <a:pt x="132" y="218"/>
                </a:lnTo>
                <a:lnTo>
                  <a:pt x="134" y="224"/>
                </a:lnTo>
                <a:lnTo>
                  <a:pt x="136" y="230"/>
                </a:lnTo>
                <a:lnTo>
                  <a:pt x="142" y="234"/>
                </a:lnTo>
                <a:lnTo>
                  <a:pt x="148" y="236"/>
                </a:lnTo>
                <a:close/>
                <a:moveTo>
                  <a:pt x="144" y="356"/>
                </a:moveTo>
                <a:lnTo>
                  <a:pt x="144" y="356"/>
                </a:lnTo>
                <a:lnTo>
                  <a:pt x="148" y="356"/>
                </a:lnTo>
                <a:lnTo>
                  <a:pt x="150" y="354"/>
                </a:lnTo>
                <a:lnTo>
                  <a:pt x="152" y="350"/>
                </a:lnTo>
                <a:lnTo>
                  <a:pt x="152" y="348"/>
                </a:lnTo>
                <a:lnTo>
                  <a:pt x="152" y="348"/>
                </a:lnTo>
                <a:lnTo>
                  <a:pt x="152" y="344"/>
                </a:lnTo>
                <a:lnTo>
                  <a:pt x="150" y="342"/>
                </a:lnTo>
                <a:lnTo>
                  <a:pt x="148" y="340"/>
                </a:lnTo>
                <a:lnTo>
                  <a:pt x="144" y="340"/>
                </a:lnTo>
                <a:lnTo>
                  <a:pt x="76" y="340"/>
                </a:lnTo>
                <a:lnTo>
                  <a:pt x="76" y="340"/>
                </a:lnTo>
                <a:lnTo>
                  <a:pt x="72" y="340"/>
                </a:lnTo>
                <a:lnTo>
                  <a:pt x="70" y="342"/>
                </a:lnTo>
                <a:lnTo>
                  <a:pt x="68" y="344"/>
                </a:lnTo>
                <a:lnTo>
                  <a:pt x="68" y="348"/>
                </a:lnTo>
                <a:lnTo>
                  <a:pt x="68" y="348"/>
                </a:lnTo>
                <a:lnTo>
                  <a:pt x="68" y="350"/>
                </a:lnTo>
                <a:lnTo>
                  <a:pt x="70" y="354"/>
                </a:lnTo>
                <a:lnTo>
                  <a:pt x="72" y="356"/>
                </a:lnTo>
                <a:lnTo>
                  <a:pt x="76" y="356"/>
                </a:lnTo>
                <a:lnTo>
                  <a:pt x="144" y="356"/>
                </a:lnTo>
                <a:close/>
                <a:moveTo>
                  <a:pt x="128" y="384"/>
                </a:moveTo>
                <a:lnTo>
                  <a:pt x="128" y="384"/>
                </a:lnTo>
                <a:lnTo>
                  <a:pt x="132" y="384"/>
                </a:lnTo>
                <a:lnTo>
                  <a:pt x="134" y="382"/>
                </a:lnTo>
                <a:lnTo>
                  <a:pt x="136" y="380"/>
                </a:lnTo>
                <a:lnTo>
                  <a:pt x="138" y="376"/>
                </a:lnTo>
                <a:lnTo>
                  <a:pt x="138" y="376"/>
                </a:lnTo>
                <a:lnTo>
                  <a:pt x="136" y="374"/>
                </a:lnTo>
                <a:lnTo>
                  <a:pt x="134" y="370"/>
                </a:lnTo>
                <a:lnTo>
                  <a:pt x="132" y="368"/>
                </a:lnTo>
                <a:lnTo>
                  <a:pt x="128" y="368"/>
                </a:lnTo>
                <a:lnTo>
                  <a:pt x="92" y="368"/>
                </a:lnTo>
                <a:lnTo>
                  <a:pt x="92" y="368"/>
                </a:lnTo>
                <a:lnTo>
                  <a:pt x="88" y="368"/>
                </a:lnTo>
                <a:lnTo>
                  <a:pt x="86" y="370"/>
                </a:lnTo>
                <a:lnTo>
                  <a:pt x="84" y="374"/>
                </a:lnTo>
                <a:lnTo>
                  <a:pt x="82" y="376"/>
                </a:lnTo>
                <a:lnTo>
                  <a:pt x="82" y="376"/>
                </a:lnTo>
                <a:lnTo>
                  <a:pt x="84" y="380"/>
                </a:lnTo>
                <a:lnTo>
                  <a:pt x="86" y="382"/>
                </a:lnTo>
                <a:lnTo>
                  <a:pt x="88" y="384"/>
                </a:lnTo>
                <a:lnTo>
                  <a:pt x="92" y="384"/>
                </a:lnTo>
                <a:lnTo>
                  <a:pt x="128" y="384"/>
                </a:lnTo>
                <a:close/>
                <a:moveTo>
                  <a:pt x="172" y="248"/>
                </a:moveTo>
                <a:lnTo>
                  <a:pt x="48" y="248"/>
                </a:lnTo>
                <a:lnTo>
                  <a:pt x="48" y="248"/>
                </a:lnTo>
                <a:lnTo>
                  <a:pt x="46" y="250"/>
                </a:lnTo>
                <a:lnTo>
                  <a:pt x="42" y="250"/>
                </a:lnTo>
                <a:lnTo>
                  <a:pt x="40" y="254"/>
                </a:lnTo>
                <a:lnTo>
                  <a:pt x="40" y="256"/>
                </a:lnTo>
                <a:lnTo>
                  <a:pt x="40" y="306"/>
                </a:lnTo>
                <a:lnTo>
                  <a:pt x="40" y="306"/>
                </a:lnTo>
                <a:lnTo>
                  <a:pt x="40" y="310"/>
                </a:lnTo>
                <a:lnTo>
                  <a:pt x="42" y="312"/>
                </a:lnTo>
                <a:lnTo>
                  <a:pt x="56" y="326"/>
                </a:lnTo>
                <a:lnTo>
                  <a:pt x="56" y="326"/>
                </a:lnTo>
                <a:lnTo>
                  <a:pt x="60" y="328"/>
                </a:lnTo>
                <a:lnTo>
                  <a:pt x="62" y="328"/>
                </a:lnTo>
                <a:lnTo>
                  <a:pt x="158" y="328"/>
                </a:lnTo>
                <a:lnTo>
                  <a:pt x="158" y="328"/>
                </a:lnTo>
                <a:lnTo>
                  <a:pt x="160" y="328"/>
                </a:lnTo>
                <a:lnTo>
                  <a:pt x="164" y="326"/>
                </a:lnTo>
                <a:lnTo>
                  <a:pt x="178" y="312"/>
                </a:lnTo>
                <a:lnTo>
                  <a:pt x="178" y="312"/>
                </a:lnTo>
                <a:lnTo>
                  <a:pt x="180" y="310"/>
                </a:lnTo>
                <a:lnTo>
                  <a:pt x="180" y="306"/>
                </a:lnTo>
                <a:lnTo>
                  <a:pt x="180" y="256"/>
                </a:lnTo>
                <a:lnTo>
                  <a:pt x="180" y="256"/>
                </a:lnTo>
                <a:lnTo>
                  <a:pt x="178" y="254"/>
                </a:lnTo>
                <a:lnTo>
                  <a:pt x="178" y="250"/>
                </a:lnTo>
                <a:lnTo>
                  <a:pt x="174" y="250"/>
                </a:lnTo>
                <a:lnTo>
                  <a:pt x="172" y="248"/>
                </a:lnTo>
                <a:lnTo>
                  <a:pt x="172" y="24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8" name="Freeform 4959"/>
          <p:cNvSpPr>
            <a:spLocks noEditPoints="1"/>
          </p:cNvSpPr>
          <p:nvPr/>
        </p:nvSpPr>
        <p:spPr bwMode="auto">
          <a:xfrm>
            <a:off x="7004905" y="4694746"/>
            <a:ext cx="553382" cy="430409"/>
          </a:xfrm>
          <a:custGeom>
            <a:avLst/>
            <a:gdLst>
              <a:gd name="T0" fmla="*/ 348 w 360"/>
              <a:gd name="T1" fmla="*/ 0 h 280"/>
              <a:gd name="T2" fmla="*/ 8 w 360"/>
              <a:gd name="T3" fmla="*/ 0 h 280"/>
              <a:gd name="T4" fmla="*/ 0 w 360"/>
              <a:gd name="T5" fmla="*/ 8 h 280"/>
              <a:gd name="T6" fmla="*/ 8 w 360"/>
              <a:gd name="T7" fmla="*/ 242 h 280"/>
              <a:gd name="T8" fmla="*/ 180 w 360"/>
              <a:gd name="T9" fmla="*/ 280 h 280"/>
              <a:gd name="T10" fmla="*/ 358 w 360"/>
              <a:gd name="T11" fmla="*/ 238 h 280"/>
              <a:gd name="T12" fmla="*/ 360 w 360"/>
              <a:gd name="T13" fmla="*/ 4 h 280"/>
              <a:gd name="T14" fmla="*/ 20 w 360"/>
              <a:gd name="T15" fmla="*/ 224 h 280"/>
              <a:gd name="T16" fmla="*/ 200 w 360"/>
              <a:gd name="T17" fmla="*/ 54 h 280"/>
              <a:gd name="T18" fmla="*/ 334 w 360"/>
              <a:gd name="T19" fmla="*/ 26 h 280"/>
              <a:gd name="T20" fmla="*/ 338 w 360"/>
              <a:gd name="T21" fmla="*/ 36 h 280"/>
              <a:gd name="T22" fmla="*/ 204 w 360"/>
              <a:gd name="T23" fmla="*/ 72 h 280"/>
              <a:gd name="T24" fmla="*/ 196 w 360"/>
              <a:gd name="T25" fmla="*/ 72 h 280"/>
              <a:gd name="T26" fmla="*/ 194 w 360"/>
              <a:gd name="T27" fmla="*/ 58 h 280"/>
              <a:gd name="T28" fmla="*/ 200 w 360"/>
              <a:gd name="T29" fmla="*/ 90 h 280"/>
              <a:gd name="T30" fmla="*/ 270 w 360"/>
              <a:gd name="T31" fmla="*/ 76 h 280"/>
              <a:gd name="T32" fmla="*/ 274 w 360"/>
              <a:gd name="T33" fmla="*/ 86 h 280"/>
              <a:gd name="T34" fmla="*/ 204 w 360"/>
              <a:gd name="T35" fmla="*/ 108 h 280"/>
              <a:gd name="T36" fmla="*/ 196 w 360"/>
              <a:gd name="T37" fmla="*/ 106 h 280"/>
              <a:gd name="T38" fmla="*/ 194 w 360"/>
              <a:gd name="T39" fmla="*/ 94 h 280"/>
              <a:gd name="T40" fmla="*/ 340 w 360"/>
              <a:gd name="T41" fmla="*/ 168 h 280"/>
              <a:gd name="T42" fmla="*/ 336 w 360"/>
              <a:gd name="T43" fmla="*/ 174 h 280"/>
              <a:gd name="T44" fmla="*/ 326 w 360"/>
              <a:gd name="T45" fmla="*/ 172 h 280"/>
              <a:gd name="T46" fmla="*/ 284 w 360"/>
              <a:gd name="T47" fmla="*/ 192 h 280"/>
              <a:gd name="T48" fmla="*/ 210 w 360"/>
              <a:gd name="T49" fmla="*/ 242 h 280"/>
              <a:gd name="T50" fmla="*/ 196 w 360"/>
              <a:gd name="T51" fmla="*/ 246 h 280"/>
              <a:gd name="T52" fmla="*/ 192 w 360"/>
              <a:gd name="T53" fmla="*/ 236 h 280"/>
              <a:gd name="T54" fmla="*/ 234 w 360"/>
              <a:gd name="T55" fmla="*/ 156 h 280"/>
              <a:gd name="T56" fmla="*/ 280 w 360"/>
              <a:gd name="T57" fmla="*/ 170 h 280"/>
              <a:gd name="T58" fmla="*/ 290 w 360"/>
              <a:gd name="T59" fmla="*/ 134 h 280"/>
              <a:gd name="T60" fmla="*/ 298 w 360"/>
              <a:gd name="T61" fmla="*/ 124 h 280"/>
              <a:gd name="T62" fmla="*/ 336 w 360"/>
              <a:gd name="T63" fmla="*/ 124 h 280"/>
              <a:gd name="T64" fmla="*/ 340 w 360"/>
              <a:gd name="T65" fmla="*/ 168 h 280"/>
              <a:gd name="T66" fmla="*/ 46 w 360"/>
              <a:gd name="T67" fmla="*/ 68 h 280"/>
              <a:gd name="T68" fmla="*/ 38 w 360"/>
              <a:gd name="T69" fmla="*/ 60 h 280"/>
              <a:gd name="T70" fmla="*/ 42 w 360"/>
              <a:gd name="T71" fmla="*/ 50 h 280"/>
              <a:gd name="T72" fmla="*/ 140 w 360"/>
              <a:gd name="T73" fmla="*/ 68 h 280"/>
              <a:gd name="T74" fmla="*/ 148 w 360"/>
              <a:gd name="T75" fmla="*/ 80 h 280"/>
              <a:gd name="T76" fmla="*/ 138 w 360"/>
              <a:gd name="T77" fmla="*/ 88 h 280"/>
              <a:gd name="T78" fmla="*/ 70 w 360"/>
              <a:gd name="T79" fmla="*/ 126 h 280"/>
              <a:gd name="T80" fmla="*/ 44 w 360"/>
              <a:gd name="T81" fmla="*/ 142 h 280"/>
              <a:gd name="T82" fmla="*/ 38 w 360"/>
              <a:gd name="T83" fmla="*/ 168 h 280"/>
              <a:gd name="T84" fmla="*/ 50 w 360"/>
              <a:gd name="T85" fmla="*/ 202 h 280"/>
              <a:gd name="T86" fmla="*/ 78 w 360"/>
              <a:gd name="T87" fmla="*/ 218 h 280"/>
              <a:gd name="T88" fmla="*/ 98 w 360"/>
              <a:gd name="T89" fmla="*/ 212 h 280"/>
              <a:gd name="T90" fmla="*/ 116 w 360"/>
              <a:gd name="T91" fmla="*/ 186 h 280"/>
              <a:gd name="T92" fmla="*/ 128 w 360"/>
              <a:gd name="T93" fmla="*/ 166 h 280"/>
              <a:gd name="T94" fmla="*/ 116 w 360"/>
              <a:gd name="T95" fmla="*/ 132 h 280"/>
              <a:gd name="T96" fmla="*/ 88 w 360"/>
              <a:gd name="T97" fmla="*/ 114 h 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60" h="280">
                <a:moveTo>
                  <a:pt x="356" y="2"/>
                </a:moveTo>
                <a:lnTo>
                  <a:pt x="356" y="2"/>
                </a:lnTo>
                <a:lnTo>
                  <a:pt x="352" y="0"/>
                </a:lnTo>
                <a:lnTo>
                  <a:pt x="348" y="0"/>
                </a:lnTo>
                <a:lnTo>
                  <a:pt x="180" y="38"/>
                </a:lnTo>
                <a:lnTo>
                  <a:pt x="12" y="0"/>
                </a:lnTo>
                <a:lnTo>
                  <a:pt x="12" y="0"/>
                </a:lnTo>
                <a:lnTo>
                  <a:pt x="8" y="0"/>
                </a:lnTo>
                <a:lnTo>
                  <a:pt x="4" y="2"/>
                </a:lnTo>
                <a:lnTo>
                  <a:pt x="4" y="2"/>
                </a:lnTo>
                <a:lnTo>
                  <a:pt x="0" y="4"/>
                </a:lnTo>
                <a:lnTo>
                  <a:pt x="0" y="8"/>
                </a:lnTo>
                <a:lnTo>
                  <a:pt x="0" y="232"/>
                </a:lnTo>
                <a:lnTo>
                  <a:pt x="0" y="232"/>
                </a:lnTo>
                <a:lnTo>
                  <a:pt x="2" y="238"/>
                </a:lnTo>
                <a:lnTo>
                  <a:pt x="8" y="242"/>
                </a:lnTo>
                <a:lnTo>
                  <a:pt x="178" y="280"/>
                </a:lnTo>
                <a:lnTo>
                  <a:pt x="178" y="280"/>
                </a:lnTo>
                <a:lnTo>
                  <a:pt x="180" y="280"/>
                </a:lnTo>
                <a:lnTo>
                  <a:pt x="180" y="280"/>
                </a:lnTo>
                <a:lnTo>
                  <a:pt x="182" y="280"/>
                </a:lnTo>
                <a:lnTo>
                  <a:pt x="352" y="242"/>
                </a:lnTo>
                <a:lnTo>
                  <a:pt x="352" y="242"/>
                </a:lnTo>
                <a:lnTo>
                  <a:pt x="358" y="238"/>
                </a:lnTo>
                <a:lnTo>
                  <a:pt x="360" y="232"/>
                </a:lnTo>
                <a:lnTo>
                  <a:pt x="360" y="8"/>
                </a:lnTo>
                <a:lnTo>
                  <a:pt x="360" y="8"/>
                </a:lnTo>
                <a:lnTo>
                  <a:pt x="360" y="4"/>
                </a:lnTo>
                <a:lnTo>
                  <a:pt x="356" y="2"/>
                </a:lnTo>
                <a:lnTo>
                  <a:pt x="356" y="2"/>
                </a:lnTo>
                <a:close/>
                <a:moveTo>
                  <a:pt x="170" y="258"/>
                </a:moveTo>
                <a:lnTo>
                  <a:pt x="20" y="224"/>
                </a:lnTo>
                <a:lnTo>
                  <a:pt x="20" y="22"/>
                </a:lnTo>
                <a:lnTo>
                  <a:pt x="170" y="56"/>
                </a:lnTo>
                <a:lnTo>
                  <a:pt x="170" y="258"/>
                </a:lnTo>
                <a:close/>
                <a:moveTo>
                  <a:pt x="200" y="54"/>
                </a:moveTo>
                <a:lnTo>
                  <a:pt x="326" y="24"/>
                </a:lnTo>
                <a:lnTo>
                  <a:pt x="326" y="24"/>
                </a:lnTo>
                <a:lnTo>
                  <a:pt x="330" y="24"/>
                </a:lnTo>
                <a:lnTo>
                  <a:pt x="334" y="26"/>
                </a:lnTo>
                <a:lnTo>
                  <a:pt x="336" y="28"/>
                </a:lnTo>
                <a:lnTo>
                  <a:pt x="338" y="32"/>
                </a:lnTo>
                <a:lnTo>
                  <a:pt x="338" y="32"/>
                </a:lnTo>
                <a:lnTo>
                  <a:pt x="338" y="36"/>
                </a:lnTo>
                <a:lnTo>
                  <a:pt x="336" y="40"/>
                </a:lnTo>
                <a:lnTo>
                  <a:pt x="334" y="42"/>
                </a:lnTo>
                <a:lnTo>
                  <a:pt x="330" y="44"/>
                </a:lnTo>
                <a:lnTo>
                  <a:pt x="204" y="72"/>
                </a:lnTo>
                <a:lnTo>
                  <a:pt x="204" y="72"/>
                </a:lnTo>
                <a:lnTo>
                  <a:pt x="202" y="74"/>
                </a:lnTo>
                <a:lnTo>
                  <a:pt x="202" y="74"/>
                </a:lnTo>
                <a:lnTo>
                  <a:pt x="196" y="72"/>
                </a:lnTo>
                <a:lnTo>
                  <a:pt x="192" y="66"/>
                </a:lnTo>
                <a:lnTo>
                  <a:pt x="192" y="66"/>
                </a:lnTo>
                <a:lnTo>
                  <a:pt x="192" y="62"/>
                </a:lnTo>
                <a:lnTo>
                  <a:pt x="194" y="58"/>
                </a:lnTo>
                <a:lnTo>
                  <a:pt x="196" y="56"/>
                </a:lnTo>
                <a:lnTo>
                  <a:pt x="200" y="54"/>
                </a:lnTo>
                <a:lnTo>
                  <a:pt x="200" y="54"/>
                </a:lnTo>
                <a:close/>
                <a:moveTo>
                  <a:pt x="200" y="90"/>
                </a:moveTo>
                <a:lnTo>
                  <a:pt x="262" y="74"/>
                </a:lnTo>
                <a:lnTo>
                  <a:pt x="262" y="74"/>
                </a:lnTo>
                <a:lnTo>
                  <a:pt x="266" y="74"/>
                </a:lnTo>
                <a:lnTo>
                  <a:pt x="270" y="76"/>
                </a:lnTo>
                <a:lnTo>
                  <a:pt x="274" y="78"/>
                </a:lnTo>
                <a:lnTo>
                  <a:pt x="274" y="82"/>
                </a:lnTo>
                <a:lnTo>
                  <a:pt x="274" y="82"/>
                </a:lnTo>
                <a:lnTo>
                  <a:pt x="274" y="86"/>
                </a:lnTo>
                <a:lnTo>
                  <a:pt x="274" y="90"/>
                </a:lnTo>
                <a:lnTo>
                  <a:pt x="270" y="92"/>
                </a:lnTo>
                <a:lnTo>
                  <a:pt x="268" y="94"/>
                </a:lnTo>
                <a:lnTo>
                  <a:pt x="204" y="108"/>
                </a:lnTo>
                <a:lnTo>
                  <a:pt x="204" y="108"/>
                </a:lnTo>
                <a:lnTo>
                  <a:pt x="202" y="108"/>
                </a:lnTo>
                <a:lnTo>
                  <a:pt x="202" y="108"/>
                </a:lnTo>
                <a:lnTo>
                  <a:pt x="196" y="106"/>
                </a:lnTo>
                <a:lnTo>
                  <a:pt x="192" y="102"/>
                </a:lnTo>
                <a:lnTo>
                  <a:pt x="192" y="102"/>
                </a:lnTo>
                <a:lnTo>
                  <a:pt x="192" y="98"/>
                </a:lnTo>
                <a:lnTo>
                  <a:pt x="194" y="94"/>
                </a:lnTo>
                <a:lnTo>
                  <a:pt x="196" y="90"/>
                </a:lnTo>
                <a:lnTo>
                  <a:pt x="200" y="90"/>
                </a:lnTo>
                <a:lnTo>
                  <a:pt x="200" y="90"/>
                </a:lnTo>
                <a:close/>
                <a:moveTo>
                  <a:pt x="340" y="168"/>
                </a:moveTo>
                <a:lnTo>
                  <a:pt x="340" y="168"/>
                </a:lnTo>
                <a:lnTo>
                  <a:pt x="340" y="172"/>
                </a:lnTo>
                <a:lnTo>
                  <a:pt x="336" y="174"/>
                </a:lnTo>
                <a:lnTo>
                  <a:pt x="336" y="174"/>
                </a:lnTo>
                <a:lnTo>
                  <a:pt x="332" y="176"/>
                </a:lnTo>
                <a:lnTo>
                  <a:pt x="332" y="176"/>
                </a:lnTo>
                <a:lnTo>
                  <a:pt x="330" y="174"/>
                </a:lnTo>
                <a:lnTo>
                  <a:pt x="326" y="172"/>
                </a:lnTo>
                <a:lnTo>
                  <a:pt x="316" y="162"/>
                </a:lnTo>
                <a:lnTo>
                  <a:pt x="288" y="190"/>
                </a:lnTo>
                <a:lnTo>
                  <a:pt x="288" y="190"/>
                </a:lnTo>
                <a:lnTo>
                  <a:pt x="284" y="192"/>
                </a:lnTo>
                <a:lnTo>
                  <a:pt x="278" y="192"/>
                </a:lnTo>
                <a:lnTo>
                  <a:pt x="246" y="178"/>
                </a:lnTo>
                <a:lnTo>
                  <a:pt x="210" y="242"/>
                </a:lnTo>
                <a:lnTo>
                  <a:pt x="210" y="242"/>
                </a:lnTo>
                <a:lnTo>
                  <a:pt x="206" y="246"/>
                </a:lnTo>
                <a:lnTo>
                  <a:pt x="200" y="248"/>
                </a:lnTo>
                <a:lnTo>
                  <a:pt x="200" y="248"/>
                </a:lnTo>
                <a:lnTo>
                  <a:pt x="196" y="246"/>
                </a:lnTo>
                <a:lnTo>
                  <a:pt x="196" y="246"/>
                </a:lnTo>
                <a:lnTo>
                  <a:pt x="194" y="244"/>
                </a:lnTo>
                <a:lnTo>
                  <a:pt x="192" y="240"/>
                </a:lnTo>
                <a:lnTo>
                  <a:pt x="192" y="236"/>
                </a:lnTo>
                <a:lnTo>
                  <a:pt x="192" y="234"/>
                </a:lnTo>
                <a:lnTo>
                  <a:pt x="232" y="160"/>
                </a:lnTo>
                <a:lnTo>
                  <a:pt x="232" y="160"/>
                </a:lnTo>
                <a:lnTo>
                  <a:pt x="234" y="156"/>
                </a:lnTo>
                <a:lnTo>
                  <a:pt x="238" y="154"/>
                </a:lnTo>
                <a:lnTo>
                  <a:pt x="242" y="154"/>
                </a:lnTo>
                <a:lnTo>
                  <a:pt x="246" y="154"/>
                </a:lnTo>
                <a:lnTo>
                  <a:pt x="280" y="170"/>
                </a:lnTo>
                <a:lnTo>
                  <a:pt x="302" y="148"/>
                </a:lnTo>
                <a:lnTo>
                  <a:pt x="292" y="138"/>
                </a:lnTo>
                <a:lnTo>
                  <a:pt x="292" y="138"/>
                </a:lnTo>
                <a:lnTo>
                  <a:pt x="290" y="134"/>
                </a:lnTo>
                <a:lnTo>
                  <a:pt x="290" y="128"/>
                </a:lnTo>
                <a:lnTo>
                  <a:pt x="290" y="128"/>
                </a:lnTo>
                <a:lnTo>
                  <a:pt x="292" y="126"/>
                </a:lnTo>
                <a:lnTo>
                  <a:pt x="298" y="124"/>
                </a:lnTo>
                <a:lnTo>
                  <a:pt x="298" y="124"/>
                </a:lnTo>
                <a:lnTo>
                  <a:pt x="332" y="124"/>
                </a:lnTo>
                <a:lnTo>
                  <a:pt x="332" y="124"/>
                </a:lnTo>
                <a:lnTo>
                  <a:pt x="336" y="124"/>
                </a:lnTo>
                <a:lnTo>
                  <a:pt x="338" y="126"/>
                </a:lnTo>
                <a:lnTo>
                  <a:pt x="340" y="128"/>
                </a:lnTo>
                <a:lnTo>
                  <a:pt x="340" y="132"/>
                </a:lnTo>
                <a:lnTo>
                  <a:pt x="340" y="168"/>
                </a:lnTo>
                <a:close/>
                <a:moveTo>
                  <a:pt x="138" y="88"/>
                </a:moveTo>
                <a:lnTo>
                  <a:pt x="138" y="88"/>
                </a:lnTo>
                <a:lnTo>
                  <a:pt x="136" y="88"/>
                </a:lnTo>
                <a:lnTo>
                  <a:pt x="46" y="68"/>
                </a:lnTo>
                <a:lnTo>
                  <a:pt x="46" y="68"/>
                </a:lnTo>
                <a:lnTo>
                  <a:pt x="42" y="66"/>
                </a:lnTo>
                <a:lnTo>
                  <a:pt x="40" y="62"/>
                </a:lnTo>
                <a:lnTo>
                  <a:pt x="38" y="60"/>
                </a:lnTo>
                <a:lnTo>
                  <a:pt x="38" y="56"/>
                </a:lnTo>
                <a:lnTo>
                  <a:pt x="38" y="56"/>
                </a:lnTo>
                <a:lnTo>
                  <a:pt x="40" y="52"/>
                </a:lnTo>
                <a:lnTo>
                  <a:pt x="42" y="50"/>
                </a:lnTo>
                <a:lnTo>
                  <a:pt x="46" y="48"/>
                </a:lnTo>
                <a:lnTo>
                  <a:pt x="50" y="48"/>
                </a:lnTo>
                <a:lnTo>
                  <a:pt x="140" y="68"/>
                </a:lnTo>
                <a:lnTo>
                  <a:pt x="140" y="68"/>
                </a:lnTo>
                <a:lnTo>
                  <a:pt x="144" y="70"/>
                </a:lnTo>
                <a:lnTo>
                  <a:pt x="146" y="72"/>
                </a:lnTo>
                <a:lnTo>
                  <a:pt x="148" y="76"/>
                </a:lnTo>
                <a:lnTo>
                  <a:pt x="148" y="80"/>
                </a:lnTo>
                <a:lnTo>
                  <a:pt x="148" y="80"/>
                </a:lnTo>
                <a:lnTo>
                  <a:pt x="144" y="86"/>
                </a:lnTo>
                <a:lnTo>
                  <a:pt x="138" y="88"/>
                </a:lnTo>
                <a:lnTo>
                  <a:pt x="138" y="88"/>
                </a:lnTo>
                <a:close/>
                <a:moveTo>
                  <a:pt x="78" y="172"/>
                </a:moveTo>
                <a:lnTo>
                  <a:pt x="78" y="126"/>
                </a:lnTo>
                <a:lnTo>
                  <a:pt x="78" y="126"/>
                </a:lnTo>
                <a:lnTo>
                  <a:pt x="70" y="126"/>
                </a:lnTo>
                <a:lnTo>
                  <a:pt x="62" y="128"/>
                </a:lnTo>
                <a:lnTo>
                  <a:pt x="56" y="132"/>
                </a:lnTo>
                <a:lnTo>
                  <a:pt x="50" y="136"/>
                </a:lnTo>
                <a:lnTo>
                  <a:pt x="44" y="142"/>
                </a:lnTo>
                <a:lnTo>
                  <a:pt x="42" y="150"/>
                </a:lnTo>
                <a:lnTo>
                  <a:pt x="40" y="158"/>
                </a:lnTo>
                <a:lnTo>
                  <a:pt x="38" y="168"/>
                </a:lnTo>
                <a:lnTo>
                  <a:pt x="38" y="168"/>
                </a:lnTo>
                <a:lnTo>
                  <a:pt x="40" y="176"/>
                </a:lnTo>
                <a:lnTo>
                  <a:pt x="42" y="186"/>
                </a:lnTo>
                <a:lnTo>
                  <a:pt x="44" y="194"/>
                </a:lnTo>
                <a:lnTo>
                  <a:pt x="50" y="202"/>
                </a:lnTo>
                <a:lnTo>
                  <a:pt x="56" y="208"/>
                </a:lnTo>
                <a:lnTo>
                  <a:pt x="62" y="212"/>
                </a:lnTo>
                <a:lnTo>
                  <a:pt x="70" y="216"/>
                </a:lnTo>
                <a:lnTo>
                  <a:pt x="78" y="218"/>
                </a:lnTo>
                <a:lnTo>
                  <a:pt x="78" y="218"/>
                </a:lnTo>
                <a:lnTo>
                  <a:pt x="84" y="218"/>
                </a:lnTo>
                <a:lnTo>
                  <a:pt x="92" y="216"/>
                </a:lnTo>
                <a:lnTo>
                  <a:pt x="98" y="212"/>
                </a:lnTo>
                <a:lnTo>
                  <a:pt x="104" y="208"/>
                </a:lnTo>
                <a:lnTo>
                  <a:pt x="110" y="202"/>
                </a:lnTo>
                <a:lnTo>
                  <a:pt x="114" y="194"/>
                </a:lnTo>
                <a:lnTo>
                  <a:pt x="116" y="186"/>
                </a:lnTo>
                <a:lnTo>
                  <a:pt x="116" y="176"/>
                </a:lnTo>
                <a:lnTo>
                  <a:pt x="78" y="172"/>
                </a:lnTo>
                <a:close/>
                <a:moveTo>
                  <a:pt x="128" y="166"/>
                </a:moveTo>
                <a:lnTo>
                  <a:pt x="128" y="166"/>
                </a:lnTo>
                <a:lnTo>
                  <a:pt x="126" y="156"/>
                </a:lnTo>
                <a:lnTo>
                  <a:pt x="124" y="146"/>
                </a:lnTo>
                <a:lnTo>
                  <a:pt x="122" y="138"/>
                </a:lnTo>
                <a:lnTo>
                  <a:pt x="116" y="132"/>
                </a:lnTo>
                <a:lnTo>
                  <a:pt x="110" y="126"/>
                </a:lnTo>
                <a:lnTo>
                  <a:pt x="104" y="120"/>
                </a:lnTo>
                <a:lnTo>
                  <a:pt x="96" y="116"/>
                </a:lnTo>
                <a:lnTo>
                  <a:pt x="88" y="114"/>
                </a:lnTo>
                <a:lnTo>
                  <a:pt x="88" y="160"/>
                </a:lnTo>
                <a:lnTo>
                  <a:pt x="128" y="16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41" name="Group 140"/>
          <p:cNvGrpSpPr/>
          <p:nvPr/>
        </p:nvGrpSpPr>
        <p:grpSpPr>
          <a:xfrm>
            <a:off x="148422" y="3677959"/>
            <a:ext cx="727019" cy="533587"/>
            <a:chOff x="148422" y="3578812"/>
            <a:chExt cx="727019" cy="533587"/>
          </a:xfrm>
        </p:grpSpPr>
        <p:sp>
          <p:nvSpPr>
            <p:cNvPr id="142" name="Rectangle 17"/>
            <p:cNvSpPr>
              <a:spLocks/>
            </p:cNvSpPr>
            <p:nvPr/>
          </p:nvSpPr>
          <p:spPr bwMode="auto">
            <a:xfrm>
              <a:off x="148422" y="3835400"/>
              <a:ext cx="7270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Социальные сети</a:t>
              </a:r>
            </a:p>
          </p:txBody>
        </p:sp>
        <p:grpSp>
          <p:nvGrpSpPr>
            <p:cNvPr id="153" name="Group 16"/>
            <p:cNvGrpSpPr>
              <a:grpSpLocks noChangeAspect="1"/>
            </p:cNvGrpSpPr>
            <p:nvPr/>
          </p:nvGrpSpPr>
          <p:grpSpPr bwMode="auto">
            <a:xfrm>
              <a:off x="389395" y="3578812"/>
              <a:ext cx="259829" cy="259829"/>
              <a:chOff x="-783" y="2303"/>
              <a:chExt cx="491" cy="491"/>
            </a:xfrm>
            <a:solidFill>
              <a:schemeClr val="bg1"/>
            </a:solidFill>
          </p:grpSpPr>
          <p:sp>
            <p:nvSpPr>
              <p:cNvPr id="154" name="Freeform 18"/>
              <p:cNvSpPr>
                <a:spLocks/>
              </p:cNvSpPr>
              <p:nvPr/>
            </p:nvSpPr>
            <p:spPr bwMode="auto">
              <a:xfrm>
                <a:off x="-415" y="2395"/>
                <a:ext cx="36" cy="29"/>
              </a:xfrm>
              <a:custGeom>
                <a:avLst/>
                <a:gdLst>
                  <a:gd name="T0" fmla="*/ 131 w 252"/>
                  <a:gd name="T1" fmla="*/ 0 h 201"/>
                  <a:gd name="T2" fmla="*/ 146 w 252"/>
                  <a:gd name="T3" fmla="*/ 2 h 201"/>
                  <a:gd name="T4" fmla="*/ 160 w 252"/>
                  <a:gd name="T5" fmla="*/ 5 h 201"/>
                  <a:gd name="T6" fmla="*/ 173 w 252"/>
                  <a:gd name="T7" fmla="*/ 9 h 201"/>
                  <a:gd name="T8" fmla="*/ 181 w 252"/>
                  <a:gd name="T9" fmla="*/ 10 h 201"/>
                  <a:gd name="T10" fmla="*/ 199 w 252"/>
                  <a:gd name="T11" fmla="*/ 22 h 201"/>
                  <a:gd name="T12" fmla="*/ 217 w 252"/>
                  <a:gd name="T13" fmla="*/ 35 h 201"/>
                  <a:gd name="T14" fmla="*/ 232 w 252"/>
                  <a:gd name="T15" fmla="*/ 48 h 201"/>
                  <a:gd name="T16" fmla="*/ 244 w 252"/>
                  <a:gd name="T17" fmla="*/ 63 h 201"/>
                  <a:gd name="T18" fmla="*/ 252 w 252"/>
                  <a:gd name="T19" fmla="*/ 80 h 201"/>
                  <a:gd name="T20" fmla="*/ 252 w 252"/>
                  <a:gd name="T21" fmla="*/ 101 h 201"/>
                  <a:gd name="T22" fmla="*/ 251 w 252"/>
                  <a:gd name="T23" fmla="*/ 120 h 201"/>
                  <a:gd name="T24" fmla="*/ 247 w 252"/>
                  <a:gd name="T25" fmla="*/ 137 h 201"/>
                  <a:gd name="T26" fmla="*/ 240 w 252"/>
                  <a:gd name="T27" fmla="*/ 153 h 201"/>
                  <a:gd name="T28" fmla="*/ 231 w 252"/>
                  <a:gd name="T29" fmla="*/ 167 h 201"/>
                  <a:gd name="T30" fmla="*/ 217 w 252"/>
                  <a:gd name="T31" fmla="*/ 179 h 201"/>
                  <a:gd name="T32" fmla="*/ 199 w 252"/>
                  <a:gd name="T33" fmla="*/ 188 h 201"/>
                  <a:gd name="T34" fmla="*/ 178 w 252"/>
                  <a:gd name="T35" fmla="*/ 195 h 201"/>
                  <a:gd name="T36" fmla="*/ 152 w 252"/>
                  <a:gd name="T37" fmla="*/ 199 h 201"/>
                  <a:gd name="T38" fmla="*/ 121 w 252"/>
                  <a:gd name="T39" fmla="*/ 201 h 201"/>
                  <a:gd name="T40" fmla="*/ 95 w 252"/>
                  <a:gd name="T41" fmla="*/ 199 h 201"/>
                  <a:gd name="T42" fmla="*/ 73 w 252"/>
                  <a:gd name="T43" fmla="*/ 192 h 201"/>
                  <a:gd name="T44" fmla="*/ 51 w 252"/>
                  <a:gd name="T45" fmla="*/ 182 h 201"/>
                  <a:gd name="T46" fmla="*/ 34 w 252"/>
                  <a:gd name="T47" fmla="*/ 169 h 201"/>
                  <a:gd name="T48" fmla="*/ 19 w 252"/>
                  <a:gd name="T49" fmla="*/ 154 h 201"/>
                  <a:gd name="T50" fmla="*/ 9 w 252"/>
                  <a:gd name="T51" fmla="*/ 137 h 201"/>
                  <a:gd name="T52" fmla="*/ 2 w 252"/>
                  <a:gd name="T53" fmla="*/ 119 h 201"/>
                  <a:gd name="T54" fmla="*/ 0 w 252"/>
                  <a:gd name="T55" fmla="*/ 101 h 201"/>
                  <a:gd name="T56" fmla="*/ 3 w 252"/>
                  <a:gd name="T57" fmla="*/ 79 h 201"/>
                  <a:gd name="T58" fmla="*/ 11 w 252"/>
                  <a:gd name="T59" fmla="*/ 60 h 201"/>
                  <a:gd name="T60" fmla="*/ 22 w 252"/>
                  <a:gd name="T61" fmla="*/ 43 h 201"/>
                  <a:gd name="T62" fmla="*/ 40 w 252"/>
                  <a:gd name="T63" fmla="*/ 28 h 201"/>
                  <a:gd name="T64" fmla="*/ 59 w 252"/>
                  <a:gd name="T65" fmla="*/ 16 h 201"/>
                  <a:gd name="T66" fmla="*/ 80 w 252"/>
                  <a:gd name="T67" fmla="*/ 7 h 201"/>
                  <a:gd name="T68" fmla="*/ 105 w 252"/>
                  <a:gd name="T69" fmla="*/ 2 h 201"/>
                  <a:gd name="T70" fmla="*/ 131 w 252"/>
                  <a:gd name="T71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52" h="201">
                    <a:moveTo>
                      <a:pt x="131" y="0"/>
                    </a:moveTo>
                    <a:lnTo>
                      <a:pt x="146" y="2"/>
                    </a:lnTo>
                    <a:lnTo>
                      <a:pt x="160" y="5"/>
                    </a:lnTo>
                    <a:lnTo>
                      <a:pt x="173" y="9"/>
                    </a:lnTo>
                    <a:lnTo>
                      <a:pt x="181" y="10"/>
                    </a:lnTo>
                    <a:lnTo>
                      <a:pt x="199" y="22"/>
                    </a:lnTo>
                    <a:lnTo>
                      <a:pt x="217" y="35"/>
                    </a:lnTo>
                    <a:lnTo>
                      <a:pt x="232" y="48"/>
                    </a:lnTo>
                    <a:lnTo>
                      <a:pt x="244" y="63"/>
                    </a:lnTo>
                    <a:lnTo>
                      <a:pt x="252" y="80"/>
                    </a:lnTo>
                    <a:lnTo>
                      <a:pt x="252" y="101"/>
                    </a:lnTo>
                    <a:lnTo>
                      <a:pt x="251" y="120"/>
                    </a:lnTo>
                    <a:lnTo>
                      <a:pt x="247" y="137"/>
                    </a:lnTo>
                    <a:lnTo>
                      <a:pt x="240" y="153"/>
                    </a:lnTo>
                    <a:lnTo>
                      <a:pt x="231" y="167"/>
                    </a:lnTo>
                    <a:lnTo>
                      <a:pt x="217" y="179"/>
                    </a:lnTo>
                    <a:lnTo>
                      <a:pt x="199" y="188"/>
                    </a:lnTo>
                    <a:lnTo>
                      <a:pt x="178" y="195"/>
                    </a:lnTo>
                    <a:lnTo>
                      <a:pt x="152" y="199"/>
                    </a:lnTo>
                    <a:lnTo>
                      <a:pt x="121" y="201"/>
                    </a:lnTo>
                    <a:lnTo>
                      <a:pt x="95" y="199"/>
                    </a:lnTo>
                    <a:lnTo>
                      <a:pt x="73" y="192"/>
                    </a:lnTo>
                    <a:lnTo>
                      <a:pt x="51" y="182"/>
                    </a:lnTo>
                    <a:lnTo>
                      <a:pt x="34" y="169"/>
                    </a:lnTo>
                    <a:lnTo>
                      <a:pt x="19" y="154"/>
                    </a:lnTo>
                    <a:lnTo>
                      <a:pt x="9" y="137"/>
                    </a:lnTo>
                    <a:lnTo>
                      <a:pt x="2" y="119"/>
                    </a:lnTo>
                    <a:lnTo>
                      <a:pt x="0" y="101"/>
                    </a:lnTo>
                    <a:lnTo>
                      <a:pt x="3" y="79"/>
                    </a:lnTo>
                    <a:lnTo>
                      <a:pt x="11" y="60"/>
                    </a:lnTo>
                    <a:lnTo>
                      <a:pt x="22" y="43"/>
                    </a:lnTo>
                    <a:lnTo>
                      <a:pt x="40" y="28"/>
                    </a:lnTo>
                    <a:lnTo>
                      <a:pt x="59" y="16"/>
                    </a:lnTo>
                    <a:lnTo>
                      <a:pt x="80" y="7"/>
                    </a:lnTo>
                    <a:lnTo>
                      <a:pt x="105" y="2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5" name="Freeform 19"/>
              <p:cNvSpPr>
                <a:spLocks/>
              </p:cNvSpPr>
              <p:nvPr/>
            </p:nvSpPr>
            <p:spPr bwMode="auto">
              <a:xfrm>
                <a:off x="-409" y="2347"/>
                <a:ext cx="25" cy="31"/>
              </a:xfrm>
              <a:custGeom>
                <a:avLst/>
                <a:gdLst>
                  <a:gd name="T0" fmla="*/ 73 w 175"/>
                  <a:gd name="T1" fmla="*/ 0 h 220"/>
                  <a:gd name="T2" fmla="*/ 94 w 175"/>
                  <a:gd name="T3" fmla="*/ 3 h 220"/>
                  <a:gd name="T4" fmla="*/ 113 w 175"/>
                  <a:gd name="T5" fmla="*/ 11 h 220"/>
                  <a:gd name="T6" fmla="*/ 130 w 175"/>
                  <a:gd name="T7" fmla="*/ 25 h 220"/>
                  <a:gd name="T8" fmla="*/ 145 w 175"/>
                  <a:gd name="T9" fmla="*/ 42 h 220"/>
                  <a:gd name="T10" fmla="*/ 158 w 175"/>
                  <a:gd name="T11" fmla="*/ 62 h 220"/>
                  <a:gd name="T12" fmla="*/ 168 w 175"/>
                  <a:gd name="T13" fmla="*/ 85 h 220"/>
                  <a:gd name="T14" fmla="*/ 173 w 175"/>
                  <a:gd name="T15" fmla="*/ 110 h 220"/>
                  <a:gd name="T16" fmla="*/ 175 w 175"/>
                  <a:gd name="T17" fmla="*/ 136 h 220"/>
                  <a:gd name="T18" fmla="*/ 171 w 175"/>
                  <a:gd name="T19" fmla="*/ 158 h 220"/>
                  <a:gd name="T20" fmla="*/ 163 w 175"/>
                  <a:gd name="T21" fmla="*/ 179 h 220"/>
                  <a:gd name="T22" fmla="*/ 151 w 175"/>
                  <a:gd name="T23" fmla="*/ 196 h 220"/>
                  <a:gd name="T24" fmla="*/ 137 w 175"/>
                  <a:gd name="T25" fmla="*/ 210 h 220"/>
                  <a:gd name="T26" fmla="*/ 121 w 175"/>
                  <a:gd name="T27" fmla="*/ 218 h 220"/>
                  <a:gd name="T28" fmla="*/ 104 w 175"/>
                  <a:gd name="T29" fmla="*/ 220 h 220"/>
                  <a:gd name="T30" fmla="*/ 82 w 175"/>
                  <a:gd name="T31" fmla="*/ 218 h 220"/>
                  <a:gd name="T32" fmla="*/ 63 w 175"/>
                  <a:gd name="T33" fmla="*/ 210 h 220"/>
                  <a:gd name="T34" fmla="*/ 46 w 175"/>
                  <a:gd name="T35" fmla="*/ 196 h 220"/>
                  <a:gd name="T36" fmla="*/ 31 w 175"/>
                  <a:gd name="T37" fmla="*/ 179 h 220"/>
                  <a:gd name="T38" fmla="*/ 18 w 175"/>
                  <a:gd name="T39" fmla="*/ 158 h 220"/>
                  <a:gd name="T40" fmla="*/ 9 w 175"/>
                  <a:gd name="T41" fmla="*/ 136 h 220"/>
                  <a:gd name="T42" fmla="*/ 3 w 175"/>
                  <a:gd name="T43" fmla="*/ 110 h 220"/>
                  <a:gd name="T44" fmla="*/ 0 w 175"/>
                  <a:gd name="T45" fmla="*/ 89 h 220"/>
                  <a:gd name="T46" fmla="*/ 2 w 175"/>
                  <a:gd name="T47" fmla="*/ 67 h 220"/>
                  <a:gd name="T48" fmla="*/ 7 w 175"/>
                  <a:gd name="T49" fmla="*/ 49 h 220"/>
                  <a:gd name="T50" fmla="*/ 14 w 175"/>
                  <a:gd name="T51" fmla="*/ 32 h 220"/>
                  <a:gd name="T52" fmla="*/ 26 w 175"/>
                  <a:gd name="T53" fmla="*/ 19 h 220"/>
                  <a:gd name="T54" fmla="*/ 39 w 175"/>
                  <a:gd name="T55" fmla="*/ 9 h 220"/>
                  <a:gd name="T56" fmla="*/ 55 w 175"/>
                  <a:gd name="T57" fmla="*/ 2 h 220"/>
                  <a:gd name="T58" fmla="*/ 73 w 175"/>
                  <a:gd name="T59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75" h="220">
                    <a:moveTo>
                      <a:pt x="73" y="0"/>
                    </a:moveTo>
                    <a:lnTo>
                      <a:pt x="94" y="3"/>
                    </a:lnTo>
                    <a:lnTo>
                      <a:pt x="113" y="11"/>
                    </a:lnTo>
                    <a:lnTo>
                      <a:pt x="130" y="25"/>
                    </a:lnTo>
                    <a:lnTo>
                      <a:pt x="145" y="42"/>
                    </a:lnTo>
                    <a:lnTo>
                      <a:pt x="158" y="62"/>
                    </a:lnTo>
                    <a:lnTo>
                      <a:pt x="168" y="85"/>
                    </a:lnTo>
                    <a:lnTo>
                      <a:pt x="173" y="110"/>
                    </a:lnTo>
                    <a:lnTo>
                      <a:pt x="175" y="136"/>
                    </a:lnTo>
                    <a:lnTo>
                      <a:pt x="171" y="158"/>
                    </a:lnTo>
                    <a:lnTo>
                      <a:pt x="163" y="179"/>
                    </a:lnTo>
                    <a:lnTo>
                      <a:pt x="151" y="196"/>
                    </a:lnTo>
                    <a:lnTo>
                      <a:pt x="137" y="210"/>
                    </a:lnTo>
                    <a:lnTo>
                      <a:pt x="121" y="218"/>
                    </a:lnTo>
                    <a:lnTo>
                      <a:pt x="104" y="220"/>
                    </a:lnTo>
                    <a:lnTo>
                      <a:pt x="82" y="218"/>
                    </a:lnTo>
                    <a:lnTo>
                      <a:pt x="63" y="210"/>
                    </a:lnTo>
                    <a:lnTo>
                      <a:pt x="46" y="196"/>
                    </a:lnTo>
                    <a:lnTo>
                      <a:pt x="31" y="179"/>
                    </a:lnTo>
                    <a:lnTo>
                      <a:pt x="18" y="158"/>
                    </a:lnTo>
                    <a:lnTo>
                      <a:pt x="9" y="136"/>
                    </a:lnTo>
                    <a:lnTo>
                      <a:pt x="3" y="110"/>
                    </a:lnTo>
                    <a:lnTo>
                      <a:pt x="0" y="89"/>
                    </a:lnTo>
                    <a:lnTo>
                      <a:pt x="2" y="67"/>
                    </a:lnTo>
                    <a:lnTo>
                      <a:pt x="7" y="49"/>
                    </a:lnTo>
                    <a:lnTo>
                      <a:pt x="14" y="32"/>
                    </a:lnTo>
                    <a:lnTo>
                      <a:pt x="26" y="19"/>
                    </a:lnTo>
                    <a:lnTo>
                      <a:pt x="39" y="9"/>
                    </a:lnTo>
                    <a:lnTo>
                      <a:pt x="55" y="2"/>
                    </a:lnTo>
                    <a:lnTo>
                      <a:pt x="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9" name="Freeform 20"/>
              <p:cNvSpPr>
                <a:spLocks noEditPoints="1"/>
              </p:cNvSpPr>
              <p:nvPr/>
            </p:nvSpPr>
            <p:spPr bwMode="auto">
              <a:xfrm>
                <a:off x="-461" y="2303"/>
                <a:ext cx="167" cy="167"/>
              </a:xfrm>
              <a:custGeom>
                <a:avLst/>
                <a:gdLst>
                  <a:gd name="T0" fmla="*/ 394 w 1169"/>
                  <a:gd name="T1" fmla="*/ 292 h 1165"/>
                  <a:gd name="T2" fmla="*/ 322 w 1169"/>
                  <a:gd name="T3" fmla="*/ 340 h 1165"/>
                  <a:gd name="T4" fmla="*/ 292 w 1169"/>
                  <a:gd name="T5" fmla="*/ 412 h 1165"/>
                  <a:gd name="T6" fmla="*/ 315 w 1169"/>
                  <a:gd name="T7" fmla="*/ 485 h 1165"/>
                  <a:gd name="T8" fmla="*/ 377 w 1169"/>
                  <a:gd name="T9" fmla="*/ 532 h 1165"/>
                  <a:gd name="T10" fmla="*/ 453 w 1169"/>
                  <a:gd name="T11" fmla="*/ 543 h 1165"/>
                  <a:gd name="T12" fmla="*/ 443 w 1169"/>
                  <a:gd name="T13" fmla="*/ 572 h 1165"/>
                  <a:gd name="T14" fmla="*/ 452 w 1169"/>
                  <a:gd name="T15" fmla="*/ 623 h 1165"/>
                  <a:gd name="T16" fmla="*/ 386 w 1169"/>
                  <a:gd name="T17" fmla="*/ 646 h 1165"/>
                  <a:gd name="T18" fmla="*/ 294 w 1169"/>
                  <a:gd name="T19" fmla="*/ 681 h 1165"/>
                  <a:gd name="T20" fmla="*/ 245 w 1169"/>
                  <a:gd name="T21" fmla="*/ 748 h 1165"/>
                  <a:gd name="T22" fmla="*/ 252 w 1169"/>
                  <a:gd name="T23" fmla="*/ 812 h 1165"/>
                  <a:gd name="T24" fmla="*/ 299 w 1169"/>
                  <a:gd name="T25" fmla="*/ 855 h 1165"/>
                  <a:gd name="T26" fmla="*/ 374 w 1169"/>
                  <a:gd name="T27" fmla="*/ 879 h 1165"/>
                  <a:gd name="T28" fmla="*/ 468 w 1169"/>
                  <a:gd name="T29" fmla="*/ 882 h 1165"/>
                  <a:gd name="T30" fmla="*/ 549 w 1169"/>
                  <a:gd name="T31" fmla="*/ 858 h 1165"/>
                  <a:gd name="T32" fmla="*/ 598 w 1169"/>
                  <a:gd name="T33" fmla="*/ 813 h 1165"/>
                  <a:gd name="T34" fmla="*/ 614 w 1169"/>
                  <a:gd name="T35" fmla="*/ 753 h 1165"/>
                  <a:gd name="T36" fmla="*/ 603 w 1169"/>
                  <a:gd name="T37" fmla="*/ 686 h 1165"/>
                  <a:gd name="T38" fmla="*/ 554 w 1169"/>
                  <a:gd name="T39" fmla="*/ 633 h 1165"/>
                  <a:gd name="T40" fmla="*/ 521 w 1169"/>
                  <a:gd name="T41" fmla="*/ 607 h 1165"/>
                  <a:gd name="T42" fmla="*/ 503 w 1169"/>
                  <a:gd name="T43" fmla="*/ 572 h 1165"/>
                  <a:gd name="T44" fmla="*/ 516 w 1169"/>
                  <a:gd name="T45" fmla="*/ 544 h 1165"/>
                  <a:gd name="T46" fmla="*/ 560 w 1169"/>
                  <a:gd name="T47" fmla="*/ 504 h 1165"/>
                  <a:gd name="T48" fmla="*/ 592 w 1169"/>
                  <a:gd name="T49" fmla="*/ 445 h 1165"/>
                  <a:gd name="T50" fmla="*/ 589 w 1169"/>
                  <a:gd name="T51" fmla="*/ 380 h 1165"/>
                  <a:gd name="T52" fmla="*/ 563 w 1169"/>
                  <a:gd name="T53" fmla="*/ 330 h 1165"/>
                  <a:gd name="T54" fmla="*/ 594 w 1169"/>
                  <a:gd name="T55" fmla="*/ 312 h 1165"/>
                  <a:gd name="T56" fmla="*/ 806 w 1169"/>
                  <a:gd name="T57" fmla="*/ 272 h 1165"/>
                  <a:gd name="T58" fmla="*/ 694 w 1169"/>
                  <a:gd name="T59" fmla="*/ 423 h 1165"/>
                  <a:gd name="T60" fmla="*/ 846 w 1169"/>
                  <a:gd name="T61" fmla="*/ 533 h 1165"/>
                  <a:gd name="T62" fmla="*/ 956 w 1169"/>
                  <a:gd name="T63" fmla="*/ 382 h 1165"/>
                  <a:gd name="T64" fmla="*/ 806 w 1169"/>
                  <a:gd name="T65" fmla="*/ 272 h 1165"/>
                  <a:gd name="T66" fmla="*/ 725 w 1169"/>
                  <a:gd name="T67" fmla="*/ 13 h 1165"/>
                  <a:gd name="T68" fmla="*/ 890 w 1169"/>
                  <a:gd name="T69" fmla="*/ 77 h 1165"/>
                  <a:gd name="T70" fmla="*/ 1024 w 1169"/>
                  <a:gd name="T71" fmla="*/ 185 h 1165"/>
                  <a:gd name="T72" fmla="*/ 1118 w 1169"/>
                  <a:gd name="T73" fmla="*/ 331 h 1165"/>
                  <a:gd name="T74" fmla="*/ 1166 w 1169"/>
                  <a:gd name="T75" fmla="*/ 502 h 1165"/>
                  <a:gd name="T76" fmla="*/ 1156 w 1169"/>
                  <a:gd name="T77" fmla="*/ 684 h 1165"/>
                  <a:gd name="T78" fmla="*/ 1092 w 1169"/>
                  <a:gd name="T79" fmla="*/ 847 h 1165"/>
                  <a:gd name="T80" fmla="*/ 983 w 1169"/>
                  <a:gd name="T81" fmla="*/ 980 h 1165"/>
                  <a:gd name="T82" fmla="*/ 837 w 1169"/>
                  <a:gd name="T83" fmla="*/ 1075 h 1165"/>
                  <a:gd name="T84" fmla="*/ 666 w 1169"/>
                  <a:gd name="T85" fmla="*/ 1122 h 1165"/>
                  <a:gd name="T86" fmla="*/ 495 w 1169"/>
                  <a:gd name="T87" fmla="*/ 1113 h 1165"/>
                  <a:gd name="T88" fmla="*/ 342 w 1169"/>
                  <a:gd name="T89" fmla="*/ 1055 h 1165"/>
                  <a:gd name="T90" fmla="*/ 80 w 1169"/>
                  <a:gd name="T91" fmla="*/ 1165 h 1165"/>
                  <a:gd name="T92" fmla="*/ 22 w 1169"/>
                  <a:gd name="T93" fmla="*/ 1107 h 1165"/>
                  <a:gd name="T94" fmla="*/ 143 w 1169"/>
                  <a:gd name="T95" fmla="*/ 879 h 1165"/>
                  <a:gd name="T96" fmla="*/ 75 w 1169"/>
                  <a:gd name="T97" fmla="*/ 757 h 1165"/>
                  <a:gd name="T98" fmla="*/ 43 w 1169"/>
                  <a:gd name="T99" fmla="*/ 614 h 1165"/>
                  <a:gd name="T100" fmla="*/ 53 w 1169"/>
                  <a:gd name="T101" fmla="*/ 442 h 1165"/>
                  <a:gd name="T102" fmla="*/ 117 w 1169"/>
                  <a:gd name="T103" fmla="*/ 278 h 1165"/>
                  <a:gd name="T104" fmla="*/ 226 w 1169"/>
                  <a:gd name="T105" fmla="*/ 145 h 1165"/>
                  <a:gd name="T106" fmla="*/ 371 w 1169"/>
                  <a:gd name="T107" fmla="*/ 51 h 1165"/>
                  <a:gd name="T108" fmla="*/ 543 w 1169"/>
                  <a:gd name="T109" fmla="*/ 4 h 1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69" h="1165">
                    <a:moveTo>
                      <a:pt x="453" y="282"/>
                    </a:moveTo>
                    <a:lnTo>
                      <a:pt x="423" y="285"/>
                    </a:lnTo>
                    <a:lnTo>
                      <a:pt x="394" y="292"/>
                    </a:lnTo>
                    <a:lnTo>
                      <a:pt x="367" y="304"/>
                    </a:lnTo>
                    <a:lnTo>
                      <a:pt x="342" y="320"/>
                    </a:lnTo>
                    <a:lnTo>
                      <a:pt x="322" y="340"/>
                    </a:lnTo>
                    <a:lnTo>
                      <a:pt x="306" y="362"/>
                    </a:lnTo>
                    <a:lnTo>
                      <a:pt x="296" y="386"/>
                    </a:lnTo>
                    <a:lnTo>
                      <a:pt x="292" y="412"/>
                    </a:lnTo>
                    <a:lnTo>
                      <a:pt x="295" y="438"/>
                    </a:lnTo>
                    <a:lnTo>
                      <a:pt x="302" y="462"/>
                    </a:lnTo>
                    <a:lnTo>
                      <a:pt x="315" y="485"/>
                    </a:lnTo>
                    <a:lnTo>
                      <a:pt x="333" y="504"/>
                    </a:lnTo>
                    <a:lnTo>
                      <a:pt x="353" y="520"/>
                    </a:lnTo>
                    <a:lnTo>
                      <a:pt x="377" y="532"/>
                    </a:lnTo>
                    <a:lnTo>
                      <a:pt x="403" y="540"/>
                    </a:lnTo>
                    <a:lnTo>
                      <a:pt x="433" y="543"/>
                    </a:lnTo>
                    <a:lnTo>
                      <a:pt x="453" y="543"/>
                    </a:lnTo>
                    <a:lnTo>
                      <a:pt x="446" y="553"/>
                    </a:lnTo>
                    <a:lnTo>
                      <a:pt x="443" y="563"/>
                    </a:lnTo>
                    <a:lnTo>
                      <a:pt x="443" y="572"/>
                    </a:lnTo>
                    <a:lnTo>
                      <a:pt x="444" y="588"/>
                    </a:lnTo>
                    <a:lnTo>
                      <a:pt x="448" y="605"/>
                    </a:lnTo>
                    <a:lnTo>
                      <a:pt x="452" y="623"/>
                    </a:lnTo>
                    <a:lnTo>
                      <a:pt x="453" y="643"/>
                    </a:lnTo>
                    <a:lnTo>
                      <a:pt x="423" y="643"/>
                    </a:lnTo>
                    <a:lnTo>
                      <a:pt x="386" y="646"/>
                    </a:lnTo>
                    <a:lnTo>
                      <a:pt x="352" y="654"/>
                    </a:lnTo>
                    <a:lnTo>
                      <a:pt x="321" y="665"/>
                    </a:lnTo>
                    <a:lnTo>
                      <a:pt x="294" y="681"/>
                    </a:lnTo>
                    <a:lnTo>
                      <a:pt x="272" y="702"/>
                    </a:lnTo>
                    <a:lnTo>
                      <a:pt x="255" y="723"/>
                    </a:lnTo>
                    <a:lnTo>
                      <a:pt x="245" y="748"/>
                    </a:lnTo>
                    <a:lnTo>
                      <a:pt x="241" y="773"/>
                    </a:lnTo>
                    <a:lnTo>
                      <a:pt x="245" y="794"/>
                    </a:lnTo>
                    <a:lnTo>
                      <a:pt x="252" y="812"/>
                    </a:lnTo>
                    <a:lnTo>
                      <a:pt x="264" y="828"/>
                    </a:lnTo>
                    <a:lnTo>
                      <a:pt x="280" y="843"/>
                    </a:lnTo>
                    <a:lnTo>
                      <a:pt x="299" y="855"/>
                    </a:lnTo>
                    <a:lnTo>
                      <a:pt x="322" y="865"/>
                    </a:lnTo>
                    <a:lnTo>
                      <a:pt x="348" y="873"/>
                    </a:lnTo>
                    <a:lnTo>
                      <a:pt x="374" y="879"/>
                    </a:lnTo>
                    <a:lnTo>
                      <a:pt x="403" y="882"/>
                    </a:lnTo>
                    <a:lnTo>
                      <a:pt x="433" y="884"/>
                    </a:lnTo>
                    <a:lnTo>
                      <a:pt x="468" y="882"/>
                    </a:lnTo>
                    <a:lnTo>
                      <a:pt x="498" y="877"/>
                    </a:lnTo>
                    <a:lnTo>
                      <a:pt x="526" y="869"/>
                    </a:lnTo>
                    <a:lnTo>
                      <a:pt x="549" y="858"/>
                    </a:lnTo>
                    <a:lnTo>
                      <a:pt x="569" y="845"/>
                    </a:lnTo>
                    <a:lnTo>
                      <a:pt x="585" y="830"/>
                    </a:lnTo>
                    <a:lnTo>
                      <a:pt x="598" y="813"/>
                    </a:lnTo>
                    <a:lnTo>
                      <a:pt x="607" y="794"/>
                    </a:lnTo>
                    <a:lnTo>
                      <a:pt x="613" y="775"/>
                    </a:lnTo>
                    <a:lnTo>
                      <a:pt x="614" y="753"/>
                    </a:lnTo>
                    <a:lnTo>
                      <a:pt x="613" y="730"/>
                    </a:lnTo>
                    <a:lnTo>
                      <a:pt x="610" y="706"/>
                    </a:lnTo>
                    <a:lnTo>
                      <a:pt x="603" y="686"/>
                    </a:lnTo>
                    <a:lnTo>
                      <a:pt x="591" y="667"/>
                    </a:lnTo>
                    <a:lnTo>
                      <a:pt x="575" y="649"/>
                    </a:lnTo>
                    <a:lnTo>
                      <a:pt x="554" y="633"/>
                    </a:lnTo>
                    <a:lnTo>
                      <a:pt x="543" y="626"/>
                    </a:lnTo>
                    <a:lnTo>
                      <a:pt x="532" y="617"/>
                    </a:lnTo>
                    <a:lnTo>
                      <a:pt x="521" y="607"/>
                    </a:lnTo>
                    <a:lnTo>
                      <a:pt x="512" y="595"/>
                    </a:lnTo>
                    <a:lnTo>
                      <a:pt x="505" y="583"/>
                    </a:lnTo>
                    <a:lnTo>
                      <a:pt x="503" y="572"/>
                    </a:lnTo>
                    <a:lnTo>
                      <a:pt x="504" y="562"/>
                    </a:lnTo>
                    <a:lnTo>
                      <a:pt x="509" y="552"/>
                    </a:lnTo>
                    <a:lnTo>
                      <a:pt x="516" y="544"/>
                    </a:lnTo>
                    <a:lnTo>
                      <a:pt x="528" y="534"/>
                    </a:lnTo>
                    <a:lnTo>
                      <a:pt x="544" y="522"/>
                    </a:lnTo>
                    <a:lnTo>
                      <a:pt x="560" y="504"/>
                    </a:lnTo>
                    <a:lnTo>
                      <a:pt x="574" y="486"/>
                    </a:lnTo>
                    <a:lnTo>
                      <a:pt x="585" y="467"/>
                    </a:lnTo>
                    <a:lnTo>
                      <a:pt x="592" y="445"/>
                    </a:lnTo>
                    <a:lnTo>
                      <a:pt x="594" y="423"/>
                    </a:lnTo>
                    <a:lnTo>
                      <a:pt x="593" y="401"/>
                    </a:lnTo>
                    <a:lnTo>
                      <a:pt x="589" y="380"/>
                    </a:lnTo>
                    <a:lnTo>
                      <a:pt x="583" y="361"/>
                    </a:lnTo>
                    <a:lnTo>
                      <a:pt x="574" y="344"/>
                    </a:lnTo>
                    <a:lnTo>
                      <a:pt x="563" y="330"/>
                    </a:lnTo>
                    <a:lnTo>
                      <a:pt x="549" y="318"/>
                    </a:lnTo>
                    <a:lnTo>
                      <a:pt x="533" y="312"/>
                    </a:lnTo>
                    <a:lnTo>
                      <a:pt x="594" y="312"/>
                    </a:lnTo>
                    <a:lnTo>
                      <a:pt x="634" y="282"/>
                    </a:lnTo>
                    <a:lnTo>
                      <a:pt x="453" y="282"/>
                    </a:lnTo>
                    <a:close/>
                    <a:moveTo>
                      <a:pt x="806" y="272"/>
                    </a:moveTo>
                    <a:lnTo>
                      <a:pt x="806" y="382"/>
                    </a:lnTo>
                    <a:lnTo>
                      <a:pt x="694" y="382"/>
                    </a:lnTo>
                    <a:lnTo>
                      <a:pt x="694" y="423"/>
                    </a:lnTo>
                    <a:lnTo>
                      <a:pt x="806" y="423"/>
                    </a:lnTo>
                    <a:lnTo>
                      <a:pt x="806" y="533"/>
                    </a:lnTo>
                    <a:lnTo>
                      <a:pt x="846" y="533"/>
                    </a:lnTo>
                    <a:lnTo>
                      <a:pt x="846" y="423"/>
                    </a:lnTo>
                    <a:lnTo>
                      <a:pt x="956" y="423"/>
                    </a:lnTo>
                    <a:lnTo>
                      <a:pt x="956" y="382"/>
                    </a:lnTo>
                    <a:lnTo>
                      <a:pt x="846" y="382"/>
                    </a:lnTo>
                    <a:lnTo>
                      <a:pt x="846" y="272"/>
                    </a:lnTo>
                    <a:lnTo>
                      <a:pt x="806" y="272"/>
                    </a:lnTo>
                    <a:close/>
                    <a:moveTo>
                      <a:pt x="604" y="0"/>
                    </a:moveTo>
                    <a:lnTo>
                      <a:pt x="666" y="4"/>
                    </a:lnTo>
                    <a:lnTo>
                      <a:pt x="725" y="13"/>
                    </a:lnTo>
                    <a:lnTo>
                      <a:pt x="783" y="29"/>
                    </a:lnTo>
                    <a:lnTo>
                      <a:pt x="837" y="51"/>
                    </a:lnTo>
                    <a:lnTo>
                      <a:pt x="890" y="77"/>
                    </a:lnTo>
                    <a:lnTo>
                      <a:pt x="938" y="110"/>
                    </a:lnTo>
                    <a:lnTo>
                      <a:pt x="983" y="145"/>
                    </a:lnTo>
                    <a:lnTo>
                      <a:pt x="1024" y="185"/>
                    </a:lnTo>
                    <a:lnTo>
                      <a:pt x="1060" y="230"/>
                    </a:lnTo>
                    <a:lnTo>
                      <a:pt x="1092" y="278"/>
                    </a:lnTo>
                    <a:lnTo>
                      <a:pt x="1118" y="331"/>
                    </a:lnTo>
                    <a:lnTo>
                      <a:pt x="1140" y="385"/>
                    </a:lnTo>
                    <a:lnTo>
                      <a:pt x="1156" y="442"/>
                    </a:lnTo>
                    <a:lnTo>
                      <a:pt x="1166" y="502"/>
                    </a:lnTo>
                    <a:lnTo>
                      <a:pt x="1169" y="563"/>
                    </a:lnTo>
                    <a:lnTo>
                      <a:pt x="1166" y="624"/>
                    </a:lnTo>
                    <a:lnTo>
                      <a:pt x="1156" y="684"/>
                    </a:lnTo>
                    <a:lnTo>
                      <a:pt x="1140" y="740"/>
                    </a:lnTo>
                    <a:lnTo>
                      <a:pt x="1118" y="795"/>
                    </a:lnTo>
                    <a:lnTo>
                      <a:pt x="1092" y="847"/>
                    </a:lnTo>
                    <a:lnTo>
                      <a:pt x="1060" y="895"/>
                    </a:lnTo>
                    <a:lnTo>
                      <a:pt x="1024" y="939"/>
                    </a:lnTo>
                    <a:lnTo>
                      <a:pt x="983" y="980"/>
                    </a:lnTo>
                    <a:lnTo>
                      <a:pt x="938" y="1016"/>
                    </a:lnTo>
                    <a:lnTo>
                      <a:pt x="890" y="1048"/>
                    </a:lnTo>
                    <a:lnTo>
                      <a:pt x="837" y="1075"/>
                    </a:lnTo>
                    <a:lnTo>
                      <a:pt x="783" y="1096"/>
                    </a:lnTo>
                    <a:lnTo>
                      <a:pt x="725" y="1111"/>
                    </a:lnTo>
                    <a:lnTo>
                      <a:pt x="666" y="1122"/>
                    </a:lnTo>
                    <a:lnTo>
                      <a:pt x="604" y="1125"/>
                    </a:lnTo>
                    <a:lnTo>
                      <a:pt x="548" y="1122"/>
                    </a:lnTo>
                    <a:lnTo>
                      <a:pt x="495" y="1113"/>
                    </a:lnTo>
                    <a:lnTo>
                      <a:pt x="442" y="1098"/>
                    </a:lnTo>
                    <a:lnTo>
                      <a:pt x="392" y="1079"/>
                    </a:lnTo>
                    <a:lnTo>
                      <a:pt x="342" y="1055"/>
                    </a:lnTo>
                    <a:lnTo>
                      <a:pt x="296" y="1027"/>
                    </a:lnTo>
                    <a:lnTo>
                      <a:pt x="251" y="994"/>
                    </a:lnTo>
                    <a:lnTo>
                      <a:pt x="80" y="1165"/>
                    </a:lnTo>
                    <a:lnTo>
                      <a:pt x="63" y="1148"/>
                    </a:lnTo>
                    <a:lnTo>
                      <a:pt x="44" y="1128"/>
                    </a:lnTo>
                    <a:lnTo>
                      <a:pt x="22" y="1107"/>
                    </a:lnTo>
                    <a:lnTo>
                      <a:pt x="0" y="1085"/>
                    </a:lnTo>
                    <a:lnTo>
                      <a:pt x="170" y="915"/>
                    </a:lnTo>
                    <a:lnTo>
                      <a:pt x="143" y="879"/>
                    </a:lnTo>
                    <a:lnTo>
                      <a:pt x="117" y="841"/>
                    </a:lnTo>
                    <a:lnTo>
                      <a:pt x="94" y="800"/>
                    </a:lnTo>
                    <a:lnTo>
                      <a:pt x="75" y="757"/>
                    </a:lnTo>
                    <a:lnTo>
                      <a:pt x="60" y="711"/>
                    </a:lnTo>
                    <a:lnTo>
                      <a:pt x="49" y="664"/>
                    </a:lnTo>
                    <a:lnTo>
                      <a:pt x="43" y="614"/>
                    </a:lnTo>
                    <a:lnTo>
                      <a:pt x="39" y="563"/>
                    </a:lnTo>
                    <a:lnTo>
                      <a:pt x="44" y="502"/>
                    </a:lnTo>
                    <a:lnTo>
                      <a:pt x="53" y="442"/>
                    </a:lnTo>
                    <a:lnTo>
                      <a:pt x="68" y="385"/>
                    </a:lnTo>
                    <a:lnTo>
                      <a:pt x="90" y="331"/>
                    </a:lnTo>
                    <a:lnTo>
                      <a:pt x="117" y="278"/>
                    </a:lnTo>
                    <a:lnTo>
                      <a:pt x="149" y="230"/>
                    </a:lnTo>
                    <a:lnTo>
                      <a:pt x="185" y="185"/>
                    </a:lnTo>
                    <a:lnTo>
                      <a:pt x="226" y="145"/>
                    </a:lnTo>
                    <a:lnTo>
                      <a:pt x="270" y="110"/>
                    </a:lnTo>
                    <a:lnTo>
                      <a:pt x="320" y="77"/>
                    </a:lnTo>
                    <a:lnTo>
                      <a:pt x="371" y="51"/>
                    </a:lnTo>
                    <a:lnTo>
                      <a:pt x="426" y="29"/>
                    </a:lnTo>
                    <a:lnTo>
                      <a:pt x="483" y="13"/>
                    </a:lnTo>
                    <a:lnTo>
                      <a:pt x="543" y="4"/>
                    </a:lnTo>
                    <a:lnTo>
                      <a:pt x="60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0" name="Freeform 21"/>
              <p:cNvSpPr>
                <a:spLocks noEditPoints="1"/>
              </p:cNvSpPr>
              <p:nvPr/>
            </p:nvSpPr>
            <p:spPr bwMode="auto">
              <a:xfrm>
                <a:off x="-459" y="2628"/>
                <a:ext cx="167" cy="164"/>
              </a:xfrm>
              <a:custGeom>
                <a:avLst/>
                <a:gdLst>
                  <a:gd name="T0" fmla="*/ 434 w 1170"/>
                  <a:gd name="T1" fmla="*/ 852 h 1154"/>
                  <a:gd name="T2" fmla="*/ 747 w 1170"/>
                  <a:gd name="T3" fmla="*/ 492 h 1154"/>
                  <a:gd name="T4" fmla="*/ 680 w 1170"/>
                  <a:gd name="T5" fmla="*/ 509 h 1154"/>
                  <a:gd name="T6" fmla="*/ 641 w 1170"/>
                  <a:gd name="T7" fmla="*/ 542 h 1154"/>
                  <a:gd name="T8" fmla="*/ 515 w 1170"/>
                  <a:gd name="T9" fmla="*/ 502 h 1154"/>
                  <a:gd name="T10" fmla="*/ 636 w 1170"/>
                  <a:gd name="T11" fmla="*/ 632 h 1154"/>
                  <a:gd name="T12" fmla="*/ 665 w 1170"/>
                  <a:gd name="T13" fmla="*/ 600 h 1154"/>
                  <a:gd name="T14" fmla="*/ 714 w 1170"/>
                  <a:gd name="T15" fmla="*/ 595 h 1154"/>
                  <a:gd name="T16" fmla="*/ 750 w 1170"/>
                  <a:gd name="T17" fmla="*/ 629 h 1154"/>
                  <a:gd name="T18" fmla="*/ 756 w 1170"/>
                  <a:gd name="T19" fmla="*/ 852 h 1154"/>
                  <a:gd name="T20" fmla="*/ 886 w 1170"/>
                  <a:gd name="T21" fmla="*/ 621 h 1154"/>
                  <a:gd name="T22" fmla="*/ 861 w 1170"/>
                  <a:gd name="T23" fmla="*/ 547 h 1154"/>
                  <a:gd name="T24" fmla="*/ 812 w 1170"/>
                  <a:gd name="T25" fmla="*/ 506 h 1154"/>
                  <a:gd name="T26" fmla="*/ 747 w 1170"/>
                  <a:gd name="T27" fmla="*/ 492 h 1154"/>
                  <a:gd name="T28" fmla="*/ 347 w 1170"/>
                  <a:gd name="T29" fmla="*/ 340 h 1154"/>
                  <a:gd name="T30" fmla="*/ 315 w 1170"/>
                  <a:gd name="T31" fmla="*/ 376 h 1154"/>
                  <a:gd name="T32" fmla="*/ 322 w 1170"/>
                  <a:gd name="T33" fmla="*/ 420 h 1154"/>
                  <a:gd name="T34" fmla="*/ 364 w 1170"/>
                  <a:gd name="T35" fmla="*/ 449 h 1154"/>
                  <a:gd name="T36" fmla="*/ 418 w 1170"/>
                  <a:gd name="T37" fmla="*/ 445 h 1154"/>
                  <a:gd name="T38" fmla="*/ 448 w 1170"/>
                  <a:gd name="T39" fmla="*/ 410 h 1154"/>
                  <a:gd name="T40" fmla="*/ 445 w 1170"/>
                  <a:gd name="T41" fmla="*/ 363 h 1154"/>
                  <a:gd name="T42" fmla="*/ 403 w 1170"/>
                  <a:gd name="T43" fmla="*/ 334 h 1154"/>
                  <a:gd name="T44" fmla="*/ 242 w 1170"/>
                  <a:gd name="T45" fmla="*/ 170 h 1154"/>
                  <a:gd name="T46" fmla="*/ 359 w 1170"/>
                  <a:gd name="T47" fmla="*/ 94 h 1154"/>
                  <a:gd name="T48" fmla="*/ 497 w 1170"/>
                  <a:gd name="T49" fmla="*/ 49 h 1154"/>
                  <a:gd name="T50" fmla="*/ 657 w 1170"/>
                  <a:gd name="T51" fmla="*/ 43 h 1154"/>
                  <a:gd name="T52" fmla="*/ 829 w 1170"/>
                  <a:gd name="T53" fmla="*/ 88 h 1154"/>
                  <a:gd name="T54" fmla="*/ 975 w 1170"/>
                  <a:gd name="T55" fmla="*/ 180 h 1154"/>
                  <a:gd name="T56" fmla="*/ 1086 w 1170"/>
                  <a:gd name="T57" fmla="*/ 310 h 1154"/>
                  <a:gd name="T58" fmla="*/ 1153 w 1170"/>
                  <a:gd name="T59" fmla="*/ 472 h 1154"/>
                  <a:gd name="T60" fmla="*/ 1166 w 1170"/>
                  <a:gd name="T61" fmla="*/ 653 h 1154"/>
                  <a:gd name="T62" fmla="*/ 1119 w 1170"/>
                  <a:gd name="T63" fmla="*/ 824 h 1154"/>
                  <a:gd name="T64" fmla="*/ 1025 w 1170"/>
                  <a:gd name="T65" fmla="*/ 969 h 1154"/>
                  <a:gd name="T66" fmla="*/ 890 w 1170"/>
                  <a:gd name="T67" fmla="*/ 1077 h 1154"/>
                  <a:gd name="T68" fmla="*/ 726 w 1170"/>
                  <a:gd name="T69" fmla="*/ 1141 h 1154"/>
                  <a:gd name="T70" fmla="*/ 544 w 1170"/>
                  <a:gd name="T71" fmla="*/ 1150 h 1154"/>
                  <a:gd name="T72" fmla="*/ 372 w 1170"/>
                  <a:gd name="T73" fmla="*/ 1103 h 1154"/>
                  <a:gd name="T74" fmla="*/ 227 w 1170"/>
                  <a:gd name="T75" fmla="*/ 1009 h 1154"/>
                  <a:gd name="T76" fmla="*/ 117 w 1170"/>
                  <a:gd name="T77" fmla="*/ 876 h 1154"/>
                  <a:gd name="T78" fmla="*/ 54 w 1170"/>
                  <a:gd name="T79" fmla="*/ 712 h 1154"/>
                  <a:gd name="T80" fmla="*/ 44 w 1170"/>
                  <a:gd name="T81" fmla="*/ 537 h 1154"/>
                  <a:gd name="T82" fmla="*/ 86 w 1170"/>
                  <a:gd name="T83" fmla="*/ 380 h 1154"/>
                  <a:gd name="T84" fmla="*/ 172 w 1170"/>
                  <a:gd name="T85" fmla="*/ 241 h 1154"/>
                  <a:gd name="T86" fmla="*/ 36 w 1170"/>
                  <a:gd name="T87" fmla="*/ 39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70" h="1154">
                    <a:moveTo>
                      <a:pt x="324" y="502"/>
                    </a:moveTo>
                    <a:lnTo>
                      <a:pt x="324" y="852"/>
                    </a:lnTo>
                    <a:lnTo>
                      <a:pt x="434" y="852"/>
                    </a:lnTo>
                    <a:lnTo>
                      <a:pt x="434" y="502"/>
                    </a:lnTo>
                    <a:lnTo>
                      <a:pt x="324" y="502"/>
                    </a:lnTo>
                    <a:close/>
                    <a:moveTo>
                      <a:pt x="747" y="492"/>
                    </a:moveTo>
                    <a:lnTo>
                      <a:pt x="722" y="494"/>
                    </a:lnTo>
                    <a:lnTo>
                      <a:pt x="699" y="500"/>
                    </a:lnTo>
                    <a:lnTo>
                      <a:pt x="680" y="509"/>
                    </a:lnTo>
                    <a:lnTo>
                      <a:pt x="664" y="520"/>
                    </a:lnTo>
                    <a:lnTo>
                      <a:pt x="651" y="531"/>
                    </a:lnTo>
                    <a:lnTo>
                      <a:pt x="641" y="542"/>
                    </a:lnTo>
                    <a:lnTo>
                      <a:pt x="636" y="552"/>
                    </a:lnTo>
                    <a:lnTo>
                      <a:pt x="636" y="502"/>
                    </a:lnTo>
                    <a:lnTo>
                      <a:pt x="515" y="502"/>
                    </a:lnTo>
                    <a:lnTo>
                      <a:pt x="515" y="853"/>
                    </a:lnTo>
                    <a:lnTo>
                      <a:pt x="636" y="853"/>
                    </a:lnTo>
                    <a:lnTo>
                      <a:pt x="636" y="632"/>
                    </a:lnTo>
                    <a:lnTo>
                      <a:pt x="642" y="620"/>
                    </a:lnTo>
                    <a:lnTo>
                      <a:pt x="652" y="609"/>
                    </a:lnTo>
                    <a:lnTo>
                      <a:pt x="665" y="600"/>
                    </a:lnTo>
                    <a:lnTo>
                      <a:pt x="679" y="595"/>
                    </a:lnTo>
                    <a:lnTo>
                      <a:pt x="696" y="592"/>
                    </a:lnTo>
                    <a:lnTo>
                      <a:pt x="714" y="595"/>
                    </a:lnTo>
                    <a:lnTo>
                      <a:pt x="729" y="602"/>
                    </a:lnTo>
                    <a:lnTo>
                      <a:pt x="741" y="613"/>
                    </a:lnTo>
                    <a:lnTo>
                      <a:pt x="750" y="629"/>
                    </a:lnTo>
                    <a:lnTo>
                      <a:pt x="755" y="649"/>
                    </a:lnTo>
                    <a:lnTo>
                      <a:pt x="756" y="673"/>
                    </a:lnTo>
                    <a:lnTo>
                      <a:pt x="756" y="852"/>
                    </a:lnTo>
                    <a:lnTo>
                      <a:pt x="887" y="852"/>
                    </a:lnTo>
                    <a:lnTo>
                      <a:pt x="887" y="652"/>
                    </a:lnTo>
                    <a:lnTo>
                      <a:pt x="886" y="621"/>
                    </a:lnTo>
                    <a:lnTo>
                      <a:pt x="881" y="593"/>
                    </a:lnTo>
                    <a:lnTo>
                      <a:pt x="872" y="569"/>
                    </a:lnTo>
                    <a:lnTo>
                      <a:pt x="861" y="547"/>
                    </a:lnTo>
                    <a:lnTo>
                      <a:pt x="847" y="530"/>
                    </a:lnTo>
                    <a:lnTo>
                      <a:pt x="830" y="516"/>
                    </a:lnTo>
                    <a:lnTo>
                      <a:pt x="812" y="506"/>
                    </a:lnTo>
                    <a:lnTo>
                      <a:pt x="792" y="497"/>
                    </a:lnTo>
                    <a:lnTo>
                      <a:pt x="770" y="493"/>
                    </a:lnTo>
                    <a:lnTo>
                      <a:pt x="747" y="492"/>
                    </a:lnTo>
                    <a:close/>
                    <a:moveTo>
                      <a:pt x="384" y="330"/>
                    </a:moveTo>
                    <a:lnTo>
                      <a:pt x="364" y="334"/>
                    </a:lnTo>
                    <a:lnTo>
                      <a:pt x="347" y="340"/>
                    </a:lnTo>
                    <a:lnTo>
                      <a:pt x="333" y="350"/>
                    </a:lnTo>
                    <a:lnTo>
                      <a:pt x="322" y="363"/>
                    </a:lnTo>
                    <a:lnTo>
                      <a:pt x="315" y="376"/>
                    </a:lnTo>
                    <a:lnTo>
                      <a:pt x="313" y="391"/>
                    </a:lnTo>
                    <a:lnTo>
                      <a:pt x="315" y="406"/>
                    </a:lnTo>
                    <a:lnTo>
                      <a:pt x="322" y="420"/>
                    </a:lnTo>
                    <a:lnTo>
                      <a:pt x="333" y="432"/>
                    </a:lnTo>
                    <a:lnTo>
                      <a:pt x="347" y="443"/>
                    </a:lnTo>
                    <a:lnTo>
                      <a:pt x="364" y="449"/>
                    </a:lnTo>
                    <a:lnTo>
                      <a:pt x="384" y="451"/>
                    </a:lnTo>
                    <a:lnTo>
                      <a:pt x="402" y="449"/>
                    </a:lnTo>
                    <a:lnTo>
                      <a:pt x="418" y="445"/>
                    </a:lnTo>
                    <a:lnTo>
                      <a:pt x="430" y="436"/>
                    </a:lnTo>
                    <a:lnTo>
                      <a:pt x="441" y="425"/>
                    </a:lnTo>
                    <a:lnTo>
                      <a:pt x="448" y="410"/>
                    </a:lnTo>
                    <a:lnTo>
                      <a:pt x="455" y="391"/>
                    </a:lnTo>
                    <a:lnTo>
                      <a:pt x="451" y="376"/>
                    </a:lnTo>
                    <a:lnTo>
                      <a:pt x="445" y="363"/>
                    </a:lnTo>
                    <a:lnTo>
                      <a:pt x="434" y="350"/>
                    </a:lnTo>
                    <a:lnTo>
                      <a:pt x="420" y="340"/>
                    </a:lnTo>
                    <a:lnTo>
                      <a:pt x="403" y="334"/>
                    </a:lnTo>
                    <a:lnTo>
                      <a:pt x="384" y="330"/>
                    </a:lnTo>
                    <a:close/>
                    <a:moveTo>
                      <a:pt x="71" y="0"/>
                    </a:moveTo>
                    <a:lnTo>
                      <a:pt x="242" y="170"/>
                    </a:lnTo>
                    <a:lnTo>
                      <a:pt x="278" y="141"/>
                    </a:lnTo>
                    <a:lnTo>
                      <a:pt x="317" y="116"/>
                    </a:lnTo>
                    <a:lnTo>
                      <a:pt x="359" y="94"/>
                    </a:lnTo>
                    <a:lnTo>
                      <a:pt x="404" y="75"/>
                    </a:lnTo>
                    <a:lnTo>
                      <a:pt x="450" y="60"/>
                    </a:lnTo>
                    <a:lnTo>
                      <a:pt x="497" y="49"/>
                    </a:lnTo>
                    <a:lnTo>
                      <a:pt x="546" y="42"/>
                    </a:lnTo>
                    <a:lnTo>
                      <a:pt x="595" y="40"/>
                    </a:lnTo>
                    <a:lnTo>
                      <a:pt x="657" y="43"/>
                    </a:lnTo>
                    <a:lnTo>
                      <a:pt x="716" y="52"/>
                    </a:lnTo>
                    <a:lnTo>
                      <a:pt x="774" y="67"/>
                    </a:lnTo>
                    <a:lnTo>
                      <a:pt x="829" y="88"/>
                    </a:lnTo>
                    <a:lnTo>
                      <a:pt x="881" y="113"/>
                    </a:lnTo>
                    <a:lnTo>
                      <a:pt x="929" y="144"/>
                    </a:lnTo>
                    <a:lnTo>
                      <a:pt x="975" y="180"/>
                    </a:lnTo>
                    <a:lnTo>
                      <a:pt x="1016" y="219"/>
                    </a:lnTo>
                    <a:lnTo>
                      <a:pt x="1054" y="263"/>
                    </a:lnTo>
                    <a:lnTo>
                      <a:pt x="1086" y="310"/>
                    </a:lnTo>
                    <a:lnTo>
                      <a:pt x="1114" y="361"/>
                    </a:lnTo>
                    <a:lnTo>
                      <a:pt x="1136" y="415"/>
                    </a:lnTo>
                    <a:lnTo>
                      <a:pt x="1153" y="472"/>
                    </a:lnTo>
                    <a:lnTo>
                      <a:pt x="1164" y="530"/>
                    </a:lnTo>
                    <a:lnTo>
                      <a:pt x="1170" y="591"/>
                    </a:lnTo>
                    <a:lnTo>
                      <a:pt x="1166" y="653"/>
                    </a:lnTo>
                    <a:lnTo>
                      <a:pt x="1157" y="712"/>
                    </a:lnTo>
                    <a:lnTo>
                      <a:pt x="1141" y="770"/>
                    </a:lnTo>
                    <a:lnTo>
                      <a:pt x="1119" y="824"/>
                    </a:lnTo>
                    <a:lnTo>
                      <a:pt x="1093" y="876"/>
                    </a:lnTo>
                    <a:lnTo>
                      <a:pt x="1061" y="924"/>
                    </a:lnTo>
                    <a:lnTo>
                      <a:pt x="1025" y="969"/>
                    </a:lnTo>
                    <a:lnTo>
                      <a:pt x="984" y="1009"/>
                    </a:lnTo>
                    <a:lnTo>
                      <a:pt x="939" y="1046"/>
                    </a:lnTo>
                    <a:lnTo>
                      <a:pt x="890" y="1077"/>
                    </a:lnTo>
                    <a:lnTo>
                      <a:pt x="839" y="1103"/>
                    </a:lnTo>
                    <a:lnTo>
                      <a:pt x="784" y="1125"/>
                    </a:lnTo>
                    <a:lnTo>
                      <a:pt x="726" y="1141"/>
                    </a:lnTo>
                    <a:lnTo>
                      <a:pt x="667" y="1150"/>
                    </a:lnTo>
                    <a:lnTo>
                      <a:pt x="605" y="1154"/>
                    </a:lnTo>
                    <a:lnTo>
                      <a:pt x="544" y="1150"/>
                    </a:lnTo>
                    <a:lnTo>
                      <a:pt x="485" y="1141"/>
                    </a:lnTo>
                    <a:lnTo>
                      <a:pt x="427" y="1125"/>
                    </a:lnTo>
                    <a:lnTo>
                      <a:pt x="372" y="1103"/>
                    </a:lnTo>
                    <a:lnTo>
                      <a:pt x="320" y="1077"/>
                    </a:lnTo>
                    <a:lnTo>
                      <a:pt x="272" y="1046"/>
                    </a:lnTo>
                    <a:lnTo>
                      <a:pt x="227" y="1009"/>
                    </a:lnTo>
                    <a:lnTo>
                      <a:pt x="186" y="969"/>
                    </a:lnTo>
                    <a:lnTo>
                      <a:pt x="150" y="924"/>
                    </a:lnTo>
                    <a:lnTo>
                      <a:pt x="117" y="876"/>
                    </a:lnTo>
                    <a:lnTo>
                      <a:pt x="92" y="824"/>
                    </a:lnTo>
                    <a:lnTo>
                      <a:pt x="70" y="770"/>
                    </a:lnTo>
                    <a:lnTo>
                      <a:pt x="54" y="712"/>
                    </a:lnTo>
                    <a:lnTo>
                      <a:pt x="44" y="653"/>
                    </a:lnTo>
                    <a:lnTo>
                      <a:pt x="41" y="591"/>
                    </a:lnTo>
                    <a:lnTo>
                      <a:pt x="44" y="537"/>
                    </a:lnTo>
                    <a:lnTo>
                      <a:pt x="53" y="482"/>
                    </a:lnTo>
                    <a:lnTo>
                      <a:pt x="67" y="430"/>
                    </a:lnTo>
                    <a:lnTo>
                      <a:pt x="86" y="380"/>
                    </a:lnTo>
                    <a:lnTo>
                      <a:pt x="111" y="332"/>
                    </a:lnTo>
                    <a:lnTo>
                      <a:pt x="139" y="284"/>
                    </a:lnTo>
                    <a:lnTo>
                      <a:pt x="172" y="241"/>
                    </a:lnTo>
                    <a:lnTo>
                      <a:pt x="0" y="70"/>
                    </a:lnTo>
                    <a:lnTo>
                      <a:pt x="18" y="55"/>
                    </a:lnTo>
                    <a:lnTo>
                      <a:pt x="36" y="39"/>
                    </a:lnTo>
                    <a:lnTo>
                      <a:pt x="54" y="20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1" name="Freeform 22"/>
              <p:cNvSpPr>
                <a:spLocks noEditPoints="1"/>
              </p:cNvSpPr>
              <p:nvPr/>
            </p:nvSpPr>
            <p:spPr bwMode="auto">
              <a:xfrm>
                <a:off x="-783" y="2628"/>
                <a:ext cx="167" cy="166"/>
              </a:xfrm>
              <a:custGeom>
                <a:avLst/>
                <a:gdLst>
                  <a:gd name="T0" fmla="*/ 636 w 1169"/>
                  <a:gd name="T1" fmla="*/ 391 h 1164"/>
                  <a:gd name="T2" fmla="*/ 578 w 1169"/>
                  <a:gd name="T3" fmla="*/ 439 h 1164"/>
                  <a:gd name="T4" fmla="*/ 554 w 1169"/>
                  <a:gd name="T5" fmla="*/ 511 h 1164"/>
                  <a:gd name="T6" fmla="*/ 476 w 1169"/>
                  <a:gd name="T7" fmla="*/ 533 h 1164"/>
                  <a:gd name="T8" fmla="*/ 372 w 1169"/>
                  <a:gd name="T9" fmla="*/ 488 h 1164"/>
                  <a:gd name="T10" fmla="*/ 293 w 1169"/>
                  <a:gd name="T11" fmla="*/ 411 h 1164"/>
                  <a:gd name="T12" fmla="*/ 273 w 1169"/>
                  <a:gd name="T13" fmla="*/ 472 h 1164"/>
                  <a:gd name="T14" fmla="*/ 298 w 1169"/>
                  <a:gd name="T15" fmla="*/ 539 h 1164"/>
                  <a:gd name="T16" fmla="*/ 312 w 1169"/>
                  <a:gd name="T17" fmla="*/ 569 h 1164"/>
                  <a:gd name="T18" fmla="*/ 275 w 1169"/>
                  <a:gd name="T19" fmla="*/ 576 h 1164"/>
                  <a:gd name="T20" fmla="*/ 308 w 1169"/>
                  <a:gd name="T21" fmla="*/ 639 h 1164"/>
                  <a:gd name="T22" fmla="*/ 374 w 1169"/>
                  <a:gd name="T23" fmla="*/ 673 h 1164"/>
                  <a:gd name="T24" fmla="*/ 352 w 1169"/>
                  <a:gd name="T25" fmla="*/ 717 h 1164"/>
                  <a:gd name="T26" fmla="*/ 419 w 1169"/>
                  <a:gd name="T27" fmla="*/ 759 h 1164"/>
                  <a:gd name="T28" fmla="*/ 382 w 1169"/>
                  <a:gd name="T29" fmla="*/ 793 h 1164"/>
                  <a:gd name="T30" fmla="*/ 282 w 1169"/>
                  <a:gd name="T31" fmla="*/ 813 h 1164"/>
                  <a:gd name="T32" fmla="*/ 308 w 1169"/>
                  <a:gd name="T33" fmla="*/ 846 h 1164"/>
                  <a:gd name="T34" fmla="*/ 409 w 1169"/>
                  <a:gd name="T35" fmla="*/ 871 h 1164"/>
                  <a:gd name="T36" fmla="*/ 531 w 1169"/>
                  <a:gd name="T37" fmla="*/ 863 h 1164"/>
                  <a:gd name="T38" fmla="*/ 641 w 1169"/>
                  <a:gd name="T39" fmla="*/ 817 h 1164"/>
                  <a:gd name="T40" fmla="*/ 724 w 1169"/>
                  <a:gd name="T41" fmla="*/ 742 h 1164"/>
                  <a:gd name="T42" fmla="*/ 779 w 1169"/>
                  <a:gd name="T43" fmla="*/ 648 h 1164"/>
                  <a:gd name="T44" fmla="*/ 805 w 1169"/>
                  <a:gd name="T45" fmla="*/ 545 h 1164"/>
                  <a:gd name="T46" fmla="*/ 806 w 1169"/>
                  <a:gd name="T47" fmla="*/ 502 h 1164"/>
                  <a:gd name="T48" fmla="*/ 827 w 1169"/>
                  <a:gd name="T49" fmla="*/ 488 h 1164"/>
                  <a:gd name="T50" fmla="*/ 851 w 1169"/>
                  <a:gd name="T51" fmla="*/ 448 h 1164"/>
                  <a:gd name="T52" fmla="*/ 797 w 1169"/>
                  <a:gd name="T53" fmla="*/ 461 h 1164"/>
                  <a:gd name="T54" fmla="*/ 847 w 1169"/>
                  <a:gd name="T55" fmla="*/ 412 h 1164"/>
                  <a:gd name="T56" fmla="*/ 806 w 1169"/>
                  <a:gd name="T57" fmla="*/ 411 h 1164"/>
                  <a:gd name="T58" fmla="*/ 747 w 1169"/>
                  <a:gd name="T59" fmla="*/ 398 h 1164"/>
                  <a:gd name="T60" fmla="*/ 686 w 1169"/>
                  <a:gd name="T61" fmla="*/ 381 h 1164"/>
                  <a:gd name="T62" fmla="*/ 1125 w 1169"/>
                  <a:gd name="T63" fmla="*/ 36 h 1164"/>
                  <a:gd name="T64" fmla="*/ 998 w 1169"/>
                  <a:gd name="T65" fmla="*/ 250 h 1164"/>
                  <a:gd name="T66" fmla="*/ 1075 w 1169"/>
                  <a:gd name="T67" fmla="*/ 367 h 1164"/>
                  <a:gd name="T68" fmla="*/ 1120 w 1169"/>
                  <a:gd name="T69" fmla="*/ 505 h 1164"/>
                  <a:gd name="T70" fmla="*/ 1125 w 1169"/>
                  <a:gd name="T71" fmla="*/ 663 h 1164"/>
                  <a:gd name="T72" fmla="*/ 1079 w 1169"/>
                  <a:gd name="T73" fmla="*/ 834 h 1164"/>
                  <a:gd name="T74" fmla="*/ 983 w 1169"/>
                  <a:gd name="T75" fmla="*/ 978 h 1164"/>
                  <a:gd name="T76" fmla="*/ 849 w 1169"/>
                  <a:gd name="T77" fmla="*/ 1087 h 1164"/>
                  <a:gd name="T78" fmla="*/ 686 w 1169"/>
                  <a:gd name="T79" fmla="*/ 1152 h 1164"/>
                  <a:gd name="T80" fmla="*/ 502 w 1169"/>
                  <a:gd name="T81" fmla="*/ 1161 h 1164"/>
                  <a:gd name="T82" fmla="*/ 331 w 1169"/>
                  <a:gd name="T83" fmla="*/ 1114 h 1164"/>
                  <a:gd name="T84" fmla="*/ 186 w 1169"/>
                  <a:gd name="T85" fmla="*/ 1019 h 1164"/>
                  <a:gd name="T86" fmla="*/ 77 w 1169"/>
                  <a:gd name="T87" fmla="*/ 886 h 1164"/>
                  <a:gd name="T88" fmla="*/ 13 w 1169"/>
                  <a:gd name="T89" fmla="*/ 723 h 1164"/>
                  <a:gd name="T90" fmla="*/ 3 w 1169"/>
                  <a:gd name="T91" fmla="*/ 541 h 1164"/>
                  <a:gd name="T92" fmla="*/ 50 w 1169"/>
                  <a:gd name="T93" fmla="*/ 370 h 1164"/>
                  <a:gd name="T94" fmla="*/ 145 w 1169"/>
                  <a:gd name="T95" fmla="*/ 226 h 1164"/>
                  <a:gd name="T96" fmla="*/ 279 w 1169"/>
                  <a:gd name="T97" fmla="*/ 117 h 1164"/>
                  <a:gd name="T98" fmla="*/ 443 w 1169"/>
                  <a:gd name="T99" fmla="*/ 52 h 1164"/>
                  <a:gd name="T100" fmla="*/ 620 w 1169"/>
                  <a:gd name="T101" fmla="*/ 43 h 1164"/>
                  <a:gd name="T102" fmla="*/ 777 w 1169"/>
                  <a:gd name="T103" fmla="*/ 86 h 1164"/>
                  <a:gd name="T104" fmla="*/ 917 w 1169"/>
                  <a:gd name="T105" fmla="*/ 170 h 1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69" h="1164">
                    <a:moveTo>
                      <a:pt x="686" y="381"/>
                    </a:moveTo>
                    <a:lnTo>
                      <a:pt x="659" y="384"/>
                    </a:lnTo>
                    <a:lnTo>
                      <a:pt x="636" y="391"/>
                    </a:lnTo>
                    <a:lnTo>
                      <a:pt x="613" y="404"/>
                    </a:lnTo>
                    <a:lnTo>
                      <a:pt x="594" y="420"/>
                    </a:lnTo>
                    <a:lnTo>
                      <a:pt x="578" y="439"/>
                    </a:lnTo>
                    <a:lnTo>
                      <a:pt x="565" y="462"/>
                    </a:lnTo>
                    <a:lnTo>
                      <a:pt x="557" y="485"/>
                    </a:lnTo>
                    <a:lnTo>
                      <a:pt x="554" y="511"/>
                    </a:lnTo>
                    <a:lnTo>
                      <a:pt x="554" y="541"/>
                    </a:lnTo>
                    <a:lnTo>
                      <a:pt x="514" y="539"/>
                    </a:lnTo>
                    <a:lnTo>
                      <a:pt x="476" y="533"/>
                    </a:lnTo>
                    <a:lnTo>
                      <a:pt x="439" y="522"/>
                    </a:lnTo>
                    <a:lnTo>
                      <a:pt x="405" y="507"/>
                    </a:lnTo>
                    <a:lnTo>
                      <a:pt x="372" y="488"/>
                    </a:lnTo>
                    <a:lnTo>
                      <a:pt x="343" y="465"/>
                    </a:lnTo>
                    <a:lnTo>
                      <a:pt x="317" y="439"/>
                    </a:lnTo>
                    <a:lnTo>
                      <a:pt x="293" y="411"/>
                    </a:lnTo>
                    <a:lnTo>
                      <a:pt x="282" y="431"/>
                    </a:lnTo>
                    <a:lnTo>
                      <a:pt x="276" y="451"/>
                    </a:lnTo>
                    <a:lnTo>
                      <a:pt x="273" y="472"/>
                    </a:lnTo>
                    <a:lnTo>
                      <a:pt x="276" y="495"/>
                    </a:lnTo>
                    <a:lnTo>
                      <a:pt x="284" y="519"/>
                    </a:lnTo>
                    <a:lnTo>
                      <a:pt x="298" y="539"/>
                    </a:lnTo>
                    <a:lnTo>
                      <a:pt x="314" y="557"/>
                    </a:lnTo>
                    <a:lnTo>
                      <a:pt x="333" y="572"/>
                    </a:lnTo>
                    <a:lnTo>
                      <a:pt x="312" y="569"/>
                    </a:lnTo>
                    <a:lnTo>
                      <a:pt x="292" y="561"/>
                    </a:lnTo>
                    <a:lnTo>
                      <a:pt x="273" y="552"/>
                    </a:lnTo>
                    <a:lnTo>
                      <a:pt x="275" y="576"/>
                    </a:lnTo>
                    <a:lnTo>
                      <a:pt x="281" y="600"/>
                    </a:lnTo>
                    <a:lnTo>
                      <a:pt x="293" y="621"/>
                    </a:lnTo>
                    <a:lnTo>
                      <a:pt x="308" y="639"/>
                    </a:lnTo>
                    <a:lnTo>
                      <a:pt x="326" y="654"/>
                    </a:lnTo>
                    <a:lnTo>
                      <a:pt x="349" y="665"/>
                    </a:lnTo>
                    <a:lnTo>
                      <a:pt x="374" y="673"/>
                    </a:lnTo>
                    <a:lnTo>
                      <a:pt x="323" y="673"/>
                    </a:lnTo>
                    <a:lnTo>
                      <a:pt x="335" y="696"/>
                    </a:lnTo>
                    <a:lnTo>
                      <a:pt x="352" y="717"/>
                    </a:lnTo>
                    <a:lnTo>
                      <a:pt x="371" y="736"/>
                    </a:lnTo>
                    <a:lnTo>
                      <a:pt x="394" y="750"/>
                    </a:lnTo>
                    <a:lnTo>
                      <a:pt x="419" y="759"/>
                    </a:lnTo>
                    <a:lnTo>
                      <a:pt x="443" y="762"/>
                    </a:lnTo>
                    <a:lnTo>
                      <a:pt x="413" y="779"/>
                    </a:lnTo>
                    <a:lnTo>
                      <a:pt x="382" y="793"/>
                    </a:lnTo>
                    <a:lnTo>
                      <a:pt x="351" y="804"/>
                    </a:lnTo>
                    <a:lnTo>
                      <a:pt x="318" y="810"/>
                    </a:lnTo>
                    <a:lnTo>
                      <a:pt x="282" y="813"/>
                    </a:lnTo>
                    <a:lnTo>
                      <a:pt x="252" y="813"/>
                    </a:lnTo>
                    <a:lnTo>
                      <a:pt x="279" y="831"/>
                    </a:lnTo>
                    <a:lnTo>
                      <a:pt x="308" y="846"/>
                    </a:lnTo>
                    <a:lnTo>
                      <a:pt x="340" y="858"/>
                    </a:lnTo>
                    <a:lnTo>
                      <a:pt x="374" y="866"/>
                    </a:lnTo>
                    <a:lnTo>
                      <a:pt x="409" y="871"/>
                    </a:lnTo>
                    <a:lnTo>
                      <a:pt x="443" y="872"/>
                    </a:lnTo>
                    <a:lnTo>
                      <a:pt x="488" y="870"/>
                    </a:lnTo>
                    <a:lnTo>
                      <a:pt x="531" y="863"/>
                    </a:lnTo>
                    <a:lnTo>
                      <a:pt x="570" y="852"/>
                    </a:lnTo>
                    <a:lnTo>
                      <a:pt x="607" y="836"/>
                    </a:lnTo>
                    <a:lnTo>
                      <a:pt x="641" y="817"/>
                    </a:lnTo>
                    <a:lnTo>
                      <a:pt x="671" y="794"/>
                    </a:lnTo>
                    <a:lnTo>
                      <a:pt x="699" y="770"/>
                    </a:lnTo>
                    <a:lnTo>
                      <a:pt x="724" y="742"/>
                    </a:lnTo>
                    <a:lnTo>
                      <a:pt x="745" y="712"/>
                    </a:lnTo>
                    <a:lnTo>
                      <a:pt x="764" y="681"/>
                    </a:lnTo>
                    <a:lnTo>
                      <a:pt x="779" y="648"/>
                    </a:lnTo>
                    <a:lnTo>
                      <a:pt x="791" y="615"/>
                    </a:lnTo>
                    <a:lnTo>
                      <a:pt x="800" y="581"/>
                    </a:lnTo>
                    <a:lnTo>
                      <a:pt x="805" y="545"/>
                    </a:lnTo>
                    <a:lnTo>
                      <a:pt x="806" y="511"/>
                    </a:lnTo>
                    <a:lnTo>
                      <a:pt x="806" y="503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27" y="488"/>
                    </a:lnTo>
                    <a:lnTo>
                      <a:pt x="847" y="468"/>
                    </a:lnTo>
                    <a:lnTo>
                      <a:pt x="866" y="441"/>
                    </a:lnTo>
                    <a:lnTo>
                      <a:pt x="851" y="448"/>
                    </a:lnTo>
                    <a:lnTo>
                      <a:pt x="835" y="454"/>
                    </a:lnTo>
                    <a:lnTo>
                      <a:pt x="817" y="460"/>
                    </a:lnTo>
                    <a:lnTo>
                      <a:pt x="797" y="461"/>
                    </a:lnTo>
                    <a:lnTo>
                      <a:pt x="817" y="446"/>
                    </a:lnTo>
                    <a:lnTo>
                      <a:pt x="834" y="430"/>
                    </a:lnTo>
                    <a:lnTo>
                      <a:pt x="847" y="412"/>
                    </a:lnTo>
                    <a:lnTo>
                      <a:pt x="857" y="391"/>
                    </a:lnTo>
                    <a:lnTo>
                      <a:pt x="834" y="401"/>
                    </a:lnTo>
                    <a:lnTo>
                      <a:pt x="806" y="411"/>
                    </a:lnTo>
                    <a:lnTo>
                      <a:pt x="776" y="421"/>
                    </a:lnTo>
                    <a:lnTo>
                      <a:pt x="763" y="410"/>
                    </a:lnTo>
                    <a:lnTo>
                      <a:pt x="747" y="398"/>
                    </a:lnTo>
                    <a:lnTo>
                      <a:pt x="729" y="389"/>
                    </a:lnTo>
                    <a:lnTo>
                      <a:pt x="709" y="383"/>
                    </a:lnTo>
                    <a:lnTo>
                      <a:pt x="686" y="381"/>
                    </a:lnTo>
                    <a:close/>
                    <a:moveTo>
                      <a:pt x="1089" y="0"/>
                    </a:moveTo>
                    <a:lnTo>
                      <a:pt x="1106" y="16"/>
                    </a:lnTo>
                    <a:lnTo>
                      <a:pt x="1125" y="36"/>
                    </a:lnTo>
                    <a:lnTo>
                      <a:pt x="1147" y="58"/>
                    </a:lnTo>
                    <a:lnTo>
                      <a:pt x="1169" y="80"/>
                    </a:lnTo>
                    <a:lnTo>
                      <a:pt x="998" y="250"/>
                    </a:lnTo>
                    <a:lnTo>
                      <a:pt x="1026" y="287"/>
                    </a:lnTo>
                    <a:lnTo>
                      <a:pt x="1052" y="325"/>
                    </a:lnTo>
                    <a:lnTo>
                      <a:pt x="1075" y="367"/>
                    </a:lnTo>
                    <a:lnTo>
                      <a:pt x="1094" y="412"/>
                    </a:lnTo>
                    <a:lnTo>
                      <a:pt x="1109" y="458"/>
                    </a:lnTo>
                    <a:lnTo>
                      <a:pt x="1120" y="505"/>
                    </a:lnTo>
                    <a:lnTo>
                      <a:pt x="1126" y="553"/>
                    </a:lnTo>
                    <a:lnTo>
                      <a:pt x="1128" y="602"/>
                    </a:lnTo>
                    <a:lnTo>
                      <a:pt x="1125" y="663"/>
                    </a:lnTo>
                    <a:lnTo>
                      <a:pt x="1115" y="723"/>
                    </a:lnTo>
                    <a:lnTo>
                      <a:pt x="1100" y="779"/>
                    </a:lnTo>
                    <a:lnTo>
                      <a:pt x="1079" y="834"/>
                    </a:lnTo>
                    <a:lnTo>
                      <a:pt x="1052" y="886"/>
                    </a:lnTo>
                    <a:lnTo>
                      <a:pt x="1020" y="934"/>
                    </a:lnTo>
                    <a:lnTo>
                      <a:pt x="983" y="978"/>
                    </a:lnTo>
                    <a:lnTo>
                      <a:pt x="943" y="1019"/>
                    </a:lnTo>
                    <a:lnTo>
                      <a:pt x="899" y="1055"/>
                    </a:lnTo>
                    <a:lnTo>
                      <a:pt x="849" y="1087"/>
                    </a:lnTo>
                    <a:lnTo>
                      <a:pt x="798" y="1114"/>
                    </a:lnTo>
                    <a:lnTo>
                      <a:pt x="743" y="1135"/>
                    </a:lnTo>
                    <a:lnTo>
                      <a:pt x="686" y="1152"/>
                    </a:lnTo>
                    <a:lnTo>
                      <a:pt x="626" y="1161"/>
                    </a:lnTo>
                    <a:lnTo>
                      <a:pt x="565" y="1164"/>
                    </a:lnTo>
                    <a:lnTo>
                      <a:pt x="502" y="1161"/>
                    </a:lnTo>
                    <a:lnTo>
                      <a:pt x="443" y="1152"/>
                    </a:lnTo>
                    <a:lnTo>
                      <a:pt x="385" y="1135"/>
                    </a:lnTo>
                    <a:lnTo>
                      <a:pt x="331" y="1114"/>
                    </a:lnTo>
                    <a:lnTo>
                      <a:pt x="279" y="1087"/>
                    </a:lnTo>
                    <a:lnTo>
                      <a:pt x="231" y="1055"/>
                    </a:lnTo>
                    <a:lnTo>
                      <a:pt x="186" y="1019"/>
                    </a:lnTo>
                    <a:lnTo>
                      <a:pt x="145" y="978"/>
                    </a:lnTo>
                    <a:lnTo>
                      <a:pt x="108" y="934"/>
                    </a:lnTo>
                    <a:lnTo>
                      <a:pt x="77" y="886"/>
                    </a:lnTo>
                    <a:lnTo>
                      <a:pt x="50" y="834"/>
                    </a:lnTo>
                    <a:lnTo>
                      <a:pt x="29" y="779"/>
                    </a:lnTo>
                    <a:lnTo>
                      <a:pt x="13" y="723"/>
                    </a:lnTo>
                    <a:lnTo>
                      <a:pt x="3" y="663"/>
                    </a:lnTo>
                    <a:lnTo>
                      <a:pt x="0" y="602"/>
                    </a:lnTo>
                    <a:lnTo>
                      <a:pt x="3" y="541"/>
                    </a:lnTo>
                    <a:lnTo>
                      <a:pt x="13" y="481"/>
                    </a:lnTo>
                    <a:lnTo>
                      <a:pt x="29" y="425"/>
                    </a:lnTo>
                    <a:lnTo>
                      <a:pt x="50" y="370"/>
                    </a:lnTo>
                    <a:lnTo>
                      <a:pt x="77" y="318"/>
                    </a:lnTo>
                    <a:lnTo>
                      <a:pt x="108" y="270"/>
                    </a:lnTo>
                    <a:lnTo>
                      <a:pt x="145" y="226"/>
                    </a:lnTo>
                    <a:lnTo>
                      <a:pt x="186" y="185"/>
                    </a:lnTo>
                    <a:lnTo>
                      <a:pt x="231" y="149"/>
                    </a:lnTo>
                    <a:lnTo>
                      <a:pt x="279" y="117"/>
                    </a:lnTo>
                    <a:lnTo>
                      <a:pt x="331" y="90"/>
                    </a:lnTo>
                    <a:lnTo>
                      <a:pt x="385" y="69"/>
                    </a:lnTo>
                    <a:lnTo>
                      <a:pt x="443" y="52"/>
                    </a:lnTo>
                    <a:lnTo>
                      <a:pt x="502" y="43"/>
                    </a:lnTo>
                    <a:lnTo>
                      <a:pt x="565" y="40"/>
                    </a:lnTo>
                    <a:lnTo>
                      <a:pt x="620" y="43"/>
                    </a:lnTo>
                    <a:lnTo>
                      <a:pt x="674" y="51"/>
                    </a:lnTo>
                    <a:lnTo>
                      <a:pt x="727" y="66"/>
                    </a:lnTo>
                    <a:lnTo>
                      <a:pt x="777" y="86"/>
                    </a:lnTo>
                    <a:lnTo>
                      <a:pt x="827" y="109"/>
                    </a:lnTo>
                    <a:lnTo>
                      <a:pt x="873" y="138"/>
                    </a:lnTo>
                    <a:lnTo>
                      <a:pt x="917" y="170"/>
                    </a:lnTo>
                    <a:lnTo>
                      <a:pt x="108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2" name="Freeform 23"/>
              <p:cNvSpPr>
                <a:spLocks noEditPoints="1"/>
              </p:cNvSpPr>
              <p:nvPr/>
            </p:nvSpPr>
            <p:spPr bwMode="auto">
              <a:xfrm>
                <a:off x="-783" y="2305"/>
                <a:ext cx="165" cy="165"/>
              </a:xfrm>
              <a:custGeom>
                <a:avLst/>
                <a:gdLst>
                  <a:gd name="T0" fmla="*/ 597 w 1159"/>
                  <a:gd name="T1" fmla="*/ 272 h 1154"/>
                  <a:gd name="T2" fmla="*/ 552 w 1159"/>
                  <a:gd name="T3" fmla="*/ 283 h 1154"/>
                  <a:gd name="T4" fmla="*/ 522 w 1159"/>
                  <a:gd name="T5" fmla="*/ 306 h 1154"/>
                  <a:gd name="T6" fmla="*/ 503 w 1159"/>
                  <a:gd name="T7" fmla="*/ 338 h 1154"/>
                  <a:gd name="T8" fmla="*/ 495 w 1159"/>
                  <a:gd name="T9" fmla="*/ 379 h 1154"/>
                  <a:gd name="T10" fmla="*/ 494 w 1159"/>
                  <a:gd name="T11" fmla="*/ 461 h 1154"/>
                  <a:gd name="T12" fmla="*/ 423 w 1159"/>
                  <a:gd name="T13" fmla="*/ 561 h 1154"/>
                  <a:gd name="T14" fmla="*/ 484 w 1159"/>
                  <a:gd name="T15" fmla="*/ 843 h 1154"/>
                  <a:gd name="T16" fmla="*/ 604 w 1159"/>
                  <a:gd name="T17" fmla="*/ 561 h 1154"/>
                  <a:gd name="T18" fmla="*/ 705 w 1159"/>
                  <a:gd name="T19" fmla="*/ 461 h 1154"/>
                  <a:gd name="T20" fmla="*/ 615 w 1159"/>
                  <a:gd name="T21" fmla="*/ 412 h 1154"/>
                  <a:gd name="T22" fmla="*/ 616 w 1159"/>
                  <a:gd name="T23" fmla="*/ 387 h 1154"/>
                  <a:gd name="T24" fmla="*/ 627 w 1159"/>
                  <a:gd name="T25" fmla="*/ 374 h 1154"/>
                  <a:gd name="T26" fmla="*/ 655 w 1159"/>
                  <a:gd name="T27" fmla="*/ 371 h 1154"/>
                  <a:gd name="T28" fmla="*/ 705 w 1159"/>
                  <a:gd name="T29" fmla="*/ 271 h 1154"/>
                  <a:gd name="T30" fmla="*/ 554 w 1159"/>
                  <a:gd name="T31" fmla="*/ 0 h 1154"/>
                  <a:gd name="T32" fmla="*/ 675 w 1159"/>
                  <a:gd name="T33" fmla="*/ 13 h 1154"/>
                  <a:gd name="T34" fmla="*/ 788 w 1159"/>
                  <a:gd name="T35" fmla="*/ 49 h 1154"/>
                  <a:gd name="T36" fmla="*/ 888 w 1159"/>
                  <a:gd name="T37" fmla="*/ 108 h 1154"/>
                  <a:gd name="T38" fmla="*/ 974 w 1159"/>
                  <a:gd name="T39" fmla="*/ 185 h 1154"/>
                  <a:gd name="T40" fmla="*/ 1041 w 1159"/>
                  <a:gd name="T41" fmla="*/ 278 h 1154"/>
                  <a:gd name="T42" fmla="*/ 1090 w 1159"/>
                  <a:gd name="T43" fmla="*/ 384 h 1154"/>
                  <a:gd name="T44" fmla="*/ 1115 w 1159"/>
                  <a:gd name="T45" fmla="*/ 501 h 1154"/>
                  <a:gd name="T46" fmla="*/ 1115 w 1159"/>
                  <a:gd name="T47" fmla="*/ 617 h 1154"/>
                  <a:gd name="T48" fmla="*/ 1093 w 1159"/>
                  <a:gd name="T49" fmla="*/ 723 h 1154"/>
                  <a:gd name="T50" fmla="*/ 1049 w 1159"/>
                  <a:gd name="T51" fmla="*/ 822 h 1154"/>
                  <a:gd name="T52" fmla="*/ 988 w 1159"/>
                  <a:gd name="T53" fmla="*/ 913 h 1154"/>
                  <a:gd name="T54" fmla="*/ 1142 w 1159"/>
                  <a:gd name="T55" fmla="*/ 1099 h 1154"/>
                  <a:gd name="T56" fmla="*/ 1106 w 1159"/>
                  <a:gd name="T57" fmla="*/ 1133 h 1154"/>
                  <a:gd name="T58" fmla="*/ 917 w 1159"/>
                  <a:gd name="T59" fmla="*/ 984 h 1154"/>
                  <a:gd name="T60" fmla="*/ 843 w 1159"/>
                  <a:gd name="T61" fmla="*/ 1037 h 1154"/>
                  <a:gd name="T62" fmla="*/ 756 w 1159"/>
                  <a:gd name="T63" fmla="*/ 1079 h 1154"/>
                  <a:gd name="T64" fmla="*/ 662 w 1159"/>
                  <a:gd name="T65" fmla="*/ 1105 h 1154"/>
                  <a:gd name="T66" fmla="*/ 565 w 1159"/>
                  <a:gd name="T67" fmla="*/ 1114 h 1154"/>
                  <a:gd name="T68" fmla="*/ 443 w 1159"/>
                  <a:gd name="T69" fmla="*/ 1101 h 1154"/>
                  <a:gd name="T70" fmla="*/ 331 w 1159"/>
                  <a:gd name="T71" fmla="*/ 1064 h 1154"/>
                  <a:gd name="T72" fmla="*/ 231 w 1159"/>
                  <a:gd name="T73" fmla="*/ 1006 h 1154"/>
                  <a:gd name="T74" fmla="*/ 145 w 1159"/>
                  <a:gd name="T75" fmla="*/ 930 h 1154"/>
                  <a:gd name="T76" fmla="*/ 77 w 1159"/>
                  <a:gd name="T77" fmla="*/ 838 h 1154"/>
                  <a:gd name="T78" fmla="*/ 29 w 1159"/>
                  <a:gd name="T79" fmla="*/ 735 h 1154"/>
                  <a:gd name="T80" fmla="*/ 3 w 1159"/>
                  <a:gd name="T81" fmla="*/ 621 h 1154"/>
                  <a:gd name="T82" fmla="*/ 3 w 1159"/>
                  <a:gd name="T83" fmla="*/ 505 h 1154"/>
                  <a:gd name="T84" fmla="*/ 25 w 1159"/>
                  <a:gd name="T85" fmla="*/ 395 h 1154"/>
                  <a:gd name="T86" fmla="*/ 65 w 1159"/>
                  <a:gd name="T87" fmla="*/ 294 h 1154"/>
                  <a:gd name="T88" fmla="*/ 124 w 1159"/>
                  <a:gd name="T89" fmla="*/ 204 h 1154"/>
                  <a:gd name="T90" fmla="*/ 200 w 1159"/>
                  <a:gd name="T91" fmla="*/ 128 h 1154"/>
                  <a:gd name="T92" fmla="*/ 288 w 1159"/>
                  <a:gd name="T93" fmla="*/ 68 h 1154"/>
                  <a:gd name="T94" fmla="*/ 387 w 1159"/>
                  <a:gd name="T95" fmla="*/ 25 h 1154"/>
                  <a:gd name="T96" fmla="*/ 497 w 1159"/>
                  <a:gd name="T97" fmla="*/ 2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59" h="1154">
                    <a:moveTo>
                      <a:pt x="625" y="271"/>
                    </a:moveTo>
                    <a:lnTo>
                      <a:pt x="597" y="272"/>
                    </a:lnTo>
                    <a:lnTo>
                      <a:pt x="572" y="277"/>
                    </a:lnTo>
                    <a:lnTo>
                      <a:pt x="552" y="283"/>
                    </a:lnTo>
                    <a:lnTo>
                      <a:pt x="536" y="293"/>
                    </a:lnTo>
                    <a:lnTo>
                      <a:pt x="522" y="306"/>
                    </a:lnTo>
                    <a:lnTo>
                      <a:pt x="511" y="321"/>
                    </a:lnTo>
                    <a:lnTo>
                      <a:pt x="503" y="338"/>
                    </a:lnTo>
                    <a:lnTo>
                      <a:pt x="498" y="357"/>
                    </a:lnTo>
                    <a:lnTo>
                      <a:pt x="495" y="379"/>
                    </a:lnTo>
                    <a:lnTo>
                      <a:pt x="494" y="401"/>
                    </a:lnTo>
                    <a:lnTo>
                      <a:pt x="494" y="461"/>
                    </a:lnTo>
                    <a:lnTo>
                      <a:pt x="423" y="461"/>
                    </a:lnTo>
                    <a:lnTo>
                      <a:pt x="423" y="561"/>
                    </a:lnTo>
                    <a:lnTo>
                      <a:pt x="484" y="561"/>
                    </a:lnTo>
                    <a:lnTo>
                      <a:pt x="484" y="843"/>
                    </a:lnTo>
                    <a:lnTo>
                      <a:pt x="604" y="843"/>
                    </a:lnTo>
                    <a:lnTo>
                      <a:pt x="604" y="561"/>
                    </a:lnTo>
                    <a:lnTo>
                      <a:pt x="696" y="561"/>
                    </a:lnTo>
                    <a:lnTo>
                      <a:pt x="705" y="461"/>
                    </a:lnTo>
                    <a:lnTo>
                      <a:pt x="615" y="461"/>
                    </a:lnTo>
                    <a:lnTo>
                      <a:pt x="615" y="412"/>
                    </a:lnTo>
                    <a:lnTo>
                      <a:pt x="615" y="398"/>
                    </a:lnTo>
                    <a:lnTo>
                      <a:pt x="616" y="387"/>
                    </a:lnTo>
                    <a:lnTo>
                      <a:pt x="619" y="380"/>
                    </a:lnTo>
                    <a:lnTo>
                      <a:pt x="627" y="374"/>
                    </a:lnTo>
                    <a:lnTo>
                      <a:pt x="638" y="372"/>
                    </a:lnTo>
                    <a:lnTo>
                      <a:pt x="655" y="371"/>
                    </a:lnTo>
                    <a:lnTo>
                      <a:pt x="705" y="371"/>
                    </a:lnTo>
                    <a:lnTo>
                      <a:pt x="705" y="271"/>
                    </a:lnTo>
                    <a:lnTo>
                      <a:pt x="625" y="271"/>
                    </a:lnTo>
                    <a:close/>
                    <a:moveTo>
                      <a:pt x="554" y="0"/>
                    </a:moveTo>
                    <a:lnTo>
                      <a:pt x="616" y="3"/>
                    </a:lnTo>
                    <a:lnTo>
                      <a:pt x="675" y="13"/>
                    </a:lnTo>
                    <a:lnTo>
                      <a:pt x="733" y="28"/>
                    </a:lnTo>
                    <a:lnTo>
                      <a:pt x="788" y="49"/>
                    </a:lnTo>
                    <a:lnTo>
                      <a:pt x="839" y="76"/>
                    </a:lnTo>
                    <a:lnTo>
                      <a:pt x="888" y="108"/>
                    </a:lnTo>
                    <a:lnTo>
                      <a:pt x="933" y="145"/>
                    </a:lnTo>
                    <a:lnTo>
                      <a:pt x="974" y="185"/>
                    </a:lnTo>
                    <a:lnTo>
                      <a:pt x="1010" y="230"/>
                    </a:lnTo>
                    <a:lnTo>
                      <a:pt x="1041" y="278"/>
                    </a:lnTo>
                    <a:lnTo>
                      <a:pt x="1068" y="329"/>
                    </a:lnTo>
                    <a:lnTo>
                      <a:pt x="1090" y="384"/>
                    </a:lnTo>
                    <a:lnTo>
                      <a:pt x="1106" y="441"/>
                    </a:lnTo>
                    <a:lnTo>
                      <a:pt x="1115" y="501"/>
                    </a:lnTo>
                    <a:lnTo>
                      <a:pt x="1119" y="561"/>
                    </a:lnTo>
                    <a:lnTo>
                      <a:pt x="1115" y="617"/>
                    </a:lnTo>
                    <a:lnTo>
                      <a:pt x="1107" y="670"/>
                    </a:lnTo>
                    <a:lnTo>
                      <a:pt x="1093" y="723"/>
                    </a:lnTo>
                    <a:lnTo>
                      <a:pt x="1074" y="774"/>
                    </a:lnTo>
                    <a:lnTo>
                      <a:pt x="1049" y="822"/>
                    </a:lnTo>
                    <a:lnTo>
                      <a:pt x="1021" y="869"/>
                    </a:lnTo>
                    <a:lnTo>
                      <a:pt x="988" y="913"/>
                    </a:lnTo>
                    <a:lnTo>
                      <a:pt x="1159" y="1084"/>
                    </a:lnTo>
                    <a:lnTo>
                      <a:pt x="1142" y="1099"/>
                    </a:lnTo>
                    <a:lnTo>
                      <a:pt x="1124" y="1115"/>
                    </a:lnTo>
                    <a:lnTo>
                      <a:pt x="1106" y="1133"/>
                    </a:lnTo>
                    <a:lnTo>
                      <a:pt x="1089" y="1154"/>
                    </a:lnTo>
                    <a:lnTo>
                      <a:pt x="917" y="984"/>
                    </a:lnTo>
                    <a:lnTo>
                      <a:pt x="881" y="1012"/>
                    </a:lnTo>
                    <a:lnTo>
                      <a:pt x="843" y="1037"/>
                    </a:lnTo>
                    <a:lnTo>
                      <a:pt x="801" y="1060"/>
                    </a:lnTo>
                    <a:lnTo>
                      <a:pt x="756" y="1079"/>
                    </a:lnTo>
                    <a:lnTo>
                      <a:pt x="710" y="1094"/>
                    </a:lnTo>
                    <a:lnTo>
                      <a:pt x="662" y="1105"/>
                    </a:lnTo>
                    <a:lnTo>
                      <a:pt x="614" y="1111"/>
                    </a:lnTo>
                    <a:lnTo>
                      <a:pt x="565" y="1114"/>
                    </a:lnTo>
                    <a:lnTo>
                      <a:pt x="502" y="1111"/>
                    </a:lnTo>
                    <a:lnTo>
                      <a:pt x="443" y="1101"/>
                    </a:lnTo>
                    <a:lnTo>
                      <a:pt x="385" y="1085"/>
                    </a:lnTo>
                    <a:lnTo>
                      <a:pt x="331" y="1064"/>
                    </a:lnTo>
                    <a:lnTo>
                      <a:pt x="279" y="1037"/>
                    </a:lnTo>
                    <a:lnTo>
                      <a:pt x="231" y="1006"/>
                    </a:lnTo>
                    <a:lnTo>
                      <a:pt x="186" y="970"/>
                    </a:lnTo>
                    <a:lnTo>
                      <a:pt x="145" y="930"/>
                    </a:lnTo>
                    <a:lnTo>
                      <a:pt x="108" y="886"/>
                    </a:lnTo>
                    <a:lnTo>
                      <a:pt x="77" y="838"/>
                    </a:lnTo>
                    <a:lnTo>
                      <a:pt x="50" y="788"/>
                    </a:lnTo>
                    <a:lnTo>
                      <a:pt x="29" y="735"/>
                    </a:lnTo>
                    <a:lnTo>
                      <a:pt x="13" y="679"/>
                    </a:lnTo>
                    <a:lnTo>
                      <a:pt x="3" y="621"/>
                    </a:lnTo>
                    <a:lnTo>
                      <a:pt x="0" y="561"/>
                    </a:lnTo>
                    <a:lnTo>
                      <a:pt x="3" y="505"/>
                    </a:lnTo>
                    <a:lnTo>
                      <a:pt x="11" y="448"/>
                    </a:lnTo>
                    <a:lnTo>
                      <a:pt x="25" y="395"/>
                    </a:lnTo>
                    <a:lnTo>
                      <a:pt x="43" y="342"/>
                    </a:lnTo>
                    <a:lnTo>
                      <a:pt x="65" y="294"/>
                    </a:lnTo>
                    <a:lnTo>
                      <a:pt x="93" y="247"/>
                    </a:lnTo>
                    <a:lnTo>
                      <a:pt x="124" y="204"/>
                    </a:lnTo>
                    <a:lnTo>
                      <a:pt x="160" y="164"/>
                    </a:lnTo>
                    <a:lnTo>
                      <a:pt x="200" y="128"/>
                    </a:lnTo>
                    <a:lnTo>
                      <a:pt x="241" y="95"/>
                    </a:lnTo>
                    <a:lnTo>
                      <a:pt x="288" y="68"/>
                    </a:lnTo>
                    <a:lnTo>
                      <a:pt x="336" y="44"/>
                    </a:lnTo>
                    <a:lnTo>
                      <a:pt x="387" y="25"/>
                    </a:lnTo>
                    <a:lnTo>
                      <a:pt x="441" y="11"/>
                    </a:lnTo>
                    <a:lnTo>
                      <a:pt x="497" y="2"/>
                    </a:lnTo>
                    <a:lnTo>
                      <a:pt x="5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3" name="Freeform 24"/>
              <p:cNvSpPr>
                <a:spLocks/>
              </p:cNvSpPr>
              <p:nvPr/>
            </p:nvSpPr>
            <p:spPr bwMode="auto">
              <a:xfrm>
                <a:off x="-618" y="2470"/>
                <a:ext cx="160" cy="159"/>
              </a:xfrm>
              <a:custGeom>
                <a:avLst/>
                <a:gdLst>
                  <a:gd name="T0" fmla="*/ 659 w 1119"/>
                  <a:gd name="T1" fmla="*/ 9 h 1114"/>
                  <a:gd name="T2" fmla="*/ 638 w 1119"/>
                  <a:gd name="T3" fmla="*/ 40 h 1114"/>
                  <a:gd name="T4" fmla="*/ 667 w 1119"/>
                  <a:gd name="T5" fmla="*/ 61 h 1114"/>
                  <a:gd name="T6" fmla="*/ 718 w 1119"/>
                  <a:gd name="T7" fmla="*/ 97 h 1114"/>
                  <a:gd name="T8" fmla="*/ 746 w 1119"/>
                  <a:gd name="T9" fmla="*/ 160 h 1114"/>
                  <a:gd name="T10" fmla="*/ 748 w 1119"/>
                  <a:gd name="T11" fmla="*/ 304 h 1114"/>
                  <a:gd name="T12" fmla="*/ 770 w 1119"/>
                  <a:gd name="T13" fmla="*/ 310 h 1114"/>
                  <a:gd name="T14" fmla="*/ 766 w 1119"/>
                  <a:gd name="T15" fmla="*/ 351 h 1114"/>
                  <a:gd name="T16" fmla="*/ 761 w 1119"/>
                  <a:gd name="T17" fmla="*/ 391 h 1114"/>
                  <a:gd name="T18" fmla="*/ 753 w 1119"/>
                  <a:gd name="T19" fmla="*/ 409 h 1114"/>
                  <a:gd name="T20" fmla="*/ 747 w 1119"/>
                  <a:gd name="T21" fmla="*/ 411 h 1114"/>
                  <a:gd name="T22" fmla="*/ 737 w 1119"/>
                  <a:gd name="T23" fmla="*/ 464 h 1114"/>
                  <a:gd name="T24" fmla="*/ 704 w 1119"/>
                  <a:gd name="T25" fmla="*/ 537 h 1114"/>
                  <a:gd name="T26" fmla="*/ 695 w 1119"/>
                  <a:gd name="T27" fmla="*/ 559 h 1114"/>
                  <a:gd name="T28" fmla="*/ 706 w 1119"/>
                  <a:gd name="T29" fmla="*/ 622 h 1114"/>
                  <a:gd name="T30" fmla="*/ 710 w 1119"/>
                  <a:gd name="T31" fmla="*/ 629 h 1114"/>
                  <a:gd name="T32" fmla="*/ 711 w 1119"/>
                  <a:gd name="T33" fmla="*/ 632 h 1114"/>
                  <a:gd name="T34" fmla="*/ 732 w 1119"/>
                  <a:gd name="T35" fmla="*/ 637 h 1114"/>
                  <a:gd name="T36" fmla="*/ 737 w 1119"/>
                  <a:gd name="T37" fmla="*/ 681 h 1114"/>
                  <a:gd name="T38" fmla="*/ 761 w 1119"/>
                  <a:gd name="T39" fmla="*/ 720 h 1114"/>
                  <a:gd name="T40" fmla="*/ 961 w 1119"/>
                  <a:gd name="T41" fmla="*/ 781 h 1114"/>
                  <a:gd name="T42" fmla="*/ 1059 w 1119"/>
                  <a:gd name="T43" fmla="*/ 820 h 1114"/>
                  <a:gd name="T44" fmla="*/ 1041 w 1119"/>
                  <a:gd name="T45" fmla="*/ 965 h 1114"/>
                  <a:gd name="T46" fmla="*/ 870 w 1119"/>
                  <a:gd name="T47" fmla="*/ 1032 h 1114"/>
                  <a:gd name="T48" fmla="*/ 671 w 1119"/>
                  <a:gd name="T49" fmla="*/ 1103 h 1114"/>
                  <a:gd name="T50" fmla="*/ 423 w 1119"/>
                  <a:gd name="T51" fmla="*/ 1090 h 1114"/>
                  <a:gd name="T52" fmla="*/ 271 w 1119"/>
                  <a:gd name="T53" fmla="*/ 1027 h 1114"/>
                  <a:gd name="T54" fmla="*/ 126 w 1119"/>
                  <a:gd name="T55" fmla="*/ 970 h 1114"/>
                  <a:gd name="T56" fmla="*/ 51 w 1119"/>
                  <a:gd name="T57" fmla="*/ 833 h 1114"/>
                  <a:gd name="T58" fmla="*/ 100 w 1119"/>
                  <a:gd name="T59" fmla="*/ 803 h 1114"/>
                  <a:gd name="T60" fmla="*/ 197 w 1119"/>
                  <a:gd name="T61" fmla="*/ 776 h 1114"/>
                  <a:gd name="T62" fmla="*/ 312 w 1119"/>
                  <a:gd name="T63" fmla="*/ 737 h 1114"/>
                  <a:gd name="T64" fmla="*/ 365 w 1119"/>
                  <a:gd name="T65" fmla="*/ 714 h 1114"/>
                  <a:gd name="T66" fmla="*/ 383 w 1119"/>
                  <a:gd name="T67" fmla="*/ 663 h 1114"/>
                  <a:gd name="T68" fmla="*/ 393 w 1119"/>
                  <a:gd name="T69" fmla="*/ 634 h 1114"/>
                  <a:gd name="T70" fmla="*/ 411 w 1119"/>
                  <a:gd name="T71" fmla="*/ 629 h 1114"/>
                  <a:gd name="T72" fmla="*/ 414 w 1119"/>
                  <a:gd name="T73" fmla="*/ 623 h 1114"/>
                  <a:gd name="T74" fmla="*/ 423 w 1119"/>
                  <a:gd name="T75" fmla="*/ 568 h 1114"/>
                  <a:gd name="T76" fmla="*/ 415 w 1119"/>
                  <a:gd name="T77" fmla="*/ 533 h 1114"/>
                  <a:gd name="T78" fmla="*/ 389 w 1119"/>
                  <a:gd name="T79" fmla="*/ 472 h 1114"/>
                  <a:gd name="T80" fmla="*/ 373 w 1119"/>
                  <a:gd name="T81" fmla="*/ 411 h 1114"/>
                  <a:gd name="T82" fmla="*/ 367 w 1119"/>
                  <a:gd name="T83" fmla="*/ 409 h 1114"/>
                  <a:gd name="T84" fmla="*/ 356 w 1119"/>
                  <a:gd name="T85" fmla="*/ 388 h 1114"/>
                  <a:gd name="T86" fmla="*/ 342 w 1119"/>
                  <a:gd name="T87" fmla="*/ 346 h 1114"/>
                  <a:gd name="T88" fmla="*/ 336 w 1119"/>
                  <a:gd name="T89" fmla="*/ 314 h 1114"/>
                  <a:gd name="T90" fmla="*/ 356 w 1119"/>
                  <a:gd name="T91" fmla="*/ 303 h 1114"/>
                  <a:gd name="T92" fmla="*/ 361 w 1119"/>
                  <a:gd name="T93" fmla="*/ 303 h 1114"/>
                  <a:gd name="T94" fmla="*/ 363 w 1119"/>
                  <a:gd name="T95" fmla="*/ 294 h 1114"/>
                  <a:gd name="T96" fmla="*/ 372 w 1119"/>
                  <a:gd name="T97" fmla="*/ 127 h 1114"/>
                  <a:gd name="T98" fmla="*/ 445 w 1119"/>
                  <a:gd name="T99" fmla="*/ 60 h 1114"/>
                  <a:gd name="T100" fmla="*/ 569 w 1119"/>
                  <a:gd name="T101" fmla="*/ 16 h 1114"/>
                  <a:gd name="T102" fmla="*/ 636 w 1119"/>
                  <a:gd name="T103" fmla="*/ 2 h 1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19" h="1114">
                    <a:moveTo>
                      <a:pt x="655" y="0"/>
                    </a:moveTo>
                    <a:lnTo>
                      <a:pt x="665" y="0"/>
                    </a:lnTo>
                    <a:lnTo>
                      <a:pt x="664" y="6"/>
                    </a:lnTo>
                    <a:lnTo>
                      <a:pt x="659" y="9"/>
                    </a:lnTo>
                    <a:lnTo>
                      <a:pt x="652" y="14"/>
                    </a:lnTo>
                    <a:lnTo>
                      <a:pt x="645" y="20"/>
                    </a:lnTo>
                    <a:lnTo>
                      <a:pt x="638" y="30"/>
                    </a:lnTo>
                    <a:lnTo>
                      <a:pt x="638" y="40"/>
                    </a:lnTo>
                    <a:lnTo>
                      <a:pt x="645" y="50"/>
                    </a:lnTo>
                    <a:lnTo>
                      <a:pt x="651" y="51"/>
                    </a:lnTo>
                    <a:lnTo>
                      <a:pt x="659" y="55"/>
                    </a:lnTo>
                    <a:lnTo>
                      <a:pt x="667" y="61"/>
                    </a:lnTo>
                    <a:lnTo>
                      <a:pt x="680" y="69"/>
                    </a:lnTo>
                    <a:lnTo>
                      <a:pt x="695" y="80"/>
                    </a:lnTo>
                    <a:lnTo>
                      <a:pt x="706" y="86"/>
                    </a:lnTo>
                    <a:lnTo>
                      <a:pt x="718" y="97"/>
                    </a:lnTo>
                    <a:lnTo>
                      <a:pt x="728" y="109"/>
                    </a:lnTo>
                    <a:lnTo>
                      <a:pt x="737" y="124"/>
                    </a:lnTo>
                    <a:lnTo>
                      <a:pt x="743" y="141"/>
                    </a:lnTo>
                    <a:lnTo>
                      <a:pt x="746" y="160"/>
                    </a:lnTo>
                    <a:lnTo>
                      <a:pt x="746" y="281"/>
                    </a:lnTo>
                    <a:lnTo>
                      <a:pt x="746" y="292"/>
                    </a:lnTo>
                    <a:lnTo>
                      <a:pt x="747" y="299"/>
                    </a:lnTo>
                    <a:lnTo>
                      <a:pt x="748" y="304"/>
                    </a:lnTo>
                    <a:lnTo>
                      <a:pt x="751" y="304"/>
                    </a:lnTo>
                    <a:lnTo>
                      <a:pt x="756" y="301"/>
                    </a:lnTo>
                    <a:lnTo>
                      <a:pt x="765" y="303"/>
                    </a:lnTo>
                    <a:lnTo>
                      <a:pt x="770" y="310"/>
                    </a:lnTo>
                    <a:lnTo>
                      <a:pt x="772" y="318"/>
                    </a:lnTo>
                    <a:lnTo>
                      <a:pt x="772" y="329"/>
                    </a:lnTo>
                    <a:lnTo>
                      <a:pt x="770" y="341"/>
                    </a:lnTo>
                    <a:lnTo>
                      <a:pt x="766" y="351"/>
                    </a:lnTo>
                    <a:lnTo>
                      <a:pt x="766" y="365"/>
                    </a:lnTo>
                    <a:lnTo>
                      <a:pt x="766" y="376"/>
                    </a:lnTo>
                    <a:lnTo>
                      <a:pt x="764" y="384"/>
                    </a:lnTo>
                    <a:lnTo>
                      <a:pt x="761" y="391"/>
                    </a:lnTo>
                    <a:lnTo>
                      <a:pt x="756" y="402"/>
                    </a:lnTo>
                    <a:lnTo>
                      <a:pt x="755" y="405"/>
                    </a:lnTo>
                    <a:lnTo>
                      <a:pt x="754" y="407"/>
                    </a:lnTo>
                    <a:lnTo>
                      <a:pt x="753" y="409"/>
                    </a:lnTo>
                    <a:lnTo>
                      <a:pt x="751" y="410"/>
                    </a:lnTo>
                    <a:lnTo>
                      <a:pt x="749" y="410"/>
                    </a:lnTo>
                    <a:lnTo>
                      <a:pt x="748" y="411"/>
                    </a:lnTo>
                    <a:lnTo>
                      <a:pt x="747" y="411"/>
                    </a:lnTo>
                    <a:lnTo>
                      <a:pt x="746" y="411"/>
                    </a:lnTo>
                    <a:lnTo>
                      <a:pt x="746" y="424"/>
                    </a:lnTo>
                    <a:lnTo>
                      <a:pt x="742" y="442"/>
                    </a:lnTo>
                    <a:lnTo>
                      <a:pt x="737" y="464"/>
                    </a:lnTo>
                    <a:lnTo>
                      <a:pt x="729" y="487"/>
                    </a:lnTo>
                    <a:lnTo>
                      <a:pt x="719" y="511"/>
                    </a:lnTo>
                    <a:lnTo>
                      <a:pt x="706" y="532"/>
                    </a:lnTo>
                    <a:lnTo>
                      <a:pt x="704" y="537"/>
                    </a:lnTo>
                    <a:lnTo>
                      <a:pt x="700" y="542"/>
                    </a:lnTo>
                    <a:lnTo>
                      <a:pt x="697" y="546"/>
                    </a:lnTo>
                    <a:lnTo>
                      <a:pt x="695" y="551"/>
                    </a:lnTo>
                    <a:lnTo>
                      <a:pt x="695" y="559"/>
                    </a:lnTo>
                    <a:lnTo>
                      <a:pt x="696" y="570"/>
                    </a:lnTo>
                    <a:lnTo>
                      <a:pt x="697" y="582"/>
                    </a:lnTo>
                    <a:lnTo>
                      <a:pt x="700" y="601"/>
                    </a:lnTo>
                    <a:lnTo>
                      <a:pt x="706" y="622"/>
                    </a:lnTo>
                    <a:lnTo>
                      <a:pt x="708" y="625"/>
                    </a:lnTo>
                    <a:lnTo>
                      <a:pt x="709" y="627"/>
                    </a:lnTo>
                    <a:lnTo>
                      <a:pt x="710" y="628"/>
                    </a:lnTo>
                    <a:lnTo>
                      <a:pt x="710" y="629"/>
                    </a:lnTo>
                    <a:lnTo>
                      <a:pt x="710" y="630"/>
                    </a:lnTo>
                    <a:lnTo>
                      <a:pt x="710" y="632"/>
                    </a:lnTo>
                    <a:lnTo>
                      <a:pt x="711" y="632"/>
                    </a:lnTo>
                    <a:lnTo>
                      <a:pt x="711" y="632"/>
                    </a:lnTo>
                    <a:lnTo>
                      <a:pt x="713" y="632"/>
                    </a:lnTo>
                    <a:lnTo>
                      <a:pt x="715" y="632"/>
                    </a:lnTo>
                    <a:lnTo>
                      <a:pt x="725" y="633"/>
                    </a:lnTo>
                    <a:lnTo>
                      <a:pt x="732" y="637"/>
                    </a:lnTo>
                    <a:lnTo>
                      <a:pt x="735" y="643"/>
                    </a:lnTo>
                    <a:lnTo>
                      <a:pt x="736" y="651"/>
                    </a:lnTo>
                    <a:lnTo>
                      <a:pt x="736" y="663"/>
                    </a:lnTo>
                    <a:lnTo>
                      <a:pt x="737" y="681"/>
                    </a:lnTo>
                    <a:lnTo>
                      <a:pt x="741" y="696"/>
                    </a:lnTo>
                    <a:lnTo>
                      <a:pt x="748" y="707"/>
                    </a:lnTo>
                    <a:lnTo>
                      <a:pt x="754" y="716"/>
                    </a:lnTo>
                    <a:lnTo>
                      <a:pt x="761" y="720"/>
                    </a:lnTo>
                    <a:lnTo>
                      <a:pt x="766" y="722"/>
                    </a:lnTo>
                    <a:lnTo>
                      <a:pt x="832" y="744"/>
                    </a:lnTo>
                    <a:lnTo>
                      <a:pt x="897" y="763"/>
                    </a:lnTo>
                    <a:lnTo>
                      <a:pt x="961" y="781"/>
                    </a:lnTo>
                    <a:lnTo>
                      <a:pt x="1028" y="803"/>
                    </a:lnTo>
                    <a:lnTo>
                      <a:pt x="1038" y="805"/>
                    </a:lnTo>
                    <a:lnTo>
                      <a:pt x="1048" y="810"/>
                    </a:lnTo>
                    <a:lnTo>
                      <a:pt x="1059" y="820"/>
                    </a:lnTo>
                    <a:lnTo>
                      <a:pt x="1069" y="833"/>
                    </a:lnTo>
                    <a:lnTo>
                      <a:pt x="1119" y="953"/>
                    </a:lnTo>
                    <a:lnTo>
                      <a:pt x="1079" y="957"/>
                    </a:lnTo>
                    <a:lnTo>
                      <a:pt x="1041" y="965"/>
                    </a:lnTo>
                    <a:lnTo>
                      <a:pt x="1000" y="978"/>
                    </a:lnTo>
                    <a:lnTo>
                      <a:pt x="958" y="994"/>
                    </a:lnTo>
                    <a:lnTo>
                      <a:pt x="915" y="1012"/>
                    </a:lnTo>
                    <a:lnTo>
                      <a:pt x="870" y="1032"/>
                    </a:lnTo>
                    <a:lnTo>
                      <a:pt x="824" y="1053"/>
                    </a:lnTo>
                    <a:lnTo>
                      <a:pt x="776" y="1072"/>
                    </a:lnTo>
                    <a:lnTo>
                      <a:pt x="724" y="1089"/>
                    </a:lnTo>
                    <a:lnTo>
                      <a:pt x="671" y="1103"/>
                    </a:lnTo>
                    <a:lnTo>
                      <a:pt x="615" y="1114"/>
                    </a:lnTo>
                    <a:lnTo>
                      <a:pt x="514" y="1114"/>
                    </a:lnTo>
                    <a:lnTo>
                      <a:pt x="467" y="1103"/>
                    </a:lnTo>
                    <a:lnTo>
                      <a:pt x="423" y="1090"/>
                    </a:lnTo>
                    <a:lnTo>
                      <a:pt x="383" y="1076"/>
                    </a:lnTo>
                    <a:lnTo>
                      <a:pt x="344" y="1060"/>
                    </a:lnTo>
                    <a:lnTo>
                      <a:pt x="307" y="1043"/>
                    </a:lnTo>
                    <a:lnTo>
                      <a:pt x="271" y="1027"/>
                    </a:lnTo>
                    <a:lnTo>
                      <a:pt x="236" y="1011"/>
                    </a:lnTo>
                    <a:lnTo>
                      <a:pt x="200" y="995"/>
                    </a:lnTo>
                    <a:lnTo>
                      <a:pt x="164" y="981"/>
                    </a:lnTo>
                    <a:lnTo>
                      <a:pt x="126" y="970"/>
                    </a:lnTo>
                    <a:lnTo>
                      <a:pt x="86" y="961"/>
                    </a:lnTo>
                    <a:lnTo>
                      <a:pt x="44" y="955"/>
                    </a:lnTo>
                    <a:lnTo>
                      <a:pt x="0" y="953"/>
                    </a:lnTo>
                    <a:lnTo>
                      <a:pt x="51" y="833"/>
                    </a:lnTo>
                    <a:lnTo>
                      <a:pt x="58" y="825"/>
                    </a:lnTo>
                    <a:lnTo>
                      <a:pt x="68" y="818"/>
                    </a:lnTo>
                    <a:lnTo>
                      <a:pt x="82" y="810"/>
                    </a:lnTo>
                    <a:lnTo>
                      <a:pt x="100" y="803"/>
                    </a:lnTo>
                    <a:lnTo>
                      <a:pt x="119" y="798"/>
                    </a:lnTo>
                    <a:lnTo>
                      <a:pt x="141" y="793"/>
                    </a:lnTo>
                    <a:lnTo>
                      <a:pt x="168" y="784"/>
                    </a:lnTo>
                    <a:lnTo>
                      <a:pt x="197" y="776"/>
                    </a:lnTo>
                    <a:lnTo>
                      <a:pt x="227" y="766"/>
                    </a:lnTo>
                    <a:lnTo>
                      <a:pt x="257" y="757"/>
                    </a:lnTo>
                    <a:lnTo>
                      <a:pt x="286" y="747"/>
                    </a:lnTo>
                    <a:lnTo>
                      <a:pt x="312" y="737"/>
                    </a:lnTo>
                    <a:lnTo>
                      <a:pt x="334" y="729"/>
                    </a:lnTo>
                    <a:lnTo>
                      <a:pt x="353" y="722"/>
                    </a:lnTo>
                    <a:lnTo>
                      <a:pt x="359" y="720"/>
                    </a:lnTo>
                    <a:lnTo>
                      <a:pt x="365" y="714"/>
                    </a:lnTo>
                    <a:lnTo>
                      <a:pt x="372" y="704"/>
                    </a:lnTo>
                    <a:lnTo>
                      <a:pt x="377" y="691"/>
                    </a:lnTo>
                    <a:lnTo>
                      <a:pt x="382" y="678"/>
                    </a:lnTo>
                    <a:lnTo>
                      <a:pt x="383" y="663"/>
                    </a:lnTo>
                    <a:lnTo>
                      <a:pt x="384" y="652"/>
                    </a:lnTo>
                    <a:lnTo>
                      <a:pt x="385" y="643"/>
                    </a:lnTo>
                    <a:lnTo>
                      <a:pt x="387" y="637"/>
                    </a:lnTo>
                    <a:lnTo>
                      <a:pt x="393" y="634"/>
                    </a:lnTo>
                    <a:lnTo>
                      <a:pt x="403" y="633"/>
                    </a:lnTo>
                    <a:lnTo>
                      <a:pt x="406" y="632"/>
                    </a:lnTo>
                    <a:lnTo>
                      <a:pt x="409" y="630"/>
                    </a:lnTo>
                    <a:lnTo>
                      <a:pt x="411" y="629"/>
                    </a:lnTo>
                    <a:lnTo>
                      <a:pt x="412" y="627"/>
                    </a:lnTo>
                    <a:lnTo>
                      <a:pt x="413" y="625"/>
                    </a:lnTo>
                    <a:lnTo>
                      <a:pt x="413" y="624"/>
                    </a:lnTo>
                    <a:lnTo>
                      <a:pt x="414" y="623"/>
                    </a:lnTo>
                    <a:lnTo>
                      <a:pt x="414" y="622"/>
                    </a:lnTo>
                    <a:lnTo>
                      <a:pt x="419" y="606"/>
                    </a:lnTo>
                    <a:lnTo>
                      <a:pt x="422" y="587"/>
                    </a:lnTo>
                    <a:lnTo>
                      <a:pt x="423" y="568"/>
                    </a:lnTo>
                    <a:lnTo>
                      <a:pt x="423" y="552"/>
                    </a:lnTo>
                    <a:lnTo>
                      <a:pt x="422" y="545"/>
                    </a:lnTo>
                    <a:lnTo>
                      <a:pt x="418" y="539"/>
                    </a:lnTo>
                    <a:lnTo>
                      <a:pt x="415" y="533"/>
                    </a:lnTo>
                    <a:lnTo>
                      <a:pt x="414" y="532"/>
                    </a:lnTo>
                    <a:lnTo>
                      <a:pt x="404" y="515"/>
                    </a:lnTo>
                    <a:lnTo>
                      <a:pt x="397" y="494"/>
                    </a:lnTo>
                    <a:lnTo>
                      <a:pt x="389" y="472"/>
                    </a:lnTo>
                    <a:lnTo>
                      <a:pt x="384" y="450"/>
                    </a:lnTo>
                    <a:lnTo>
                      <a:pt x="378" y="428"/>
                    </a:lnTo>
                    <a:lnTo>
                      <a:pt x="373" y="411"/>
                    </a:lnTo>
                    <a:lnTo>
                      <a:pt x="373" y="411"/>
                    </a:lnTo>
                    <a:lnTo>
                      <a:pt x="371" y="411"/>
                    </a:lnTo>
                    <a:lnTo>
                      <a:pt x="370" y="411"/>
                    </a:lnTo>
                    <a:lnTo>
                      <a:pt x="368" y="410"/>
                    </a:lnTo>
                    <a:lnTo>
                      <a:pt x="367" y="409"/>
                    </a:lnTo>
                    <a:lnTo>
                      <a:pt x="364" y="407"/>
                    </a:lnTo>
                    <a:lnTo>
                      <a:pt x="363" y="405"/>
                    </a:lnTo>
                    <a:lnTo>
                      <a:pt x="363" y="402"/>
                    </a:lnTo>
                    <a:lnTo>
                      <a:pt x="356" y="388"/>
                    </a:lnTo>
                    <a:lnTo>
                      <a:pt x="349" y="376"/>
                    </a:lnTo>
                    <a:lnTo>
                      <a:pt x="344" y="364"/>
                    </a:lnTo>
                    <a:lnTo>
                      <a:pt x="343" y="351"/>
                    </a:lnTo>
                    <a:lnTo>
                      <a:pt x="342" y="346"/>
                    </a:lnTo>
                    <a:lnTo>
                      <a:pt x="340" y="339"/>
                    </a:lnTo>
                    <a:lnTo>
                      <a:pt x="338" y="331"/>
                    </a:lnTo>
                    <a:lnTo>
                      <a:pt x="336" y="323"/>
                    </a:lnTo>
                    <a:lnTo>
                      <a:pt x="336" y="314"/>
                    </a:lnTo>
                    <a:lnTo>
                      <a:pt x="339" y="308"/>
                    </a:lnTo>
                    <a:lnTo>
                      <a:pt x="344" y="302"/>
                    </a:lnTo>
                    <a:lnTo>
                      <a:pt x="353" y="301"/>
                    </a:lnTo>
                    <a:lnTo>
                      <a:pt x="356" y="303"/>
                    </a:lnTo>
                    <a:lnTo>
                      <a:pt x="358" y="304"/>
                    </a:lnTo>
                    <a:lnTo>
                      <a:pt x="359" y="305"/>
                    </a:lnTo>
                    <a:lnTo>
                      <a:pt x="361" y="304"/>
                    </a:lnTo>
                    <a:lnTo>
                      <a:pt x="361" y="303"/>
                    </a:lnTo>
                    <a:lnTo>
                      <a:pt x="362" y="301"/>
                    </a:lnTo>
                    <a:lnTo>
                      <a:pt x="362" y="299"/>
                    </a:lnTo>
                    <a:lnTo>
                      <a:pt x="362" y="297"/>
                    </a:lnTo>
                    <a:lnTo>
                      <a:pt x="363" y="294"/>
                    </a:lnTo>
                    <a:lnTo>
                      <a:pt x="363" y="291"/>
                    </a:lnTo>
                    <a:lnTo>
                      <a:pt x="363" y="171"/>
                    </a:lnTo>
                    <a:lnTo>
                      <a:pt x="365" y="147"/>
                    </a:lnTo>
                    <a:lnTo>
                      <a:pt x="372" y="127"/>
                    </a:lnTo>
                    <a:lnTo>
                      <a:pt x="383" y="109"/>
                    </a:lnTo>
                    <a:lnTo>
                      <a:pt x="397" y="94"/>
                    </a:lnTo>
                    <a:lnTo>
                      <a:pt x="414" y="80"/>
                    </a:lnTo>
                    <a:lnTo>
                      <a:pt x="445" y="60"/>
                    </a:lnTo>
                    <a:lnTo>
                      <a:pt x="480" y="42"/>
                    </a:lnTo>
                    <a:lnTo>
                      <a:pt x="517" y="30"/>
                    </a:lnTo>
                    <a:lnTo>
                      <a:pt x="554" y="20"/>
                    </a:lnTo>
                    <a:lnTo>
                      <a:pt x="569" y="16"/>
                    </a:lnTo>
                    <a:lnTo>
                      <a:pt x="586" y="11"/>
                    </a:lnTo>
                    <a:lnTo>
                      <a:pt x="604" y="8"/>
                    </a:lnTo>
                    <a:lnTo>
                      <a:pt x="621" y="5"/>
                    </a:lnTo>
                    <a:lnTo>
                      <a:pt x="636" y="2"/>
                    </a:lnTo>
                    <a:lnTo>
                      <a:pt x="648" y="1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64" name="Group 163"/>
          <p:cNvGrpSpPr/>
          <p:nvPr/>
        </p:nvGrpSpPr>
        <p:grpSpPr>
          <a:xfrm>
            <a:off x="147993" y="4410261"/>
            <a:ext cx="727877" cy="557840"/>
            <a:chOff x="147993" y="4332403"/>
            <a:chExt cx="727877" cy="557840"/>
          </a:xfrm>
        </p:grpSpPr>
        <p:sp>
          <p:nvSpPr>
            <p:cNvPr id="165" name="Rectangle 17"/>
            <p:cNvSpPr>
              <a:spLocks/>
            </p:cNvSpPr>
            <p:nvPr/>
          </p:nvSpPr>
          <p:spPr bwMode="auto">
            <a:xfrm>
              <a:off x="147993" y="4613244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Статистические бюро</a:t>
              </a:r>
            </a:p>
          </p:txBody>
        </p:sp>
        <p:grpSp>
          <p:nvGrpSpPr>
            <p:cNvPr id="166" name="Group 19"/>
            <p:cNvGrpSpPr>
              <a:grpSpLocks noChangeAspect="1"/>
            </p:cNvGrpSpPr>
            <p:nvPr/>
          </p:nvGrpSpPr>
          <p:grpSpPr bwMode="auto">
            <a:xfrm>
              <a:off x="382761" y="4332403"/>
              <a:ext cx="245626" cy="189402"/>
              <a:chOff x="-1698" y="1247"/>
              <a:chExt cx="2512" cy="1937"/>
            </a:xfrm>
            <a:solidFill>
              <a:schemeClr val="bg1"/>
            </a:solidFill>
          </p:grpSpPr>
          <p:sp>
            <p:nvSpPr>
              <p:cNvPr id="167" name="Freeform 21"/>
              <p:cNvSpPr>
                <a:spLocks/>
              </p:cNvSpPr>
              <p:nvPr/>
            </p:nvSpPr>
            <p:spPr bwMode="auto">
              <a:xfrm>
                <a:off x="-1698" y="1629"/>
                <a:ext cx="2512" cy="1555"/>
              </a:xfrm>
              <a:custGeom>
                <a:avLst/>
                <a:gdLst>
                  <a:gd name="T0" fmla="*/ 1567 w 5025"/>
                  <a:gd name="T1" fmla="*/ 0 h 3111"/>
                  <a:gd name="T2" fmla="*/ 687 w 5025"/>
                  <a:gd name="T3" fmla="*/ 329 h 3111"/>
                  <a:gd name="T4" fmla="*/ 4341 w 5025"/>
                  <a:gd name="T5" fmla="*/ 2522 h 3111"/>
                  <a:gd name="T6" fmla="*/ 4130 w 5025"/>
                  <a:gd name="T7" fmla="*/ 329 h 3111"/>
                  <a:gd name="T8" fmla="*/ 4479 w 5025"/>
                  <a:gd name="T9" fmla="*/ 0 h 3111"/>
                  <a:gd name="T10" fmla="*/ 4554 w 5025"/>
                  <a:gd name="T11" fmla="*/ 15 h 3111"/>
                  <a:gd name="T12" fmla="*/ 4614 w 5025"/>
                  <a:gd name="T13" fmla="*/ 55 h 3111"/>
                  <a:gd name="T14" fmla="*/ 4655 w 5025"/>
                  <a:gd name="T15" fmla="*/ 116 h 3111"/>
                  <a:gd name="T16" fmla="*/ 4670 w 5025"/>
                  <a:gd name="T17" fmla="*/ 189 h 3111"/>
                  <a:gd name="T18" fmla="*/ 4939 w 5025"/>
                  <a:gd name="T19" fmla="*/ 2651 h 3111"/>
                  <a:gd name="T20" fmla="*/ 4990 w 5025"/>
                  <a:gd name="T21" fmla="*/ 2668 h 3111"/>
                  <a:gd name="T22" fmla="*/ 5020 w 5025"/>
                  <a:gd name="T23" fmla="*/ 2711 h 3111"/>
                  <a:gd name="T24" fmla="*/ 5022 w 5025"/>
                  <a:gd name="T25" fmla="*/ 2793 h 3111"/>
                  <a:gd name="T26" fmla="*/ 4991 w 5025"/>
                  <a:gd name="T27" fmla="*/ 2894 h 3111"/>
                  <a:gd name="T28" fmla="*/ 4933 w 5025"/>
                  <a:gd name="T29" fmla="*/ 2983 h 3111"/>
                  <a:gd name="T30" fmla="*/ 4855 w 5025"/>
                  <a:gd name="T31" fmla="*/ 3050 h 3111"/>
                  <a:gd name="T32" fmla="*/ 4761 w 5025"/>
                  <a:gd name="T33" fmla="*/ 3094 h 3111"/>
                  <a:gd name="T34" fmla="*/ 4652 w 5025"/>
                  <a:gd name="T35" fmla="*/ 3111 h 3111"/>
                  <a:gd name="T36" fmla="*/ 3969 w 5025"/>
                  <a:gd name="T37" fmla="*/ 2949 h 3111"/>
                  <a:gd name="T38" fmla="*/ 3954 w 5025"/>
                  <a:gd name="T39" fmla="*/ 2897 h 3111"/>
                  <a:gd name="T40" fmla="*/ 3917 w 5025"/>
                  <a:gd name="T41" fmla="*/ 2859 h 3111"/>
                  <a:gd name="T42" fmla="*/ 3866 w 5025"/>
                  <a:gd name="T43" fmla="*/ 2845 h 3111"/>
                  <a:gd name="T44" fmla="*/ 3812 w 5025"/>
                  <a:gd name="T45" fmla="*/ 2859 h 3111"/>
                  <a:gd name="T46" fmla="*/ 3775 w 5025"/>
                  <a:gd name="T47" fmla="*/ 2897 h 3111"/>
                  <a:gd name="T48" fmla="*/ 3762 w 5025"/>
                  <a:gd name="T49" fmla="*/ 2949 h 3111"/>
                  <a:gd name="T50" fmla="*/ 3591 w 5025"/>
                  <a:gd name="T51" fmla="*/ 3111 h 3111"/>
                  <a:gd name="T52" fmla="*/ 3588 w 5025"/>
                  <a:gd name="T53" fmla="*/ 2922 h 3111"/>
                  <a:gd name="T54" fmla="*/ 3560 w 5025"/>
                  <a:gd name="T55" fmla="*/ 2876 h 3111"/>
                  <a:gd name="T56" fmla="*/ 3514 w 5025"/>
                  <a:gd name="T57" fmla="*/ 2850 h 3111"/>
                  <a:gd name="T58" fmla="*/ 3459 w 5025"/>
                  <a:gd name="T59" fmla="*/ 2850 h 3111"/>
                  <a:gd name="T60" fmla="*/ 3413 w 5025"/>
                  <a:gd name="T61" fmla="*/ 2876 h 3111"/>
                  <a:gd name="T62" fmla="*/ 3387 w 5025"/>
                  <a:gd name="T63" fmla="*/ 2922 h 3111"/>
                  <a:gd name="T64" fmla="*/ 3383 w 5025"/>
                  <a:gd name="T65" fmla="*/ 3111 h 3111"/>
                  <a:gd name="T66" fmla="*/ 318 w 5025"/>
                  <a:gd name="T67" fmla="*/ 3106 h 3111"/>
                  <a:gd name="T68" fmla="*/ 215 w 5025"/>
                  <a:gd name="T69" fmla="*/ 3076 h 3111"/>
                  <a:gd name="T70" fmla="*/ 128 w 5025"/>
                  <a:gd name="T71" fmla="*/ 3019 h 3111"/>
                  <a:gd name="T72" fmla="*/ 60 w 5025"/>
                  <a:gd name="T73" fmla="*/ 2940 h 3111"/>
                  <a:gd name="T74" fmla="*/ 15 w 5025"/>
                  <a:gd name="T75" fmla="*/ 2845 h 3111"/>
                  <a:gd name="T76" fmla="*/ 0 w 5025"/>
                  <a:gd name="T77" fmla="*/ 2738 h 3111"/>
                  <a:gd name="T78" fmla="*/ 17 w 5025"/>
                  <a:gd name="T79" fmla="*/ 2687 h 3111"/>
                  <a:gd name="T80" fmla="*/ 60 w 5025"/>
                  <a:gd name="T81" fmla="*/ 2656 h 3111"/>
                  <a:gd name="T82" fmla="*/ 357 w 5025"/>
                  <a:gd name="T83" fmla="*/ 2651 h 3111"/>
                  <a:gd name="T84" fmla="*/ 360 w 5025"/>
                  <a:gd name="T85" fmla="*/ 151 h 3111"/>
                  <a:gd name="T86" fmla="*/ 389 w 5025"/>
                  <a:gd name="T87" fmla="*/ 84 h 3111"/>
                  <a:gd name="T88" fmla="*/ 441 w 5025"/>
                  <a:gd name="T89" fmla="*/ 32 h 3111"/>
                  <a:gd name="T90" fmla="*/ 509 w 5025"/>
                  <a:gd name="T91" fmla="*/ 3 h 3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025" h="3111">
                    <a:moveTo>
                      <a:pt x="547" y="0"/>
                    </a:moveTo>
                    <a:lnTo>
                      <a:pt x="1567" y="0"/>
                    </a:lnTo>
                    <a:lnTo>
                      <a:pt x="1167" y="329"/>
                    </a:lnTo>
                    <a:lnTo>
                      <a:pt x="687" y="329"/>
                    </a:lnTo>
                    <a:lnTo>
                      <a:pt x="687" y="2522"/>
                    </a:lnTo>
                    <a:lnTo>
                      <a:pt x="4341" y="2522"/>
                    </a:lnTo>
                    <a:lnTo>
                      <a:pt x="4341" y="329"/>
                    </a:lnTo>
                    <a:lnTo>
                      <a:pt x="4130" y="329"/>
                    </a:lnTo>
                    <a:lnTo>
                      <a:pt x="4266" y="0"/>
                    </a:lnTo>
                    <a:lnTo>
                      <a:pt x="4479" y="0"/>
                    </a:lnTo>
                    <a:lnTo>
                      <a:pt x="4518" y="3"/>
                    </a:lnTo>
                    <a:lnTo>
                      <a:pt x="4554" y="15"/>
                    </a:lnTo>
                    <a:lnTo>
                      <a:pt x="4586" y="32"/>
                    </a:lnTo>
                    <a:lnTo>
                      <a:pt x="4614" y="55"/>
                    </a:lnTo>
                    <a:lnTo>
                      <a:pt x="4637" y="84"/>
                    </a:lnTo>
                    <a:lnTo>
                      <a:pt x="4655" y="116"/>
                    </a:lnTo>
                    <a:lnTo>
                      <a:pt x="4666" y="151"/>
                    </a:lnTo>
                    <a:lnTo>
                      <a:pt x="4670" y="189"/>
                    </a:lnTo>
                    <a:lnTo>
                      <a:pt x="4670" y="2651"/>
                    </a:lnTo>
                    <a:lnTo>
                      <a:pt x="4939" y="2651"/>
                    </a:lnTo>
                    <a:lnTo>
                      <a:pt x="4965" y="2656"/>
                    </a:lnTo>
                    <a:lnTo>
                      <a:pt x="4990" y="2668"/>
                    </a:lnTo>
                    <a:lnTo>
                      <a:pt x="5008" y="2687"/>
                    </a:lnTo>
                    <a:lnTo>
                      <a:pt x="5020" y="2711"/>
                    </a:lnTo>
                    <a:lnTo>
                      <a:pt x="5025" y="2738"/>
                    </a:lnTo>
                    <a:lnTo>
                      <a:pt x="5022" y="2793"/>
                    </a:lnTo>
                    <a:lnTo>
                      <a:pt x="5009" y="2845"/>
                    </a:lnTo>
                    <a:lnTo>
                      <a:pt x="4991" y="2894"/>
                    </a:lnTo>
                    <a:lnTo>
                      <a:pt x="4965" y="2940"/>
                    </a:lnTo>
                    <a:lnTo>
                      <a:pt x="4933" y="2983"/>
                    </a:lnTo>
                    <a:lnTo>
                      <a:pt x="4896" y="3019"/>
                    </a:lnTo>
                    <a:lnTo>
                      <a:pt x="4855" y="3050"/>
                    </a:lnTo>
                    <a:lnTo>
                      <a:pt x="4809" y="3076"/>
                    </a:lnTo>
                    <a:lnTo>
                      <a:pt x="4761" y="3094"/>
                    </a:lnTo>
                    <a:lnTo>
                      <a:pt x="4707" y="3106"/>
                    </a:lnTo>
                    <a:lnTo>
                      <a:pt x="4652" y="3111"/>
                    </a:lnTo>
                    <a:lnTo>
                      <a:pt x="3969" y="3111"/>
                    </a:lnTo>
                    <a:lnTo>
                      <a:pt x="3969" y="2949"/>
                    </a:lnTo>
                    <a:lnTo>
                      <a:pt x="3965" y="2922"/>
                    </a:lnTo>
                    <a:lnTo>
                      <a:pt x="3954" y="2897"/>
                    </a:lnTo>
                    <a:lnTo>
                      <a:pt x="3939" y="2876"/>
                    </a:lnTo>
                    <a:lnTo>
                      <a:pt x="3917" y="2859"/>
                    </a:lnTo>
                    <a:lnTo>
                      <a:pt x="3893" y="2850"/>
                    </a:lnTo>
                    <a:lnTo>
                      <a:pt x="3866" y="2845"/>
                    </a:lnTo>
                    <a:lnTo>
                      <a:pt x="3838" y="2850"/>
                    </a:lnTo>
                    <a:lnTo>
                      <a:pt x="3812" y="2859"/>
                    </a:lnTo>
                    <a:lnTo>
                      <a:pt x="3792" y="2876"/>
                    </a:lnTo>
                    <a:lnTo>
                      <a:pt x="3775" y="2897"/>
                    </a:lnTo>
                    <a:lnTo>
                      <a:pt x="3765" y="2922"/>
                    </a:lnTo>
                    <a:lnTo>
                      <a:pt x="3762" y="2949"/>
                    </a:lnTo>
                    <a:lnTo>
                      <a:pt x="3762" y="3111"/>
                    </a:lnTo>
                    <a:lnTo>
                      <a:pt x="3591" y="3111"/>
                    </a:lnTo>
                    <a:lnTo>
                      <a:pt x="3591" y="2949"/>
                    </a:lnTo>
                    <a:lnTo>
                      <a:pt x="3588" y="2922"/>
                    </a:lnTo>
                    <a:lnTo>
                      <a:pt x="3577" y="2897"/>
                    </a:lnTo>
                    <a:lnTo>
                      <a:pt x="3560" y="2876"/>
                    </a:lnTo>
                    <a:lnTo>
                      <a:pt x="3540" y="2859"/>
                    </a:lnTo>
                    <a:lnTo>
                      <a:pt x="3514" y="2850"/>
                    </a:lnTo>
                    <a:lnTo>
                      <a:pt x="3487" y="2845"/>
                    </a:lnTo>
                    <a:lnTo>
                      <a:pt x="3459" y="2850"/>
                    </a:lnTo>
                    <a:lnTo>
                      <a:pt x="3435" y="2859"/>
                    </a:lnTo>
                    <a:lnTo>
                      <a:pt x="3413" y="2876"/>
                    </a:lnTo>
                    <a:lnTo>
                      <a:pt x="3398" y="2897"/>
                    </a:lnTo>
                    <a:lnTo>
                      <a:pt x="3387" y="2922"/>
                    </a:lnTo>
                    <a:lnTo>
                      <a:pt x="3383" y="2949"/>
                    </a:lnTo>
                    <a:lnTo>
                      <a:pt x="3383" y="3111"/>
                    </a:lnTo>
                    <a:lnTo>
                      <a:pt x="373" y="3111"/>
                    </a:lnTo>
                    <a:lnTo>
                      <a:pt x="318" y="3106"/>
                    </a:lnTo>
                    <a:lnTo>
                      <a:pt x="266" y="3094"/>
                    </a:lnTo>
                    <a:lnTo>
                      <a:pt x="215" y="3076"/>
                    </a:lnTo>
                    <a:lnTo>
                      <a:pt x="170" y="3050"/>
                    </a:lnTo>
                    <a:lnTo>
                      <a:pt x="128" y="3019"/>
                    </a:lnTo>
                    <a:lnTo>
                      <a:pt x="92" y="2983"/>
                    </a:lnTo>
                    <a:lnTo>
                      <a:pt x="60" y="2940"/>
                    </a:lnTo>
                    <a:lnTo>
                      <a:pt x="35" y="2894"/>
                    </a:lnTo>
                    <a:lnTo>
                      <a:pt x="15" y="2845"/>
                    </a:lnTo>
                    <a:lnTo>
                      <a:pt x="5" y="2793"/>
                    </a:lnTo>
                    <a:lnTo>
                      <a:pt x="0" y="2738"/>
                    </a:lnTo>
                    <a:lnTo>
                      <a:pt x="5" y="2711"/>
                    </a:lnTo>
                    <a:lnTo>
                      <a:pt x="17" y="2687"/>
                    </a:lnTo>
                    <a:lnTo>
                      <a:pt x="35" y="2668"/>
                    </a:lnTo>
                    <a:lnTo>
                      <a:pt x="60" y="2656"/>
                    </a:lnTo>
                    <a:lnTo>
                      <a:pt x="87" y="2651"/>
                    </a:lnTo>
                    <a:lnTo>
                      <a:pt x="357" y="2651"/>
                    </a:lnTo>
                    <a:lnTo>
                      <a:pt x="357" y="189"/>
                    </a:lnTo>
                    <a:lnTo>
                      <a:pt x="360" y="151"/>
                    </a:lnTo>
                    <a:lnTo>
                      <a:pt x="373" y="116"/>
                    </a:lnTo>
                    <a:lnTo>
                      <a:pt x="389" y="84"/>
                    </a:lnTo>
                    <a:lnTo>
                      <a:pt x="412" y="55"/>
                    </a:lnTo>
                    <a:lnTo>
                      <a:pt x="441" y="32"/>
                    </a:lnTo>
                    <a:lnTo>
                      <a:pt x="473" y="15"/>
                    </a:lnTo>
                    <a:lnTo>
                      <a:pt x="509" y="3"/>
                    </a:lnTo>
                    <a:lnTo>
                      <a:pt x="54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8" name="Freeform 22"/>
              <p:cNvSpPr>
                <a:spLocks/>
              </p:cNvSpPr>
              <p:nvPr/>
            </p:nvSpPr>
            <p:spPr bwMode="auto">
              <a:xfrm>
                <a:off x="-1128" y="1247"/>
                <a:ext cx="1571" cy="825"/>
              </a:xfrm>
              <a:custGeom>
                <a:avLst/>
                <a:gdLst>
                  <a:gd name="T0" fmla="*/ 3101 w 3143"/>
                  <a:gd name="T1" fmla="*/ 0 h 1651"/>
                  <a:gd name="T2" fmla="*/ 3101 w 3143"/>
                  <a:gd name="T3" fmla="*/ 0 h 1651"/>
                  <a:gd name="T4" fmla="*/ 3113 w 3143"/>
                  <a:gd name="T5" fmla="*/ 2 h 1651"/>
                  <a:gd name="T6" fmla="*/ 3124 w 3143"/>
                  <a:gd name="T7" fmla="*/ 6 h 1651"/>
                  <a:gd name="T8" fmla="*/ 3134 w 3143"/>
                  <a:gd name="T9" fmla="*/ 15 h 1651"/>
                  <a:gd name="T10" fmla="*/ 3142 w 3143"/>
                  <a:gd name="T11" fmla="*/ 29 h 1651"/>
                  <a:gd name="T12" fmla="*/ 3143 w 3143"/>
                  <a:gd name="T13" fmla="*/ 44 h 1651"/>
                  <a:gd name="T14" fmla="*/ 3140 w 3143"/>
                  <a:gd name="T15" fmla="*/ 60 h 1651"/>
                  <a:gd name="T16" fmla="*/ 2752 w 3143"/>
                  <a:gd name="T17" fmla="*/ 1001 h 1651"/>
                  <a:gd name="T18" fmla="*/ 2745 w 3143"/>
                  <a:gd name="T19" fmla="*/ 1015 h 1651"/>
                  <a:gd name="T20" fmla="*/ 2733 w 3143"/>
                  <a:gd name="T21" fmla="*/ 1022 h 1651"/>
                  <a:gd name="T22" fmla="*/ 2719 w 3143"/>
                  <a:gd name="T23" fmla="*/ 1029 h 1651"/>
                  <a:gd name="T24" fmla="*/ 2713 w 3143"/>
                  <a:gd name="T25" fmla="*/ 1029 h 1651"/>
                  <a:gd name="T26" fmla="*/ 2701 w 3143"/>
                  <a:gd name="T27" fmla="*/ 1027 h 1651"/>
                  <a:gd name="T28" fmla="*/ 2688 w 3143"/>
                  <a:gd name="T29" fmla="*/ 1021 h 1651"/>
                  <a:gd name="T30" fmla="*/ 2679 w 3143"/>
                  <a:gd name="T31" fmla="*/ 1013 h 1651"/>
                  <a:gd name="T32" fmla="*/ 2484 w 3143"/>
                  <a:gd name="T33" fmla="*/ 775 h 1651"/>
                  <a:gd name="T34" fmla="*/ 1271 w 3143"/>
                  <a:gd name="T35" fmla="*/ 1596 h 1651"/>
                  <a:gd name="T36" fmla="*/ 1189 w 3143"/>
                  <a:gd name="T37" fmla="*/ 1651 h 1651"/>
                  <a:gd name="T38" fmla="*/ 1134 w 3143"/>
                  <a:gd name="T39" fmla="*/ 1584 h 1651"/>
                  <a:gd name="T40" fmla="*/ 677 w 3143"/>
                  <a:gd name="T41" fmla="*/ 1033 h 1651"/>
                  <a:gd name="T42" fmla="*/ 40 w 3143"/>
                  <a:gd name="T43" fmla="*/ 1492 h 1651"/>
                  <a:gd name="T44" fmla="*/ 37 w 3143"/>
                  <a:gd name="T45" fmla="*/ 1488 h 1651"/>
                  <a:gd name="T46" fmla="*/ 29 w 3143"/>
                  <a:gd name="T47" fmla="*/ 1480 h 1651"/>
                  <a:gd name="T48" fmla="*/ 20 w 3143"/>
                  <a:gd name="T49" fmla="*/ 1471 h 1651"/>
                  <a:gd name="T50" fmla="*/ 11 w 3143"/>
                  <a:gd name="T51" fmla="*/ 1460 h 1651"/>
                  <a:gd name="T52" fmla="*/ 5 w 3143"/>
                  <a:gd name="T53" fmla="*/ 1453 h 1651"/>
                  <a:gd name="T54" fmla="*/ 0 w 3143"/>
                  <a:gd name="T55" fmla="*/ 1448 h 1651"/>
                  <a:gd name="T56" fmla="*/ 652 w 3143"/>
                  <a:gd name="T57" fmla="*/ 911 h 1651"/>
                  <a:gd name="T58" fmla="*/ 689 w 3143"/>
                  <a:gd name="T59" fmla="*/ 879 h 1651"/>
                  <a:gd name="T60" fmla="*/ 729 w 3143"/>
                  <a:gd name="T61" fmla="*/ 917 h 1651"/>
                  <a:gd name="T62" fmla="*/ 1211 w 3143"/>
                  <a:gd name="T63" fmla="*/ 1379 h 1651"/>
                  <a:gd name="T64" fmla="*/ 2245 w 3143"/>
                  <a:gd name="T65" fmla="*/ 488 h 1651"/>
                  <a:gd name="T66" fmla="*/ 2067 w 3143"/>
                  <a:gd name="T67" fmla="*/ 273 h 1651"/>
                  <a:gd name="T68" fmla="*/ 2061 w 3143"/>
                  <a:gd name="T69" fmla="*/ 260 h 1651"/>
                  <a:gd name="T70" fmla="*/ 2058 w 3143"/>
                  <a:gd name="T71" fmla="*/ 246 h 1651"/>
                  <a:gd name="T72" fmla="*/ 2061 w 3143"/>
                  <a:gd name="T73" fmla="*/ 231 h 1651"/>
                  <a:gd name="T74" fmla="*/ 2067 w 3143"/>
                  <a:gd name="T75" fmla="*/ 218 h 1651"/>
                  <a:gd name="T76" fmla="*/ 2079 w 3143"/>
                  <a:gd name="T77" fmla="*/ 208 h 1651"/>
                  <a:gd name="T78" fmla="*/ 2093 w 3143"/>
                  <a:gd name="T79" fmla="*/ 203 h 1651"/>
                  <a:gd name="T80" fmla="*/ 3092 w 3143"/>
                  <a:gd name="T81" fmla="*/ 0 h 1651"/>
                  <a:gd name="T82" fmla="*/ 3101 w 3143"/>
                  <a:gd name="T83" fmla="*/ 0 h 1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143" h="1651">
                    <a:moveTo>
                      <a:pt x="3101" y="0"/>
                    </a:moveTo>
                    <a:lnTo>
                      <a:pt x="3101" y="0"/>
                    </a:lnTo>
                    <a:lnTo>
                      <a:pt x="3113" y="2"/>
                    </a:lnTo>
                    <a:lnTo>
                      <a:pt x="3124" y="6"/>
                    </a:lnTo>
                    <a:lnTo>
                      <a:pt x="3134" y="15"/>
                    </a:lnTo>
                    <a:lnTo>
                      <a:pt x="3142" y="29"/>
                    </a:lnTo>
                    <a:lnTo>
                      <a:pt x="3143" y="44"/>
                    </a:lnTo>
                    <a:lnTo>
                      <a:pt x="3140" y="60"/>
                    </a:lnTo>
                    <a:lnTo>
                      <a:pt x="2752" y="1001"/>
                    </a:lnTo>
                    <a:lnTo>
                      <a:pt x="2745" y="1015"/>
                    </a:lnTo>
                    <a:lnTo>
                      <a:pt x="2733" y="1022"/>
                    </a:lnTo>
                    <a:lnTo>
                      <a:pt x="2719" y="1029"/>
                    </a:lnTo>
                    <a:lnTo>
                      <a:pt x="2713" y="1029"/>
                    </a:lnTo>
                    <a:lnTo>
                      <a:pt x="2701" y="1027"/>
                    </a:lnTo>
                    <a:lnTo>
                      <a:pt x="2688" y="1021"/>
                    </a:lnTo>
                    <a:lnTo>
                      <a:pt x="2679" y="1013"/>
                    </a:lnTo>
                    <a:lnTo>
                      <a:pt x="2484" y="775"/>
                    </a:lnTo>
                    <a:lnTo>
                      <a:pt x="1271" y="1596"/>
                    </a:lnTo>
                    <a:lnTo>
                      <a:pt x="1189" y="1651"/>
                    </a:lnTo>
                    <a:lnTo>
                      <a:pt x="1134" y="1584"/>
                    </a:lnTo>
                    <a:lnTo>
                      <a:pt x="677" y="1033"/>
                    </a:lnTo>
                    <a:lnTo>
                      <a:pt x="40" y="1492"/>
                    </a:lnTo>
                    <a:lnTo>
                      <a:pt x="37" y="1488"/>
                    </a:lnTo>
                    <a:lnTo>
                      <a:pt x="29" y="1480"/>
                    </a:lnTo>
                    <a:lnTo>
                      <a:pt x="20" y="1471"/>
                    </a:lnTo>
                    <a:lnTo>
                      <a:pt x="11" y="1460"/>
                    </a:lnTo>
                    <a:lnTo>
                      <a:pt x="5" y="1453"/>
                    </a:lnTo>
                    <a:lnTo>
                      <a:pt x="0" y="1448"/>
                    </a:lnTo>
                    <a:lnTo>
                      <a:pt x="652" y="911"/>
                    </a:lnTo>
                    <a:lnTo>
                      <a:pt x="689" y="879"/>
                    </a:lnTo>
                    <a:lnTo>
                      <a:pt x="729" y="917"/>
                    </a:lnTo>
                    <a:lnTo>
                      <a:pt x="1211" y="1379"/>
                    </a:lnTo>
                    <a:lnTo>
                      <a:pt x="2245" y="488"/>
                    </a:lnTo>
                    <a:lnTo>
                      <a:pt x="2067" y="273"/>
                    </a:lnTo>
                    <a:lnTo>
                      <a:pt x="2061" y="260"/>
                    </a:lnTo>
                    <a:lnTo>
                      <a:pt x="2058" y="246"/>
                    </a:lnTo>
                    <a:lnTo>
                      <a:pt x="2061" y="231"/>
                    </a:lnTo>
                    <a:lnTo>
                      <a:pt x="2067" y="218"/>
                    </a:lnTo>
                    <a:lnTo>
                      <a:pt x="2079" y="208"/>
                    </a:lnTo>
                    <a:lnTo>
                      <a:pt x="2093" y="203"/>
                    </a:lnTo>
                    <a:lnTo>
                      <a:pt x="3092" y="0"/>
                    </a:lnTo>
                    <a:lnTo>
                      <a:pt x="310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9" name="Freeform 23"/>
              <p:cNvSpPr>
                <a:spLocks/>
              </p:cNvSpPr>
              <p:nvPr/>
            </p:nvSpPr>
            <p:spPr bwMode="auto">
              <a:xfrm>
                <a:off x="-394" y="2507"/>
                <a:ext cx="102" cy="270"/>
              </a:xfrm>
              <a:custGeom>
                <a:avLst/>
                <a:gdLst>
                  <a:gd name="T0" fmla="*/ 102 w 205"/>
                  <a:gd name="T1" fmla="*/ 0 h 540"/>
                  <a:gd name="T2" fmla="*/ 128 w 205"/>
                  <a:gd name="T3" fmla="*/ 3 h 540"/>
                  <a:gd name="T4" fmla="*/ 153 w 205"/>
                  <a:gd name="T5" fmla="*/ 14 h 540"/>
                  <a:gd name="T6" fmla="*/ 174 w 205"/>
                  <a:gd name="T7" fmla="*/ 29 h 540"/>
                  <a:gd name="T8" fmla="*/ 191 w 205"/>
                  <a:gd name="T9" fmla="*/ 50 h 540"/>
                  <a:gd name="T10" fmla="*/ 200 w 205"/>
                  <a:gd name="T11" fmla="*/ 75 h 540"/>
                  <a:gd name="T12" fmla="*/ 205 w 205"/>
                  <a:gd name="T13" fmla="*/ 102 h 540"/>
                  <a:gd name="T14" fmla="*/ 205 w 205"/>
                  <a:gd name="T15" fmla="*/ 438 h 540"/>
                  <a:gd name="T16" fmla="*/ 200 w 205"/>
                  <a:gd name="T17" fmla="*/ 465 h 540"/>
                  <a:gd name="T18" fmla="*/ 191 w 205"/>
                  <a:gd name="T19" fmla="*/ 490 h 540"/>
                  <a:gd name="T20" fmla="*/ 174 w 205"/>
                  <a:gd name="T21" fmla="*/ 511 h 540"/>
                  <a:gd name="T22" fmla="*/ 153 w 205"/>
                  <a:gd name="T23" fmla="*/ 526 h 540"/>
                  <a:gd name="T24" fmla="*/ 128 w 205"/>
                  <a:gd name="T25" fmla="*/ 537 h 540"/>
                  <a:gd name="T26" fmla="*/ 102 w 205"/>
                  <a:gd name="T27" fmla="*/ 540 h 540"/>
                  <a:gd name="T28" fmla="*/ 75 w 205"/>
                  <a:gd name="T29" fmla="*/ 537 h 540"/>
                  <a:gd name="T30" fmla="*/ 50 w 205"/>
                  <a:gd name="T31" fmla="*/ 526 h 540"/>
                  <a:gd name="T32" fmla="*/ 29 w 205"/>
                  <a:gd name="T33" fmla="*/ 511 h 540"/>
                  <a:gd name="T34" fmla="*/ 14 w 205"/>
                  <a:gd name="T35" fmla="*/ 490 h 540"/>
                  <a:gd name="T36" fmla="*/ 3 w 205"/>
                  <a:gd name="T37" fmla="*/ 465 h 540"/>
                  <a:gd name="T38" fmla="*/ 0 w 205"/>
                  <a:gd name="T39" fmla="*/ 438 h 540"/>
                  <a:gd name="T40" fmla="*/ 0 w 205"/>
                  <a:gd name="T41" fmla="*/ 102 h 540"/>
                  <a:gd name="T42" fmla="*/ 3 w 205"/>
                  <a:gd name="T43" fmla="*/ 75 h 540"/>
                  <a:gd name="T44" fmla="*/ 14 w 205"/>
                  <a:gd name="T45" fmla="*/ 50 h 540"/>
                  <a:gd name="T46" fmla="*/ 29 w 205"/>
                  <a:gd name="T47" fmla="*/ 29 h 540"/>
                  <a:gd name="T48" fmla="*/ 50 w 205"/>
                  <a:gd name="T49" fmla="*/ 14 h 540"/>
                  <a:gd name="T50" fmla="*/ 75 w 205"/>
                  <a:gd name="T51" fmla="*/ 3 h 540"/>
                  <a:gd name="T52" fmla="*/ 102 w 205"/>
                  <a:gd name="T53" fmla="*/ 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5" h="540">
                    <a:moveTo>
                      <a:pt x="102" y="0"/>
                    </a:moveTo>
                    <a:lnTo>
                      <a:pt x="128" y="3"/>
                    </a:lnTo>
                    <a:lnTo>
                      <a:pt x="153" y="14"/>
                    </a:lnTo>
                    <a:lnTo>
                      <a:pt x="174" y="29"/>
                    </a:lnTo>
                    <a:lnTo>
                      <a:pt x="191" y="50"/>
                    </a:lnTo>
                    <a:lnTo>
                      <a:pt x="200" y="75"/>
                    </a:lnTo>
                    <a:lnTo>
                      <a:pt x="205" y="102"/>
                    </a:lnTo>
                    <a:lnTo>
                      <a:pt x="205" y="438"/>
                    </a:lnTo>
                    <a:lnTo>
                      <a:pt x="200" y="465"/>
                    </a:lnTo>
                    <a:lnTo>
                      <a:pt x="191" y="490"/>
                    </a:lnTo>
                    <a:lnTo>
                      <a:pt x="174" y="511"/>
                    </a:lnTo>
                    <a:lnTo>
                      <a:pt x="153" y="526"/>
                    </a:lnTo>
                    <a:lnTo>
                      <a:pt x="128" y="537"/>
                    </a:lnTo>
                    <a:lnTo>
                      <a:pt x="102" y="540"/>
                    </a:lnTo>
                    <a:lnTo>
                      <a:pt x="75" y="537"/>
                    </a:lnTo>
                    <a:lnTo>
                      <a:pt x="50" y="526"/>
                    </a:lnTo>
                    <a:lnTo>
                      <a:pt x="29" y="511"/>
                    </a:lnTo>
                    <a:lnTo>
                      <a:pt x="14" y="490"/>
                    </a:lnTo>
                    <a:lnTo>
                      <a:pt x="3" y="465"/>
                    </a:lnTo>
                    <a:lnTo>
                      <a:pt x="0" y="438"/>
                    </a:lnTo>
                    <a:lnTo>
                      <a:pt x="0" y="102"/>
                    </a:lnTo>
                    <a:lnTo>
                      <a:pt x="3" y="75"/>
                    </a:lnTo>
                    <a:lnTo>
                      <a:pt x="14" y="50"/>
                    </a:lnTo>
                    <a:lnTo>
                      <a:pt x="29" y="29"/>
                    </a:lnTo>
                    <a:lnTo>
                      <a:pt x="50" y="14"/>
                    </a:lnTo>
                    <a:lnTo>
                      <a:pt x="75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0" name="Freeform 24"/>
              <p:cNvSpPr>
                <a:spLocks/>
              </p:cNvSpPr>
              <p:nvPr/>
            </p:nvSpPr>
            <p:spPr bwMode="auto">
              <a:xfrm>
                <a:off x="-587" y="2296"/>
                <a:ext cx="102" cy="481"/>
              </a:xfrm>
              <a:custGeom>
                <a:avLst/>
                <a:gdLst>
                  <a:gd name="T0" fmla="*/ 103 w 205"/>
                  <a:gd name="T1" fmla="*/ 0 h 963"/>
                  <a:gd name="T2" fmla="*/ 130 w 205"/>
                  <a:gd name="T3" fmla="*/ 3 h 963"/>
                  <a:gd name="T4" fmla="*/ 154 w 205"/>
                  <a:gd name="T5" fmla="*/ 14 h 963"/>
                  <a:gd name="T6" fmla="*/ 176 w 205"/>
                  <a:gd name="T7" fmla="*/ 31 h 963"/>
                  <a:gd name="T8" fmla="*/ 191 w 205"/>
                  <a:gd name="T9" fmla="*/ 51 h 963"/>
                  <a:gd name="T10" fmla="*/ 202 w 205"/>
                  <a:gd name="T11" fmla="*/ 75 h 963"/>
                  <a:gd name="T12" fmla="*/ 205 w 205"/>
                  <a:gd name="T13" fmla="*/ 102 h 963"/>
                  <a:gd name="T14" fmla="*/ 205 w 205"/>
                  <a:gd name="T15" fmla="*/ 861 h 963"/>
                  <a:gd name="T16" fmla="*/ 202 w 205"/>
                  <a:gd name="T17" fmla="*/ 888 h 963"/>
                  <a:gd name="T18" fmla="*/ 191 w 205"/>
                  <a:gd name="T19" fmla="*/ 913 h 963"/>
                  <a:gd name="T20" fmla="*/ 176 w 205"/>
                  <a:gd name="T21" fmla="*/ 934 h 963"/>
                  <a:gd name="T22" fmla="*/ 154 w 205"/>
                  <a:gd name="T23" fmla="*/ 949 h 963"/>
                  <a:gd name="T24" fmla="*/ 130 w 205"/>
                  <a:gd name="T25" fmla="*/ 960 h 963"/>
                  <a:gd name="T26" fmla="*/ 103 w 205"/>
                  <a:gd name="T27" fmla="*/ 963 h 963"/>
                  <a:gd name="T28" fmla="*/ 75 w 205"/>
                  <a:gd name="T29" fmla="*/ 960 h 963"/>
                  <a:gd name="T30" fmla="*/ 51 w 205"/>
                  <a:gd name="T31" fmla="*/ 949 h 963"/>
                  <a:gd name="T32" fmla="*/ 31 w 205"/>
                  <a:gd name="T33" fmla="*/ 934 h 963"/>
                  <a:gd name="T34" fmla="*/ 14 w 205"/>
                  <a:gd name="T35" fmla="*/ 913 h 963"/>
                  <a:gd name="T36" fmla="*/ 5 w 205"/>
                  <a:gd name="T37" fmla="*/ 888 h 963"/>
                  <a:gd name="T38" fmla="*/ 0 w 205"/>
                  <a:gd name="T39" fmla="*/ 861 h 963"/>
                  <a:gd name="T40" fmla="*/ 0 w 205"/>
                  <a:gd name="T41" fmla="*/ 102 h 963"/>
                  <a:gd name="T42" fmla="*/ 5 w 205"/>
                  <a:gd name="T43" fmla="*/ 75 h 963"/>
                  <a:gd name="T44" fmla="*/ 14 w 205"/>
                  <a:gd name="T45" fmla="*/ 51 h 963"/>
                  <a:gd name="T46" fmla="*/ 31 w 205"/>
                  <a:gd name="T47" fmla="*/ 31 h 963"/>
                  <a:gd name="T48" fmla="*/ 51 w 205"/>
                  <a:gd name="T49" fmla="*/ 14 h 963"/>
                  <a:gd name="T50" fmla="*/ 75 w 205"/>
                  <a:gd name="T51" fmla="*/ 3 h 963"/>
                  <a:gd name="T52" fmla="*/ 103 w 205"/>
                  <a:gd name="T53" fmla="*/ 0 h 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5" h="963">
                    <a:moveTo>
                      <a:pt x="103" y="0"/>
                    </a:moveTo>
                    <a:lnTo>
                      <a:pt x="130" y="3"/>
                    </a:lnTo>
                    <a:lnTo>
                      <a:pt x="154" y="14"/>
                    </a:lnTo>
                    <a:lnTo>
                      <a:pt x="176" y="31"/>
                    </a:lnTo>
                    <a:lnTo>
                      <a:pt x="191" y="51"/>
                    </a:lnTo>
                    <a:lnTo>
                      <a:pt x="202" y="75"/>
                    </a:lnTo>
                    <a:lnTo>
                      <a:pt x="205" y="102"/>
                    </a:lnTo>
                    <a:lnTo>
                      <a:pt x="205" y="861"/>
                    </a:lnTo>
                    <a:lnTo>
                      <a:pt x="202" y="888"/>
                    </a:lnTo>
                    <a:lnTo>
                      <a:pt x="191" y="913"/>
                    </a:lnTo>
                    <a:lnTo>
                      <a:pt x="176" y="934"/>
                    </a:lnTo>
                    <a:lnTo>
                      <a:pt x="154" y="949"/>
                    </a:lnTo>
                    <a:lnTo>
                      <a:pt x="130" y="960"/>
                    </a:lnTo>
                    <a:lnTo>
                      <a:pt x="103" y="963"/>
                    </a:lnTo>
                    <a:lnTo>
                      <a:pt x="75" y="960"/>
                    </a:lnTo>
                    <a:lnTo>
                      <a:pt x="51" y="949"/>
                    </a:lnTo>
                    <a:lnTo>
                      <a:pt x="31" y="934"/>
                    </a:lnTo>
                    <a:lnTo>
                      <a:pt x="14" y="913"/>
                    </a:lnTo>
                    <a:lnTo>
                      <a:pt x="5" y="888"/>
                    </a:lnTo>
                    <a:lnTo>
                      <a:pt x="0" y="861"/>
                    </a:lnTo>
                    <a:lnTo>
                      <a:pt x="0" y="102"/>
                    </a:lnTo>
                    <a:lnTo>
                      <a:pt x="5" y="75"/>
                    </a:lnTo>
                    <a:lnTo>
                      <a:pt x="14" y="51"/>
                    </a:lnTo>
                    <a:lnTo>
                      <a:pt x="31" y="31"/>
                    </a:lnTo>
                    <a:lnTo>
                      <a:pt x="51" y="14"/>
                    </a:lnTo>
                    <a:lnTo>
                      <a:pt x="75" y="3"/>
                    </a:lnTo>
                    <a:lnTo>
                      <a:pt x="1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1" name="Freeform 25"/>
              <p:cNvSpPr>
                <a:spLocks/>
              </p:cNvSpPr>
              <p:nvPr/>
            </p:nvSpPr>
            <p:spPr bwMode="auto">
              <a:xfrm>
                <a:off x="-779" y="2507"/>
                <a:ext cx="103" cy="270"/>
              </a:xfrm>
              <a:custGeom>
                <a:avLst/>
                <a:gdLst>
                  <a:gd name="T0" fmla="*/ 102 w 204"/>
                  <a:gd name="T1" fmla="*/ 0 h 540"/>
                  <a:gd name="T2" fmla="*/ 130 w 204"/>
                  <a:gd name="T3" fmla="*/ 3 h 540"/>
                  <a:gd name="T4" fmla="*/ 154 w 204"/>
                  <a:gd name="T5" fmla="*/ 14 h 540"/>
                  <a:gd name="T6" fmla="*/ 174 w 204"/>
                  <a:gd name="T7" fmla="*/ 29 h 540"/>
                  <a:gd name="T8" fmla="*/ 191 w 204"/>
                  <a:gd name="T9" fmla="*/ 50 h 540"/>
                  <a:gd name="T10" fmla="*/ 200 w 204"/>
                  <a:gd name="T11" fmla="*/ 75 h 540"/>
                  <a:gd name="T12" fmla="*/ 204 w 204"/>
                  <a:gd name="T13" fmla="*/ 102 h 540"/>
                  <a:gd name="T14" fmla="*/ 204 w 204"/>
                  <a:gd name="T15" fmla="*/ 438 h 540"/>
                  <a:gd name="T16" fmla="*/ 200 w 204"/>
                  <a:gd name="T17" fmla="*/ 465 h 540"/>
                  <a:gd name="T18" fmla="*/ 191 w 204"/>
                  <a:gd name="T19" fmla="*/ 490 h 540"/>
                  <a:gd name="T20" fmla="*/ 174 w 204"/>
                  <a:gd name="T21" fmla="*/ 511 h 540"/>
                  <a:gd name="T22" fmla="*/ 154 w 204"/>
                  <a:gd name="T23" fmla="*/ 526 h 540"/>
                  <a:gd name="T24" fmla="*/ 130 w 204"/>
                  <a:gd name="T25" fmla="*/ 537 h 540"/>
                  <a:gd name="T26" fmla="*/ 102 w 204"/>
                  <a:gd name="T27" fmla="*/ 540 h 540"/>
                  <a:gd name="T28" fmla="*/ 75 w 204"/>
                  <a:gd name="T29" fmla="*/ 537 h 540"/>
                  <a:gd name="T30" fmla="*/ 50 w 204"/>
                  <a:gd name="T31" fmla="*/ 526 h 540"/>
                  <a:gd name="T32" fmla="*/ 29 w 204"/>
                  <a:gd name="T33" fmla="*/ 511 h 540"/>
                  <a:gd name="T34" fmla="*/ 14 w 204"/>
                  <a:gd name="T35" fmla="*/ 490 h 540"/>
                  <a:gd name="T36" fmla="*/ 3 w 204"/>
                  <a:gd name="T37" fmla="*/ 465 h 540"/>
                  <a:gd name="T38" fmla="*/ 0 w 204"/>
                  <a:gd name="T39" fmla="*/ 438 h 540"/>
                  <a:gd name="T40" fmla="*/ 0 w 204"/>
                  <a:gd name="T41" fmla="*/ 102 h 540"/>
                  <a:gd name="T42" fmla="*/ 3 w 204"/>
                  <a:gd name="T43" fmla="*/ 75 h 540"/>
                  <a:gd name="T44" fmla="*/ 14 w 204"/>
                  <a:gd name="T45" fmla="*/ 50 h 540"/>
                  <a:gd name="T46" fmla="*/ 29 w 204"/>
                  <a:gd name="T47" fmla="*/ 29 h 540"/>
                  <a:gd name="T48" fmla="*/ 50 w 204"/>
                  <a:gd name="T49" fmla="*/ 14 h 540"/>
                  <a:gd name="T50" fmla="*/ 75 w 204"/>
                  <a:gd name="T51" fmla="*/ 3 h 540"/>
                  <a:gd name="T52" fmla="*/ 102 w 204"/>
                  <a:gd name="T53" fmla="*/ 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4" h="540">
                    <a:moveTo>
                      <a:pt x="102" y="0"/>
                    </a:moveTo>
                    <a:lnTo>
                      <a:pt x="130" y="3"/>
                    </a:lnTo>
                    <a:lnTo>
                      <a:pt x="154" y="14"/>
                    </a:lnTo>
                    <a:lnTo>
                      <a:pt x="174" y="29"/>
                    </a:lnTo>
                    <a:lnTo>
                      <a:pt x="191" y="50"/>
                    </a:lnTo>
                    <a:lnTo>
                      <a:pt x="200" y="75"/>
                    </a:lnTo>
                    <a:lnTo>
                      <a:pt x="204" y="102"/>
                    </a:lnTo>
                    <a:lnTo>
                      <a:pt x="204" y="438"/>
                    </a:lnTo>
                    <a:lnTo>
                      <a:pt x="200" y="465"/>
                    </a:lnTo>
                    <a:lnTo>
                      <a:pt x="191" y="490"/>
                    </a:lnTo>
                    <a:lnTo>
                      <a:pt x="174" y="511"/>
                    </a:lnTo>
                    <a:lnTo>
                      <a:pt x="154" y="526"/>
                    </a:lnTo>
                    <a:lnTo>
                      <a:pt x="130" y="537"/>
                    </a:lnTo>
                    <a:lnTo>
                      <a:pt x="102" y="540"/>
                    </a:lnTo>
                    <a:lnTo>
                      <a:pt x="75" y="537"/>
                    </a:lnTo>
                    <a:lnTo>
                      <a:pt x="50" y="526"/>
                    </a:lnTo>
                    <a:lnTo>
                      <a:pt x="29" y="511"/>
                    </a:lnTo>
                    <a:lnTo>
                      <a:pt x="14" y="490"/>
                    </a:lnTo>
                    <a:lnTo>
                      <a:pt x="3" y="465"/>
                    </a:lnTo>
                    <a:lnTo>
                      <a:pt x="0" y="438"/>
                    </a:lnTo>
                    <a:lnTo>
                      <a:pt x="0" y="102"/>
                    </a:lnTo>
                    <a:lnTo>
                      <a:pt x="3" y="75"/>
                    </a:lnTo>
                    <a:lnTo>
                      <a:pt x="14" y="50"/>
                    </a:lnTo>
                    <a:lnTo>
                      <a:pt x="29" y="29"/>
                    </a:lnTo>
                    <a:lnTo>
                      <a:pt x="50" y="14"/>
                    </a:lnTo>
                    <a:lnTo>
                      <a:pt x="75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2" name="Freeform 26"/>
              <p:cNvSpPr>
                <a:spLocks/>
              </p:cNvSpPr>
              <p:nvPr/>
            </p:nvSpPr>
            <p:spPr bwMode="auto">
              <a:xfrm>
                <a:off x="-971" y="2296"/>
                <a:ext cx="102" cy="481"/>
              </a:xfrm>
              <a:custGeom>
                <a:avLst/>
                <a:gdLst>
                  <a:gd name="T0" fmla="*/ 102 w 205"/>
                  <a:gd name="T1" fmla="*/ 0 h 963"/>
                  <a:gd name="T2" fmla="*/ 130 w 205"/>
                  <a:gd name="T3" fmla="*/ 3 h 963"/>
                  <a:gd name="T4" fmla="*/ 154 w 205"/>
                  <a:gd name="T5" fmla="*/ 14 h 963"/>
                  <a:gd name="T6" fmla="*/ 176 w 205"/>
                  <a:gd name="T7" fmla="*/ 31 h 963"/>
                  <a:gd name="T8" fmla="*/ 191 w 205"/>
                  <a:gd name="T9" fmla="*/ 51 h 963"/>
                  <a:gd name="T10" fmla="*/ 202 w 205"/>
                  <a:gd name="T11" fmla="*/ 75 h 963"/>
                  <a:gd name="T12" fmla="*/ 205 w 205"/>
                  <a:gd name="T13" fmla="*/ 102 h 963"/>
                  <a:gd name="T14" fmla="*/ 205 w 205"/>
                  <a:gd name="T15" fmla="*/ 861 h 963"/>
                  <a:gd name="T16" fmla="*/ 202 w 205"/>
                  <a:gd name="T17" fmla="*/ 888 h 963"/>
                  <a:gd name="T18" fmla="*/ 191 w 205"/>
                  <a:gd name="T19" fmla="*/ 913 h 963"/>
                  <a:gd name="T20" fmla="*/ 176 w 205"/>
                  <a:gd name="T21" fmla="*/ 934 h 963"/>
                  <a:gd name="T22" fmla="*/ 154 w 205"/>
                  <a:gd name="T23" fmla="*/ 949 h 963"/>
                  <a:gd name="T24" fmla="*/ 130 w 205"/>
                  <a:gd name="T25" fmla="*/ 960 h 963"/>
                  <a:gd name="T26" fmla="*/ 102 w 205"/>
                  <a:gd name="T27" fmla="*/ 963 h 963"/>
                  <a:gd name="T28" fmla="*/ 76 w 205"/>
                  <a:gd name="T29" fmla="*/ 960 h 963"/>
                  <a:gd name="T30" fmla="*/ 50 w 205"/>
                  <a:gd name="T31" fmla="*/ 949 h 963"/>
                  <a:gd name="T32" fmla="*/ 31 w 205"/>
                  <a:gd name="T33" fmla="*/ 934 h 963"/>
                  <a:gd name="T34" fmla="*/ 14 w 205"/>
                  <a:gd name="T35" fmla="*/ 913 h 963"/>
                  <a:gd name="T36" fmla="*/ 5 w 205"/>
                  <a:gd name="T37" fmla="*/ 888 h 963"/>
                  <a:gd name="T38" fmla="*/ 0 w 205"/>
                  <a:gd name="T39" fmla="*/ 861 h 963"/>
                  <a:gd name="T40" fmla="*/ 0 w 205"/>
                  <a:gd name="T41" fmla="*/ 102 h 963"/>
                  <a:gd name="T42" fmla="*/ 5 w 205"/>
                  <a:gd name="T43" fmla="*/ 75 h 963"/>
                  <a:gd name="T44" fmla="*/ 14 w 205"/>
                  <a:gd name="T45" fmla="*/ 51 h 963"/>
                  <a:gd name="T46" fmla="*/ 31 w 205"/>
                  <a:gd name="T47" fmla="*/ 31 h 963"/>
                  <a:gd name="T48" fmla="*/ 50 w 205"/>
                  <a:gd name="T49" fmla="*/ 14 h 963"/>
                  <a:gd name="T50" fmla="*/ 76 w 205"/>
                  <a:gd name="T51" fmla="*/ 3 h 963"/>
                  <a:gd name="T52" fmla="*/ 102 w 205"/>
                  <a:gd name="T53" fmla="*/ 0 h 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5" h="963">
                    <a:moveTo>
                      <a:pt x="102" y="0"/>
                    </a:moveTo>
                    <a:lnTo>
                      <a:pt x="130" y="3"/>
                    </a:lnTo>
                    <a:lnTo>
                      <a:pt x="154" y="14"/>
                    </a:lnTo>
                    <a:lnTo>
                      <a:pt x="176" y="31"/>
                    </a:lnTo>
                    <a:lnTo>
                      <a:pt x="191" y="51"/>
                    </a:lnTo>
                    <a:lnTo>
                      <a:pt x="202" y="75"/>
                    </a:lnTo>
                    <a:lnTo>
                      <a:pt x="205" y="102"/>
                    </a:lnTo>
                    <a:lnTo>
                      <a:pt x="205" y="861"/>
                    </a:lnTo>
                    <a:lnTo>
                      <a:pt x="202" y="888"/>
                    </a:lnTo>
                    <a:lnTo>
                      <a:pt x="191" y="913"/>
                    </a:lnTo>
                    <a:lnTo>
                      <a:pt x="176" y="934"/>
                    </a:lnTo>
                    <a:lnTo>
                      <a:pt x="154" y="949"/>
                    </a:lnTo>
                    <a:lnTo>
                      <a:pt x="130" y="960"/>
                    </a:lnTo>
                    <a:lnTo>
                      <a:pt x="102" y="963"/>
                    </a:lnTo>
                    <a:lnTo>
                      <a:pt x="76" y="960"/>
                    </a:lnTo>
                    <a:lnTo>
                      <a:pt x="50" y="949"/>
                    </a:lnTo>
                    <a:lnTo>
                      <a:pt x="31" y="934"/>
                    </a:lnTo>
                    <a:lnTo>
                      <a:pt x="14" y="913"/>
                    </a:lnTo>
                    <a:lnTo>
                      <a:pt x="5" y="888"/>
                    </a:lnTo>
                    <a:lnTo>
                      <a:pt x="0" y="861"/>
                    </a:lnTo>
                    <a:lnTo>
                      <a:pt x="0" y="102"/>
                    </a:lnTo>
                    <a:lnTo>
                      <a:pt x="5" y="75"/>
                    </a:lnTo>
                    <a:lnTo>
                      <a:pt x="14" y="51"/>
                    </a:lnTo>
                    <a:lnTo>
                      <a:pt x="31" y="31"/>
                    </a:lnTo>
                    <a:lnTo>
                      <a:pt x="50" y="14"/>
                    </a:lnTo>
                    <a:lnTo>
                      <a:pt x="76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3" name="Freeform 27"/>
              <p:cNvSpPr>
                <a:spLocks/>
              </p:cNvSpPr>
              <p:nvPr/>
            </p:nvSpPr>
            <p:spPr bwMode="auto">
              <a:xfrm>
                <a:off x="-1163" y="2161"/>
                <a:ext cx="103" cy="616"/>
              </a:xfrm>
              <a:custGeom>
                <a:avLst/>
                <a:gdLst>
                  <a:gd name="T0" fmla="*/ 102 w 204"/>
                  <a:gd name="T1" fmla="*/ 0 h 1231"/>
                  <a:gd name="T2" fmla="*/ 129 w 204"/>
                  <a:gd name="T3" fmla="*/ 3 h 1231"/>
                  <a:gd name="T4" fmla="*/ 154 w 204"/>
                  <a:gd name="T5" fmla="*/ 13 h 1231"/>
                  <a:gd name="T6" fmla="*/ 174 w 204"/>
                  <a:gd name="T7" fmla="*/ 30 h 1231"/>
                  <a:gd name="T8" fmla="*/ 191 w 204"/>
                  <a:gd name="T9" fmla="*/ 50 h 1231"/>
                  <a:gd name="T10" fmla="*/ 201 w 204"/>
                  <a:gd name="T11" fmla="*/ 74 h 1231"/>
                  <a:gd name="T12" fmla="*/ 204 w 204"/>
                  <a:gd name="T13" fmla="*/ 102 h 1231"/>
                  <a:gd name="T14" fmla="*/ 204 w 204"/>
                  <a:gd name="T15" fmla="*/ 1129 h 1231"/>
                  <a:gd name="T16" fmla="*/ 201 w 204"/>
                  <a:gd name="T17" fmla="*/ 1156 h 1231"/>
                  <a:gd name="T18" fmla="*/ 191 w 204"/>
                  <a:gd name="T19" fmla="*/ 1181 h 1231"/>
                  <a:gd name="T20" fmla="*/ 174 w 204"/>
                  <a:gd name="T21" fmla="*/ 1202 h 1231"/>
                  <a:gd name="T22" fmla="*/ 154 w 204"/>
                  <a:gd name="T23" fmla="*/ 1217 h 1231"/>
                  <a:gd name="T24" fmla="*/ 129 w 204"/>
                  <a:gd name="T25" fmla="*/ 1228 h 1231"/>
                  <a:gd name="T26" fmla="*/ 102 w 204"/>
                  <a:gd name="T27" fmla="*/ 1231 h 1231"/>
                  <a:gd name="T28" fmla="*/ 74 w 204"/>
                  <a:gd name="T29" fmla="*/ 1228 h 1231"/>
                  <a:gd name="T30" fmla="*/ 50 w 204"/>
                  <a:gd name="T31" fmla="*/ 1217 h 1231"/>
                  <a:gd name="T32" fmla="*/ 29 w 204"/>
                  <a:gd name="T33" fmla="*/ 1202 h 1231"/>
                  <a:gd name="T34" fmla="*/ 13 w 204"/>
                  <a:gd name="T35" fmla="*/ 1181 h 1231"/>
                  <a:gd name="T36" fmla="*/ 3 w 204"/>
                  <a:gd name="T37" fmla="*/ 1156 h 1231"/>
                  <a:gd name="T38" fmla="*/ 0 w 204"/>
                  <a:gd name="T39" fmla="*/ 1129 h 1231"/>
                  <a:gd name="T40" fmla="*/ 0 w 204"/>
                  <a:gd name="T41" fmla="*/ 102 h 1231"/>
                  <a:gd name="T42" fmla="*/ 3 w 204"/>
                  <a:gd name="T43" fmla="*/ 74 h 1231"/>
                  <a:gd name="T44" fmla="*/ 13 w 204"/>
                  <a:gd name="T45" fmla="*/ 51 h 1231"/>
                  <a:gd name="T46" fmla="*/ 29 w 204"/>
                  <a:gd name="T47" fmla="*/ 30 h 1231"/>
                  <a:gd name="T48" fmla="*/ 48 w 204"/>
                  <a:gd name="T49" fmla="*/ 15 h 1231"/>
                  <a:gd name="T50" fmla="*/ 74 w 204"/>
                  <a:gd name="T51" fmla="*/ 4 h 1231"/>
                  <a:gd name="T52" fmla="*/ 102 w 204"/>
                  <a:gd name="T53" fmla="*/ 0 h 1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4" h="1231">
                    <a:moveTo>
                      <a:pt x="102" y="0"/>
                    </a:moveTo>
                    <a:lnTo>
                      <a:pt x="129" y="3"/>
                    </a:lnTo>
                    <a:lnTo>
                      <a:pt x="154" y="13"/>
                    </a:lnTo>
                    <a:lnTo>
                      <a:pt x="174" y="30"/>
                    </a:lnTo>
                    <a:lnTo>
                      <a:pt x="191" y="50"/>
                    </a:lnTo>
                    <a:lnTo>
                      <a:pt x="201" y="74"/>
                    </a:lnTo>
                    <a:lnTo>
                      <a:pt x="204" y="102"/>
                    </a:lnTo>
                    <a:lnTo>
                      <a:pt x="204" y="1129"/>
                    </a:lnTo>
                    <a:lnTo>
                      <a:pt x="201" y="1156"/>
                    </a:lnTo>
                    <a:lnTo>
                      <a:pt x="191" y="1181"/>
                    </a:lnTo>
                    <a:lnTo>
                      <a:pt x="174" y="1202"/>
                    </a:lnTo>
                    <a:lnTo>
                      <a:pt x="154" y="1217"/>
                    </a:lnTo>
                    <a:lnTo>
                      <a:pt x="129" y="1228"/>
                    </a:lnTo>
                    <a:lnTo>
                      <a:pt x="102" y="1231"/>
                    </a:lnTo>
                    <a:lnTo>
                      <a:pt x="74" y="1228"/>
                    </a:lnTo>
                    <a:lnTo>
                      <a:pt x="50" y="1217"/>
                    </a:lnTo>
                    <a:lnTo>
                      <a:pt x="29" y="1202"/>
                    </a:lnTo>
                    <a:lnTo>
                      <a:pt x="13" y="1181"/>
                    </a:lnTo>
                    <a:lnTo>
                      <a:pt x="3" y="1156"/>
                    </a:lnTo>
                    <a:lnTo>
                      <a:pt x="0" y="1129"/>
                    </a:lnTo>
                    <a:lnTo>
                      <a:pt x="0" y="102"/>
                    </a:lnTo>
                    <a:lnTo>
                      <a:pt x="3" y="74"/>
                    </a:lnTo>
                    <a:lnTo>
                      <a:pt x="13" y="51"/>
                    </a:lnTo>
                    <a:lnTo>
                      <a:pt x="29" y="30"/>
                    </a:lnTo>
                    <a:lnTo>
                      <a:pt x="48" y="15"/>
                    </a:lnTo>
                    <a:lnTo>
                      <a:pt x="74" y="4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4" name="Freeform 28"/>
              <p:cNvSpPr>
                <a:spLocks/>
              </p:cNvSpPr>
              <p:nvPr/>
            </p:nvSpPr>
            <p:spPr bwMode="auto">
              <a:xfrm>
                <a:off x="21" y="2418"/>
                <a:ext cx="337" cy="103"/>
              </a:xfrm>
              <a:custGeom>
                <a:avLst/>
                <a:gdLst>
                  <a:gd name="T0" fmla="*/ 102 w 675"/>
                  <a:gd name="T1" fmla="*/ 0 h 204"/>
                  <a:gd name="T2" fmla="*/ 573 w 675"/>
                  <a:gd name="T3" fmla="*/ 0 h 204"/>
                  <a:gd name="T4" fmla="*/ 600 w 675"/>
                  <a:gd name="T5" fmla="*/ 3 h 204"/>
                  <a:gd name="T6" fmla="*/ 625 w 675"/>
                  <a:gd name="T7" fmla="*/ 14 h 204"/>
                  <a:gd name="T8" fmla="*/ 644 w 675"/>
                  <a:gd name="T9" fmla="*/ 29 h 204"/>
                  <a:gd name="T10" fmla="*/ 661 w 675"/>
                  <a:gd name="T11" fmla="*/ 50 h 204"/>
                  <a:gd name="T12" fmla="*/ 670 w 675"/>
                  <a:gd name="T13" fmla="*/ 75 h 204"/>
                  <a:gd name="T14" fmla="*/ 675 w 675"/>
                  <a:gd name="T15" fmla="*/ 102 h 204"/>
                  <a:gd name="T16" fmla="*/ 670 w 675"/>
                  <a:gd name="T17" fmla="*/ 128 h 204"/>
                  <a:gd name="T18" fmla="*/ 661 w 675"/>
                  <a:gd name="T19" fmla="*/ 152 h 204"/>
                  <a:gd name="T20" fmla="*/ 644 w 675"/>
                  <a:gd name="T21" fmla="*/ 174 h 204"/>
                  <a:gd name="T22" fmla="*/ 625 w 675"/>
                  <a:gd name="T23" fmla="*/ 191 h 204"/>
                  <a:gd name="T24" fmla="*/ 600 w 675"/>
                  <a:gd name="T25" fmla="*/ 200 h 204"/>
                  <a:gd name="T26" fmla="*/ 573 w 675"/>
                  <a:gd name="T27" fmla="*/ 204 h 204"/>
                  <a:gd name="T28" fmla="*/ 102 w 675"/>
                  <a:gd name="T29" fmla="*/ 204 h 204"/>
                  <a:gd name="T30" fmla="*/ 76 w 675"/>
                  <a:gd name="T31" fmla="*/ 200 h 204"/>
                  <a:gd name="T32" fmla="*/ 52 w 675"/>
                  <a:gd name="T33" fmla="*/ 191 h 204"/>
                  <a:gd name="T34" fmla="*/ 30 w 675"/>
                  <a:gd name="T35" fmla="*/ 174 h 204"/>
                  <a:gd name="T36" fmla="*/ 14 w 675"/>
                  <a:gd name="T37" fmla="*/ 152 h 204"/>
                  <a:gd name="T38" fmla="*/ 4 w 675"/>
                  <a:gd name="T39" fmla="*/ 128 h 204"/>
                  <a:gd name="T40" fmla="*/ 0 w 675"/>
                  <a:gd name="T41" fmla="*/ 102 h 204"/>
                  <a:gd name="T42" fmla="*/ 4 w 675"/>
                  <a:gd name="T43" fmla="*/ 75 h 204"/>
                  <a:gd name="T44" fmla="*/ 14 w 675"/>
                  <a:gd name="T45" fmla="*/ 50 h 204"/>
                  <a:gd name="T46" fmla="*/ 30 w 675"/>
                  <a:gd name="T47" fmla="*/ 29 h 204"/>
                  <a:gd name="T48" fmla="*/ 52 w 675"/>
                  <a:gd name="T49" fmla="*/ 14 h 204"/>
                  <a:gd name="T50" fmla="*/ 76 w 675"/>
                  <a:gd name="T51" fmla="*/ 3 h 204"/>
                  <a:gd name="T52" fmla="*/ 102 w 675"/>
                  <a:gd name="T53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75" h="204">
                    <a:moveTo>
                      <a:pt x="102" y="0"/>
                    </a:moveTo>
                    <a:lnTo>
                      <a:pt x="573" y="0"/>
                    </a:lnTo>
                    <a:lnTo>
                      <a:pt x="600" y="3"/>
                    </a:lnTo>
                    <a:lnTo>
                      <a:pt x="625" y="14"/>
                    </a:lnTo>
                    <a:lnTo>
                      <a:pt x="644" y="29"/>
                    </a:lnTo>
                    <a:lnTo>
                      <a:pt x="661" y="50"/>
                    </a:lnTo>
                    <a:lnTo>
                      <a:pt x="670" y="75"/>
                    </a:lnTo>
                    <a:lnTo>
                      <a:pt x="675" y="102"/>
                    </a:lnTo>
                    <a:lnTo>
                      <a:pt x="670" y="128"/>
                    </a:lnTo>
                    <a:lnTo>
                      <a:pt x="661" y="152"/>
                    </a:lnTo>
                    <a:lnTo>
                      <a:pt x="644" y="174"/>
                    </a:lnTo>
                    <a:lnTo>
                      <a:pt x="625" y="191"/>
                    </a:lnTo>
                    <a:lnTo>
                      <a:pt x="600" y="200"/>
                    </a:lnTo>
                    <a:lnTo>
                      <a:pt x="573" y="204"/>
                    </a:lnTo>
                    <a:lnTo>
                      <a:pt x="102" y="204"/>
                    </a:lnTo>
                    <a:lnTo>
                      <a:pt x="76" y="200"/>
                    </a:lnTo>
                    <a:lnTo>
                      <a:pt x="52" y="191"/>
                    </a:lnTo>
                    <a:lnTo>
                      <a:pt x="30" y="174"/>
                    </a:lnTo>
                    <a:lnTo>
                      <a:pt x="14" y="152"/>
                    </a:lnTo>
                    <a:lnTo>
                      <a:pt x="4" y="128"/>
                    </a:lnTo>
                    <a:lnTo>
                      <a:pt x="0" y="102"/>
                    </a:lnTo>
                    <a:lnTo>
                      <a:pt x="4" y="75"/>
                    </a:lnTo>
                    <a:lnTo>
                      <a:pt x="14" y="50"/>
                    </a:lnTo>
                    <a:lnTo>
                      <a:pt x="30" y="29"/>
                    </a:lnTo>
                    <a:lnTo>
                      <a:pt x="52" y="14"/>
                    </a:lnTo>
                    <a:lnTo>
                      <a:pt x="76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5" name="Freeform 29"/>
              <p:cNvSpPr>
                <a:spLocks/>
              </p:cNvSpPr>
              <p:nvPr/>
            </p:nvSpPr>
            <p:spPr bwMode="auto">
              <a:xfrm>
                <a:off x="21" y="2642"/>
                <a:ext cx="337" cy="102"/>
              </a:xfrm>
              <a:custGeom>
                <a:avLst/>
                <a:gdLst>
                  <a:gd name="T0" fmla="*/ 102 w 675"/>
                  <a:gd name="T1" fmla="*/ 0 h 204"/>
                  <a:gd name="T2" fmla="*/ 573 w 675"/>
                  <a:gd name="T3" fmla="*/ 0 h 204"/>
                  <a:gd name="T4" fmla="*/ 600 w 675"/>
                  <a:gd name="T5" fmla="*/ 3 h 204"/>
                  <a:gd name="T6" fmla="*/ 625 w 675"/>
                  <a:gd name="T7" fmla="*/ 14 h 204"/>
                  <a:gd name="T8" fmla="*/ 644 w 675"/>
                  <a:gd name="T9" fmla="*/ 30 h 204"/>
                  <a:gd name="T10" fmla="*/ 661 w 675"/>
                  <a:gd name="T11" fmla="*/ 50 h 204"/>
                  <a:gd name="T12" fmla="*/ 670 w 675"/>
                  <a:gd name="T13" fmla="*/ 75 h 204"/>
                  <a:gd name="T14" fmla="*/ 675 w 675"/>
                  <a:gd name="T15" fmla="*/ 102 h 204"/>
                  <a:gd name="T16" fmla="*/ 670 w 675"/>
                  <a:gd name="T17" fmla="*/ 130 h 204"/>
                  <a:gd name="T18" fmla="*/ 661 w 675"/>
                  <a:gd name="T19" fmla="*/ 154 h 204"/>
                  <a:gd name="T20" fmla="*/ 644 w 675"/>
                  <a:gd name="T21" fmla="*/ 174 h 204"/>
                  <a:gd name="T22" fmla="*/ 625 w 675"/>
                  <a:gd name="T23" fmla="*/ 191 h 204"/>
                  <a:gd name="T24" fmla="*/ 600 w 675"/>
                  <a:gd name="T25" fmla="*/ 201 h 204"/>
                  <a:gd name="T26" fmla="*/ 573 w 675"/>
                  <a:gd name="T27" fmla="*/ 204 h 204"/>
                  <a:gd name="T28" fmla="*/ 102 w 675"/>
                  <a:gd name="T29" fmla="*/ 204 h 204"/>
                  <a:gd name="T30" fmla="*/ 76 w 675"/>
                  <a:gd name="T31" fmla="*/ 201 h 204"/>
                  <a:gd name="T32" fmla="*/ 52 w 675"/>
                  <a:gd name="T33" fmla="*/ 191 h 204"/>
                  <a:gd name="T34" fmla="*/ 30 w 675"/>
                  <a:gd name="T35" fmla="*/ 174 h 204"/>
                  <a:gd name="T36" fmla="*/ 14 w 675"/>
                  <a:gd name="T37" fmla="*/ 154 h 204"/>
                  <a:gd name="T38" fmla="*/ 4 w 675"/>
                  <a:gd name="T39" fmla="*/ 130 h 204"/>
                  <a:gd name="T40" fmla="*/ 0 w 675"/>
                  <a:gd name="T41" fmla="*/ 102 h 204"/>
                  <a:gd name="T42" fmla="*/ 4 w 675"/>
                  <a:gd name="T43" fmla="*/ 75 h 204"/>
                  <a:gd name="T44" fmla="*/ 14 w 675"/>
                  <a:gd name="T45" fmla="*/ 50 h 204"/>
                  <a:gd name="T46" fmla="*/ 30 w 675"/>
                  <a:gd name="T47" fmla="*/ 30 h 204"/>
                  <a:gd name="T48" fmla="*/ 52 w 675"/>
                  <a:gd name="T49" fmla="*/ 14 h 204"/>
                  <a:gd name="T50" fmla="*/ 76 w 675"/>
                  <a:gd name="T51" fmla="*/ 3 h 204"/>
                  <a:gd name="T52" fmla="*/ 102 w 675"/>
                  <a:gd name="T53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75" h="204">
                    <a:moveTo>
                      <a:pt x="102" y="0"/>
                    </a:moveTo>
                    <a:lnTo>
                      <a:pt x="573" y="0"/>
                    </a:lnTo>
                    <a:lnTo>
                      <a:pt x="600" y="3"/>
                    </a:lnTo>
                    <a:lnTo>
                      <a:pt x="625" y="14"/>
                    </a:lnTo>
                    <a:lnTo>
                      <a:pt x="644" y="30"/>
                    </a:lnTo>
                    <a:lnTo>
                      <a:pt x="661" y="50"/>
                    </a:lnTo>
                    <a:lnTo>
                      <a:pt x="670" y="75"/>
                    </a:lnTo>
                    <a:lnTo>
                      <a:pt x="675" y="102"/>
                    </a:lnTo>
                    <a:lnTo>
                      <a:pt x="670" y="130"/>
                    </a:lnTo>
                    <a:lnTo>
                      <a:pt x="661" y="154"/>
                    </a:lnTo>
                    <a:lnTo>
                      <a:pt x="644" y="174"/>
                    </a:lnTo>
                    <a:lnTo>
                      <a:pt x="625" y="191"/>
                    </a:lnTo>
                    <a:lnTo>
                      <a:pt x="600" y="201"/>
                    </a:lnTo>
                    <a:lnTo>
                      <a:pt x="573" y="204"/>
                    </a:lnTo>
                    <a:lnTo>
                      <a:pt x="102" y="204"/>
                    </a:lnTo>
                    <a:lnTo>
                      <a:pt x="76" y="201"/>
                    </a:lnTo>
                    <a:lnTo>
                      <a:pt x="52" y="191"/>
                    </a:lnTo>
                    <a:lnTo>
                      <a:pt x="30" y="174"/>
                    </a:lnTo>
                    <a:lnTo>
                      <a:pt x="14" y="154"/>
                    </a:lnTo>
                    <a:lnTo>
                      <a:pt x="4" y="130"/>
                    </a:lnTo>
                    <a:lnTo>
                      <a:pt x="0" y="102"/>
                    </a:lnTo>
                    <a:lnTo>
                      <a:pt x="4" y="75"/>
                    </a:lnTo>
                    <a:lnTo>
                      <a:pt x="14" y="50"/>
                    </a:lnTo>
                    <a:lnTo>
                      <a:pt x="30" y="30"/>
                    </a:lnTo>
                    <a:lnTo>
                      <a:pt x="52" y="14"/>
                    </a:lnTo>
                    <a:lnTo>
                      <a:pt x="76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76" name="Group 175"/>
          <p:cNvGrpSpPr/>
          <p:nvPr/>
        </p:nvGrpSpPr>
        <p:grpSpPr>
          <a:xfrm>
            <a:off x="147993" y="5236066"/>
            <a:ext cx="727877" cy="652328"/>
            <a:chOff x="147993" y="5080087"/>
            <a:chExt cx="727877" cy="652328"/>
          </a:xfrm>
        </p:grpSpPr>
        <p:sp>
          <p:nvSpPr>
            <p:cNvPr id="177" name="Rectangle 17"/>
            <p:cNvSpPr>
              <a:spLocks/>
            </p:cNvSpPr>
            <p:nvPr/>
          </p:nvSpPr>
          <p:spPr bwMode="auto">
            <a:xfrm>
              <a:off x="147993" y="5178417"/>
              <a:ext cx="727877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Объекты инфраструктуры / карты</a:t>
              </a:r>
            </a:p>
          </p:txBody>
        </p:sp>
        <p:grpSp>
          <p:nvGrpSpPr>
            <p:cNvPr id="178" name="Group 177"/>
            <p:cNvGrpSpPr/>
            <p:nvPr/>
          </p:nvGrpSpPr>
          <p:grpSpPr>
            <a:xfrm>
              <a:off x="365905" y="5080087"/>
              <a:ext cx="233576" cy="214640"/>
              <a:chOff x="-1831145" y="1063685"/>
              <a:chExt cx="488634" cy="449020"/>
            </a:xfrm>
            <a:solidFill>
              <a:schemeClr val="bg1"/>
            </a:solidFill>
          </p:grpSpPr>
          <p:sp>
            <p:nvSpPr>
              <p:cNvPr id="179" name="Freeform 7"/>
              <p:cNvSpPr>
                <a:spLocks/>
              </p:cNvSpPr>
              <p:nvPr/>
            </p:nvSpPr>
            <p:spPr bwMode="auto">
              <a:xfrm>
                <a:off x="-1793165" y="1260323"/>
                <a:ext cx="210523" cy="127008"/>
              </a:xfrm>
              <a:custGeom>
                <a:avLst/>
                <a:gdLst>
                  <a:gd name="T0" fmla="*/ 396 w 2061"/>
                  <a:gd name="T1" fmla="*/ 0 h 1245"/>
                  <a:gd name="T2" fmla="*/ 1816 w 2061"/>
                  <a:gd name="T3" fmla="*/ 0 h 1245"/>
                  <a:gd name="T4" fmla="*/ 1869 w 2061"/>
                  <a:gd name="T5" fmla="*/ 137 h 1245"/>
                  <a:gd name="T6" fmla="*/ 1928 w 2061"/>
                  <a:gd name="T7" fmla="*/ 271 h 1245"/>
                  <a:gd name="T8" fmla="*/ 1993 w 2061"/>
                  <a:gd name="T9" fmla="*/ 402 h 1245"/>
                  <a:gd name="T10" fmla="*/ 2061 w 2061"/>
                  <a:gd name="T11" fmla="*/ 528 h 1245"/>
                  <a:gd name="T12" fmla="*/ 1912 w 2061"/>
                  <a:gd name="T13" fmla="*/ 1245 h 1245"/>
                  <a:gd name="T14" fmla="*/ 0 w 2061"/>
                  <a:gd name="T15" fmla="*/ 1037 h 1245"/>
                  <a:gd name="T16" fmla="*/ 272 w 2061"/>
                  <a:gd name="T17" fmla="*/ 93 h 1245"/>
                  <a:gd name="T18" fmla="*/ 284 w 2061"/>
                  <a:gd name="T19" fmla="*/ 67 h 1245"/>
                  <a:gd name="T20" fmla="*/ 299 w 2061"/>
                  <a:gd name="T21" fmla="*/ 45 h 1245"/>
                  <a:gd name="T22" fmla="*/ 319 w 2061"/>
                  <a:gd name="T23" fmla="*/ 26 h 1245"/>
                  <a:gd name="T24" fmla="*/ 342 w 2061"/>
                  <a:gd name="T25" fmla="*/ 13 h 1245"/>
                  <a:gd name="T26" fmla="*/ 368 w 2061"/>
                  <a:gd name="T27" fmla="*/ 5 h 1245"/>
                  <a:gd name="T28" fmla="*/ 396 w 2061"/>
                  <a:gd name="T29" fmla="*/ 0 h 1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61" h="1245">
                    <a:moveTo>
                      <a:pt x="396" y="0"/>
                    </a:moveTo>
                    <a:lnTo>
                      <a:pt x="1816" y="0"/>
                    </a:lnTo>
                    <a:lnTo>
                      <a:pt x="1869" y="137"/>
                    </a:lnTo>
                    <a:lnTo>
                      <a:pt x="1928" y="271"/>
                    </a:lnTo>
                    <a:lnTo>
                      <a:pt x="1993" y="402"/>
                    </a:lnTo>
                    <a:lnTo>
                      <a:pt x="2061" y="528"/>
                    </a:lnTo>
                    <a:lnTo>
                      <a:pt x="1912" y="1245"/>
                    </a:lnTo>
                    <a:lnTo>
                      <a:pt x="0" y="1037"/>
                    </a:lnTo>
                    <a:lnTo>
                      <a:pt x="272" y="93"/>
                    </a:lnTo>
                    <a:lnTo>
                      <a:pt x="284" y="67"/>
                    </a:lnTo>
                    <a:lnTo>
                      <a:pt x="299" y="45"/>
                    </a:lnTo>
                    <a:lnTo>
                      <a:pt x="319" y="26"/>
                    </a:lnTo>
                    <a:lnTo>
                      <a:pt x="342" y="13"/>
                    </a:lnTo>
                    <a:lnTo>
                      <a:pt x="368" y="5"/>
                    </a:lnTo>
                    <a:lnTo>
                      <a:pt x="3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0" name="Freeform 8"/>
              <p:cNvSpPr>
                <a:spLocks/>
              </p:cNvSpPr>
              <p:nvPr/>
            </p:nvSpPr>
            <p:spPr bwMode="auto">
              <a:xfrm>
                <a:off x="-1425618" y="1352209"/>
                <a:ext cx="58603" cy="60645"/>
              </a:xfrm>
              <a:custGeom>
                <a:avLst/>
                <a:gdLst>
                  <a:gd name="T0" fmla="*/ 403 w 575"/>
                  <a:gd name="T1" fmla="*/ 0 h 593"/>
                  <a:gd name="T2" fmla="*/ 575 w 575"/>
                  <a:gd name="T3" fmla="*/ 593 h 593"/>
                  <a:gd name="T4" fmla="*/ 0 w 575"/>
                  <a:gd name="T5" fmla="*/ 531 h 593"/>
                  <a:gd name="T6" fmla="*/ 63 w 575"/>
                  <a:gd name="T7" fmla="*/ 453 h 593"/>
                  <a:gd name="T8" fmla="*/ 128 w 575"/>
                  <a:gd name="T9" fmla="*/ 372 h 593"/>
                  <a:gd name="T10" fmla="*/ 197 w 575"/>
                  <a:gd name="T11" fmla="*/ 285 h 593"/>
                  <a:gd name="T12" fmla="*/ 265 w 575"/>
                  <a:gd name="T13" fmla="*/ 195 h 593"/>
                  <a:gd name="T14" fmla="*/ 335 w 575"/>
                  <a:gd name="T15" fmla="*/ 99 h 593"/>
                  <a:gd name="T16" fmla="*/ 403 w 575"/>
                  <a:gd name="T17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5" h="593">
                    <a:moveTo>
                      <a:pt x="403" y="0"/>
                    </a:moveTo>
                    <a:lnTo>
                      <a:pt x="575" y="593"/>
                    </a:lnTo>
                    <a:lnTo>
                      <a:pt x="0" y="531"/>
                    </a:lnTo>
                    <a:lnTo>
                      <a:pt x="63" y="453"/>
                    </a:lnTo>
                    <a:lnTo>
                      <a:pt x="128" y="372"/>
                    </a:lnTo>
                    <a:lnTo>
                      <a:pt x="197" y="285"/>
                    </a:lnTo>
                    <a:lnTo>
                      <a:pt x="265" y="195"/>
                    </a:lnTo>
                    <a:lnTo>
                      <a:pt x="335" y="99"/>
                    </a:lnTo>
                    <a:lnTo>
                      <a:pt x="4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1" name="Freeform 9"/>
              <p:cNvSpPr>
                <a:spLocks/>
              </p:cNvSpPr>
              <p:nvPr/>
            </p:nvSpPr>
            <p:spPr bwMode="auto">
              <a:xfrm>
                <a:off x="-1558956" y="1361602"/>
                <a:ext cx="31854" cy="33692"/>
              </a:xfrm>
              <a:custGeom>
                <a:avLst/>
                <a:gdLst>
                  <a:gd name="T0" fmla="*/ 63 w 311"/>
                  <a:gd name="T1" fmla="*/ 0 h 328"/>
                  <a:gd name="T2" fmla="*/ 67 w 311"/>
                  <a:gd name="T3" fmla="*/ 6 h 328"/>
                  <a:gd name="T4" fmla="*/ 150 w 311"/>
                  <a:gd name="T5" fmla="*/ 120 h 328"/>
                  <a:gd name="T6" fmla="*/ 231 w 311"/>
                  <a:gd name="T7" fmla="*/ 227 h 328"/>
                  <a:gd name="T8" fmla="*/ 311 w 311"/>
                  <a:gd name="T9" fmla="*/ 328 h 328"/>
                  <a:gd name="T10" fmla="*/ 0 w 311"/>
                  <a:gd name="T11" fmla="*/ 294 h 328"/>
                  <a:gd name="T12" fmla="*/ 63 w 311"/>
                  <a:gd name="T13" fmla="*/ 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1" h="328">
                    <a:moveTo>
                      <a:pt x="63" y="0"/>
                    </a:moveTo>
                    <a:lnTo>
                      <a:pt x="67" y="6"/>
                    </a:lnTo>
                    <a:lnTo>
                      <a:pt x="150" y="120"/>
                    </a:lnTo>
                    <a:lnTo>
                      <a:pt x="231" y="227"/>
                    </a:lnTo>
                    <a:lnTo>
                      <a:pt x="311" y="328"/>
                    </a:lnTo>
                    <a:lnTo>
                      <a:pt x="0" y="294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2" name="Freeform 10"/>
              <p:cNvSpPr>
                <a:spLocks/>
              </p:cNvSpPr>
              <p:nvPr/>
            </p:nvSpPr>
            <p:spPr bwMode="auto">
              <a:xfrm>
                <a:off x="-1831145" y="1404279"/>
                <a:ext cx="225021" cy="108426"/>
              </a:xfrm>
              <a:custGeom>
                <a:avLst/>
                <a:gdLst>
                  <a:gd name="T0" fmla="*/ 265 w 2204"/>
                  <a:gd name="T1" fmla="*/ 0 h 1062"/>
                  <a:gd name="T2" fmla="*/ 2204 w 2204"/>
                  <a:gd name="T3" fmla="*/ 213 h 1062"/>
                  <a:gd name="T4" fmla="*/ 2026 w 2204"/>
                  <a:gd name="T5" fmla="*/ 1062 h 1062"/>
                  <a:gd name="T6" fmla="*/ 128 w 2204"/>
                  <a:gd name="T7" fmla="*/ 1062 h 1062"/>
                  <a:gd name="T8" fmla="*/ 99 w 2204"/>
                  <a:gd name="T9" fmla="*/ 1059 h 1062"/>
                  <a:gd name="T10" fmla="*/ 71 w 2204"/>
                  <a:gd name="T11" fmla="*/ 1049 h 1062"/>
                  <a:gd name="T12" fmla="*/ 47 w 2204"/>
                  <a:gd name="T13" fmla="*/ 1033 h 1062"/>
                  <a:gd name="T14" fmla="*/ 26 w 2204"/>
                  <a:gd name="T15" fmla="*/ 1011 h 1062"/>
                  <a:gd name="T16" fmla="*/ 10 w 2204"/>
                  <a:gd name="T17" fmla="*/ 985 h 1062"/>
                  <a:gd name="T18" fmla="*/ 1 w 2204"/>
                  <a:gd name="T19" fmla="*/ 957 h 1062"/>
                  <a:gd name="T20" fmla="*/ 0 w 2204"/>
                  <a:gd name="T21" fmla="*/ 928 h 1062"/>
                  <a:gd name="T22" fmla="*/ 4 w 2204"/>
                  <a:gd name="T23" fmla="*/ 899 h 1062"/>
                  <a:gd name="T24" fmla="*/ 265 w 2204"/>
                  <a:gd name="T25" fmla="*/ 0 h 10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04" h="1062">
                    <a:moveTo>
                      <a:pt x="265" y="0"/>
                    </a:moveTo>
                    <a:lnTo>
                      <a:pt x="2204" y="213"/>
                    </a:lnTo>
                    <a:lnTo>
                      <a:pt x="2026" y="1062"/>
                    </a:lnTo>
                    <a:lnTo>
                      <a:pt x="128" y="1062"/>
                    </a:lnTo>
                    <a:lnTo>
                      <a:pt x="99" y="1059"/>
                    </a:lnTo>
                    <a:lnTo>
                      <a:pt x="71" y="1049"/>
                    </a:lnTo>
                    <a:lnTo>
                      <a:pt x="47" y="1033"/>
                    </a:lnTo>
                    <a:lnTo>
                      <a:pt x="26" y="1011"/>
                    </a:lnTo>
                    <a:lnTo>
                      <a:pt x="10" y="985"/>
                    </a:lnTo>
                    <a:lnTo>
                      <a:pt x="1" y="957"/>
                    </a:lnTo>
                    <a:lnTo>
                      <a:pt x="0" y="928"/>
                    </a:lnTo>
                    <a:lnTo>
                      <a:pt x="4" y="899"/>
                    </a:lnTo>
                    <a:lnTo>
                      <a:pt x="2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3" name="Freeform 11"/>
              <p:cNvSpPr>
                <a:spLocks/>
              </p:cNvSpPr>
              <p:nvPr/>
            </p:nvSpPr>
            <p:spPr bwMode="auto">
              <a:xfrm>
                <a:off x="-1584276" y="1430211"/>
                <a:ext cx="241765" cy="82494"/>
              </a:xfrm>
              <a:custGeom>
                <a:avLst/>
                <a:gdLst>
                  <a:gd name="T0" fmla="*/ 169 w 2368"/>
                  <a:gd name="T1" fmla="*/ 0 h 807"/>
                  <a:gd name="T2" fmla="*/ 2243 w 2368"/>
                  <a:gd name="T3" fmla="*/ 227 h 807"/>
                  <a:gd name="T4" fmla="*/ 2361 w 2368"/>
                  <a:gd name="T5" fmla="*/ 635 h 807"/>
                  <a:gd name="T6" fmla="*/ 2366 w 2368"/>
                  <a:gd name="T7" fmla="*/ 657 h 807"/>
                  <a:gd name="T8" fmla="*/ 2368 w 2368"/>
                  <a:gd name="T9" fmla="*/ 679 h 807"/>
                  <a:gd name="T10" fmla="*/ 2365 w 2368"/>
                  <a:gd name="T11" fmla="*/ 708 h 807"/>
                  <a:gd name="T12" fmla="*/ 2355 w 2368"/>
                  <a:gd name="T13" fmla="*/ 736 h 807"/>
                  <a:gd name="T14" fmla="*/ 2340 w 2368"/>
                  <a:gd name="T15" fmla="*/ 759 h 807"/>
                  <a:gd name="T16" fmla="*/ 2320 w 2368"/>
                  <a:gd name="T17" fmla="*/ 779 h 807"/>
                  <a:gd name="T18" fmla="*/ 2297 w 2368"/>
                  <a:gd name="T19" fmla="*/ 794 h 807"/>
                  <a:gd name="T20" fmla="*/ 2269 w 2368"/>
                  <a:gd name="T21" fmla="*/ 804 h 807"/>
                  <a:gd name="T22" fmla="*/ 2240 w 2368"/>
                  <a:gd name="T23" fmla="*/ 807 h 807"/>
                  <a:gd name="T24" fmla="*/ 0 w 2368"/>
                  <a:gd name="T25" fmla="*/ 807 h 807"/>
                  <a:gd name="T26" fmla="*/ 169 w 2368"/>
                  <a:gd name="T27" fmla="*/ 0 h 8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68" h="807">
                    <a:moveTo>
                      <a:pt x="169" y="0"/>
                    </a:moveTo>
                    <a:lnTo>
                      <a:pt x="2243" y="227"/>
                    </a:lnTo>
                    <a:lnTo>
                      <a:pt x="2361" y="635"/>
                    </a:lnTo>
                    <a:lnTo>
                      <a:pt x="2366" y="657"/>
                    </a:lnTo>
                    <a:lnTo>
                      <a:pt x="2368" y="679"/>
                    </a:lnTo>
                    <a:lnTo>
                      <a:pt x="2365" y="708"/>
                    </a:lnTo>
                    <a:lnTo>
                      <a:pt x="2355" y="736"/>
                    </a:lnTo>
                    <a:lnTo>
                      <a:pt x="2340" y="759"/>
                    </a:lnTo>
                    <a:lnTo>
                      <a:pt x="2320" y="779"/>
                    </a:lnTo>
                    <a:lnTo>
                      <a:pt x="2297" y="794"/>
                    </a:lnTo>
                    <a:lnTo>
                      <a:pt x="2269" y="804"/>
                    </a:lnTo>
                    <a:lnTo>
                      <a:pt x="2240" y="807"/>
                    </a:lnTo>
                    <a:lnTo>
                      <a:pt x="0" y="807"/>
                    </a:lnTo>
                    <a:lnTo>
                      <a:pt x="1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4" name="Freeform 12"/>
              <p:cNvSpPr>
                <a:spLocks noEditPoints="1"/>
              </p:cNvSpPr>
              <p:nvPr/>
            </p:nvSpPr>
            <p:spPr bwMode="auto">
              <a:xfrm>
                <a:off x="-1601224" y="1063685"/>
                <a:ext cx="258713" cy="361625"/>
              </a:xfrm>
              <a:custGeom>
                <a:avLst/>
                <a:gdLst>
                  <a:gd name="T0" fmla="*/ 1102 w 2535"/>
                  <a:gd name="T1" fmla="*/ 494 h 3540"/>
                  <a:gd name="T2" fmla="*/ 877 w 2535"/>
                  <a:gd name="T3" fmla="*/ 583 h 3540"/>
                  <a:gd name="T4" fmla="*/ 693 w 2535"/>
                  <a:gd name="T5" fmla="*/ 733 h 3540"/>
                  <a:gd name="T6" fmla="*/ 563 w 2535"/>
                  <a:gd name="T7" fmla="*/ 931 h 3540"/>
                  <a:gd name="T8" fmla="*/ 499 w 2535"/>
                  <a:gd name="T9" fmla="*/ 1166 h 3540"/>
                  <a:gd name="T10" fmla="*/ 512 w 2535"/>
                  <a:gd name="T11" fmla="*/ 1417 h 3540"/>
                  <a:gd name="T12" fmla="*/ 599 w 2535"/>
                  <a:gd name="T13" fmla="*/ 1641 h 3540"/>
                  <a:gd name="T14" fmla="*/ 749 w 2535"/>
                  <a:gd name="T15" fmla="*/ 1825 h 3540"/>
                  <a:gd name="T16" fmla="*/ 948 w 2535"/>
                  <a:gd name="T17" fmla="*/ 1956 h 3540"/>
                  <a:gd name="T18" fmla="*/ 1184 w 2535"/>
                  <a:gd name="T19" fmla="*/ 2020 h 3540"/>
                  <a:gd name="T20" fmla="*/ 1434 w 2535"/>
                  <a:gd name="T21" fmla="*/ 2007 h 3540"/>
                  <a:gd name="T22" fmla="*/ 1658 w 2535"/>
                  <a:gd name="T23" fmla="*/ 1920 h 3540"/>
                  <a:gd name="T24" fmla="*/ 1843 w 2535"/>
                  <a:gd name="T25" fmla="*/ 1769 h 3540"/>
                  <a:gd name="T26" fmla="*/ 1972 w 2535"/>
                  <a:gd name="T27" fmla="*/ 1571 h 3540"/>
                  <a:gd name="T28" fmla="*/ 2037 w 2535"/>
                  <a:gd name="T29" fmla="*/ 1335 h 3540"/>
                  <a:gd name="T30" fmla="*/ 2023 w 2535"/>
                  <a:gd name="T31" fmla="*/ 1085 h 3540"/>
                  <a:gd name="T32" fmla="*/ 1936 w 2535"/>
                  <a:gd name="T33" fmla="*/ 861 h 3540"/>
                  <a:gd name="T34" fmla="*/ 1786 w 2535"/>
                  <a:gd name="T35" fmla="*/ 676 h 3540"/>
                  <a:gd name="T36" fmla="*/ 1587 w 2535"/>
                  <a:gd name="T37" fmla="*/ 545 h 3540"/>
                  <a:gd name="T38" fmla="*/ 1351 w 2535"/>
                  <a:gd name="T39" fmla="*/ 481 h 3540"/>
                  <a:gd name="T40" fmla="*/ 1377 w 2535"/>
                  <a:gd name="T41" fmla="*/ 4 h 3540"/>
                  <a:gd name="T42" fmla="*/ 1687 w 2535"/>
                  <a:gd name="T43" fmla="*/ 71 h 3540"/>
                  <a:gd name="T44" fmla="*/ 1965 w 2535"/>
                  <a:gd name="T45" fmla="*/ 209 h 3540"/>
                  <a:gd name="T46" fmla="*/ 2199 w 2535"/>
                  <a:gd name="T47" fmla="*/ 409 h 3540"/>
                  <a:gd name="T48" fmla="*/ 2379 w 2535"/>
                  <a:gd name="T49" fmla="*/ 657 h 3540"/>
                  <a:gd name="T50" fmla="*/ 2494 w 2535"/>
                  <a:gd name="T51" fmla="*/ 948 h 3540"/>
                  <a:gd name="T52" fmla="*/ 2535 w 2535"/>
                  <a:gd name="T53" fmla="*/ 1267 h 3540"/>
                  <a:gd name="T54" fmla="*/ 2497 w 2535"/>
                  <a:gd name="T55" fmla="*/ 1594 h 3540"/>
                  <a:gd name="T56" fmla="*/ 2395 w 2535"/>
                  <a:gd name="T57" fmla="*/ 1924 h 3540"/>
                  <a:gd name="T58" fmla="*/ 2248 w 2535"/>
                  <a:gd name="T59" fmla="*/ 2246 h 3540"/>
                  <a:gd name="T60" fmla="*/ 2075 w 2535"/>
                  <a:gd name="T61" fmla="*/ 2545 h 3540"/>
                  <a:gd name="T62" fmla="*/ 1898 w 2535"/>
                  <a:gd name="T63" fmla="*/ 2812 h 3540"/>
                  <a:gd name="T64" fmla="*/ 1726 w 2535"/>
                  <a:gd name="T65" fmla="*/ 3041 h 3540"/>
                  <a:gd name="T66" fmla="*/ 1566 w 2535"/>
                  <a:gd name="T67" fmla="*/ 3241 h 3540"/>
                  <a:gd name="T68" fmla="*/ 1428 w 2535"/>
                  <a:gd name="T69" fmla="*/ 3401 h 3540"/>
                  <a:gd name="T70" fmla="*/ 1320 w 2535"/>
                  <a:gd name="T71" fmla="*/ 3517 h 3540"/>
                  <a:gd name="T72" fmla="*/ 1268 w 2535"/>
                  <a:gd name="T73" fmla="*/ 3540 h 3540"/>
                  <a:gd name="T74" fmla="*/ 1214 w 2535"/>
                  <a:gd name="T75" fmla="*/ 3517 h 3540"/>
                  <a:gd name="T76" fmla="*/ 1108 w 2535"/>
                  <a:gd name="T77" fmla="*/ 3401 h 3540"/>
                  <a:gd name="T78" fmla="*/ 968 w 2535"/>
                  <a:gd name="T79" fmla="*/ 3241 h 3540"/>
                  <a:gd name="T80" fmla="*/ 808 w 2535"/>
                  <a:gd name="T81" fmla="*/ 3043 h 3540"/>
                  <a:gd name="T82" fmla="*/ 638 w 2535"/>
                  <a:gd name="T83" fmla="*/ 2813 h 3540"/>
                  <a:gd name="T84" fmla="*/ 459 w 2535"/>
                  <a:gd name="T85" fmla="*/ 2547 h 3540"/>
                  <a:gd name="T86" fmla="*/ 288 w 2535"/>
                  <a:gd name="T87" fmla="*/ 2246 h 3540"/>
                  <a:gd name="T88" fmla="*/ 141 w 2535"/>
                  <a:gd name="T89" fmla="*/ 1924 h 3540"/>
                  <a:gd name="T90" fmla="*/ 37 w 2535"/>
                  <a:gd name="T91" fmla="*/ 1594 h 3540"/>
                  <a:gd name="T92" fmla="*/ 0 w 2535"/>
                  <a:gd name="T93" fmla="*/ 1267 h 3540"/>
                  <a:gd name="T94" fmla="*/ 40 w 2535"/>
                  <a:gd name="T95" fmla="*/ 948 h 3540"/>
                  <a:gd name="T96" fmla="*/ 155 w 2535"/>
                  <a:gd name="T97" fmla="*/ 657 h 3540"/>
                  <a:gd name="T98" fmla="*/ 336 w 2535"/>
                  <a:gd name="T99" fmla="*/ 409 h 3540"/>
                  <a:gd name="T100" fmla="*/ 570 w 2535"/>
                  <a:gd name="T101" fmla="*/ 209 h 3540"/>
                  <a:gd name="T102" fmla="*/ 848 w 2535"/>
                  <a:gd name="T103" fmla="*/ 71 h 3540"/>
                  <a:gd name="T104" fmla="*/ 1157 w 2535"/>
                  <a:gd name="T105" fmla="*/ 4 h 3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35" h="3540">
                    <a:moveTo>
                      <a:pt x="1268" y="477"/>
                    </a:moveTo>
                    <a:lnTo>
                      <a:pt x="1184" y="481"/>
                    </a:lnTo>
                    <a:lnTo>
                      <a:pt x="1102" y="494"/>
                    </a:lnTo>
                    <a:lnTo>
                      <a:pt x="1024" y="516"/>
                    </a:lnTo>
                    <a:lnTo>
                      <a:pt x="948" y="545"/>
                    </a:lnTo>
                    <a:lnTo>
                      <a:pt x="877" y="583"/>
                    </a:lnTo>
                    <a:lnTo>
                      <a:pt x="810" y="627"/>
                    </a:lnTo>
                    <a:lnTo>
                      <a:pt x="749" y="676"/>
                    </a:lnTo>
                    <a:lnTo>
                      <a:pt x="693" y="733"/>
                    </a:lnTo>
                    <a:lnTo>
                      <a:pt x="643" y="794"/>
                    </a:lnTo>
                    <a:lnTo>
                      <a:pt x="599" y="861"/>
                    </a:lnTo>
                    <a:lnTo>
                      <a:pt x="563" y="931"/>
                    </a:lnTo>
                    <a:lnTo>
                      <a:pt x="533" y="1006"/>
                    </a:lnTo>
                    <a:lnTo>
                      <a:pt x="512" y="1085"/>
                    </a:lnTo>
                    <a:lnTo>
                      <a:pt x="499" y="1166"/>
                    </a:lnTo>
                    <a:lnTo>
                      <a:pt x="493" y="1251"/>
                    </a:lnTo>
                    <a:lnTo>
                      <a:pt x="499" y="1335"/>
                    </a:lnTo>
                    <a:lnTo>
                      <a:pt x="512" y="1417"/>
                    </a:lnTo>
                    <a:lnTo>
                      <a:pt x="533" y="1495"/>
                    </a:lnTo>
                    <a:lnTo>
                      <a:pt x="563" y="1571"/>
                    </a:lnTo>
                    <a:lnTo>
                      <a:pt x="599" y="1641"/>
                    </a:lnTo>
                    <a:lnTo>
                      <a:pt x="643" y="1708"/>
                    </a:lnTo>
                    <a:lnTo>
                      <a:pt x="693" y="1769"/>
                    </a:lnTo>
                    <a:lnTo>
                      <a:pt x="749" y="1825"/>
                    </a:lnTo>
                    <a:lnTo>
                      <a:pt x="810" y="1875"/>
                    </a:lnTo>
                    <a:lnTo>
                      <a:pt x="877" y="1920"/>
                    </a:lnTo>
                    <a:lnTo>
                      <a:pt x="948" y="1956"/>
                    </a:lnTo>
                    <a:lnTo>
                      <a:pt x="1024" y="1985"/>
                    </a:lnTo>
                    <a:lnTo>
                      <a:pt x="1102" y="2007"/>
                    </a:lnTo>
                    <a:lnTo>
                      <a:pt x="1184" y="2020"/>
                    </a:lnTo>
                    <a:lnTo>
                      <a:pt x="1268" y="2025"/>
                    </a:lnTo>
                    <a:lnTo>
                      <a:pt x="1351" y="2020"/>
                    </a:lnTo>
                    <a:lnTo>
                      <a:pt x="1434" y="2007"/>
                    </a:lnTo>
                    <a:lnTo>
                      <a:pt x="1512" y="1985"/>
                    </a:lnTo>
                    <a:lnTo>
                      <a:pt x="1587" y="1956"/>
                    </a:lnTo>
                    <a:lnTo>
                      <a:pt x="1658" y="1920"/>
                    </a:lnTo>
                    <a:lnTo>
                      <a:pt x="1725" y="1875"/>
                    </a:lnTo>
                    <a:lnTo>
                      <a:pt x="1786" y="1825"/>
                    </a:lnTo>
                    <a:lnTo>
                      <a:pt x="1843" y="1769"/>
                    </a:lnTo>
                    <a:lnTo>
                      <a:pt x="1892" y="1708"/>
                    </a:lnTo>
                    <a:lnTo>
                      <a:pt x="1936" y="1641"/>
                    </a:lnTo>
                    <a:lnTo>
                      <a:pt x="1972" y="1571"/>
                    </a:lnTo>
                    <a:lnTo>
                      <a:pt x="2003" y="1495"/>
                    </a:lnTo>
                    <a:lnTo>
                      <a:pt x="2023" y="1417"/>
                    </a:lnTo>
                    <a:lnTo>
                      <a:pt x="2037" y="1335"/>
                    </a:lnTo>
                    <a:lnTo>
                      <a:pt x="2042" y="1251"/>
                    </a:lnTo>
                    <a:lnTo>
                      <a:pt x="2037" y="1166"/>
                    </a:lnTo>
                    <a:lnTo>
                      <a:pt x="2023" y="1085"/>
                    </a:lnTo>
                    <a:lnTo>
                      <a:pt x="2003" y="1006"/>
                    </a:lnTo>
                    <a:lnTo>
                      <a:pt x="1972" y="931"/>
                    </a:lnTo>
                    <a:lnTo>
                      <a:pt x="1936" y="861"/>
                    </a:lnTo>
                    <a:lnTo>
                      <a:pt x="1892" y="794"/>
                    </a:lnTo>
                    <a:lnTo>
                      <a:pt x="1843" y="733"/>
                    </a:lnTo>
                    <a:lnTo>
                      <a:pt x="1786" y="676"/>
                    </a:lnTo>
                    <a:lnTo>
                      <a:pt x="1725" y="627"/>
                    </a:lnTo>
                    <a:lnTo>
                      <a:pt x="1658" y="583"/>
                    </a:lnTo>
                    <a:lnTo>
                      <a:pt x="1587" y="545"/>
                    </a:lnTo>
                    <a:lnTo>
                      <a:pt x="1512" y="516"/>
                    </a:lnTo>
                    <a:lnTo>
                      <a:pt x="1434" y="494"/>
                    </a:lnTo>
                    <a:lnTo>
                      <a:pt x="1351" y="481"/>
                    </a:lnTo>
                    <a:lnTo>
                      <a:pt x="1268" y="477"/>
                    </a:lnTo>
                    <a:close/>
                    <a:moveTo>
                      <a:pt x="1268" y="0"/>
                    </a:moveTo>
                    <a:lnTo>
                      <a:pt x="1377" y="4"/>
                    </a:lnTo>
                    <a:lnTo>
                      <a:pt x="1483" y="17"/>
                    </a:lnTo>
                    <a:lnTo>
                      <a:pt x="1587" y="41"/>
                    </a:lnTo>
                    <a:lnTo>
                      <a:pt x="1687" y="71"/>
                    </a:lnTo>
                    <a:lnTo>
                      <a:pt x="1784" y="110"/>
                    </a:lnTo>
                    <a:lnTo>
                      <a:pt x="1877" y="156"/>
                    </a:lnTo>
                    <a:lnTo>
                      <a:pt x="1965" y="209"/>
                    </a:lnTo>
                    <a:lnTo>
                      <a:pt x="2049" y="269"/>
                    </a:lnTo>
                    <a:lnTo>
                      <a:pt x="2126" y="336"/>
                    </a:lnTo>
                    <a:lnTo>
                      <a:pt x="2199" y="409"/>
                    </a:lnTo>
                    <a:lnTo>
                      <a:pt x="2266" y="486"/>
                    </a:lnTo>
                    <a:lnTo>
                      <a:pt x="2325" y="570"/>
                    </a:lnTo>
                    <a:lnTo>
                      <a:pt x="2379" y="657"/>
                    </a:lnTo>
                    <a:lnTo>
                      <a:pt x="2424" y="750"/>
                    </a:lnTo>
                    <a:lnTo>
                      <a:pt x="2464" y="848"/>
                    </a:lnTo>
                    <a:lnTo>
                      <a:pt x="2494" y="948"/>
                    </a:lnTo>
                    <a:lnTo>
                      <a:pt x="2517" y="1052"/>
                    </a:lnTo>
                    <a:lnTo>
                      <a:pt x="2531" y="1158"/>
                    </a:lnTo>
                    <a:lnTo>
                      <a:pt x="2535" y="1267"/>
                    </a:lnTo>
                    <a:lnTo>
                      <a:pt x="2531" y="1376"/>
                    </a:lnTo>
                    <a:lnTo>
                      <a:pt x="2517" y="1485"/>
                    </a:lnTo>
                    <a:lnTo>
                      <a:pt x="2497" y="1594"/>
                    </a:lnTo>
                    <a:lnTo>
                      <a:pt x="2469" y="1705"/>
                    </a:lnTo>
                    <a:lnTo>
                      <a:pt x="2435" y="1815"/>
                    </a:lnTo>
                    <a:lnTo>
                      <a:pt x="2395" y="1924"/>
                    </a:lnTo>
                    <a:lnTo>
                      <a:pt x="2350" y="2033"/>
                    </a:lnTo>
                    <a:lnTo>
                      <a:pt x="2301" y="2140"/>
                    </a:lnTo>
                    <a:lnTo>
                      <a:pt x="2248" y="2246"/>
                    </a:lnTo>
                    <a:lnTo>
                      <a:pt x="2193" y="2349"/>
                    </a:lnTo>
                    <a:lnTo>
                      <a:pt x="2135" y="2448"/>
                    </a:lnTo>
                    <a:lnTo>
                      <a:pt x="2075" y="2545"/>
                    </a:lnTo>
                    <a:lnTo>
                      <a:pt x="2016" y="2638"/>
                    </a:lnTo>
                    <a:lnTo>
                      <a:pt x="1957" y="2727"/>
                    </a:lnTo>
                    <a:lnTo>
                      <a:pt x="1898" y="2812"/>
                    </a:lnTo>
                    <a:lnTo>
                      <a:pt x="1841" y="2892"/>
                    </a:lnTo>
                    <a:lnTo>
                      <a:pt x="1783" y="2969"/>
                    </a:lnTo>
                    <a:lnTo>
                      <a:pt x="1726" y="3041"/>
                    </a:lnTo>
                    <a:lnTo>
                      <a:pt x="1671" y="3111"/>
                    </a:lnTo>
                    <a:lnTo>
                      <a:pt x="1619" y="3178"/>
                    </a:lnTo>
                    <a:lnTo>
                      <a:pt x="1566" y="3241"/>
                    </a:lnTo>
                    <a:lnTo>
                      <a:pt x="1517" y="3297"/>
                    </a:lnTo>
                    <a:lnTo>
                      <a:pt x="1470" y="3351"/>
                    </a:lnTo>
                    <a:lnTo>
                      <a:pt x="1428" y="3401"/>
                    </a:lnTo>
                    <a:lnTo>
                      <a:pt x="1387" y="3444"/>
                    </a:lnTo>
                    <a:lnTo>
                      <a:pt x="1352" y="3484"/>
                    </a:lnTo>
                    <a:lnTo>
                      <a:pt x="1320" y="3517"/>
                    </a:lnTo>
                    <a:lnTo>
                      <a:pt x="1304" y="3530"/>
                    </a:lnTo>
                    <a:lnTo>
                      <a:pt x="1287" y="3537"/>
                    </a:lnTo>
                    <a:lnTo>
                      <a:pt x="1268" y="3540"/>
                    </a:lnTo>
                    <a:lnTo>
                      <a:pt x="1248" y="3537"/>
                    </a:lnTo>
                    <a:lnTo>
                      <a:pt x="1230" y="3530"/>
                    </a:lnTo>
                    <a:lnTo>
                      <a:pt x="1214" y="3517"/>
                    </a:lnTo>
                    <a:lnTo>
                      <a:pt x="1184" y="3484"/>
                    </a:lnTo>
                    <a:lnTo>
                      <a:pt x="1147" y="3444"/>
                    </a:lnTo>
                    <a:lnTo>
                      <a:pt x="1108" y="3401"/>
                    </a:lnTo>
                    <a:lnTo>
                      <a:pt x="1064" y="3353"/>
                    </a:lnTo>
                    <a:lnTo>
                      <a:pt x="1018" y="3299"/>
                    </a:lnTo>
                    <a:lnTo>
                      <a:pt x="968" y="3241"/>
                    </a:lnTo>
                    <a:lnTo>
                      <a:pt x="917" y="3178"/>
                    </a:lnTo>
                    <a:lnTo>
                      <a:pt x="864" y="3113"/>
                    </a:lnTo>
                    <a:lnTo>
                      <a:pt x="808" y="3043"/>
                    </a:lnTo>
                    <a:lnTo>
                      <a:pt x="752" y="2969"/>
                    </a:lnTo>
                    <a:lnTo>
                      <a:pt x="695" y="2893"/>
                    </a:lnTo>
                    <a:lnTo>
                      <a:pt x="638" y="2813"/>
                    </a:lnTo>
                    <a:lnTo>
                      <a:pt x="579" y="2729"/>
                    </a:lnTo>
                    <a:lnTo>
                      <a:pt x="519" y="2640"/>
                    </a:lnTo>
                    <a:lnTo>
                      <a:pt x="459" y="2547"/>
                    </a:lnTo>
                    <a:lnTo>
                      <a:pt x="401" y="2449"/>
                    </a:lnTo>
                    <a:lnTo>
                      <a:pt x="343" y="2349"/>
                    </a:lnTo>
                    <a:lnTo>
                      <a:pt x="288" y="2246"/>
                    </a:lnTo>
                    <a:lnTo>
                      <a:pt x="234" y="2141"/>
                    </a:lnTo>
                    <a:lnTo>
                      <a:pt x="186" y="2033"/>
                    </a:lnTo>
                    <a:lnTo>
                      <a:pt x="141" y="1924"/>
                    </a:lnTo>
                    <a:lnTo>
                      <a:pt x="100" y="1815"/>
                    </a:lnTo>
                    <a:lnTo>
                      <a:pt x="67" y="1705"/>
                    </a:lnTo>
                    <a:lnTo>
                      <a:pt x="37" y="1594"/>
                    </a:lnTo>
                    <a:lnTo>
                      <a:pt x="17" y="1485"/>
                    </a:lnTo>
                    <a:lnTo>
                      <a:pt x="4" y="1376"/>
                    </a:lnTo>
                    <a:lnTo>
                      <a:pt x="0" y="1267"/>
                    </a:lnTo>
                    <a:lnTo>
                      <a:pt x="4" y="1158"/>
                    </a:lnTo>
                    <a:lnTo>
                      <a:pt x="19" y="1052"/>
                    </a:lnTo>
                    <a:lnTo>
                      <a:pt x="40" y="948"/>
                    </a:lnTo>
                    <a:lnTo>
                      <a:pt x="71" y="848"/>
                    </a:lnTo>
                    <a:lnTo>
                      <a:pt x="110" y="750"/>
                    </a:lnTo>
                    <a:lnTo>
                      <a:pt x="155" y="657"/>
                    </a:lnTo>
                    <a:lnTo>
                      <a:pt x="209" y="570"/>
                    </a:lnTo>
                    <a:lnTo>
                      <a:pt x="269" y="486"/>
                    </a:lnTo>
                    <a:lnTo>
                      <a:pt x="336" y="409"/>
                    </a:lnTo>
                    <a:lnTo>
                      <a:pt x="408" y="336"/>
                    </a:lnTo>
                    <a:lnTo>
                      <a:pt x="487" y="269"/>
                    </a:lnTo>
                    <a:lnTo>
                      <a:pt x="570" y="209"/>
                    </a:lnTo>
                    <a:lnTo>
                      <a:pt x="659" y="156"/>
                    </a:lnTo>
                    <a:lnTo>
                      <a:pt x="750" y="110"/>
                    </a:lnTo>
                    <a:lnTo>
                      <a:pt x="848" y="71"/>
                    </a:lnTo>
                    <a:lnTo>
                      <a:pt x="948" y="41"/>
                    </a:lnTo>
                    <a:lnTo>
                      <a:pt x="1051" y="17"/>
                    </a:lnTo>
                    <a:lnTo>
                      <a:pt x="1157" y="4"/>
                    </a:lnTo>
                    <a:lnTo>
                      <a:pt x="12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203" name="Group 202"/>
          <p:cNvGrpSpPr/>
          <p:nvPr/>
        </p:nvGrpSpPr>
        <p:grpSpPr>
          <a:xfrm>
            <a:off x="147993" y="5948609"/>
            <a:ext cx="727877" cy="595242"/>
            <a:chOff x="147993" y="5948609"/>
            <a:chExt cx="727877" cy="595242"/>
          </a:xfrm>
        </p:grpSpPr>
        <p:sp>
          <p:nvSpPr>
            <p:cNvPr id="204" name="Rectangle 17"/>
            <p:cNvSpPr>
              <a:spLocks/>
            </p:cNvSpPr>
            <p:nvPr/>
          </p:nvSpPr>
          <p:spPr bwMode="auto">
            <a:xfrm>
              <a:off x="147993" y="6266852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нешние данные</a:t>
              </a:r>
            </a:p>
          </p:txBody>
        </p:sp>
        <p:grpSp>
          <p:nvGrpSpPr>
            <p:cNvPr id="205" name="Group 201"/>
            <p:cNvGrpSpPr>
              <a:grpSpLocks noChangeAspect="1"/>
            </p:cNvGrpSpPr>
            <p:nvPr/>
          </p:nvGrpSpPr>
          <p:grpSpPr bwMode="auto">
            <a:xfrm>
              <a:off x="417906" y="5948609"/>
              <a:ext cx="202275" cy="226804"/>
              <a:chOff x="4176" y="3243"/>
              <a:chExt cx="602" cy="675"/>
            </a:xfrm>
            <a:solidFill>
              <a:schemeClr val="bg1"/>
            </a:solidFill>
          </p:grpSpPr>
          <p:sp>
            <p:nvSpPr>
              <p:cNvPr id="206" name="Freeform 203"/>
              <p:cNvSpPr>
                <a:spLocks/>
              </p:cNvSpPr>
              <p:nvPr/>
            </p:nvSpPr>
            <p:spPr bwMode="auto">
              <a:xfrm>
                <a:off x="4184" y="3243"/>
                <a:ext cx="594" cy="675"/>
              </a:xfrm>
              <a:custGeom>
                <a:avLst/>
                <a:gdLst>
                  <a:gd name="T0" fmla="*/ 2818 w 2971"/>
                  <a:gd name="T1" fmla="*/ 0 h 3374"/>
                  <a:gd name="T2" fmla="*/ 2877 w 2971"/>
                  <a:gd name="T3" fmla="*/ 12 h 3374"/>
                  <a:gd name="T4" fmla="*/ 2926 w 2971"/>
                  <a:gd name="T5" fmla="*/ 45 h 3374"/>
                  <a:gd name="T6" fmla="*/ 2958 w 2971"/>
                  <a:gd name="T7" fmla="*/ 93 h 3374"/>
                  <a:gd name="T8" fmla="*/ 2971 w 2971"/>
                  <a:gd name="T9" fmla="*/ 154 h 3374"/>
                  <a:gd name="T10" fmla="*/ 2960 w 2971"/>
                  <a:gd name="T11" fmla="*/ 207 h 3374"/>
                  <a:gd name="T12" fmla="*/ 2934 w 2971"/>
                  <a:gd name="T13" fmla="*/ 252 h 3374"/>
                  <a:gd name="T14" fmla="*/ 2894 w 2971"/>
                  <a:gd name="T15" fmla="*/ 285 h 3374"/>
                  <a:gd name="T16" fmla="*/ 2892 w 2971"/>
                  <a:gd name="T17" fmla="*/ 2091 h 3374"/>
                  <a:gd name="T18" fmla="*/ 2872 w 2971"/>
                  <a:gd name="T19" fmla="*/ 2124 h 3374"/>
                  <a:gd name="T20" fmla="*/ 2838 w 2971"/>
                  <a:gd name="T21" fmla="*/ 2145 h 3374"/>
                  <a:gd name="T22" fmla="*/ 2197 w 2971"/>
                  <a:gd name="T23" fmla="*/ 2147 h 3374"/>
                  <a:gd name="T24" fmla="*/ 2475 w 2971"/>
                  <a:gd name="T25" fmla="*/ 3208 h 3374"/>
                  <a:gd name="T26" fmla="*/ 2469 w 2971"/>
                  <a:gd name="T27" fmla="*/ 3261 h 3374"/>
                  <a:gd name="T28" fmla="*/ 2448 w 2971"/>
                  <a:gd name="T29" fmla="*/ 3309 h 3374"/>
                  <a:gd name="T30" fmla="*/ 2411 w 2971"/>
                  <a:gd name="T31" fmla="*/ 3346 h 3374"/>
                  <a:gd name="T32" fmla="*/ 2362 w 2971"/>
                  <a:gd name="T33" fmla="*/ 3370 h 3374"/>
                  <a:gd name="T34" fmla="*/ 2323 w 2971"/>
                  <a:gd name="T35" fmla="*/ 3374 h 3374"/>
                  <a:gd name="T36" fmla="*/ 2267 w 2971"/>
                  <a:gd name="T37" fmla="*/ 3363 h 3374"/>
                  <a:gd name="T38" fmla="*/ 2220 w 2971"/>
                  <a:gd name="T39" fmla="*/ 3334 h 3374"/>
                  <a:gd name="T40" fmla="*/ 2186 w 2971"/>
                  <a:gd name="T41" fmla="*/ 3288 h 3374"/>
                  <a:gd name="T42" fmla="*/ 1902 w 2971"/>
                  <a:gd name="T43" fmla="*/ 2224 h 3374"/>
                  <a:gd name="T44" fmla="*/ 794 w 2971"/>
                  <a:gd name="T45" fmla="*/ 3260 h 3374"/>
                  <a:gd name="T46" fmla="*/ 771 w 2971"/>
                  <a:gd name="T47" fmla="*/ 3309 h 3374"/>
                  <a:gd name="T48" fmla="*/ 734 w 2971"/>
                  <a:gd name="T49" fmla="*/ 3346 h 3374"/>
                  <a:gd name="T50" fmla="*/ 687 w 2971"/>
                  <a:gd name="T51" fmla="*/ 3369 h 3374"/>
                  <a:gd name="T52" fmla="*/ 635 w 2971"/>
                  <a:gd name="T53" fmla="*/ 3374 h 3374"/>
                  <a:gd name="T54" fmla="*/ 581 w 2971"/>
                  <a:gd name="T55" fmla="*/ 3360 h 3374"/>
                  <a:gd name="T56" fmla="*/ 538 w 2971"/>
                  <a:gd name="T57" fmla="*/ 3329 h 3374"/>
                  <a:gd name="T58" fmla="*/ 509 w 2971"/>
                  <a:gd name="T59" fmla="*/ 3286 h 3374"/>
                  <a:gd name="T60" fmla="*/ 495 w 2971"/>
                  <a:gd name="T61" fmla="*/ 3236 h 3374"/>
                  <a:gd name="T62" fmla="*/ 500 w 2971"/>
                  <a:gd name="T63" fmla="*/ 3181 h 3374"/>
                  <a:gd name="T64" fmla="*/ 639 w 2971"/>
                  <a:gd name="T65" fmla="*/ 2147 h 3374"/>
                  <a:gd name="T66" fmla="*/ 729 w 2971"/>
                  <a:gd name="T67" fmla="*/ 2048 h 3374"/>
                  <a:gd name="T68" fmla="*/ 2742 w 2971"/>
                  <a:gd name="T69" fmla="*/ 1994 h 3374"/>
                  <a:gd name="T70" fmla="*/ 227 w 2971"/>
                  <a:gd name="T71" fmla="*/ 307 h 3374"/>
                  <a:gd name="T72" fmla="*/ 184 w 2971"/>
                  <a:gd name="T73" fmla="*/ 1953 h 3374"/>
                  <a:gd name="T74" fmla="*/ 108 w 2971"/>
                  <a:gd name="T75" fmla="*/ 2023 h 3374"/>
                  <a:gd name="T76" fmla="*/ 76 w 2971"/>
                  <a:gd name="T77" fmla="*/ 285 h 3374"/>
                  <a:gd name="T78" fmla="*/ 36 w 2971"/>
                  <a:gd name="T79" fmla="*/ 252 h 3374"/>
                  <a:gd name="T80" fmla="*/ 9 w 2971"/>
                  <a:gd name="T81" fmla="*/ 207 h 3374"/>
                  <a:gd name="T82" fmla="*/ 0 w 2971"/>
                  <a:gd name="T83" fmla="*/ 154 h 3374"/>
                  <a:gd name="T84" fmla="*/ 12 w 2971"/>
                  <a:gd name="T85" fmla="*/ 93 h 3374"/>
                  <a:gd name="T86" fmla="*/ 44 w 2971"/>
                  <a:gd name="T87" fmla="*/ 45 h 3374"/>
                  <a:gd name="T88" fmla="*/ 93 w 2971"/>
                  <a:gd name="T89" fmla="*/ 12 h 3374"/>
                  <a:gd name="T90" fmla="*/ 152 w 2971"/>
                  <a:gd name="T91" fmla="*/ 0 h 3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1" h="3374">
                    <a:moveTo>
                      <a:pt x="152" y="0"/>
                    </a:moveTo>
                    <a:lnTo>
                      <a:pt x="2818" y="0"/>
                    </a:lnTo>
                    <a:lnTo>
                      <a:pt x="2849" y="3"/>
                    </a:lnTo>
                    <a:lnTo>
                      <a:pt x="2877" y="12"/>
                    </a:lnTo>
                    <a:lnTo>
                      <a:pt x="2904" y="27"/>
                    </a:lnTo>
                    <a:lnTo>
                      <a:pt x="2926" y="45"/>
                    </a:lnTo>
                    <a:lnTo>
                      <a:pt x="2945" y="68"/>
                    </a:lnTo>
                    <a:lnTo>
                      <a:pt x="2958" y="93"/>
                    </a:lnTo>
                    <a:lnTo>
                      <a:pt x="2968" y="123"/>
                    </a:lnTo>
                    <a:lnTo>
                      <a:pt x="2971" y="154"/>
                    </a:lnTo>
                    <a:lnTo>
                      <a:pt x="2968" y="181"/>
                    </a:lnTo>
                    <a:lnTo>
                      <a:pt x="2960" y="207"/>
                    </a:lnTo>
                    <a:lnTo>
                      <a:pt x="2950" y="231"/>
                    </a:lnTo>
                    <a:lnTo>
                      <a:pt x="2934" y="252"/>
                    </a:lnTo>
                    <a:lnTo>
                      <a:pt x="2916" y="271"/>
                    </a:lnTo>
                    <a:lnTo>
                      <a:pt x="2894" y="285"/>
                    </a:lnTo>
                    <a:lnTo>
                      <a:pt x="2894" y="2070"/>
                    </a:lnTo>
                    <a:lnTo>
                      <a:pt x="2892" y="2091"/>
                    </a:lnTo>
                    <a:lnTo>
                      <a:pt x="2883" y="2110"/>
                    </a:lnTo>
                    <a:lnTo>
                      <a:pt x="2872" y="2124"/>
                    </a:lnTo>
                    <a:lnTo>
                      <a:pt x="2856" y="2137"/>
                    </a:lnTo>
                    <a:lnTo>
                      <a:pt x="2838" y="2145"/>
                    </a:lnTo>
                    <a:lnTo>
                      <a:pt x="2818" y="2147"/>
                    </a:lnTo>
                    <a:lnTo>
                      <a:pt x="2197" y="2147"/>
                    </a:lnTo>
                    <a:lnTo>
                      <a:pt x="2470" y="3181"/>
                    </a:lnTo>
                    <a:lnTo>
                      <a:pt x="2475" y="3208"/>
                    </a:lnTo>
                    <a:lnTo>
                      <a:pt x="2475" y="3235"/>
                    </a:lnTo>
                    <a:lnTo>
                      <a:pt x="2469" y="3261"/>
                    </a:lnTo>
                    <a:lnTo>
                      <a:pt x="2461" y="3286"/>
                    </a:lnTo>
                    <a:lnTo>
                      <a:pt x="2448" y="3309"/>
                    </a:lnTo>
                    <a:lnTo>
                      <a:pt x="2432" y="3329"/>
                    </a:lnTo>
                    <a:lnTo>
                      <a:pt x="2411" y="3346"/>
                    </a:lnTo>
                    <a:lnTo>
                      <a:pt x="2388" y="3360"/>
                    </a:lnTo>
                    <a:lnTo>
                      <a:pt x="2362" y="3370"/>
                    </a:lnTo>
                    <a:lnTo>
                      <a:pt x="2343" y="3373"/>
                    </a:lnTo>
                    <a:lnTo>
                      <a:pt x="2323" y="3374"/>
                    </a:lnTo>
                    <a:lnTo>
                      <a:pt x="2295" y="3372"/>
                    </a:lnTo>
                    <a:lnTo>
                      <a:pt x="2267" y="3363"/>
                    </a:lnTo>
                    <a:lnTo>
                      <a:pt x="2243" y="3351"/>
                    </a:lnTo>
                    <a:lnTo>
                      <a:pt x="2220" y="3334"/>
                    </a:lnTo>
                    <a:lnTo>
                      <a:pt x="2201" y="3313"/>
                    </a:lnTo>
                    <a:lnTo>
                      <a:pt x="2186" y="3288"/>
                    </a:lnTo>
                    <a:lnTo>
                      <a:pt x="2176" y="3260"/>
                    </a:lnTo>
                    <a:lnTo>
                      <a:pt x="1902" y="2224"/>
                    </a:lnTo>
                    <a:lnTo>
                      <a:pt x="1069" y="2224"/>
                    </a:lnTo>
                    <a:lnTo>
                      <a:pt x="794" y="3260"/>
                    </a:lnTo>
                    <a:lnTo>
                      <a:pt x="785" y="3287"/>
                    </a:lnTo>
                    <a:lnTo>
                      <a:pt x="771" y="3309"/>
                    </a:lnTo>
                    <a:lnTo>
                      <a:pt x="754" y="3329"/>
                    </a:lnTo>
                    <a:lnTo>
                      <a:pt x="734" y="3346"/>
                    </a:lnTo>
                    <a:lnTo>
                      <a:pt x="712" y="3360"/>
                    </a:lnTo>
                    <a:lnTo>
                      <a:pt x="687" y="3369"/>
                    </a:lnTo>
                    <a:lnTo>
                      <a:pt x="662" y="3374"/>
                    </a:lnTo>
                    <a:lnTo>
                      <a:pt x="635" y="3374"/>
                    </a:lnTo>
                    <a:lnTo>
                      <a:pt x="608" y="3370"/>
                    </a:lnTo>
                    <a:lnTo>
                      <a:pt x="581" y="3360"/>
                    </a:lnTo>
                    <a:lnTo>
                      <a:pt x="558" y="3346"/>
                    </a:lnTo>
                    <a:lnTo>
                      <a:pt x="538" y="3329"/>
                    </a:lnTo>
                    <a:lnTo>
                      <a:pt x="522" y="3309"/>
                    </a:lnTo>
                    <a:lnTo>
                      <a:pt x="509" y="3286"/>
                    </a:lnTo>
                    <a:lnTo>
                      <a:pt x="500" y="3261"/>
                    </a:lnTo>
                    <a:lnTo>
                      <a:pt x="495" y="3236"/>
                    </a:lnTo>
                    <a:lnTo>
                      <a:pt x="495" y="3208"/>
                    </a:lnTo>
                    <a:lnTo>
                      <a:pt x="500" y="3181"/>
                    </a:lnTo>
                    <a:lnTo>
                      <a:pt x="773" y="2147"/>
                    </a:lnTo>
                    <a:lnTo>
                      <a:pt x="639" y="2147"/>
                    </a:lnTo>
                    <a:lnTo>
                      <a:pt x="683" y="2099"/>
                    </a:lnTo>
                    <a:lnTo>
                      <a:pt x="729" y="2048"/>
                    </a:lnTo>
                    <a:lnTo>
                      <a:pt x="778" y="1994"/>
                    </a:lnTo>
                    <a:lnTo>
                      <a:pt x="2742" y="1994"/>
                    </a:lnTo>
                    <a:lnTo>
                      <a:pt x="2742" y="307"/>
                    </a:lnTo>
                    <a:lnTo>
                      <a:pt x="227" y="307"/>
                    </a:lnTo>
                    <a:lnTo>
                      <a:pt x="227" y="1912"/>
                    </a:lnTo>
                    <a:lnTo>
                      <a:pt x="184" y="1953"/>
                    </a:lnTo>
                    <a:lnTo>
                      <a:pt x="144" y="1989"/>
                    </a:lnTo>
                    <a:lnTo>
                      <a:pt x="108" y="2023"/>
                    </a:lnTo>
                    <a:lnTo>
                      <a:pt x="76" y="2052"/>
                    </a:lnTo>
                    <a:lnTo>
                      <a:pt x="76" y="285"/>
                    </a:lnTo>
                    <a:lnTo>
                      <a:pt x="55" y="271"/>
                    </a:lnTo>
                    <a:lnTo>
                      <a:pt x="36" y="252"/>
                    </a:lnTo>
                    <a:lnTo>
                      <a:pt x="21" y="231"/>
                    </a:lnTo>
                    <a:lnTo>
                      <a:pt x="9" y="207"/>
                    </a:lnTo>
                    <a:lnTo>
                      <a:pt x="2" y="181"/>
                    </a:lnTo>
                    <a:lnTo>
                      <a:pt x="0" y="154"/>
                    </a:lnTo>
                    <a:lnTo>
                      <a:pt x="3" y="123"/>
                    </a:lnTo>
                    <a:lnTo>
                      <a:pt x="12" y="93"/>
                    </a:lnTo>
                    <a:lnTo>
                      <a:pt x="25" y="68"/>
                    </a:lnTo>
                    <a:lnTo>
                      <a:pt x="44" y="45"/>
                    </a:lnTo>
                    <a:lnTo>
                      <a:pt x="66" y="27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07" name="Freeform 204"/>
              <p:cNvSpPr>
                <a:spLocks/>
              </p:cNvSpPr>
              <p:nvPr/>
            </p:nvSpPr>
            <p:spPr bwMode="auto">
              <a:xfrm>
                <a:off x="4443" y="3439"/>
                <a:ext cx="60" cy="176"/>
              </a:xfrm>
              <a:custGeom>
                <a:avLst/>
                <a:gdLst>
                  <a:gd name="T0" fmla="*/ 153 w 304"/>
                  <a:gd name="T1" fmla="*/ 0 h 881"/>
                  <a:gd name="T2" fmla="*/ 183 w 304"/>
                  <a:gd name="T3" fmla="*/ 3 h 881"/>
                  <a:gd name="T4" fmla="*/ 211 w 304"/>
                  <a:gd name="T5" fmla="*/ 12 h 881"/>
                  <a:gd name="T6" fmla="*/ 237 w 304"/>
                  <a:gd name="T7" fmla="*/ 25 h 881"/>
                  <a:gd name="T8" fmla="*/ 260 w 304"/>
                  <a:gd name="T9" fmla="*/ 44 h 881"/>
                  <a:gd name="T10" fmla="*/ 278 w 304"/>
                  <a:gd name="T11" fmla="*/ 68 h 881"/>
                  <a:gd name="T12" fmla="*/ 293 w 304"/>
                  <a:gd name="T13" fmla="*/ 93 h 881"/>
                  <a:gd name="T14" fmla="*/ 301 w 304"/>
                  <a:gd name="T15" fmla="*/ 122 h 881"/>
                  <a:gd name="T16" fmla="*/ 304 w 304"/>
                  <a:gd name="T17" fmla="*/ 154 h 881"/>
                  <a:gd name="T18" fmla="*/ 304 w 304"/>
                  <a:gd name="T19" fmla="*/ 729 h 881"/>
                  <a:gd name="T20" fmla="*/ 301 w 304"/>
                  <a:gd name="T21" fmla="*/ 759 h 881"/>
                  <a:gd name="T22" fmla="*/ 293 w 304"/>
                  <a:gd name="T23" fmla="*/ 788 h 881"/>
                  <a:gd name="T24" fmla="*/ 278 w 304"/>
                  <a:gd name="T25" fmla="*/ 814 h 881"/>
                  <a:gd name="T26" fmla="*/ 260 w 304"/>
                  <a:gd name="T27" fmla="*/ 837 h 881"/>
                  <a:gd name="T28" fmla="*/ 237 w 304"/>
                  <a:gd name="T29" fmla="*/ 856 h 881"/>
                  <a:gd name="T30" fmla="*/ 211 w 304"/>
                  <a:gd name="T31" fmla="*/ 870 h 881"/>
                  <a:gd name="T32" fmla="*/ 183 w 304"/>
                  <a:gd name="T33" fmla="*/ 878 h 881"/>
                  <a:gd name="T34" fmla="*/ 153 w 304"/>
                  <a:gd name="T35" fmla="*/ 881 h 881"/>
                  <a:gd name="T36" fmla="*/ 121 w 304"/>
                  <a:gd name="T37" fmla="*/ 878 h 881"/>
                  <a:gd name="T38" fmla="*/ 92 w 304"/>
                  <a:gd name="T39" fmla="*/ 870 h 881"/>
                  <a:gd name="T40" fmla="*/ 67 w 304"/>
                  <a:gd name="T41" fmla="*/ 856 h 881"/>
                  <a:gd name="T42" fmla="*/ 44 w 304"/>
                  <a:gd name="T43" fmla="*/ 837 h 881"/>
                  <a:gd name="T44" fmla="*/ 26 w 304"/>
                  <a:gd name="T45" fmla="*/ 814 h 881"/>
                  <a:gd name="T46" fmla="*/ 11 w 304"/>
                  <a:gd name="T47" fmla="*/ 788 h 881"/>
                  <a:gd name="T48" fmla="*/ 3 w 304"/>
                  <a:gd name="T49" fmla="*/ 759 h 881"/>
                  <a:gd name="T50" fmla="*/ 0 w 304"/>
                  <a:gd name="T51" fmla="*/ 729 h 881"/>
                  <a:gd name="T52" fmla="*/ 0 w 304"/>
                  <a:gd name="T53" fmla="*/ 154 h 881"/>
                  <a:gd name="T54" fmla="*/ 3 w 304"/>
                  <a:gd name="T55" fmla="*/ 122 h 881"/>
                  <a:gd name="T56" fmla="*/ 11 w 304"/>
                  <a:gd name="T57" fmla="*/ 93 h 881"/>
                  <a:gd name="T58" fmla="*/ 26 w 304"/>
                  <a:gd name="T59" fmla="*/ 68 h 881"/>
                  <a:gd name="T60" fmla="*/ 44 w 304"/>
                  <a:gd name="T61" fmla="*/ 44 h 881"/>
                  <a:gd name="T62" fmla="*/ 67 w 304"/>
                  <a:gd name="T63" fmla="*/ 25 h 881"/>
                  <a:gd name="T64" fmla="*/ 92 w 304"/>
                  <a:gd name="T65" fmla="*/ 12 h 881"/>
                  <a:gd name="T66" fmla="*/ 121 w 304"/>
                  <a:gd name="T67" fmla="*/ 3 h 881"/>
                  <a:gd name="T68" fmla="*/ 153 w 304"/>
                  <a:gd name="T69" fmla="*/ 0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881">
                    <a:moveTo>
                      <a:pt x="153" y="0"/>
                    </a:moveTo>
                    <a:lnTo>
                      <a:pt x="183" y="3"/>
                    </a:lnTo>
                    <a:lnTo>
                      <a:pt x="211" y="12"/>
                    </a:lnTo>
                    <a:lnTo>
                      <a:pt x="237" y="25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4" y="154"/>
                    </a:lnTo>
                    <a:lnTo>
                      <a:pt x="304" y="729"/>
                    </a:lnTo>
                    <a:lnTo>
                      <a:pt x="301" y="759"/>
                    </a:lnTo>
                    <a:lnTo>
                      <a:pt x="293" y="788"/>
                    </a:lnTo>
                    <a:lnTo>
                      <a:pt x="278" y="814"/>
                    </a:lnTo>
                    <a:lnTo>
                      <a:pt x="260" y="837"/>
                    </a:lnTo>
                    <a:lnTo>
                      <a:pt x="237" y="856"/>
                    </a:lnTo>
                    <a:lnTo>
                      <a:pt x="211" y="870"/>
                    </a:lnTo>
                    <a:lnTo>
                      <a:pt x="183" y="878"/>
                    </a:lnTo>
                    <a:lnTo>
                      <a:pt x="153" y="881"/>
                    </a:lnTo>
                    <a:lnTo>
                      <a:pt x="121" y="878"/>
                    </a:lnTo>
                    <a:lnTo>
                      <a:pt x="92" y="870"/>
                    </a:lnTo>
                    <a:lnTo>
                      <a:pt x="67" y="856"/>
                    </a:lnTo>
                    <a:lnTo>
                      <a:pt x="44" y="837"/>
                    </a:lnTo>
                    <a:lnTo>
                      <a:pt x="26" y="814"/>
                    </a:lnTo>
                    <a:lnTo>
                      <a:pt x="11" y="788"/>
                    </a:lnTo>
                    <a:lnTo>
                      <a:pt x="3" y="759"/>
                    </a:lnTo>
                    <a:lnTo>
                      <a:pt x="0" y="729"/>
                    </a:lnTo>
                    <a:lnTo>
                      <a:pt x="0" y="154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5"/>
                    </a:lnTo>
                    <a:lnTo>
                      <a:pt x="92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08" name="Freeform 205"/>
              <p:cNvSpPr>
                <a:spLocks/>
              </p:cNvSpPr>
              <p:nvPr/>
            </p:nvSpPr>
            <p:spPr bwMode="auto">
              <a:xfrm>
                <a:off x="4542" y="3331"/>
                <a:ext cx="60" cy="284"/>
              </a:xfrm>
              <a:custGeom>
                <a:avLst/>
                <a:gdLst>
                  <a:gd name="T0" fmla="*/ 153 w 304"/>
                  <a:gd name="T1" fmla="*/ 0 h 1418"/>
                  <a:gd name="T2" fmla="*/ 183 w 304"/>
                  <a:gd name="T3" fmla="*/ 3 h 1418"/>
                  <a:gd name="T4" fmla="*/ 212 w 304"/>
                  <a:gd name="T5" fmla="*/ 12 h 1418"/>
                  <a:gd name="T6" fmla="*/ 237 w 304"/>
                  <a:gd name="T7" fmla="*/ 26 h 1418"/>
                  <a:gd name="T8" fmla="*/ 260 w 304"/>
                  <a:gd name="T9" fmla="*/ 45 h 1418"/>
                  <a:gd name="T10" fmla="*/ 278 w 304"/>
                  <a:gd name="T11" fmla="*/ 67 h 1418"/>
                  <a:gd name="T12" fmla="*/ 293 w 304"/>
                  <a:gd name="T13" fmla="*/ 94 h 1418"/>
                  <a:gd name="T14" fmla="*/ 301 w 304"/>
                  <a:gd name="T15" fmla="*/ 122 h 1418"/>
                  <a:gd name="T16" fmla="*/ 304 w 304"/>
                  <a:gd name="T17" fmla="*/ 153 h 1418"/>
                  <a:gd name="T18" fmla="*/ 304 w 304"/>
                  <a:gd name="T19" fmla="*/ 1266 h 1418"/>
                  <a:gd name="T20" fmla="*/ 301 w 304"/>
                  <a:gd name="T21" fmla="*/ 1296 h 1418"/>
                  <a:gd name="T22" fmla="*/ 293 w 304"/>
                  <a:gd name="T23" fmla="*/ 1325 h 1418"/>
                  <a:gd name="T24" fmla="*/ 278 w 304"/>
                  <a:gd name="T25" fmla="*/ 1351 h 1418"/>
                  <a:gd name="T26" fmla="*/ 260 w 304"/>
                  <a:gd name="T27" fmla="*/ 1374 h 1418"/>
                  <a:gd name="T28" fmla="*/ 237 w 304"/>
                  <a:gd name="T29" fmla="*/ 1393 h 1418"/>
                  <a:gd name="T30" fmla="*/ 212 w 304"/>
                  <a:gd name="T31" fmla="*/ 1407 h 1418"/>
                  <a:gd name="T32" fmla="*/ 183 w 304"/>
                  <a:gd name="T33" fmla="*/ 1415 h 1418"/>
                  <a:gd name="T34" fmla="*/ 153 w 304"/>
                  <a:gd name="T35" fmla="*/ 1418 h 1418"/>
                  <a:gd name="T36" fmla="*/ 121 w 304"/>
                  <a:gd name="T37" fmla="*/ 1415 h 1418"/>
                  <a:gd name="T38" fmla="*/ 93 w 304"/>
                  <a:gd name="T39" fmla="*/ 1407 h 1418"/>
                  <a:gd name="T40" fmla="*/ 67 w 304"/>
                  <a:gd name="T41" fmla="*/ 1393 h 1418"/>
                  <a:gd name="T42" fmla="*/ 44 w 304"/>
                  <a:gd name="T43" fmla="*/ 1374 h 1418"/>
                  <a:gd name="T44" fmla="*/ 26 w 304"/>
                  <a:gd name="T45" fmla="*/ 1351 h 1418"/>
                  <a:gd name="T46" fmla="*/ 11 w 304"/>
                  <a:gd name="T47" fmla="*/ 1325 h 1418"/>
                  <a:gd name="T48" fmla="*/ 3 w 304"/>
                  <a:gd name="T49" fmla="*/ 1296 h 1418"/>
                  <a:gd name="T50" fmla="*/ 0 w 304"/>
                  <a:gd name="T51" fmla="*/ 1266 h 1418"/>
                  <a:gd name="T52" fmla="*/ 0 w 304"/>
                  <a:gd name="T53" fmla="*/ 153 h 1418"/>
                  <a:gd name="T54" fmla="*/ 3 w 304"/>
                  <a:gd name="T55" fmla="*/ 122 h 1418"/>
                  <a:gd name="T56" fmla="*/ 11 w 304"/>
                  <a:gd name="T57" fmla="*/ 94 h 1418"/>
                  <a:gd name="T58" fmla="*/ 26 w 304"/>
                  <a:gd name="T59" fmla="*/ 67 h 1418"/>
                  <a:gd name="T60" fmla="*/ 44 w 304"/>
                  <a:gd name="T61" fmla="*/ 45 h 1418"/>
                  <a:gd name="T62" fmla="*/ 67 w 304"/>
                  <a:gd name="T63" fmla="*/ 26 h 1418"/>
                  <a:gd name="T64" fmla="*/ 93 w 304"/>
                  <a:gd name="T65" fmla="*/ 12 h 1418"/>
                  <a:gd name="T66" fmla="*/ 121 w 304"/>
                  <a:gd name="T67" fmla="*/ 3 h 1418"/>
                  <a:gd name="T68" fmla="*/ 153 w 304"/>
                  <a:gd name="T69" fmla="*/ 0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1418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2"/>
                    </a:lnTo>
                    <a:lnTo>
                      <a:pt x="237" y="26"/>
                    </a:lnTo>
                    <a:lnTo>
                      <a:pt x="260" y="45"/>
                    </a:lnTo>
                    <a:lnTo>
                      <a:pt x="278" y="67"/>
                    </a:lnTo>
                    <a:lnTo>
                      <a:pt x="293" y="94"/>
                    </a:lnTo>
                    <a:lnTo>
                      <a:pt x="301" y="122"/>
                    </a:lnTo>
                    <a:lnTo>
                      <a:pt x="304" y="153"/>
                    </a:lnTo>
                    <a:lnTo>
                      <a:pt x="304" y="1266"/>
                    </a:lnTo>
                    <a:lnTo>
                      <a:pt x="301" y="1296"/>
                    </a:lnTo>
                    <a:lnTo>
                      <a:pt x="293" y="1325"/>
                    </a:lnTo>
                    <a:lnTo>
                      <a:pt x="278" y="1351"/>
                    </a:lnTo>
                    <a:lnTo>
                      <a:pt x="260" y="1374"/>
                    </a:lnTo>
                    <a:lnTo>
                      <a:pt x="237" y="1393"/>
                    </a:lnTo>
                    <a:lnTo>
                      <a:pt x="212" y="1407"/>
                    </a:lnTo>
                    <a:lnTo>
                      <a:pt x="183" y="1415"/>
                    </a:lnTo>
                    <a:lnTo>
                      <a:pt x="153" y="1418"/>
                    </a:lnTo>
                    <a:lnTo>
                      <a:pt x="121" y="1415"/>
                    </a:lnTo>
                    <a:lnTo>
                      <a:pt x="93" y="1407"/>
                    </a:lnTo>
                    <a:lnTo>
                      <a:pt x="67" y="1393"/>
                    </a:lnTo>
                    <a:lnTo>
                      <a:pt x="44" y="1374"/>
                    </a:lnTo>
                    <a:lnTo>
                      <a:pt x="26" y="1351"/>
                    </a:lnTo>
                    <a:lnTo>
                      <a:pt x="11" y="1325"/>
                    </a:lnTo>
                    <a:lnTo>
                      <a:pt x="3" y="1296"/>
                    </a:lnTo>
                    <a:lnTo>
                      <a:pt x="0" y="1266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4"/>
                    </a:lnTo>
                    <a:lnTo>
                      <a:pt x="26" y="67"/>
                    </a:lnTo>
                    <a:lnTo>
                      <a:pt x="44" y="45"/>
                    </a:lnTo>
                    <a:lnTo>
                      <a:pt x="67" y="26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09" name="Freeform 206"/>
              <p:cNvSpPr>
                <a:spLocks/>
              </p:cNvSpPr>
              <p:nvPr/>
            </p:nvSpPr>
            <p:spPr bwMode="auto">
              <a:xfrm>
                <a:off x="4641" y="3393"/>
                <a:ext cx="61" cy="222"/>
              </a:xfrm>
              <a:custGeom>
                <a:avLst/>
                <a:gdLst>
                  <a:gd name="T0" fmla="*/ 153 w 305"/>
                  <a:gd name="T1" fmla="*/ 0 h 1111"/>
                  <a:gd name="T2" fmla="*/ 183 w 305"/>
                  <a:gd name="T3" fmla="*/ 3 h 1111"/>
                  <a:gd name="T4" fmla="*/ 212 w 305"/>
                  <a:gd name="T5" fmla="*/ 11 h 1111"/>
                  <a:gd name="T6" fmla="*/ 237 w 305"/>
                  <a:gd name="T7" fmla="*/ 26 h 1111"/>
                  <a:gd name="T8" fmla="*/ 260 w 305"/>
                  <a:gd name="T9" fmla="*/ 44 h 1111"/>
                  <a:gd name="T10" fmla="*/ 278 w 305"/>
                  <a:gd name="T11" fmla="*/ 68 h 1111"/>
                  <a:gd name="T12" fmla="*/ 293 w 305"/>
                  <a:gd name="T13" fmla="*/ 93 h 1111"/>
                  <a:gd name="T14" fmla="*/ 301 w 305"/>
                  <a:gd name="T15" fmla="*/ 122 h 1111"/>
                  <a:gd name="T16" fmla="*/ 305 w 305"/>
                  <a:gd name="T17" fmla="*/ 153 h 1111"/>
                  <a:gd name="T18" fmla="*/ 305 w 305"/>
                  <a:gd name="T19" fmla="*/ 959 h 1111"/>
                  <a:gd name="T20" fmla="*/ 301 w 305"/>
                  <a:gd name="T21" fmla="*/ 989 h 1111"/>
                  <a:gd name="T22" fmla="*/ 293 w 305"/>
                  <a:gd name="T23" fmla="*/ 1018 h 1111"/>
                  <a:gd name="T24" fmla="*/ 278 w 305"/>
                  <a:gd name="T25" fmla="*/ 1044 h 1111"/>
                  <a:gd name="T26" fmla="*/ 260 w 305"/>
                  <a:gd name="T27" fmla="*/ 1067 h 1111"/>
                  <a:gd name="T28" fmla="*/ 237 w 305"/>
                  <a:gd name="T29" fmla="*/ 1086 h 1111"/>
                  <a:gd name="T30" fmla="*/ 212 w 305"/>
                  <a:gd name="T31" fmla="*/ 1100 h 1111"/>
                  <a:gd name="T32" fmla="*/ 183 w 305"/>
                  <a:gd name="T33" fmla="*/ 1108 h 1111"/>
                  <a:gd name="T34" fmla="*/ 153 w 305"/>
                  <a:gd name="T35" fmla="*/ 1111 h 1111"/>
                  <a:gd name="T36" fmla="*/ 121 w 305"/>
                  <a:gd name="T37" fmla="*/ 1108 h 1111"/>
                  <a:gd name="T38" fmla="*/ 93 w 305"/>
                  <a:gd name="T39" fmla="*/ 1100 h 1111"/>
                  <a:gd name="T40" fmla="*/ 67 w 305"/>
                  <a:gd name="T41" fmla="*/ 1086 h 1111"/>
                  <a:gd name="T42" fmla="*/ 44 w 305"/>
                  <a:gd name="T43" fmla="*/ 1067 h 1111"/>
                  <a:gd name="T44" fmla="*/ 26 w 305"/>
                  <a:gd name="T45" fmla="*/ 1044 h 1111"/>
                  <a:gd name="T46" fmla="*/ 12 w 305"/>
                  <a:gd name="T47" fmla="*/ 1018 h 1111"/>
                  <a:gd name="T48" fmla="*/ 3 w 305"/>
                  <a:gd name="T49" fmla="*/ 989 h 1111"/>
                  <a:gd name="T50" fmla="*/ 0 w 305"/>
                  <a:gd name="T51" fmla="*/ 959 h 1111"/>
                  <a:gd name="T52" fmla="*/ 0 w 305"/>
                  <a:gd name="T53" fmla="*/ 153 h 1111"/>
                  <a:gd name="T54" fmla="*/ 3 w 305"/>
                  <a:gd name="T55" fmla="*/ 122 h 1111"/>
                  <a:gd name="T56" fmla="*/ 12 w 305"/>
                  <a:gd name="T57" fmla="*/ 93 h 1111"/>
                  <a:gd name="T58" fmla="*/ 26 w 305"/>
                  <a:gd name="T59" fmla="*/ 68 h 1111"/>
                  <a:gd name="T60" fmla="*/ 44 w 305"/>
                  <a:gd name="T61" fmla="*/ 44 h 1111"/>
                  <a:gd name="T62" fmla="*/ 67 w 305"/>
                  <a:gd name="T63" fmla="*/ 26 h 1111"/>
                  <a:gd name="T64" fmla="*/ 93 w 305"/>
                  <a:gd name="T65" fmla="*/ 11 h 1111"/>
                  <a:gd name="T66" fmla="*/ 121 w 305"/>
                  <a:gd name="T67" fmla="*/ 3 h 1111"/>
                  <a:gd name="T68" fmla="*/ 153 w 305"/>
                  <a:gd name="T69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5" h="1111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1"/>
                    </a:lnTo>
                    <a:lnTo>
                      <a:pt x="237" y="26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5" y="153"/>
                    </a:lnTo>
                    <a:lnTo>
                      <a:pt x="305" y="959"/>
                    </a:lnTo>
                    <a:lnTo>
                      <a:pt x="301" y="989"/>
                    </a:lnTo>
                    <a:lnTo>
                      <a:pt x="293" y="1018"/>
                    </a:lnTo>
                    <a:lnTo>
                      <a:pt x="278" y="1044"/>
                    </a:lnTo>
                    <a:lnTo>
                      <a:pt x="260" y="1067"/>
                    </a:lnTo>
                    <a:lnTo>
                      <a:pt x="237" y="1086"/>
                    </a:lnTo>
                    <a:lnTo>
                      <a:pt x="212" y="1100"/>
                    </a:lnTo>
                    <a:lnTo>
                      <a:pt x="183" y="1108"/>
                    </a:lnTo>
                    <a:lnTo>
                      <a:pt x="153" y="1111"/>
                    </a:lnTo>
                    <a:lnTo>
                      <a:pt x="121" y="1108"/>
                    </a:lnTo>
                    <a:lnTo>
                      <a:pt x="93" y="1100"/>
                    </a:lnTo>
                    <a:lnTo>
                      <a:pt x="67" y="1086"/>
                    </a:lnTo>
                    <a:lnTo>
                      <a:pt x="44" y="1067"/>
                    </a:lnTo>
                    <a:lnTo>
                      <a:pt x="26" y="1044"/>
                    </a:lnTo>
                    <a:lnTo>
                      <a:pt x="12" y="1018"/>
                    </a:lnTo>
                    <a:lnTo>
                      <a:pt x="3" y="989"/>
                    </a:lnTo>
                    <a:lnTo>
                      <a:pt x="0" y="959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2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6"/>
                    </a:lnTo>
                    <a:lnTo>
                      <a:pt x="93" y="11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10" name="Freeform 207"/>
              <p:cNvSpPr>
                <a:spLocks/>
              </p:cNvSpPr>
              <p:nvPr/>
            </p:nvSpPr>
            <p:spPr bwMode="auto">
              <a:xfrm>
                <a:off x="4176" y="3520"/>
                <a:ext cx="223" cy="225"/>
              </a:xfrm>
              <a:custGeom>
                <a:avLst/>
                <a:gdLst>
                  <a:gd name="T0" fmla="*/ 1085 w 1117"/>
                  <a:gd name="T1" fmla="*/ 0 h 1123"/>
                  <a:gd name="T2" fmla="*/ 1106 w 1117"/>
                  <a:gd name="T3" fmla="*/ 10 h 1123"/>
                  <a:gd name="T4" fmla="*/ 1117 w 1117"/>
                  <a:gd name="T5" fmla="*/ 31 h 1123"/>
                  <a:gd name="T6" fmla="*/ 1113 w 1117"/>
                  <a:gd name="T7" fmla="*/ 53 h 1123"/>
                  <a:gd name="T8" fmla="*/ 1104 w 1117"/>
                  <a:gd name="T9" fmla="*/ 66 h 1123"/>
                  <a:gd name="T10" fmla="*/ 1089 w 1117"/>
                  <a:gd name="T11" fmla="*/ 82 h 1123"/>
                  <a:gd name="T12" fmla="*/ 1062 w 1117"/>
                  <a:gd name="T13" fmla="*/ 112 h 1123"/>
                  <a:gd name="T14" fmla="*/ 1023 w 1117"/>
                  <a:gd name="T15" fmla="*/ 155 h 1123"/>
                  <a:gd name="T16" fmla="*/ 973 w 1117"/>
                  <a:gd name="T17" fmla="*/ 209 h 1123"/>
                  <a:gd name="T18" fmla="*/ 917 w 1117"/>
                  <a:gd name="T19" fmla="*/ 272 h 1123"/>
                  <a:gd name="T20" fmla="*/ 853 w 1117"/>
                  <a:gd name="T21" fmla="*/ 342 h 1123"/>
                  <a:gd name="T22" fmla="*/ 785 w 1117"/>
                  <a:gd name="T23" fmla="*/ 417 h 1123"/>
                  <a:gd name="T24" fmla="*/ 712 w 1117"/>
                  <a:gd name="T25" fmla="*/ 497 h 1123"/>
                  <a:gd name="T26" fmla="*/ 640 w 1117"/>
                  <a:gd name="T27" fmla="*/ 577 h 1123"/>
                  <a:gd name="T28" fmla="*/ 566 w 1117"/>
                  <a:gd name="T29" fmla="*/ 658 h 1123"/>
                  <a:gd name="T30" fmla="*/ 494 w 1117"/>
                  <a:gd name="T31" fmla="*/ 737 h 1123"/>
                  <a:gd name="T32" fmla="*/ 425 w 1117"/>
                  <a:gd name="T33" fmla="*/ 813 h 1123"/>
                  <a:gd name="T34" fmla="*/ 361 w 1117"/>
                  <a:gd name="T35" fmla="*/ 884 h 1123"/>
                  <a:gd name="T36" fmla="*/ 303 w 1117"/>
                  <a:gd name="T37" fmla="*/ 946 h 1123"/>
                  <a:gd name="T38" fmla="*/ 254 w 1117"/>
                  <a:gd name="T39" fmla="*/ 1001 h 1123"/>
                  <a:gd name="T40" fmla="*/ 215 w 1117"/>
                  <a:gd name="T41" fmla="*/ 1045 h 1123"/>
                  <a:gd name="T42" fmla="*/ 186 w 1117"/>
                  <a:gd name="T43" fmla="*/ 1076 h 1123"/>
                  <a:gd name="T44" fmla="*/ 171 w 1117"/>
                  <a:gd name="T45" fmla="*/ 1093 h 1123"/>
                  <a:gd name="T46" fmla="*/ 151 w 1117"/>
                  <a:gd name="T47" fmla="*/ 1110 h 1123"/>
                  <a:gd name="T48" fmla="*/ 110 w 1117"/>
                  <a:gd name="T49" fmla="*/ 1123 h 1123"/>
                  <a:gd name="T50" fmla="*/ 66 w 1117"/>
                  <a:gd name="T51" fmla="*/ 1119 h 1123"/>
                  <a:gd name="T52" fmla="*/ 28 w 1117"/>
                  <a:gd name="T53" fmla="*/ 1095 h 1123"/>
                  <a:gd name="T54" fmla="*/ 5 w 1117"/>
                  <a:gd name="T55" fmla="*/ 1057 h 1123"/>
                  <a:gd name="T56" fmla="*/ 0 w 1117"/>
                  <a:gd name="T57" fmla="*/ 1013 h 1123"/>
                  <a:gd name="T58" fmla="*/ 14 w 1117"/>
                  <a:gd name="T59" fmla="*/ 972 h 1123"/>
                  <a:gd name="T60" fmla="*/ 31 w 1117"/>
                  <a:gd name="T61" fmla="*/ 952 h 1123"/>
                  <a:gd name="T62" fmla="*/ 47 w 1117"/>
                  <a:gd name="T63" fmla="*/ 936 h 1123"/>
                  <a:gd name="T64" fmla="*/ 78 w 1117"/>
                  <a:gd name="T65" fmla="*/ 908 h 1123"/>
                  <a:gd name="T66" fmla="*/ 122 w 1117"/>
                  <a:gd name="T67" fmla="*/ 868 h 1123"/>
                  <a:gd name="T68" fmla="*/ 176 w 1117"/>
                  <a:gd name="T69" fmla="*/ 818 h 1123"/>
                  <a:gd name="T70" fmla="*/ 238 w 1117"/>
                  <a:gd name="T71" fmla="*/ 761 h 1123"/>
                  <a:gd name="T72" fmla="*/ 309 w 1117"/>
                  <a:gd name="T73" fmla="*/ 696 h 1123"/>
                  <a:gd name="T74" fmla="*/ 383 w 1117"/>
                  <a:gd name="T75" fmla="*/ 627 h 1123"/>
                  <a:gd name="T76" fmla="*/ 463 w 1117"/>
                  <a:gd name="T77" fmla="*/ 554 h 1123"/>
                  <a:gd name="T78" fmla="*/ 543 w 1117"/>
                  <a:gd name="T79" fmla="*/ 481 h 1123"/>
                  <a:gd name="T80" fmla="*/ 623 w 1117"/>
                  <a:gd name="T81" fmla="*/ 406 h 1123"/>
                  <a:gd name="T82" fmla="*/ 702 w 1117"/>
                  <a:gd name="T83" fmla="*/ 334 h 1123"/>
                  <a:gd name="T84" fmla="*/ 776 w 1117"/>
                  <a:gd name="T85" fmla="*/ 265 h 1123"/>
                  <a:gd name="T86" fmla="*/ 846 w 1117"/>
                  <a:gd name="T87" fmla="*/ 201 h 1123"/>
                  <a:gd name="T88" fmla="*/ 908 w 1117"/>
                  <a:gd name="T89" fmla="*/ 143 h 1123"/>
                  <a:gd name="T90" fmla="*/ 962 w 1117"/>
                  <a:gd name="T91" fmla="*/ 95 h 1123"/>
                  <a:gd name="T92" fmla="*/ 1005 w 1117"/>
                  <a:gd name="T93" fmla="*/ 54 h 1123"/>
                  <a:gd name="T94" fmla="*/ 1036 w 1117"/>
                  <a:gd name="T95" fmla="*/ 27 h 1123"/>
                  <a:gd name="T96" fmla="*/ 1051 w 1117"/>
                  <a:gd name="T97" fmla="*/ 12 h 1123"/>
                  <a:gd name="T98" fmla="*/ 1063 w 1117"/>
                  <a:gd name="T99" fmla="*/ 3 h 1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17" h="1123">
                    <a:moveTo>
                      <a:pt x="1074" y="0"/>
                    </a:moveTo>
                    <a:lnTo>
                      <a:pt x="1085" y="0"/>
                    </a:lnTo>
                    <a:lnTo>
                      <a:pt x="1096" y="3"/>
                    </a:lnTo>
                    <a:lnTo>
                      <a:pt x="1106" y="10"/>
                    </a:lnTo>
                    <a:lnTo>
                      <a:pt x="1113" y="20"/>
                    </a:lnTo>
                    <a:lnTo>
                      <a:pt x="1117" y="31"/>
                    </a:lnTo>
                    <a:lnTo>
                      <a:pt x="1117" y="43"/>
                    </a:lnTo>
                    <a:lnTo>
                      <a:pt x="1113" y="53"/>
                    </a:lnTo>
                    <a:lnTo>
                      <a:pt x="1106" y="64"/>
                    </a:lnTo>
                    <a:lnTo>
                      <a:pt x="1104" y="66"/>
                    </a:lnTo>
                    <a:lnTo>
                      <a:pt x="1099" y="71"/>
                    </a:lnTo>
                    <a:lnTo>
                      <a:pt x="1089" y="82"/>
                    </a:lnTo>
                    <a:lnTo>
                      <a:pt x="1077" y="96"/>
                    </a:lnTo>
                    <a:lnTo>
                      <a:pt x="1062" y="112"/>
                    </a:lnTo>
                    <a:lnTo>
                      <a:pt x="1043" y="132"/>
                    </a:lnTo>
                    <a:lnTo>
                      <a:pt x="1023" y="155"/>
                    </a:lnTo>
                    <a:lnTo>
                      <a:pt x="999" y="181"/>
                    </a:lnTo>
                    <a:lnTo>
                      <a:pt x="973" y="209"/>
                    </a:lnTo>
                    <a:lnTo>
                      <a:pt x="946" y="240"/>
                    </a:lnTo>
                    <a:lnTo>
                      <a:pt x="917" y="272"/>
                    </a:lnTo>
                    <a:lnTo>
                      <a:pt x="885" y="306"/>
                    </a:lnTo>
                    <a:lnTo>
                      <a:pt x="853" y="342"/>
                    </a:lnTo>
                    <a:lnTo>
                      <a:pt x="820" y="379"/>
                    </a:lnTo>
                    <a:lnTo>
                      <a:pt x="785" y="417"/>
                    </a:lnTo>
                    <a:lnTo>
                      <a:pt x="749" y="456"/>
                    </a:lnTo>
                    <a:lnTo>
                      <a:pt x="712" y="497"/>
                    </a:lnTo>
                    <a:lnTo>
                      <a:pt x="676" y="537"/>
                    </a:lnTo>
                    <a:lnTo>
                      <a:pt x="640" y="577"/>
                    </a:lnTo>
                    <a:lnTo>
                      <a:pt x="603" y="617"/>
                    </a:lnTo>
                    <a:lnTo>
                      <a:pt x="566" y="658"/>
                    </a:lnTo>
                    <a:lnTo>
                      <a:pt x="529" y="698"/>
                    </a:lnTo>
                    <a:lnTo>
                      <a:pt x="494" y="737"/>
                    </a:lnTo>
                    <a:lnTo>
                      <a:pt x="458" y="776"/>
                    </a:lnTo>
                    <a:lnTo>
                      <a:pt x="425" y="813"/>
                    </a:lnTo>
                    <a:lnTo>
                      <a:pt x="392" y="849"/>
                    </a:lnTo>
                    <a:lnTo>
                      <a:pt x="361" y="884"/>
                    </a:lnTo>
                    <a:lnTo>
                      <a:pt x="332" y="917"/>
                    </a:lnTo>
                    <a:lnTo>
                      <a:pt x="303" y="946"/>
                    </a:lnTo>
                    <a:lnTo>
                      <a:pt x="278" y="975"/>
                    </a:lnTo>
                    <a:lnTo>
                      <a:pt x="254" y="1001"/>
                    </a:lnTo>
                    <a:lnTo>
                      <a:pt x="233" y="1024"/>
                    </a:lnTo>
                    <a:lnTo>
                      <a:pt x="215" y="1045"/>
                    </a:lnTo>
                    <a:lnTo>
                      <a:pt x="199" y="1062"/>
                    </a:lnTo>
                    <a:lnTo>
                      <a:pt x="186" y="1076"/>
                    </a:lnTo>
                    <a:lnTo>
                      <a:pt x="177" y="1086"/>
                    </a:lnTo>
                    <a:lnTo>
                      <a:pt x="171" y="1093"/>
                    </a:lnTo>
                    <a:lnTo>
                      <a:pt x="169" y="1095"/>
                    </a:lnTo>
                    <a:lnTo>
                      <a:pt x="151" y="1110"/>
                    </a:lnTo>
                    <a:lnTo>
                      <a:pt x="131" y="1119"/>
                    </a:lnTo>
                    <a:lnTo>
                      <a:pt x="110" y="1123"/>
                    </a:lnTo>
                    <a:lnTo>
                      <a:pt x="87" y="1123"/>
                    </a:lnTo>
                    <a:lnTo>
                      <a:pt x="66" y="1119"/>
                    </a:lnTo>
                    <a:lnTo>
                      <a:pt x="46" y="1110"/>
                    </a:lnTo>
                    <a:lnTo>
                      <a:pt x="28" y="1095"/>
                    </a:lnTo>
                    <a:lnTo>
                      <a:pt x="14" y="1077"/>
                    </a:lnTo>
                    <a:lnTo>
                      <a:pt x="5" y="1057"/>
                    </a:lnTo>
                    <a:lnTo>
                      <a:pt x="0" y="1035"/>
                    </a:lnTo>
                    <a:lnTo>
                      <a:pt x="0" y="1013"/>
                    </a:lnTo>
                    <a:lnTo>
                      <a:pt x="5" y="992"/>
                    </a:lnTo>
                    <a:lnTo>
                      <a:pt x="14" y="972"/>
                    </a:lnTo>
                    <a:lnTo>
                      <a:pt x="28" y="954"/>
                    </a:lnTo>
                    <a:lnTo>
                      <a:pt x="31" y="952"/>
                    </a:lnTo>
                    <a:lnTo>
                      <a:pt x="37" y="945"/>
                    </a:lnTo>
                    <a:lnTo>
                      <a:pt x="47" y="936"/>
                    </a:lnTo>
                    <a:lnTo>
                      <a:pt x="61" y="924"/>
                    </a:lnTo>
                    <a:lnTo>
                      <a:pt x="78" y="908"/>
                    </a:lnTo>
                    <a:lnTo>
                      <a:pt x="99" y="889"/>
                    </a:lnTo>
                    <a:lnTo>
                      <a:pt x="122" y="868"/>
                    </a:lnTo>
                    <a:lnTo>
                      <a:pt x="147" y="844"/>
                    </a:lnTo>
                    <a:lnTo>
                      <a:pt x="176" y="818"/>
                    </a:lnTo>
                    <a:lnTo>
                      <a:pt x="206" y="790"/>
                    </a:lnTo>
                    <a:lnTo>
                      <a:pt x="238" y="761"/>
                    </a:lnTo>
                    <a:lnTo>
                      <a:pt x="273" y="729"/>
                    </a:lnTo>
                    <a:lnTo>
                      <a:pt x="309" y="696"/>
                    </a:lnTo>
                    <a:lnTo>
                      <a:pt x="346" y="662"/>
                    </a:lnTo>
                    <a:lnTo>
                      <a:pt x="383" y="627"/>
                    </a:lnTo>
                    <a:lnTo>
                      <a:pt x="422" y="591"/>
                    </a:lnTo>
                    <a:lnTo>
                      <a:pt x="463" y="554"/>
                    </a:lnTo>
                    <a:lnTo>
                      <a:pt x="503" y="518"/>
                    </a:lnTo>
                    <a:lnTo>
                      <a:pt x="543" y="481"/>
                    </a:lnTo>
                    <a:lnTo>
                      <a:pt x="583" y="444"/>
                    </a:lnTo>
                    <a:lnTo>
                      <a:pt x="623" y="406"/>
                    </a:lnTo>
                    <a:lnTo>
                      <a:pt x="663" y="369"/>
                    </a:lnTo>
                    <a:lnTo>
                      <a:pt x="702" y="334"/>
                    </a:lnTo>
                    <a:lnTo>
                      <a:pt x="740" y="299"/>
                    </a:lnTo>
                    <a:lnTo>
                      <a:pt x="776" y="265"/>
                    </a:lnTo>
                    <a:lnTo>
                      <a:pt x="812" y="232"/>
                    </a:lnTo>
                    <a:lnTo>
                      <a:pt x="846" y="201"/>
                    </a:lnTo>
                    <a:lnTo>
                      <a:pt x="879" y="171"/>
                    </a:lnTo>
                    <a:lnTo>
                      <a:pt x="908" y="143"/>
                    </a:lnTo>
                    <a:lnTo>
                      <a:pt x="937" y="118"/>
                    </a:lnTo>
                    <a:lnTo>
                      <a:pt x="962" y="95"/>
                    </a:lnTo>
                    <a:lnTo>
                      <a:pt x="985" y="73"/>
                    </a:lnTo>
                    <a:lnTo>
                      <a:pt x="1005" y="54"/>
                    </a:lnTo>
                    <a:lnTo>
                      <a:pt x="1022" y="39"/>
                    </a:lnTo>
                    <a:lnTo>
                      <a:pt x="1036" y="27"/>
                    </a:lnTo>
                    <a:lnTo>
                      <a:pt x="1045" y="18"/>
                    </a:lnTo>
                    <a:lnTo>
                      <a:pt x="1051" y="12"/>
                    </a:lnTo>
                    <a:lnTo>
                      <a:pt x="1054" y="10"/>
                    </a:lnTo>
                    <a:lnTo>
                      <a:pt x="1063" y="3"/>
                    </a:lnTo>
                    <a:lnTo>
                      <a:pt x="107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12280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0107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0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670225"/>
            <a:ext cx="738960" cy="2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9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Обработка в режиме реального времени</a:t>
            </a:r>
            <a:endParaRPr lang="ru-RU" sz="9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0" name="Rectangle 17"/>
          <p:cNvSpPr>
            <a:spLocks/>
          </p:cNvSpPr>
          <p:nvPr/>
        </p:nvSpPr>
        <p:spPr bwMode="auto">
          <a:xfrm>
            <a:off x="217094" y="3250297"/>
            <a:ext cx="658776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05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Данные</a:t>
            </a:r>
            <a:endParaRPr lang="ru-RU" sz="105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3576538" y="4383410"/>
            <a:ext cx="4000317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… спланировать </a:t>
            </a:r>
            <a:r>
              <a:rPr sz="1400" i="1" dirty="0">
                <a:solidFill>
                  <a:schemeClr val="bg1"/>
                </a:solidFill>
                <a:latin typeface="+mj-lt"/>
              </a:rPr>
              <a:t/>
            </a:r>
            <a:br>
              <a:rPr sz="1400" i="1" dirty="0">
                <a:solidFill>
                  <a:schemeClr val="bg1"/>
                </a:solidFill>
                <a:latin typeface="+mj-lt"/>
              </a:rPr>
            </a:b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корректирующие </a:t>
            </a:r>
          </a:p>
          <a:p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действия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3595871" y="5527051"/>
            <a:ext cx="1440000" cy="774550"/>
          </a:xfrm>
          <a:prstGeom prst="rect">
            <a:avLst/>
          </a:prstGeom>
          <a:solidFill>
            <a:srgbClr val="8A867A"/>
          </a:solidFill>
        </p:spPr>
        <p:txBody>
          <a:bodyPr wrap="square" lIns="72000" tIns="72000" rIns="72000" bIns="72000">
            <a:noAutofit/>
          </a:bodyPr>
          <a:lstStyle/>
          <a:p>
            <a:pPr marL="0" lvl="1">
              <a:spcAft>
                <a:spcPts val="600"/>
              </a:spcAft>
            </a:pPr>
            <a:r>
              <a:rPr lang="ru-RU" sz="800" i="1" dirty="0" smtClean="0">
                <a:solidFill>
                  <a:schemeClr val="bg1"/>
                </a:solidFill>
                <a:latin typeface="+mj-lt"/>
              </a:rPr>
              <a:t>Обучиться передовым методам у менеджеров, руководящих магазинами, которые показывают результаты выше своего потенциала</a:t>
            </a:r>
          </a:p>
        </p:txBody>
      </p:sp>
      <p:sp>
        <p:nvSpPr>
          <p:cNvPr id="76" name="Rectangle 75"/>
          <p:cNvSpPr/>
          <p:nvPr/>
        </p:nvSpPr>
        <p:spPr bwMode="ltGray">
          <a:xfrm>
            <a:off x="3771414" y="1202072"/>
            <a:ext cx="3340586" cy="27699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000" i="1" dirty="0" smtClean="0">
                <a:solidFill>
                  <a:schemeClr val="bg1"/>
                </a:solidFill>
                <a:latin typeface="+mj-lt"/>
              </a:rPr>
              <a:t>Пример анализа из нашего проектного опыта</a:t>
            </a:r>
            <a:r>
              <a:rPr lang="ru-RU" i="1" dirty="0" smtClean="0">
                <a:solidFill>
                  <a:schemeClr val="bg1"/>
                </a:solidFill>
                <a:latin typeface="+mj-lt"/>
              </a:rPr>
              <a:t> </a:t>
            </a:r>
            <a:endParaRPr lang="ru-RU" sz="1000" i="1" baseline="30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9" name="Rectangle 78"/>
          <p:cNvSpPr/>
          <p:nvPr/>
        </p:nvSpPr>
        <p:spPr bwMode="ltGray">
          <a:xfrm>
            <a:off x="7591418" y="1274328"/>
            <a:ext cx="1202743" cy="283271"/>
          </a:xfrm>
          <a:prstGeom prst="rect">
            <a:avLst/>
          </a:prstGeom>
          <a:solidFill>
            <a:srgbClr val="747066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</a:rPr>
              <a:t>Пример показателей</a:t>
            </a:r>
          </a:p>
        </p:txBody>
      </p:sp>
      <p:sp>
        <p:nvSpPr>
          <p:cNvPr id="83" name="ListLeanHorizontalTextTopic0"/>
          <p:cNvSpPr txBox="1">
            <a:spLocks/>
          </p:cNvSpPr>
          <p:nvPr/>
        </p:nvSpPr>
        <p:spPr>
          <a:xfrm>
            <a:off x="6373367" y="1411615"/>
            <a:ext cx="1295470" cy="23920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noAutofit/>
          </a:bodyPr>
          <a:lstStyle/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ru-RU" sz="600" i="1" dirty="0" smtClean="0">
                <a:solidFill>
                  <a:schemeClr val="bg1"/>
                </a:solidFill>
                <a:latin typeface="+mj-lt"/>
              </a:rPr>
              <a:t>Спрос в зоне охвата</a:t>
            </a:r>
            <a:endParaRPr lang="ru-RU" sz="600" i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84" name="ListLeanHorizontalTextTopic0"/>
          <p:cNvSpPr txBox="1">
            <a:spLocks/>
          </p:cNvSpPr>
          <p:nvPr/>
        </p:nvSpPr>
        <p:spPr>
          <a:xfrm>
            <a:off x="3771414" y="1411052"/>
            <a:ext cx="2434845" cy="23976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noAutofit/>
          </a:bodyPr>
          <a:lstStyle/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ru-RU" sz="600" i="1" dirty="0" smtClean="0">
                <a:solidFill>
                  <a:schemeClr val="bg1"/>
                </a:solidFill>
                <a:latin typeface="+mj-lt"/>
              </a:rPr>
              <a:t>Микрорынок магазина: охват в радиусе 500 и 1000 м</a:t>
            </a:r>
            <a:endParaRPr lang="ru-RU" sz="600" i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85" name="Horizontal Line"/>
          <p:cNvCxnSpPr>
            <a:cxnSpLocks/>
          </p:cNvCxnSpPr>
          <p:nvPr/>
        </p:nvCxnSpPr>
        <p:spPr>
          <a:xfrm>
            <a:off x="3771414" y="1679316"/>
            <a:ext cx="2556963" cy="0"/>
          </a:xfrm>
          <a:prstGeom prst="line">
            <a:avLst/>
          </a:prstGeom>
          <a:noFill/>
          <a:ln w="9525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</p:cxnSp>
      <p:grpSp>
        <p:nvGrpSpPr>
          <p:cNvPr id="26" name="Group 25"/>
          <p:cNvGrpSpPr/>
          <p:nvPr/>
        </p:nvGrpSpPr>
        <p:grpSpPr>
          <a:xfrm>
            <a:off x="6373366" y="1524077"/>
            <a:ext cx="2237233" cy="959579"/>
            <a:chOff x="6724176" y="1554362"/>
            <a:chExt cx="2130668" cy="959579"/>
          </a:xfrm>
        </p:grpSpPr>
        <p:sp>
          <p:nvSpPr>
            <p:cNvPr id="148" name="Rectangle 147"/>
            <p:cNvSpPr/>
            <p:nvPr/>
          </p:nvSpPr>
          <p:spPr bwMode="ltGray">
            <a:xfrm>
              <a:off x="6724176" y="1821444"/>
              <a:ext cx="1444662" cy="692497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Численность населения</a:t>
              </a:r>
            </a:p>
            <a:p>
              <a:pPr>
                <a:spcAft>
                  <a:spcPts val="600"/>
                </a:spcAft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Покупательная способность (млн злотых)</a:t>
              </a:r>
            </a:p>
            <a:p>
              <a:pPr>
                <a:spcAft>
                  <a:spcPts val="600"/>
                </a:spcAft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Количество магазинов конкурентов</a:t>
              </a:r>
            </a:p>
            <a:p>
              <a:pPr>
                <a:spcAft>
                  <a:spcPts val="600"/>
                </a:spcAft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Генераторы трафика</a:t>
              </a:r>
            </a:p>
          </p:txBody>
        </p:sp>
        <p:cxnSp>
          <p:nvCxnSpPr>
            <p:cNvPr id="149" name="Straight Connector 148"/>
            <p:cNvCxnSpPr/>
            <p:nvPr/>
          </p:nvCxnSpPr>
          <p:spPr>
            <a:xfrm>
              <a:off x="6724177" y="1709601"/>
              <a:ext cx="1315434" cy="0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/>
            <p:cNvCxnSpPr/>
            <p:nvPr/>
          </p:nvCxnSpPr>
          <p:spPr>
            <a:xfrm>
              <a:off x="6724176" y="1965524"/>
              <a:ext cx="1314710" cy="0"/>
            </a:xfrm>
            <a:prstGeom prst="line">
              <a:avLst/>
            </a:prstGeom>
            <a:ln cap="rnd">
              <a:solidFill>
                <a:schemeClr val="tx2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/>
          </p:nvCxnSpPr>
          <p:spPr>
            <a:xfrm>
              <a:off x="6724177" y="2126160"/>
              <a:ext cx="1314710" cy="0"/>
            </a:xfrm>
            <a:prstGeom prst="line">
              <a:avLst/>
            </a:prstGeom>
            <a:ln cap="rnd">
              <a:solidFill>
                <a:schemeClr val="tx2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/>
          </p:nvCxnSpPr>
          <p:spPr>
            <a:xfrm>
              <a:off x="6724177" y="2295179"/>
              <a:ext cx="1314710" cy="0"/>
            </a:xfrm>
            <a:prstGeom prst="line">
              <a:avLst/>
            </a:prstGeom>
            <a:ln cap="rnd">
              <a:solidFill>
                <a:schemeClr val="tx2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3" name="Rectangle 152"/>
            <p:cNvSpPr/>
            <p:nvPr/>
          </p:nvSpPr>
          <p:spPr bwMode="ltGray">
            <a:xfrm>
              <a:off x="8111098" y="1554362"/>
              <a:ext cx="346840" cy="126741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r>
                <a:rPr lang="ru-RU" sz="500" i="1" dirty="0" smtClean="0">
                  <a:solidFill>
                    <a:schemeClr val="bg1"/>
                  </a:solidFill>
                  <a:latin typeface="+mj-lt"/>
                </a:rPr>
                <a:t>500 м</a:t>
              </a:r>
            </a:p>
          </p:txBody>
        </p:sp>
        <p:sp>
          <p:nvSpPr>
            <p:cNvPr id="154" name="Rectangle 153"/>
            <p:cNvSpPr/>
            <p:nvPr/>
          </p:nvSpPr>
          <p:spPr bwMode="ltGray">
            <a:xfrm>
              <a:off x="8507703" y="1554362"/>
              <a:ext cx="346840" cy="126741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r>
                <a:rPr lang="ru-RU" sz="500" i="1" dirty="0" smtClean="0">
                  <a:solidFill>
                    <a:schemeClr val="bg1"/>
                  </a:solidFill>
                  <a:latin typeface="+mj-lt"/>
                </a:rPr>
                <a:t>1000 м</a:t>
              </a:r>
            </a:p>
          </p:txBody>
        </p:sp>
        <p:sp>
          <p:nvSpPr>
            <p:cNvPr id="158" name="Rectangle 157"/>
            <p:cNvSpPr/>
            <p:nvPr/>
          </p:nvSpPr>
          <p:spPr bwMode="ltGray">
            <a:xfrm>
              <a:off x="8111098" y="1821444"/>
              <a:ext cx="346840" cy="600164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>
              <a:spAutoFit/>
            </a:bodyPr>
            <a:lstStyle/>
            <a:p>
              <a:pPr algn="r">
                <a:spcAft>
                  <a:spcPts val="600"/>
                </a:spcAft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7 935</a:t>
              </a:r>
            </a:p>
            <a:p>
              <a:pPr algn="r">
                <a:spcAft>
                  <a:spcPts val="600"/>
                </a:spcAft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372</a:t>
              </a:r>
            </a:p>
            <a:p>
              <a:pPr algn="r">
                <a:spcAft>
                  <a:spcPts val="600"/>
                </a:spcAft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21</a:t>
              </a:r>
            </a:p>
            <a:p>
              <a:pPr algn="r">
                <a:spcAft>
                  <a:spcPts val="600"/>
                </a:spcAft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31</a:t>
              </a:r>
            </a:p>
          </p:txBody>
        </p:sp>
        <p:sp>
          <p:nvSpPr>
            <p:cNvPr id="159" name="Rectangle 158"/>
            <p:cNvSpPr/>
            <p:nvPr/>
          </p:nvSpPr>
          <p:spPr bwMode="ltGray">
            <a:xfrm>
              <a:off x="8507703" y="1821444"/>
              <a:ext cx="346840" cy="600164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>
              <a:spAutoFit/>
            </a:bodyPr>
            <a:lstStyle/>
            <a:p>
              <a:pPr algn="r">
                <a:spcAft>
                  <a:spcPts val="600"/>
                </a:spcAft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29 677</a:t>
              </a:r>
            </a:p>
            <a:p>
              <a:pPr algn="r">
                <a:spcAft>
                  <a:spcPts val="600"/>
                </a:spcAft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1 404</a:t>
              </a:r>
            </a:p>
            <a:p>
              <a:pPr algn="r">
                <a:spcAft>
                  <a:spcPts val="600"/>
                </a:spcAft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48</a:t>
              </a:r>
            </a:p>
            <a:p>
              <a:pPr algn="r">
                <a:spcAft>
                  <a:spcPts val="600"/>
                </a:spcAft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80</a:t>
              </a:r>
            </a:p>
          </p:txBody>
        </p:sp>
        <p:cxnSp>
          <p:nvCxnSpPr>
            <p:cNvPr id="160" name="Straight Connector 159"/>
            <p:cNvCxnSpPr/>
            <p:nvPr/>
          </p:nvCxnSpPr>
          <p:spPr>
            <a:xfrm>
              <a:off x="8111099" y="1709601"/>
              <a:ext cx="347141" cy="0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/>
            <p:cNvCxnSpPr/>
            <p:nvPr/>
          </p:nvCxnSpPr>
          <p:spPr>
            <a:xfrm>
              <a:off x="8507703" y="1709601"/>
              <a:ext cx="347141" cy="0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/>
            <p:cNvCxnSpPr/>
            <p:nvPr/>
          </p:nvCxnSpPr>
          <p:spPr>
            <a:xfrm>
              <a:off x="8111099" y="1965524"/>
              <a:ext cx="347140" cy="0"/>
            </a:xfrm>
            <a:prstGeom prst="line">
              <a:avLst/>
            </a:prstGeom>
            <a:ln cap="rnd">
              <a:solidFill>
                <a:schemeClr val="tx2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/>
            <p:cNvCxnSpPr/>
            <p:nvPr/>
          </p:nvCxnSpPr>
          <p:spPr>
            <a:xfrm>
              <a:off x="8507703" y="1965524"/>
              <a:ext cx="347140" cy="0"/>
            </a:xfrm>
            <a:prstGeom prst="line">
              <a:avLst/>
            </a:prstGeom>
            <a:ln cap="rnd">
              <a:solidFill>
                <a:schemeClr val="tx2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/>
            <p:cNvCxnSpPr/>
            <p:nvPr/>
          </p:nvCxnSpPr>
          <p:spPr>
            <a:xfrm>
              <a:off x="8111099" y="2126160"/>
              <a:ext cx="347140" cy="0"/>
            </a:xfrm>
            <a:prstGeom prst="line">
              <a:avLst/>
            </a:prstGeom>
            <a:ln cap="rnd">
              <a:solidFill>
                <a:schemeClr val="tx2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/>
            <p:cNvCxnSpPr/>
            <p:nvPr/>
          </p:nvCxnSpPr>
          <p:spPr>
            <a:xfrm>
              <a:off x="8507703" y="2126160"/>
              <a:ext cx="347140" cy="0"/>
            </a:xfrm>
            <a:prstGeom prst="line">
              <a:avLst/>
            </a:prstGeom>
            <a:ln cap="rnd">
              <a:solidFill>
                <a:schemeClr val="tx2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/>
            <p:cNvCxnSpPr/>
            <p:nvPr/>
          </p:nvCxnSpPr>
          <p:spPr>
            <a:xfrm>
              <a:off x="8111099" y="2295179"/>
              <a:ext cx="347140" cy="0"/>
            </a:xfrm>
            <a:prstGeom prst="line">
              <a:avLst/>
            </a:prstGeom>
            <a:ln cap="rnd">
              <a:solidFill>
                <a:schemeClr val="tx2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/>
            <p:cNvCxnSpPr/>
            <p:nvPr/>
          </p:nvCxnSpPr>
          <p:spPr>
            <a:xfrm>
              <a:off x="8507703" y="2295179"/>
              <a:ext cx="347140" cy="0"/>
            </a:xfrm>
            <a:prstGeom prst="line">
              <a:avLst/>
            </a:prstGeom>
            <a:ln cap="rnd">
              <a:solidFill>
                <a:schemeClr val="tx2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/>
          <p:cNvGrpSpPr/>
          <p:nvPr/>
        </p:nvGrpSpPr>
        <p:grpSpPr>
          <a:xfrm>
            <a:off x="6639266" y="2548605"/>
            <a:ext cx="2253274" cy="1729660"/>
            <a:chOff x="6720646" y="2582806"/>
            <a:chExt cx="1971333" cy="1729660"/>
          </a:xfrm>
        </p:grpSpPr>
        <p:pic>
          <p:nvPicPr>
            <p:cNvPr id="75" name="Picture 2"/>
            <p:cNvPicPr>
              <a:picLocks noChangeAspect="1" noChangeArrowheads="1"/>
            </p:cNvPicPr>
            <p:nvPr/>
          </p:nvPicPr>
          <p:blipFill rotWithShape="1"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4559"/>
            <a:stretch/>
          </p:blipFill>
          <p:spPr bwMode="auto">
            <a:xfrm>
              <a:off x="6814475" y="3681013"/>
              <a:ext cx="218487" cy="6036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1" name="Picture 2"/>
            <p:cNvPicPr>
              <a:picLocks noChangeAspect="1" noChangeArrowheads="1"/>
            </p:cNvPicPr>
            <p:nvPr/>
          </p:nvPicPr>
          <p:blipFill rotWithShape="1"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1328" r="-1" b="43918"/>
            <a:stretch/>
          </p:blipFill>
          <p:spPr bwMode="auto">
            <a:xfrm>
              <a:off x="6724177" y="2781995"/>
              <a:ext cx="308787" cy="9553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2" name="Picture 3"/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970" b="83804"/>
            <a:stretch/>
          </p:blipFill>
          <p:spPr bwMode="auto">
            <a:xfrm>
              <a:off x="7739573" y="2582806"/>
              <a:ext cx="212098" cy="205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6" name="Picture 3"/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266" b="76646"/>
            <a:stretch/>
          </p:blipFill>
          <p:spPr bwMode="auto">
            <a:xfrm>
              <a:off x="7739573" y="2785569"/>
              <a:ext cx="212098" cy="1520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7" name="Picture 3"/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672" b="69174"/>
            <a:stretch/>
          </p:blipFill>
          <p:spPr bwMode="auto">
            <a:xfrm>
              <a:off x="7739573" y="2972373"/>
              <a:ext cx="212098" cy="1037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8" name="Picture 3"/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61" t="34677" b="60227"/>
            <a:stretch/>
          </p:blipFill>
          <p:spPr bwMode="auto">
            <a:xfrm>
              <a:off x="7772363" y="3132206"/>
              <a:ext cx="179307" cy="127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9" name="Picture 3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629" t="43256" r="32895" b="52316"/>
            <a:stretch/>
          </p:blipFill>
          <p:spPr bwMode="auto">
            <a:xfrm>
              <a:off x="7781207" y="3303657"/>
              <a:ext cx="100694" cy="110558"/>
            </a:xfrm>
            <a:prstGeom prst="rect">
              <a:avLst/>
            </a:prstGeom>
            <a:solidFill>
              <a:srgbClr val="7470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0" name="Picture 3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565" t="51987" r="36263" b="44390"/>
            <a:stretch/>
          </p:blipFill>
          <p:spPr bwMode="auto">
            <a:xfrm>
              <a:off x="7793795" y="3472726"/>
              <a:ext cx="80962" cy="904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1" name="Picture 3"/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51" t="59064" r="30649" b="34546"/>
            <a:stretch/>
          </p:blipFill>
          <p:spPr bwMode="auto">
            <a:xfrm>
              <a:off x="7781889" y="3607714"/>
              <a:ext cx="104775" cy="159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" name="Picture 3"/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7399" b="24612"/>
            <a:stretch/>
          </p:blipFill>
          <p:spPr bwMode="auto">
            <a:xfrm>
              <a:off x="7739573" y="3779710"/>
              <a:ext cx="212098" cy="1994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3" name="Picture 3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196" t="77197" r="34018" b="19179"/>
            <a:stretch/>
          </p:blipFill>
          <p:spPr bwMode="auto">
            <a:xfrm>
              <a:off x="7786651" y="3977551"/>
              <a:ext cx="92869" cy="90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4" name="Picture 3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196" t="85529" r="35141" b="10561"/>
            <a:stretch/>
          </p:blipFill>
          <p:spPr bwMode="auto">
            <a:xfrm>
              <a:off x="7786651" y="4156145"/>
              <a:ext cx="90488" cy="976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6" name="Text Placeholder 4"/>
            <p:cNvSpPr txBox="1">
              <a:spLocks/>
            </p:cNvSpPr>
            <p:nvPr/>
          </p:nvSpPr>
          <p:spPr>
            <a:xfrm>
              <a:off x="7931835" y="2587474"/>
              <a:ext cx="393056" cy="18466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Банки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3" name="Text Placeholder 4"/>
            <p:cNvSpPr txBox="1">
              <a:spLocks/>
            </p:cNvSpPr>
            <p:nvPr/>
          </p:nvSpPr>
          <p:spPr>
            <a:xfrm>
              <a:off x="7931835" y="2753492"/>
              <a:ext cx="724878" cy="18466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Офисные здания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1" name="Text Placeholder 4"/>
            <p:cNvSpPr txBox="1">
              <a:spLocks/>
            </p:cNvSpPr>
            <p:nvPr/>
          </p:nvSpPr>
          <p:spPr>
            <a:xfrm>
              <a:off x="7931835" y="2919509"/>
              <a:ext cx="506870" cy="18466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Церкви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2" name="Text Placeholder 4"/>
            <p:cNvSpPr txBox="1">
              <a:spLocks/>
            </p:cNvSpPr>
            <p:nvPr/>
          </p:nvSpPr>
          <p:spPr>
            <a:xfrm>
              <a:off x="7931835" y="3085526"/>
              <a:ext cx="562975" cy="18466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Аптеки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3" name="Text Placeholder 4"/>
            <p:cNvSpPr txBox="1">
              <a:spLocks/>
            </p:cNvSpPr>
            <p:nvPr/>
          </p:nvSpPr>
          <p:spPr>
            <a:xfrm>
              <a:off x="7931835" y="3205378"/>
              <a:ext cx="574196" cy="27699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Почтовые отделения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4" name="Text Placeholder 4"/>
            <p:cNvSpPr txBox="1">
              <a:spLocks/>
            </p:cNvSpPr>
            <p:nvPr/>
          </p:nvSpPr>
          <p:spPr>
            <a:xfrm>
              <a:off x="7931835" y="3417563"/>
              <a:ext cx="510076" cy="18466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Больницы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5" name="Text Placeholder 4"/>
            <p:cNvSpPr txBox="1">
              <a:spLocks/>
            </p:cNvSpPr>
            <p:nvPr/>
          </p:nvSpPr>
          <p:spPr>
            <a:xfrm>
              <a:off x="7931835" y="3491247"/>
              <a:ext cx="736099" cy="3693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Здания общественного назначения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6" name="Text Placeholder 4"/>
            <p:cNvSpPr txBox="1">
              <a:spLocks/>
            </p:cNvSpPr>
            <p:nvPr/>
          </p:nvSpPr>
          <p:spPr>
            <a:xfrm>
              <a:off x="7931835" y="3749597"/>
              <a:ext cx="760144" cy="18466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Школы и вузы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7" name="Text Placeholder 4"/>
            <p:cNvSpPr txBox="1">
              <a:spLocks/>
            </p:cNvSpPr>
            <p:nvPr/>
          </p:nvSpPr>
          <p:spPr>
            <a:xfrm>
              <a:off x="7931835" y="3915615"/>
              <a:ext cx="596638" cy="18466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Рестораны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8" name="Text Placeholder 4"/>
            <p:cNvSpPr txBox="1">
              <a:spLocks/>
            </p:cNvSpPr>
            <p:nvPr/>
          </p:nvSpPr>
          <p:spPr>
            <a:xfrm>
              <a:off x="7931834" y="4035467"/>
              <a:ext cx="685336" cy="27699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Автобусные остановки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9" name="Text Placeholder 4"/>
            <p:cNvSpPr txBox="1">
              <a:spLocks/>
            </p:cNvSpPr>
            <p:nvPr/>
          </p:nvSpPr>
          <p:spPr>
            <a:xfrm>
              <a:off x="7011994" y="2788958"/>
              <a:ext cx="831143" cy="148585"/>
            </a:xfrm>
            <a:prstGeom prst="rect">
              <a:avLst/>
            </a:prstGeom>
          </p:spPr>
          <p:txBody>
            <a:bodyPr anchor="ctr"/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Конкурент 1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0" name="Text Placeholder 4"/>
            <p:cNvSpPr txBox="1">
              <a:spLocks/>
            </p:cNvSpPr>
            <p:nvPr/>
          </p:nvSpPr>
          <p:spPr>
            <a:xfrm>
              <a:off x="7011994" y="2978745"/>
              <a:ext cx="831143" cy="148585"/>
            </a:xfrm>
            <a:prstGeom prst="rect">
              <a:avLst/>
            </a:prstGeom>
          </p:spPr>
          <p:txBody>
            <a:bodyPr anchor="ctr"/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Конкурент 2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1" name="Text Placeholder 4"/>
            <p:cNvSpPr txBox="1">
              <a:spLocks/>
            </p:cNvSpPr>
            <p:nvPr/>
          </p:nvSpPr>
          <p:spPr>
            <a:xfrm>
              <a:off x="7011994" y="3168532"/>
              <a:ext cx="831143" cy="148585"/>
            </a:xfrm>
            <a:prstGeom prst="rect">
              <a:avLst/>
            </a:prstGeom>
          </p:spPr>
          <p:txBody>
            <a:bodyPr anchor="ctr"/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Конкурент 3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2" name="Text Placeholder 4"/>
            <p:cNvSpPr txBox="1">
              <a:spLocks/>
            </p:cNvSpPr>
            <p:nvPr/>
          </p:nvSpPr>
          <p:spPr>
            <a:xfrm>
              <a:off x="7011994" y="3358320"/>
              <a:ext cx="831143" cy="148585"/>
            </a:xfrm>
            <a:prstGeom prst="rect">
              <a:avLst/>
            </a:prstGeom>
          </p:spPr>
          <p:txBody>
            <a:bodyPr anchor="ctr"/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Конкурент 4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3" name="Text Placeholder 4"/>
            <p:cNvSpPr txBox="1">
              <a:spLocks/>
            </p:cNvSpPr>
            <p:nvPr/>
          </p:nvSpPr>
          <p:spPr>
            <a:xfrm>
              <a:off x="7011994" y="3548107"/>
              <a:ext cx="831143" cy="148585"/>
            </a:xfrm>
            <a:prstGeom prst="rect">
              <a:avLst/>
            </a:prstGeom>
          </p:spPr>
          <p:txBody>
            <a:bodyPr anchor="ctr"/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Конкурент 5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1" name="Text Placeholder 4"/>
            <p:cNvSpPr txBox="1">
              <a:spLocks/>
            </p:cNvSpPr>
            <p:nvPr/>
          </p:nvSpPr>
          <p:spPr>
            <a:xfrm>
              <a:off x="7011994" y="3737893"/>
              <a:ext cx="831143" cy="148585"/>
            </a:xfrm>
            <a:prstGeom prst="rect">
              <a:avLst/>
            </a:prstGeom>
          </p:spPr>
          <p:txBody>
            <a:bodyPr anchor="ctr"/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Конкурент 6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4" name="Text Placeholder 4"/>
            <p:cNvSpPr txBox="1">
              <a:spLocks/>
            </p:cNvSpPr>
            <p:nvPr/>
          </p:nvSpPr>
          <p:spPr>
            <a:xfrm>
              <a:off x="7011994" y="3927682"/>
              <a:ext cx="831143" cy="148585"/>
            </a:xfrm>
            <a:prstGeom prst="rect">
              <a:avLst/>
            </a:prstGeom>
          </p:spPr>
          <p:txBody>
            <a:bodyPr anchor="ctr"/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Конкурент 7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7" name="Text Placeholder 4"/>
            <p:cNvSpPr txBox="1">
              <a:spLocks/>
            </p:cNvSpPr>
            <p:nvPr/>
          </p:nvSpPr>
          <p:spPr>
            <a:xfrm>
              <a:off x="7011994" y="4117468"/>
              <a:ext cx="831143" cy="148585"/>
            </a:xfrm>
            <a:prstGeom prst="rect">
              <a:avLst/>
            </a:prstGeom>
          </p:spPr>
          <p:txBody>
            <a:bodyPr anchor="ctr"/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Конкурент 8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pic>
          <p:nvPicPr>
            <p:cNvPr id="168" name="Picture 2"/>
            <p:cNvPicPr>
              <a:picLocks noChangeAspect="1" noChangeArrowheads="1"/>
            </p:cNvPicPr>
            <p:nvPr/>
          </p:nvPicPr>
          <p:blipFill rotWithShape="1"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8386" t="55193" r="-1" b="32475"/>
            <a:stretch/>
          </p:blipFill>
          <p:spPr bwMode="auto">
            <a:xfrm>
              <a:off x="6720646" y="2590959"/>
              <a:ext cx="302359" cy="2100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9" name="Text Placeholder 4"/>
            <p:cNvSpPr txBox="1">
              <a:spLocks/>
            </p:cNvSpPr>
            <p:nvPr/>
          </p:nvSpPr>
          <p:spPr>
            <a:xfrm>
              <a:off x="7011994" y="2607398"/>
              <a:ext cx="903112" cy="148585"/>
            </a:xfrm>
            <a:prstGeom prst="rect">
              <a:avLst/>
            </a:prstGeom>
          </p:spPr>
          <p:txBody>
            <a:bodyPr anchor="ctr"/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Местоположение магазина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725004" y="1751192"/>
            <a:ext cx="2634090" cy="2529810"/>
            <a:chOff x="4090087" y="1781476"/>
            <a:chExt cx="2634090" cy="2715243"/>
          </a:xfrm>
        </p:grpSpPr>
        <p:pic>
          <p:nvPicPr>
            <p:cNvPr id="170" name="Picture 169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000" t="11748" r="6956" b="8798"/>
            <a:stretch/>
          </p:blipFill>
          <p:spPr>
            <a:xfrm>
              <a:off x="4090087" y="1781476"/>
              <a:ext cx="2634090" cy="2715243"/>
            </a:xfrm>
            <a:prstGeom prst="rect">
              <a:avLst/>
            </a:prstGeom>
          </p:spPr>
        </p:pic>
        <p:sp>
          <p:nvSpPr>
            <p:cNvPr id="171" name="Oval 170"/>
            <p:cNvSpPr/>
            <p:nvPr/>
          </p:nvSpPr>
          <p:spPr bwMode="ltGray">
            <a:xfrm>
              <a:off x="4954011" y="2591380"/>
              <a:ext cx="890701" cy="964989"/>
            </a:xfrm>
            <a:prstGeom prst="ellipse">
              <a:avLst/>
            </a:prstGeom>
            <a:noFill/>
            <a:ln w="38100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i="1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2" name="Oval 171"/>
            <p:cNvSpPr>
              <a:spLocks noChangeAspect="1"/>
            </p:cNvSpPr>
            <p:nvPr/>
          </p:nvSpPr>
          <p:spPr bwMode="ltGray">
            <a:xfrm>
              <a:off x="4523299" y="2115903"/>
              <a:ext cx="1763232" cy="1910294"/>
            </a:xfrm>
            <a:prstGeom prst="ellipse">
              <a:avLst/>
            </a:prstGeom>
            <a:noFill/>
            <a:ln w="38100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i="1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3" name="TextBox 172"/>
            <p:cNvSpPr txBox="1"/>
            <p:nvPr/>
          </p:nvSpPr>
          <p:spPr>
            <a:xfrm>
              <a:off x="5694865" y="1881655"/>
              <a:ext cx="468000" cy="502304"/>
            </a:xfrm>
            <a:prstGeom prst="ellipse">
              <a:avLst/>
            </a:prstGeom>
            <a:solidFill>
              <a:schemeClr val="bg1">
                <a:alpha val="80000"/>
              </a:schemeClr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ru-RU" sz="800" i="1" dirty="0" smtClean="0">
                  <a:solidFill>
                    <a:schemeClr val="bg1"/>
                  </a:solidFill>
                  <a:latin typeface="+mj-lt"/>
                </a:rPr>
                <a:t>Радиус = 1000 м</a:t>
              </a:r>
            </a:p>
          </p:txBody>
        </p:sp>
        <p:sp>
          <p:nvSpPr>
            <p:cNvPr id="174" name="TextBox 173"/>
            <p:cNvSpPr txBox="1"/>
            <p:nvPr/>
          </p:nvSpPr>
          <p:spPr>
            <a:xfrm>
              <a:off x="5464791" y="2266694"/>
              <a:ext cx="468000" cy="502304"/>
            </a:xfrm>
            <a:prstGeom prst="ellipse">
              <a:avLst/>
            </a:prstGeom>
            <a:solidFill>
              <a:schemeClr val="bg1">
                <a:alpha val="80000"/>
              </a:schemeClr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ru-RU" sz="800" i="1" dirty="0" smtClean="0">
                  <a:solidFill>
                    <a:schemeClr val="bg1"/>
                  </a:solidFill>
                  <a:latin typeface="+mj-lt"/>
                </a:rPr>
                <a:t>Радиус = 500 м</a:t>
              </a:r>
            </a:p>
          </p:txBody>
        </p:sp>
      </p:grpSp>
      <p:sp>
        <p:nvSpPr>
          <p:cNvPr id="177" name="Rectangle 176"/>
          <p:cNvSpPr/>
          <p:nvPr/>
        </p:nvSpPr>
        <p:spPr>
          <a:xfrm>
            <a:off x="1472896" y="918918"/>
            <a:ext cx="2207118" cy="1600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300" i="1" dirty="0" smtClean="0">
                <a:solidFill>
                  <a:schemeClr val="bg1"/>
                </a:solidFill>
                <a:latin typeface="+mj-lt"/>
              </a:rPr>
              <a:t>Выполняемое при помощи GIS моделирование </a:t>
            </a:r>
            <a:r>
              <a:rPr sz="1300" i="1" dirty="0">
                <a:solidFill>
                  <a:schemeClr val="bg1"/>
                </a:solidFill>
                <a:latin typeface="+mj-lt"/>
              </a:rPr>
              <a:t/>
            </a:r>
            <a:br>
              <a:rPr sz="1300" i="1" dirty="0">
                <a:solidFill>
                  <a:schemeClr val="bg1"/>
                </a:solidFill>
                <a:latin typeface="+mj-lt"/>
              </a:rPr>
            </a:br>
            <a:r>
              <a:rPr lang="ru-RU" sz="1300" i="1" dirty="0" smtClean="0">
                <a:solidFill>
                  <a:schemeClr val="bg1"/>
                </a:solidFill>
                <a:latin typeface="+mj-lt"/>
              </a:rPr>
              <a:t>рентабельности сети позволяет определить факторы спроса, влияющие на финансовые результаты магазинов, и… </a:t>
            </a:r>
            <a:endParaRPr lang="ru-RU" sz="13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8" name="Rectangle 177"/>
          <p:cNvSpPr/>
          <p:nvPr/>
        </p:nvSpPr>
        <p:spPr>
          <a:xfrm>
            <a:off x="5383077" y="5527051"/>
            <a:ext cx="1440000" cy="774550"/>
          </a:xfrm>
          <a:prstGeom prst="rect">
            <a:avLst/>
          </a:prstGeom>
          <a:solidFill>
            <a:srgbClr val="8A867A"/>
          </a:solidFill>
        </p:spPr>
        <p:txBody>
          <a:bodyPr wrap="square" lIns="72000" tIns="72000" rIns="72000" bIns="72000">
            <a:noAutofit/>
          </a:bodyPr>
          <a:lstStyle/>
          <a:p>
            <a:pPr marL="0" lvl="1">
              <a:spcAft>
                <a:spcPts val="600"/>
              </a:spcAft>
            </a:pPr>
            <a:r>
              <a:rPr lang="ru-RU" sz="800" i="1" dirty="0" smtClean="0">
                <a:solidFill>
                  <a:schemeClr val="bg1"/>
                </a:solidFill>
                <a:latin typeface="+mj-lt"/>
              </a:rPr>
              <a:t>Запустить целевые рекламные кампании для увеличения продаж до смоделированного уровня</a:t>
            </a:r>
            <a:endParaRPr lang="ru-RU" sz="8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9" name="Rectangle 178"/>
          <p:cNvSpPr/>
          <p:nvPr/>
        </p:nvSpPr>
        <p:spPr>
          <a:xfrm>
            <a:off x="7170283" y="5527051"/>
            <a:ext cx="1440000" cy="774550"/>
          </a:xfrm>
          <a:prstGeom prst="rect">
            <a:avLst/>
          </a:prstGeom>
          <a:solidFill>
            <a:srgbClr val="8A867A"/>
          </a:solidFill>
        </p:spPr>
        <p:txBody>
          <a:bodyPr wrap="square" lIns="72000" tIns="72000" rIns="72000" bIns="72000">
            <a:noAutofit/>
          </a:bodyPr>
          <a:lstStyle/>
          <a:p>
            <a:pPr marL="0" lvl="1">
              <a:spcAft>
                <a:spcPts val="600"/>
              </a:spcAft>
            </a:pPr>
            <a:r>
              <a:rPr lang="ru-RU" sz="800" i="1" dirty="0" smtClean="0">
                <a:solidFill>
                  <a:schemeClr val="bg1"/>
                </a:solidFill>
                <a:latin typeface="+mj-lt"/>
              </a:rPr>
              <a:t>Закрыть магазины с маленьким потенциалом повышения эффективности</a:t>
            </a:r>
            <a:endParaRPr lang="ru-RU" sz="8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1472895" y="2857369"/>
            <a:ext cx="1809798" cy="3456108"/>
            <a:chOff x="1472895" y="2822063"/>
            <a:chExt cx="1886780" cy="3603119"/>
          </a:xfrm>
        </p:grpSpPr>
        <p:sp>
          <p:nvSpPr>
            <p:cNvPr id="236" name="ListLeanHorizontalTextTopic0"/>
            <p:cNvSpPr txBox="1">
              <a:spLocks/>
            </p:cNvSpPr>
            <p:nvPr/>
          </p:nvSpPr>
          <p:spPr>
            <a:xfrm>
              <a:off x="1472895" y="2822063"/>
              <a:ext cx="1886780" cy="26859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 anchor="b">
              <a:spAutoFit/>
            </a:bodyPr>
            <a:lstStyle/>
            <a:p>
              <a:pPr fontAlgn="base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ru-RU" sz="900" i="1" dirty="0" smtClean="0">
                  <a:solidFill>
                    <a:schemeClr val="bg1"/>
                  </a:solidFill>
                  <a:latin typeface="+mj-lt"/>
                </a:rPr>
                <a:t>Перечень статистически важных факторов</a:t>
              </a:r>
              <a:endParaRPr lang="ru-RU" sz="900" i="1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grpSp>
          <p:nvGrpSpPr>
            <p:cNvPr id="183" name="Group 182"/>
            <p:cNvGrpSpPr/>
            <p:nvPr/>
          </p:nvGrpSpPr>
          <p:grpSpPr>
            <a:xfrm>
              <a:off x="1730231" y="4748646"/>
              <a:ext cx="756219" cy="756000"/>
              <a:chOff x="533401" y="4538652"/>
              <a:chExt cx="893508" cy="902988"/>
            </a:xfrm>
          </p:grpSpPr>
          <p:grpSp>
            <p:nvGrpSpPr>
              <p:cNvPr id="232" name="Group 231"/>
              <p:cNvGrpSpPr/>
              <p:nvPr/>
            </p:nvGrpSpPr>
            <p:grpSpPr>
              <a:xfrm>
                <a:off x="533401" y="4538652"/>
                <a:ext cx="893508" cy="902988"/>
                <a:chOff x="3628104" y="4238808"/>
                <a:chExt cx="1730405" cy="1766307"/>
              </a:xfrm>
            </p:grpSpPr>
            <p:sp>
              <p:nvSpPr>
                <p:cNvPr id="234" name="Oval 233"/>
                <p:cNvSpPr/>
                <p:nvPr/>
              </p:nvSpPr>
              <p:spPr bwMode="ltGray">
                <a:xfrm>
                  <a:off x="3628104" y="4238808"/>
                  <a:ext cx="1730405" cy="1766307"/>
                </a:xfrm>
                <a:prstGeom prst="ellipse">
                  <a:avLst/>
                </a:prstGeom>
                <a:solidFill>
                  <a:srgbClr val="8A867A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algn="ctr">
                    <a:defRPr/>
                  </a:pPr>
                  <a:endParaRPr lang="en-US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235" name="TextBox 234"/>
                <p:cNvSpPr txBox="1"/>
                <p:nvPr/>
              </p:nvSpPr>
              <p:spPr>
                <a:xfrm>
                  <a:off x="3747077" y="5248570"/>
                  <a:ext cx="1485009" cy="44980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indent="-246175" algn="ctr"/>
                  <a:r>
                    <a:rPr lang="ru-RU" sz="600" i="1" dirty="0" smtClean="0">
                      <a:solidFill>
                        <a:schemeClr val="bg1"/>
                      </a:solidFill>
                      <a:latin typeface="+mj-lt"/>
                    </a:rPr>
                    <a:t>Плотность</a:t>
                  </a:r>
                  <a:r>
                    <a:rPr sz="1600" i="1">
                      <a:solidFill>
                        <a:schemeClr val="bg1"/>
                      </a:solidFill>
                      <a:latin typeface="+mj-lt"/>
                    </a:rPr>
                    <a:t/>
                  </a:r>
                  <a:br>
                    <a:rPr sz="1600" i="1">
                      <a:solidFill>
                        <a:schemeClr val="bg1"/>
                      </a:solidFill>
                      <a:latin typeface="+mj-lt"/>
                    </a:rPr>
                  </a:br>
                  <a:r>
                    <a:rPr lang="ru-RU" sz="600" i="1" dirty="0" smtClean="0">
                      <a:solidFill>
                        <a:schemeClr val="bg1"/>
                      </a:solidFill>
                      <a:latin typeface="+mj-lt"/>
                    </a:rPr>
                    <a:t>населения</a:t>
                  </a:r>
                  <a:endParaRPr lang="ru-RU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233" name="Freeform 4851"/>
              <p:cNvSpPr>
                <a:spLocks noEditPoints="1"/>
              </p:cNvSpPr>
              <p:nvPr/>
            </p:nvSpPr>
            <p:spPr bwMode="auto">
              <a:xfrm>
                <a:off x="801739" y="4641472"/>
                <a:ext cx="356834" cy="376657"/>
              </a:xfrm>
              <a:custGeom>
                <a:avLst/>
                <a:gdLst>
                  <a:gd name="T0" fmla="*/ 248 w 360"/>
                  <a:gd name="T1" fmla="*/ 8 h 380"/>
                  <a:gd name="T2" fmla="*/ 274 w 360"/>
                  <a:gd name="T3" fmla="*/ 0 h 380"/>
                  <a:gd name="T4" fmla="*/ 298 w 360"/>
                  <a:gd name="T5" fmla="*/ 28 h 380"/>
                  <a:gd name="T6" fmla="*/ 280 w 360"/>
                  <a:gd name="T7" fmla="*/ 56 h 380"/>
                  <a:gd name="T8" fmla="*/ 258 w 360"/>
                  <a:gd name="T9" fmla="*/ 56 h 380"/>
                  <a:gd name="T10" fmla="*/ 240 w 360"/>
                  <a:gd name="T11" fmla="*/ 28 h 380"/>
                  <a:gd name="T12" fmla="*/ 344 w 360"/>
                  <a:gd name="T13" fmla="*/ 88 h 380"/>
                  <a:gd name="T14" fmla="*/ 288 w 360"/>
                  <a:gd name="T15" fmla="*/ 68 h 380"/>
                  <a:gd name="T16" fmla="*/ 214 w 360"/>
                  <a:gd name="T17" fmla="*/ 70 h 380"/>
                  <a:gd name="T18" fmla="*/ 194 w 360"/>
                  <a:gd name="T19" fmla="*/ 90 h 380"/>
                  <a:gd name="T20" fmla="*/ 224 w 360"/>
                  <a:gd name="T21" fmla="*/ 114 h 380"/>
                  <a:gd name="T22" fmla="*/ 248 w 360"/>
                  <a:gd name="T23" fmla="*/ 166 h 380"/>
                  <a:gd name="T24" fmla="*/ 234 w 360"/>
                  <a:gd name="T25" fmla="*/ 208 h 380"/>
                  <a:gd name="T26" fmla="*/ 278 w 360"/>
                  <a:gd name="T27" fmla="*/ 214 h 380"/>
                  <a:gd name="T28" fmla="*/ 310 w 360"/>
                  <a:gd name="T29" fmla="*/ 244 h 380"/>
                  <a:gd name="T30" fmla="*/ 332 w 360"/>
                  <a:gd name="T31" fmla="*/ 200 h 380"/>
                  <a:gd name="T32" fmla="*/ 348 w 360"/>
                  <a:gd name="T33" fmla="*/ 208 h 380"/>
                  <a:gd name="T34" fmla="*/ 360 w 360"/>
                  <a:gd name="T35" fmla="*/ 190 h 380"/>
                  <a:gd name="T36" fmla="*/ 102 w 360"/>
                  <a:gd name="T37" fmla="*/ 56 h 380"/>
                  <a:gd name="T38" fmla="*/ 120 w 360"/>
                  <a:gd name="T39" fmla="*/ 28 h 380"/>
                  <a:gd name="T40" fmla="*/ 98 w 360"/>
                  <a:gd name="T41" fmla="*/ 0 h 380"/>
                  <a:gd name="T42" fmla="*/ 70 w 360"/>
                  <a:gd name="T43" fmla="*/ 8 h 380"/>
                  <a:gd name="T44" fmla="*/ 62 w 360"/>
                  <a:gd name="T45" fmla="*/ 34 h 380"/>
                  <a:gd name="T46" fmla="*/ 92 w 360"/>
                  <a:gd name="T47" fmla="*/ 58 h 380"/>
                  <a:gd name="T48" fmla="*/ 50 w 360"/>
                  <a:gd name="T49" fmla="*/ 244 h 380"/>
                  <a:gd name="T50" fmla="*/ 74 w 360"/>
                  <a:gd name="T51" fmla="*/ 218 h 380"/>
                  <a:gd name="T52" fmla="*/ 126 w 360"/>
                  <a:gd name="T53" fmla="*/ 208 h 380"/>
                  <a:gd name="T54" fmla="*/ 112 w 360"/>
                  <a:gd name="T55" fmla="*/ 166 h 380"/>
                  <a:gd name="T56" fmla="*/ 128 w 360"/>
                  <a:gd name="T57" fmla="*/ 122 h 380"/>
                  <a:gd name="T58" fmla="*/ 166 w 360"/>
                  <a:gd name="T59" fmla="*/ 90 h 380"/>
                  <a:gd name="T60" fmla="*/ 154 w 360"/>
                  <a:gd name="T61" fmla="*/ 74 h 380"/>
                  <a:gd name="T62" fmla="*/ 72 w 360"/>
                  <a:gd name="T63" fmla="*/ 68 h 380"/>
                  <a:gd name="T64" fmla="*/ 20 w 360"/>
                  <a:gd name="T65" fmla="*/ 80 h 380"/>
                  <a:gd name="T66" fmla="*/ 0 w 360"/>
                  <a:gd name="T67" fmla="*/ 190 h 380"/>
                  <a:gd name="T68" fmla="*/ 12 w 360"/>
                  <a:gd name="T69" fmla="*/ 208 h 380"/>
                  <a:gd name="T70" fmla="*/ 28 w 360"/>
                  <a:gd name="T71" fmla="*/ 200 h 380"/>
                  <a:gd name="T72" fmla="*/ 170 w 360"/>
                  <a:gd name="T73" fmla="*/ 118 h 380"/>
                  <a:gd name="T74" fmla="*/ 136 w 360"/>
                  <a:gd name="T75" fmla="*/ 146 h 380"/>
                  <a:gd name="T76" fmla="*/ 136 w 360"/>
                  <a:gd name="T77" fmla="*/ 184 h 380"/>
                  <a:gd name="T78" fmla="*/ 170 w 360"/>
                  <a:gd name="T79" fmla="*/ 214 h 380"/>
                  <a:gd name="T80" fmla="*/ 208 w 360"/>
                  <a:gd name="T81" fmla="*/ 206 h 380"/>
                  <a:gd name="T82" fmla="*/ 228 w 360"/>
                  <a:gd name="T83" fmla="*/ 166 h 380"/>
                  <a:gd name="T84" fmla="*/ 214 w 360"/>
                  <a:gd name="T85" fmla="*/ 132 h 380"/>
                  <a:gd name="T86" fmla="*/ 296 w 360"/>
                  <a:gd name="T87" fmla="*/ 260 h 380"/>
                  <a:gd name="T88" fmla="*/ 288 w 360"/>
                  <a:gd name="T89" fmla="*/ 246 h 380"/>
                  <a:gd name="T90" fmla="*/ 180 w 360"/>
                  <a:gd name="T91" fmla="*/ 278 h 380"/>
                  <a:gd name="T92" fmla="*/ 82 w 360"/>
                  <a:gd name="T93" fmla="*/ 236 h 380"/>
                  <a:gd name="T94" fmla="*/ 64 w 360"/>
                  <a:gd name="T95" fmla="*/ 260 h 380"/>
                  <a:gd name="T96" fmla="*/ 106 w 360"/>
                  <a:gd name="T97" fmla="*/ 304 h 380"/>
                  <a:gd name="T98" fmla="*/ 146 w 360"/>
                  <a:gd name="T99" fmla="*/ 378 h 380"/>
                  <a:gd name="T100" fmla="*/ 214 w 360"/>
                  <a:gd name="T101" fmla="*/ 378 h 380"/>
                  <a:gd name="T102" fmla="*/ 264 w 360"/>
                  <a:gd name="T103" fmla="*/ 362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60" h="380">
                    <a:moveTo>
                      <a:pt x="240" y="28"/>
                    </a:moveTo>
                    <a:lnTo>
                      <a:pt x="240" y="28"/>
                    </a:lnTo>
                    <a:lnTo>
                      <a:pt x="240" y="22"/>
                    </a:lnTo>
                    <a:lnTo>
                      <a:pt x="242" y="18"/>
                    </a:lnTo>
                    <a:lnTo>
                      <a:pt x="248" y="8"/>
                    </a:lnTo>
                    <a:lnTo>
                      <a:pt x="258" y="2"/>
                    </a:lnTo>
                    <a:lnTo>
                      <a:pt x="262" y="0"/>
                    </a:lnTo>
                    <a:lnTo>
                      <a:pt x="268" y="0"/>
                    </a:lnTo>
                    <a:lnTo>
                      <a:pt x="268" y="0"/>
                    </a:lnTo>
                    <a:lnTo>
                      <a:pt x="274" y="0"/>
                    </a:lnTo>
                    <a:lnTo>
                      <a:pt x="280" y="2"/>
                    </a:lnTo>
                    <a:lnTo>
                      <a:pt x="290" y="8"/>
                    </a:lnTo>
                    <a:lnTo>
                      <a:pt x="296" y="18"/>
                    </a:lnTo>
                    <a:lnTo>
                      <a:pt x="298" y="22"/>
                    </a:lnTo>
                    <a:lnTo>
                      <a:pt x="298" y="28"/>
                    </a:lnTo>
                    <a:lnTo>
                      <a:pt x="298" y="28"/>
                    </a:lnTo>
                    <a:lnTo>
                      <a:pt x="298" y="34"/>
                    </a:lnTo>
                    <a:lnTo>
                      <a:pt x="296" y="40"/>
                    </a:lnTo>
                    <a:lnTo>
                      <a:pt x="290" y="50"/>
                    </a:lnTo>
                    <a:lnTo>
                      <a:pt x="280" y="56"/>
                    </a:lnTo>
                    <a:lnTo>
                      <a:pt x="274" y="58"/>
                    </a:lnTo>
                    <a:lnTo>
                      <a:pt x="268" y="58"/>
                    </a:lnTo>
                    <a:lnTo>
                      <a:pt x="268" y="58"/>
                    </a:lnTo>
                    <a:lnTo>
                      <a:pt x="262" y="58"/>
                    </a:lnTo>
                    <a:lnTo>
                      <a:pt x="258" y="56"/>
                    </a:lnTo>
                    <a:lnTo>
                      <a:pt x="248" y="50"/>
                    </a:lnTo>
                    <a:lnTo>
                      <a:pt x="242" y="40"/>
                    </a:lnTo>
                    <a:lnTo>
                      <a:pt x="240" y="34"/>
                    </a:lnTo>
                    <a:lnTo>
                      <a:pt x="240" y="28"/>
                    </a:lnTo>
                    <a:lnTo>
                      <a:pt x="240" y="28"/>
                    </a:lnTo>
                    <a:close/>
                    <a:moveTo>
                      <a:pt x="360" y="190"/>
                    </a:moveTo>
                    <a:lnTo>
                      <a:pt x="344" y="90"/>
                    </a:lnTo>
                    <a:lnTo>
                      <a:pt x="344" y="90"/>
                    </a:lnTo>
                    <a:lnTo>
                      <a:pt x="344" y="88"/>
                    </a:lnTo>
                    <a:lnTo>
                      <a:pt x="344" y="88"/>
                    </a:lnTo>
                    <a:lnTo>
                      <a:pt x="340" y="80"/>
                    </a:lnTo>
                    <a:lnTo>
                      <a:pt x="332" y="74"/>
                    </a:lnTo>
                    <a:lnTo>
                      <a:pt x="324" y="70"/>
                    </a:lnTo>
                    <a:lnTo>
                      <a:pt x="314" y="68"/>
                    </a:lnTo>
                    <a:lnTo>
                      <a:pt x="288" y="68"/>
                    </a:lnTo>
                    <a:lnTo>
                      <a:pt x="270" y="102"/>
                    </a:lnTo>
                    <a:lnTo>
                      <a:pt x="250" y="68"/>
                    </a:lnTo>
                    <a:lnTo>
                      <a:pt x="222" y="68"/>
                    </a:lnTo>
                    <a:lnTo>
                      <a:pt x="222" y="68"/>
                    </a:lnTo>
                    <a:lnTo>
                      <a:pt x="214" y="70"/>
                    </a:lnTo>
                    <a:lnTo>
                      <a:pt x="206" y="74"/>
                    </a:lnTo>
                    <a:lnTo>
                      <a:pt x="198" y="80"/>
                    </a:lnTo>
                    <a:lnTo>
                      <a:pt x="194" y="88"/>
                    </a:lnTo>
                    <a:lnTo>
                      <a:pt x="194" y="88"/>
                    </a:lnTo>
                    <a:lnTo>
                      <a:pt x="194" y="90"/>
                    </a:lnTo>
                    <a:lnTo>
                      <a:pt x="192" y="98"/>
                    </a:lnTo>
                    <a:lnTo>
                      <a:pt x="192" y="98"/>
                    </a:lnTo>
                    <a:lnTo>
                      <a:pt x="204" y="102"/>
                    </a:lnTo>
                    <a:lnTo>
                      <a:pt x="214" y="106"/>
                    </a:lnTo>
                    <a:lnTo>
                      <a:pt x="224" y="114"/>
                    </a:lnTo>
                    <a:lnTo>
                      <a:pt x="232" y="122"/>
                    </a:lnTo>
                    <a:lnTo>
                      <a:pt x="240" y="132"/>
                    </a:lnTo>
                    <a:lnTo>
                      <a:pt x="244" y="142"/>
                    </a:lnTo>
                    <a:lnTo>
                      <a:pt x="248" y="154"/>
                    </a:lnTo>
                    <a:lnTo>
                      <a:pt x="248" y="166"/>
                    </a:lnTo>
                    <a:lnTo>
                      <a:pt x="248" y="166"/>
                    </a:lnTo>
                    <a:lnTo>
                      <a:pt x="248" y="178"/>
                    </a:lnTo>
                    <a:lnTo>
                      <a:pt x="246" y="188"/>
                    </a:lnTo>
                    <a:lnTo>
                      <a:pt x="240" y="198"/>
                    </a:lnTo>
                    <a:lnTo>
                      <a:pt x="234" y="208"/>
                    </a:lnTo>
                    <a:lnTo>
                      <a:pt x="250" y="208"/>
                    </a:lnTo>
                    <a:lnTo>
                      <a:pt x="250" y="208"/>
                    </a:lnTo>
                    <a:lnTo>
                      <a:pt x="260" y="208"/>
                    </a:lnTo>
                    <a:lnTo>
                      <a:pt x="270" y="210"/>
                    </a:lnTo>
                    <a:lnTo>
                      <a:pt x="278" y="214"/>
                    </a:lnTo>
                    <a:lnTo>
                      <a:pt x="286" y="218"/>
                    </a:lnTo>
                    <a:lnTo>
                      <a:pt x="294" y="222"/>
                    </a:lnTo>
                    <a:lnTo>
                      <a:pt x="300" y="228"/>
                    </a:lnTo>
                    <a:lnTo>
                      <a:pt x="306" y="236"/>
                    </a:lnTo>
                    <a:lnTo>
                      <a:pt x="310" y="244"/>
                    </a:lnTo>
                    <a:lnTo>
                      <a:pt x="308" y="118"/>
                    </a:lnTo>
                    <a:lnTo>
                      <a:pt x="318" y="118"/>
                    </a:lnTo>
                    <a:lnTo>
                      <a:pt x="330" y="196"/>
                    </a:lnTo>
                    <a:lnTo>
                      <a:pt x="330" y="196"/>
                    </a:lnTo>
                    <a:lnTo>
                      <a:pt x="332" y="200"/>
                    </a:lnTo>
                    <a:lnTo>
                      <a:pt x="336" y="204"/>
                    </a:lnTo>
                    <a:lnTo>
                      <a:pt x="340" y="208"/>
                    </a:lnTo>
                    <a:lnTo>
                      <a:pt x="346" y="208"/>
                    </a:lnTo>
                    <a:lnTo>
                      <a:pt x="346" y="208"/>
                    </a:lnTo>
                    <a:lnTo>
                      <a:pt x="348" y="208"/>
                    </a:lnTo>
                    <a:lnTo>
                      <a:pt x="348" y="208"/>
                    </a:lnTo>
                    <a:lnTo>
                      <a:pt x="354" y="206"/>
                    </a:lnTo>
                    <a:lnTo>
                      <a:pt x="358" y="202"/>
                    </a:lnTo>
                    <a:lnTo>
                      <a:pt x="360" y="196"/>
                    </a:lnTo>
                    <a:lnTo>
                      <a:pt x="360" y="190"/>
                    </a:lnTo>
                    <a:lnTo>
                      <a:pt x="360" y="190"/>
                    </a:lnTo>
                    <a:close/>
                    <a:moveTo>
                      <a:pt x="92" y="58"/>
                    </a:moveTo>
                    <a:lnTo>
                      <a:pt x="92" y="58"/>
                    </a:lnTo>
                    <a:lnTo>
                      <a:pt x="98" y="58"/>
                    </a:lnTo>
                    <a:lnTo>
                      <a:pt x="102" y="56"/>
                    </a:lnTo>
                    <a:lnTo>
                      <a:pt x="112" y="50"/>
                    </a:lnTo>
                    <a:lnTo>
                      <a:pt x="118" y="40"/>
                    </a:lnTo>
                    <a:lnTo>
                      <a:pt x="120" y="34"/>
                    </a:lnTo>
                    <a:lnTo>
                      <a:pt x="120" y="28"/>
                    </a:lnTo>
                    <a:lnTo>
                      <a:pt x="120" y="28"/>
                    </a:lnTo>
                    <a:lnTo>
                      <a:pt x="120" y="22"/>
                    </a:lnTo>
                    <a:lnTo>
                      <a:pt x="118" y="18"/>
                    </a:lnTo>
                    <a:lnTo>
                      <a:pt x="112" y="8"/>
                    </a:lnTo>
                    <a:lnTo>
                      <a:pt x="102" y="2"/>
                    </a:lnTo>
                    <a:lnTo>
                      <a:pt x="98" y="0"/>
                    </a:lnTo>
                    <a:lnTo>
                      <a:pt x="92" y="0"/>
                    </a:lnTo>
                    <a:lnTo>
                      <a:pt x="92" y="0"/>
                    </a:lnTo>
                    <a:lnTo>
                      <a:pt x="86" y="0"/>
                    </a:lnTo>
                    <a:lnTo>
                      <a:pt x="80" y="2"/>
                    </a:lnTo>
                    <a:lnTo>
                      <a:pt x="70" y="8"/>
                    </a:lnTo>
                    <a:lnTo>
                      <a:pt x="64" y="18"/>
                    </a:lnTo>
                    <a:lnTo>
                      <a:pt x="62" y="22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2" y="34"/>
                    </a:lnTo>
                    <a:lnTo>
                      <a:pt x="64" y="40"/>
                    </a:lnTo>
                    <a:lnTo>
                      <a:pt x="70" y="50"/>
                    </a:lnTo>
                    <a:lnTo>
                      <a:pt x="80" y="56"/>
                    </a:lnTo>
                    <a:lnTo>
                      <a:pt x="86" y="58"/>
                    </a:lnTo>
                    <a:lnTo>
                      <a:pt x="92" y="58"/>
                    </a:lnTo>
                    <a:lnTo>
                      <a:pt x="92" y="58"/>
                    </a:lnTo>
                    <a:close/>
                    <a:moveTo>
                      <a:pt x="30" y="196"/>
                    </a:moveTo>
                    <a:lnTo>
                      <a:pt x="42" y="118"/>
                    </a:lnTo>
                    <a:lnTo>
                      <a:pt x="52" y="118"/>
                    </a:lnTo>
                    <a:lnTo>
                      <a:pt x="50" y="244"/>
                    </a:lnTo>
                    <a:lnTo>
                      <a:pt x="50" y="244"/>
                    </a:lnTo>
                    <a:lnTo>
                      <a:pt x="54" y="236"/>
                    </a:lnTo>
                    <a:lnTo>
                      <a:pt x="60" y="228"/>
                    </a:lnTo>
                    <a:lnTo>
                      <a:pt x="66" y="222"/>
                    </a:lnTo>
                    <a:lnTo>
                      <a:pt x="74" y="218"/>
                    </a:lnTo>
                    <a:lnTo>
                      <a:pt x="82" y="214"/>
                    </a:lnTo>
                    <a:lnTo>
                      <a:pt x="90" y="210"/>
                    </a:lnTo>
                    <a:lnTo>
                      <a:pt x="100" y="208"/>
                    </a:lnTo>
                    <a:lnTo>
                      <a:pt x="110" y="208"/>
                    </a:lnTo>
                    <a:lnTo>
                      <a:pt x="126" y="208"/>
                    </a:lnTo>
                    <a:lnTo>
                      <a:pt x="126" y="208"/>
                    </a:lnTo>
                    <a:lnTo>
                      <a:pt x="120" y="198"/>
                    </a:lnTo>
                    <a:lnTo>
                      <a:pt x="114" y="188"/>
                    </a:lnTo>
                    <a:lnTo>
                      <a:pt x="112" y="178"/>
                    </a:lnTo>
                    <a:lnTo>
                      <a:pt x="112" y="166"/>
                    </a:lnTo>
                    <a:lnTo>
                      <a:pt x="112" y="166"/>
                    </a:lnTo>
                    <a:lnTo>
                      <a:pt x="112" y="154"/>
                    </a:lnTo>
                    <a:lnTo>
                      <a:pt x="116" y="142"/>
                    </a:lnTo>
                    <a:lnTo>
                      <a:pt x="120" y="132"/>
                    </a:lnTo>
                    <a:lnTo>
                      <a:pt x="128" y="122"/>
                    </a:lnTo>
                    <a:lnTo>
                      <a:pt x="136" y="114"/>
                    </a:lnTo>
                    <a:lnTo>
                      <a:pt x="146" y="106"/>
                    </a:lnTo>
                    <a:lnTo>
                      <a:pt x="156" y="102"/>
                    </a:lnTo>
                    <a:lnTo>
                      <a:pt x="168" y="98"/>
                    </a:lnTo>
                    <a:lnTo>
                      <a:pt x="166" y="90"/>
                    </a:lnTo>
                    <a:lnTo>
                      <a:pt x="166" y="90"/>
                    </a:lnTo>
                    <a:lnTo>
                      <a:pt x="166" y="88"/>
                    </a:lnTo>
                    <a:lnTo>
                      <a:pt x="166" y="88"/>
                    </a:lnTo>
                    <a:lnTo>
                      <a:pt x="162" y="80"/>
                    </a:lnTo>
                    <a:lnTo>
                      <a:pt x="154" y="74"/>
                    </a:lnTo>
                    <a:lnTo>
                      <a:pt x="146" y="70"/>
                    </a:lnTo>
                    <a:lnTo>
                      <a:pt x="138" y="68"/>
                    </a:lnTo>
                    <a:lnTo>
                      <a:pt x="110" y="68"/>
                    </a:lnTo>
                    <a:lnTo>
                      <a:pt x="90" y="102"/>
                    </a:lnTo>
                    <a:lnTo>
                      <a:pt x="72" y="68"/>
                    </a:lnTo>
                    <a:lnTo>
                      <a:pt x="46" y="68"/>
                    </a:lnTo>
                    <a:lnTo>
                      <a:pt x="46" y="68"/>
                    </a:lnTo>
                    <a:lnTo>
                      <a:pt x="36" y="70"/>
                    </a:lnTo>
                    <a:lnTo>
                      <a:pt x="28" y="74"/>
                    </a:lnTo>
                    <a:lnTo>
                      <a:pt x="20" y="80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90"/>
                    </a:lnTo>
                    <a:lnTo>
                      <a:pt x="0" y="190"/>
                    </a:lnTo>
                    <a:lnTo>
                      <a:pt x="0" y="190"/>
                    </a:lnTo>
                    <a:lnTo>
                      <a:pt x="0" y="196"/>
                    </a:lnTo>
                    <a:lnTo>
                      <a:pt x="2" y="202"/>
                    </a:lnTo>
                    <a:lnTo>
                      <a:pt x="6" y="206"/>
                    </a:lnTo>
                    <a:lnTo>
                      <a:pt x="12" y="208"/>
                    </a:lnTo>
                    <a:lnTo>
                      <a:pt x="12" y="208"/>
                    </a:lnTo>
                    <a:lnTo>
                      <a:pt x="14" y="208"/>
                    </a:lnTo>
                    <a:lnTo>
                      <a:pt x="14" y="208"/>
                    </a:lnTo>
                    <a:lnTo>
                      <a:pt x="20" y="208"/>
                    </a:lnTo>
                    <a:lnTo>
                      <a:pt x="24" y="204"/>
                    </a:lnTo>
                    <a:lnTo>
                      <a:pt x="28" y="200"/>
                    </a:lnTo>
                    <a:lnTo>
                      <a:pt x="30" y="196"/>
                    </a:lnTo>
                    <a:lnTo>
                      <a:pt x="30" y="196"/>
                    </a:lnTo>
                    <a:close/>
                    <a:moveTo>
                      <a:pt x="180" y="118"/>
                    </a:moveTo>
                    <a:lnTo>
                      <a:pt x="180" y="118"/>
                    </a:lnTo>
                    <a:lnTo>
                      <a:pt x="170" y="118"/>
                    </a:lnTo>
                    <a:lnTo>
                      <a:pt x="162" y="120"/>
                    </a:lnTo>
                    <a:lnTo>
                      <a:pt x="152" y="126"/>
                    </a:lnTo>
                    <a:lnTo>
                      <a:pt x="146" y="132"/>
                    </a:lnTo>
                    <a:lnTo>
                      <a:pt x="140" y="138"/>
                    </a:lnTo>
                    <a:lnTo>
                      <a:pt x="136" y="146"/>
                    </a:lnTo>
                    <a:lnTo>
                      <a:pt x="132" y="156"/>
                    </a:lnTo>
                    <a:lnTo>
                      <a:pt x="132" y="166"/>
                    </a:lnTo>
                    <a:lnTo>
                      <a:pt x="132" y="166"/>
                    </a:lnTo>
                    <a:lnTo>
                      <a:pt x="132" y="176"/>
                    </a:lnTo>
                    <a:lnTo>
                      <a:pt x="136" y="184"/>
                    </a:lnTo>
                    <a:lnTo>
                      <a:pt x="140" y="194"/>
                    </a:lnTo>
                    <a:lnTo>
                      <a:pt x="146" y="200"/>
                    </a:lnTo>
                    <a:lnTo>
                      <a:pt x="152" y="206"/>
                    </a:lnTo>
                    <a:lnTo>
                      <a:pt x="162" y="210"/>
                    </a:lnTo>
                    <a:lnTo>
                      <a:pt x="170" y="214"/>
                    </a:lnTo>
                    <a:lnTo>
                      <a:pt x="180" y="214"/>
                    </a:lnTo>
                    <a:lnTo>
                      <a:pt x="180" y="214"/>
                    </a:lnTo>
                    <a:lnTo>
                      <a:pt x="190" y="214"/>
                    </a:lnTo>
                    <a:lnTo>
                      <a:pt x="200" y="210"/>
                    </a:lnTo>
                    <a:lnTo>
                      <a:pt x="208" y="206"/>
                    </a:lnTo>
                    <a:lnTo>
                      <a:pt x="214" y="200"/>
                    </a:lnTo>
                    <a:lnTo>
                      <a:pt x="220" y="194"/>
                    </a:lnTo>
                    <a:lnTo>
                      <a:pt x="224" y="184"/>
                    </a:lnTo>
                    <a:lnTo>
                      <a:pt x="228" y="176"/>
                    </a:lnTo>
                    <a:lnTo>
                      <a:pt x="228" y="166"/>
                    </a:lnTo>
                    <a:lnTo>
                      <a:pt x="228" y="166"/>
                    </a:lnTo>
                    <a:lnTo>
                      <a:pt x="228" y="156"/>
                    </a:lnTo>
                    <a:lnTo>
                      <a:pt x="224" y="146"/>
                    </a:lnTo>
                    <a:lnTo>
                      <a:pt x="220" y="138"/>
                    </a:lnTo>
                    <a:lnTo>
                      <a:pt x="214" y="132"/>
                    </a:lnTo>
                    <a:lnTo>
                      <a:pt x="208" y="126"/>
                    </a:lnTo>
                    <a:lnTo>
                      <a:pt x="200" y="120"/>
                    </a:lnTo>
                    <a:lnTo>
                      <a:pt x="190" y="118"/>
                    </a:lnTo>
                    <a:lnTo>
                      <a:pt x="180" y="118"/>
                    </a:lnTo>
                    <a:close/>
                    <a:moveTo>
                      <a:pt x="296" y="260"/>
                    </a:moveTo>
                    <a:lnTo>
                      <a:pt x="296" y="260"/>
                    </a:lnTo>
                    <a:lnTo>
                      <a:pt x="294" y="258"/>
                    </a:lnTo>
                    <a:lnTo>
                      <a:pt x="294" y="258"/>
                    </a:lnTo>
                    <a:lnTo>
                      <a:pt x="292" y="252"/>
                    </a:lnTo>
                    <a:lnTo>
                      <a:pt x="288" y="246"/>
                    </a:lnTo>
                    <a:lnTo>
                      <a:pt x="278" y="236"/>
                    </a:lnTo>
                    <a:lnTo>
                      <a:pt x="266" y="230"/>
                    </a:lnTo>
                    <a:lnTo>
                      <a:pt x="250" y="228"/>
                    </a:lnTo>
                    <a:lnTo>
                      <a:pt x="210" y="228"/>
                    </a:lnTo>
                    <a:lnTo>
                      <a:pt x="180" y="278"/>
                    </a:lnTo>
                    <a:lnTo>
                      <a:pt x="150" y="228"/>
                    </a:lnTo>
                    <a:lnTo>
                      <a:pt x="110" y="228"/>
                    </a:lnTo>
                    <a:lnTo>
                      <a:pt x="110" y="228"/>
                    </a:lnTo>
                    <a:lnTo>
                      <a:pt x="94" y="230"/>
                    </a:lnTo>
                    <a:lnTo>
                      <a:pt x="82" y="236"/>
                    </a:lnTo>
                    <a:lnTo>
                      <a:pt x="72" y="246"/>
                    </a:lnTo>
                    <a:lnTo>
                      <a:pt x="68" y="252"/>
                    </a:lnTo>
                    <a:lnTo>
                      <a:pt x="66" y="258"/>
                    </a:lnTo>
                    <a:lnTo>
                      <a:pt x="66" y="258"/>
                    </a:lnTo>
                    <a:lnTo>
                      <a:pt x="64" y="260"/>
                    </a:lnTo>
                    <a:lnTo>
                      <a:pt x="52" y="336"/>
                    </a:lnTo>
                    <a:lnTo>
                      <a:pt x="52" y="336"/>
                    </a:lnTo>
                    <a:lnTo>
                      <a:pt x="72" y="352"/>
                    </a:lnTo>
                    <a:lnTo>
                      <a:pt x="96" y="362"/>
                    </a:lnTo>
                    <a:lnTo>
                      <a:pt x="106" y="304"/>
                    </a:lnTo>
                    <a:lnTo>
                      <a:pt x="118" y="304"/>
                    </a:lnTo>
                    <a:lnTo>
                      <a:pt x="114" y="370"/>
                    </a:lnTo>
                    <a:lnTo>
                      <a:pt x="114" y="370"/>
                    </a:lnTo>
                    <a:lnTo>
                      <a:pt x="130" y="374"/>
                    </a:lnTo>
                    <a:lnTo>
                      <a:pt x="146" y="378"/>
                    </a:lnTo>
                    <a:lnTo>
                      <a:pt x="162" y="380"/>
                    </a:lnTo>
                    <a:lnTo>
                      <a:pt x="180" y="380"/>
                    </a:lnTo>
                    <a:lnTo>
                      <a:pt x="180" y="380"/>
                    </a:lnTo>
                    <a:lnTo>
                      <a:pt x="196" y="380"/>
                    </a:lnTo>
                    <a:lnTo>
                      <a:pt x="214" y="378"/>
                    </a:lnTo>
                    <a:lnTo>
                      <a:pt x="230" y="374"/>
                    </a:lnTo>
                    <a:lnTo>
                      <a:pt x="246" y="370"/>
                    </a:lnTo>
                    <a:lnTo>
                      <a:pt x="242" y="304"/>
                    </a:lnTo>
                    <a:lnTo>
                      <a:pt x="254" y="304"/>
                    </a:lnTo>
                    <a:lnTo>
                      <a:pt x="264" y="362"/>
                    </a:lnTo>
                    <a:lnTo>
                      <a:pt x="264" y="362"/>
                    </a:lnTo>
                    <a:lnTo>
                      <a:pt x="288" y="350"/>
                    </a:lnTo>
                    <a:lnTo>
                      <a:pt x="308" y="336"/>
                    </a:lnTo>
                    <a:lnTo>
                      <a:pt x="296" y="26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84" name="Group 183"/>
            <p:cNvGrpSpPr/>
            <p:nvPr/>
          </p:nvGrpSpPr>
          <p:grpSpPr>
            <a:xfrm>
              <a:off x="1528826" y="5429209"/>
              <a:ext cx="684000" cy="684000"/>
              <a:chOff x="440244" y="5183635"/>
              <a:chExt cx="808178" cy="816989"/>
            </a:xfrm>
          </p:grpSpPr>
          <p:grpSp>
            <p:nvGrpSpPr>
              <p:cNvPr id="228" name="Group 227"/>
              <p:cNvGrpSpPr/>
              <p:nvPr/>
            </p:nvGrpSpPr>
            <p:grpSpPr>
              <a:xfrm>
                <a:off x="440244" y="5183635"/>
                <a:ext cx="808178" cy="816989"/>
                <a:chOff x="1525954" y="3867759"/>
                <a:chExt cx="1468304" cy="1499201"/>
              </a:xfrm>
            </p:grpSpPr>
            <p:sp>
              <p:nvSpPr>
                <p:cNvPr id="230" name="Oval 229"/>
                <p:cNvSpPr/>
                <p:nvPr/>
              </p:nvSpPr>
              <p:spPr bwMode="ltGray">
                <a:xfrm>
                  <a:off x="1525954" y="3867759"/>
                  <a:ext cx="1468304" cy="1499201"/>
                </a:xfrm>
                <a:prstGeom prst="ellipse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algn="ctr">
                    <a:defRPr/>
                  </a:pPr>
                  <a:endParaRPr lang="en-US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231" name="TextBox 230"/>
                <p:cNvSpPr txBox="1"/>
                <p:nvPr/>
              </p:nvSpPr>
              <p:spPr>
                <a:xfrm>
                  <a:off x="1553145" y="4716023"/>
                  <a:ext cx="1419201" cy="42197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indent="-246175" algn="ctr"/>
                  <a:r>
                    <a:rPr lang="ru-RU" sz="600" i="1" dirty="0" smtClean="0">
                      <a:solidFill>
                        <a:schemeClr val="bg1"/>
                      </a:solidFill>
                      <a:latin typeface="+mj-lt"/>
                    </a:rPr>
                    <a:t>Общественный </a:t>
                  </a:r>
                </a:p>
                <a:p>
                  <a:pPr indent="-246175" algn="ctr"/>
                  <a:r>
                    <a:rPr lang="ru-RU" sz="600" i="1" dirty="0" smtClean="0">
                      <a:solidFill>
                        <a:schemeClr val="bg1"/>
                      </a:solidFill>
                      <a:latin typeface="+mj-lt"/>
                    </a:rPr>
                    <a:t>транспорт</a:t>
                  </a:r>
                  <a:endParaRPr lang="ru-RU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229" name="Freeform 5015"/>
              <p:cNvSpPr>
                <a:spLocks noEditPoints="1"/>
              </p:cNvSpPr>
              <p:nvPr/>
            </p:nvSpPr>
            <p:spPr bwMode="auto">
              <a:xfrm>
                <a:off x="719800" y="5260279"/>
                <a:ext cx="251972" cy="356304"/>
              </a:xfrm>
              <a:custGeom>
                <a:avLst/>
                <a:gdLst>
                  <a:gd name="T0" fmla="*/ 70 w 256"/>
                  <a:gd name="T1" fmla="*/ 340 h 362"/>
                  <a:gd name="T2" fmla="*/ 56 w 256"/>
                  <a:gd name="T3" fmla="*/ 360 h 362"/>
                  <a:gd name="T4" fmla="*/ 40 w 256"/>
                  <a:gd name="T5" fmla="*/ 360 h 362"/>
                  <a:gd name="T6" fmla="*/ 26 w 256"/>
                  <a:gd name="T7" fmla="*/ 340 h 362"/>
                  <a:gd name="T8" fmla="*/ 186 w 256"/>
                  <a:gd name="T9" fmla="*/ 316 h 362"/>
                  <a:gd name="T10" fmla="*/ 188 w 256"/>
                  <a:gd name="T11" fmla="*/ 350 h 362"/>
                  <a:gd name="T12" fmla="*/ 208 w 256"/>
                  <a:gd name="T13" fmla="*/ 362 h 362"/>
                  <a:gd name="T14" fmla="*/ 224 w 256"/>
                  <a:gd name="T15" fmla="*/ 356 h 362"/>
                  <a:gd name="T16" fmla="*/ 230 w 256"/>
                  <a:gd name="T17" fmla="*/ 316 h 362"/>
                  <a:gd name="T18" fmla="*/ 256 w 256"/>
                  <a:gd name="T19" fmla="*/ 288 h 362"/>
                  <a:gd name="T20" fmla="*/ 252 w 256"/>
                  <a:gd name="T21" fmla="*/ 298 h 362"/>
                  <a:gd name="T22" fmla="*/ 16 w 256"/>
                  <a:gd name="T23" fmla="*/ 304 h 362"/>
                  <a:gd name="T24" fmla="*/ 4 w 256"/>
                  <a:gd name="T25" fmla="*/ 298 h 362"/>
                  <a:gd name="T26" fmla="*/ 0 w 256"/>
                  <a:gd name="T27" fmla="*/ 68 h 362"/>
                  <a:gd name="T28" fmla="*/ 0 w 256"/>
                  <a:gd name="T29" fmla="*/ 66 h 362"/>
                  <a:gd name="T30" fmla="*/ 0 w 256"/>
                  <a:gd name="T31" fmla="*/ 62 h 362"/>
                  <a:gd name="T32" fmla="*/ 0 w 256"/>
                  <a:gd name="T33" fmla="*/ 62 h 362"/>
                  <a:gd name="T34" fmla="*/ 22 w 256"/>
                  <a:gd name="T35" fmla="*/ 10 h 362"/>
                  <a:gd name="T36" fmla="*/ 28 w 256"/>
                  <a:gd name="T37" fmla="*/ 2 h 362"/>
                  <a:gd name="T38" fmla="*/ 220 w 256"/>
                  <a:gd name="T39" fmla="*/ 0 h 362"/>
                  <a:gd name="T40" fmla="*/ 228 w 256"/>
                  <a:gd name="T41" fmla="*/ 2 h 362"/>
                  <a:gd name="T42" fmla="*/ 256 w 256"/>
                  <a:gd name="T43" fmla="*/ 62 h 362"/>
                  <a:gd name="T44" fmla="*/ 256 w 256"/>
                  <a:gd name="T45" fmla="*/ 62 h 362"/>
                  <a:gd name="T46" fmla="*/ 256 w 256"/>
                  <a:gd name="T47" fmla="*/ 62 h 362"/>
                  <a:gd name="T48" fmla="*/ 256 w 256"/>
                  <a:gd name="T49" fmla="*/ 66 h 362"/>
                  <a:gd name="T50" fmla="*/ 256 w 256"/>
                  <a:gd name="T51" fmla="*/ 68 h 362"/>
                  <a:gd name="T52" fmla="*/ 62 w 256"/>
                  <a:gd name="T53" fmla="*/ 250 h 362"/>
                  <a:gd name="T54" fmla="*/ 52 w 256"/>
                  <a:gd name="T55" fmla="*/ 240 h 362"/>
                  <a:gd name="T56" fmla="*/ 32 w 256"/>
                  <a:gd name="T57" fmla="*/ 244 h 362"/>
                  <a:gd name="T58" fmla="*/ 26 w 256"/>
                  <a:gd name="T59" fmla="*/ 258 h 362"/>
                  <a:gd name="T60" fmla="*/ 32 w 256"/>
                  <a:gd name="T61" fmla="*/ 270 h 362"/>
                  <a:gd name="T62" fmla="*/ 44 w 256"/>
                  <a:gd name="T63" fmla="*/ 276 h 362"/>
                  <a:gd name="T64" fmla="*/ 58 w 256"/>
                  <a:gd name="T65" fmla="*/ 270 h 362"/>
                  <a:gd name="T66" fmla="*/ 62 w 256"/>
                  <a:gd name="T67" fmla="*/ 258 h 362"/>
                  <a:gd name="T68" fmla="*/ 128 w 256"/>
                  <a:gd name="T69" fmla="*/ 228 h 362"/>
                  <a:gd name="T70" fmla="*/ 186 w 256"/>
                  <a:gd name="T71" fmla="*/ 222 h 362"/>
                  <a:gd name="T72" fmla="*/ 228 w 256"/>
                  <a:gd name="T73" fmla="*/ 204 h 362"/>
                  <a:gd name="T74" fmla="*/ 228 w 256"/>
                  <a:gd name="T75" fmla="*/ 72 h 362"/>
                  <a:gd name="T76" fmla="*/ 212 w 256"/>
                  <a:gd name="T77" fmla="*/ 30 h 362"/>
                  <a:gd name="T78" fmla="*/ 52 w 256"/>
                  <a:gd name="T79" fmla="*/ 22 h 362"/>
                  <a:gd name="T80" fmla="*/ 44 w 256"/>
                  <a:gd name="T81" fmla="*/ 30 h 362"/>
                  <a:gd name="T82" fmla="*/ 28 w 256"/>
                  <a:gd name="T83" fmla="*/ 72 h 362"/>
                  <a:gd name="T84" fmla="*/ 28 w 256"/>
                  <a:gd name="T85" fmla="*/ 204 h 362"/>
                  <a:gd name="T86" fmla="*/ 70 w 256"/>
                  <a:gd name="T87" fmla="*/ 222 h 362"/>
                  <a:gd name="T88" fmla="*/ 128 w 256"/>
                  <a:gd name="T89" fmla="*/ 228 h 362"/>
                  <a:gd name="T90" fmla="*/ 230 w 256"/>
                  <a:gd name="T91" fmla="*/ 258 h 362"/>
                  <a:gd name="T92" fmla="*/ 224 w 256"/>
                  <a:gd name="T93" fmla="*/ 244 h 362"/>
                  <a:gd name="T94" fmla="*/ 204 w 256"/>
                  <a:gd name="T95" fmla="*/ 240 h 362"/>
                  <a:gd name="T96" fmla="*/ 194 w 256"/>
                  <a:gd name="T97" fmla="*/ 250 h 362"/>
                  <a:gd name="T98" fmla="*/ 194 w 256"/>
                  <a:gd name="T99" fmla="*/ 264 h 362"/>
                  <a:gd name="T100" fmla="*/ 204 w 256"/>
                  <a:gd name="T101" fmla="*/ 274 h 362"/>
                  <a:gd name="T102" fmla="*/ 218 w 256"/>
                  <a:gd name="T103" fmla="*/ 274 h 362"/>
                  <a:gd name="T104" fmla="*/ 228 w 256"/>
                  <a:gd name="T105" fmla="*/ 264 h 362"/>
                  <a:gd name="T106" fmla="*/ 200 w 256"/>
                  <a:gd name="T107" fmla="*/ 54 h 362"/>
                  <a:gd name="T108" fmla="*/ 196 w 256"/>
                  <a:gd name="T109" fmla="*/ 44 h 362"/>
                  <a:gd name="T110" fmla="*/ 70 w 256"/>
                  <a:gd name="T111" fmla="*/ 40 h 362"/>
                  <a:gd name="T112" fmla="*/ 60 w 256"/>
                  <a:gd name="T113" fmla="*/ 44 h 362"/>
                  <a:gd name="T114" fmla="*/ 56 w 256"/>
                  <a:gd name="T115" fmla="*/ 54 h 362"/>
                  <a:gd name="T116" fmla="*/ 64 w 256"/>
                  <a:gd name="T117" fmla="*/ 68 h 362"/>
                  <a:gd name="T118" fmla="*/ 186 w 256"/>
                  <a:gd name="T119" fmla="*/ 68 h 362"/>
                  <a:gd name="T120" fmla="*/ 198 w 256"/>
                  <a:gd name="T121" fmla="*/ 60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6" h="362">
                    <a:moveTo>
                      <a:pt x="70" y="316"/>
                    </a:moveTo>
                    <a:lnTo>
                      <a:pt x="70" y="340"/>
                    </a:lnTo>
                    <a:lnTo>
                      <a:pt x="70" y="340"/>
                    </a:lnTo>
                    <a:lnTo>
                      <a:pt x="68" y="350"/>
                    </a:lnTo>
                    <a:lnTo>
                      <a:pt x="64" y="356"/>
                    </a:lnTo>
                    <a:lnTo>
                      <a:pt x="56" y="360"/>
                    </a:lnTo>
                    <a:lnTo>
                      <a:pt x="48" y="362"/>
                    </a:lnTo>
                    <a:lnTo>
                      <a:pt x="48" y="362"/>
                    </a:lnTo>
                    <a:lnTo>
                      <a:pt x="40" y="360"/>
                    </a:lnTo>
                    <a:lnTo>
                      <a:pt x="32" y="356"/>
                    </a:lnTo>
                    <a:lnTo>
                      <a:pt x="28" y="350"/>
                    </a:lnTo>
                    <a:lnTo>
                      <a:pt x="26" y="340"/>
                    </a:lnTo>
                    <a:lnTo>
                      <a:pt x="26" y="316"/>
                    </a:lnTo>
                    <a:lnTo>
                      <a:pt x="70" y="316"/>
                    </a:lnTo>
                    <a:close/>
                    <a:moveTo>
                      <a:pt x="186" y="316"/>
                    </a:moveTo>
                    <a:lnTo>
                      <a:pt x="186" y="340"/>
                    </a:lnTo>
                    <a:lnTo>
                      <a:pt x="186" y="340"/>
                    </a:lnTo>
                    <a:lnTo>
                      <a:pt x="188" y="350"/>
                    </a:lnTo>
                    <a:lnTo>
                      <a:pt x="192" y="356"/>
                    </a:lnTo>
                    <a:lnTo>
                      <a:pt x="200" y="360"/>
                    </a:lnTo>
                    <a:lnTo>
                      <a:pt x="208" y="362"/>
                    </a:lnTo>
                    <a:lnTo>
                      <a:pt x="208" y="362"/>
                    </a:lnTo>
                    <a:lnTo>
                      <a:pt x="216" y="360"/>
                    </a:lnTo>
                    <a:lnTo>
                      <a:pt x="224" y="356"/>
                    </a:lnTo>
                    <a:lnTo>
                      <a:pt x="228" y="350"/>
                    </a:lnTo>
                    <a:lnTo>
                      <a:pt x="230" y="340"/>
                    </a:lnTo>
                    <a:lnTo>
                      <a:pt x="230" y="316"/>
                    </a:lnTo>
                    <a:lnTo>
                      <a:pt x="186" y="316"/>
                    </a:lnTo>
                    <a:close/>
                    <a:moveTo>
                      <a:pt x="256" y="68"/>
                    </a:moveTo>
                    <a:lnTo>
                      <a:pt x="256" y="288"/>
                    </a:lnTo>
                    <a:lnTo>
                      <a:pt x="256" y="288"/>
                    </a:lnTo>
                    <a:lnTo>
                      <a:pt x="256" y="294"/>
                    </a:lnTo>
                    <a:lnTo>
                      <a:pt x="252" y="298"/>
                    </a:lnTo>
                    <a:lnTo>
                      <a:pt x="246" y="302"/>
                    </a:lnTo>
                    <a:lnTo>
                      <a:pt x="240" y="304"/>
                    </a:lnTo>
                    <a:lnTo>
                      <a:pt x="16" y="304"/>
                    </a:lnTo>
                    <a:lnTo>
                      <a:pt x="16" y="304"/>
                    </a:lnTo>
                    <a:lnTo>
                      <a:pt x="10" y="302"/>
                    </a:lnTo>
                    <a:lnTo>
                      <a:pt x="4" y="298"/>
                    </a:lnTo>
                    <a:lnTo>
                      <a:pt x="0" y="294"/>
                    </a:lnTo>
                    <a:lnTo>
                      <a:pt x="0" y="28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4" y="6"/>
                    </a:lnTo>
                    <a:lnTo>
                      <a:pt x="28" y="2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220" y="0"/>
                    </a:lnTo>
                    <a:lnTo>
                      <a:pt x="220" y="0"/>
                    </a:lnTo>
                    <a:lnTo>
                      <a:pt x="224" y="0"/>
                    </a:lnTo>
                    <a:lnTo>
                      <a:pt x="228" y="2"/>
                    </a:lnTo>
                    <a:lnTo>
                      <a:pt x="232" y="6"/>
                    </a:lnTo>
                    <a:lnTo>
                      <a:pt x="234" y="10"/>
                    </a:lnTo>
                    <a:lnTo>
                      <a:pt x="256" y="62"/>
                    </a:lnTo>
                    <a:lnTo>
                      <a:pt x="256" y="62"/>
                    </a:lnTo>
                    <a:lnTo>
                      <a:pt x="256" y="62"/>
                    </a:lnTo>
                    <a:lnTo>
                      <a:pt x="256" y="62"/>
                    </a:lnTo>
                    <a:lnTo>
                      <a:pt x="256" y="62"/>
                    </a:lnTo>
                    <a:lnTo>
                      <a:pt x="256" y="62"/>
                    </a:lnTo>
                    <a:lnTo>
                      <a:pt x="256" y="62"/>
                    </a:lnTo>
                    <a:lnTo>
                      <a:pt x="256" y="66"/>
                    </a:lnTo>
                    <a:lnTo>
                      <a:pt x="256" y="66"/>
                    </a:lnTo>
                    <a:lnTo>
                      <a:pt x="256" y="66"/>
                    </a:lnTo>
                    <a:lnTo>
                      <a:pt x="256" y="66"/>
                    </a:lnTo>
                    <a:lnTo>
                      <a:pt x="256" y="68"/>
                    </a:lnTo>
                    <a:lnTo>
                      <a:pt x="256" y="68"/>
                    </a:lnTo>
                    <a:close/>
                    <a:moveTo>
                      <a:pt x="62" y="258"/>
                    </a:moveTo>
                    <a:lnTo>
                      <a:pt x="62" y="258"/>
                    </a:lnTo>
                    <a:lnTo>
                      <a:pt x="62" y="250"/>
                    </a:lnTo>
                    <a:lnTo>
                      <a:pt x="58" y="244"/>
                    </a:lnTo>
                    <a:lnTo>
                      <a:pt x="58" y="244"/>
                    </a:lnTo>
                    <a:lnTo>
                      <a:pt x="52" y="240"/>
                    </a:lnTo>
                    <a:lnTo>
                      <a:pt x="44" y="240"/>
                    </a:lnTo>
                    <a:lnTo>
                      <a:pt x="38" y="240"/>
                    </a:lnTo>
                    <a:lnTo>
                      <a:pt x="32" y="244"/>
                    </a:lnTo>
                    <a:lnTo>
                      <a:pt x="32" y="244"/>
                    </a:lnTo>
                    <a:lnTo>
                      <a:pt x="28" y="250"/>
                    </a:lnTo>
                    <a:lnTo>
                      <a:pt x="26" y="258"/>
                    </a:lnTo>
                    <a:lnTo>
                      <a:pt x="26" y="258"/>
                    </a:lnTo>
                    <a:lnTo>
                      <a:pt x="28" y="264"/>
                    </a:lnTo>
                    <a:lnTo>
                      <a:pt x="32" y="270"/>
                    </a:lnTo>
                    <a:lnTo>
                      <a:pt x="32" y="270"/>
                    </a:lnTo>
                    <a:lnTo>
                      <a:pt x="38" y="274"/>
                    </a:lnTo>
                    <a:lnTo>
                      <a:pt x="44" y="276"/>
                    </a:lnTo>
                    <a:lnTo>
                      <a:pt x="44" y="276"/>
                    </a:lnTo>
                    <a:lnTo>
                      <a:pt x="52" y="274"/>
                    </a:lnTo>
                    <a:lnTo>
                      <a:pt x="58" y="270"/>
                    </a:lnTo>
                    <a:lnTo>
                      <a:pt x="58" y="270"/>
                    </a:lnTo>
                    <a:lnTo>
                      <a:pt x="62" y="264"/>
                    </a:lnTo>
                    <a:lnTo>
                      <a:pt x="62" y="258"/>
                    </a:lnTo>
                    <a:lnTo>
                      <a:pt x="62" y="258"/>
                    </a:lnTo>
                    <a:close/>
                    <a:moveTo>
                      <a:pt x="128" y="228"/>
                    </a:moveTo>
                    <a:lnTo>
                      <a:pt x="128" y="228"/>
                    </a:lnTo>
                    <a:lnTo>
                      <a:pt x="148" y="228"/>
                    </a:lnTo>
                    <a:lnTo>
                      <a:pt x="168" y="226"/>
                    </a:lnTo>
                    <a:lnTo>
                      <a:pt x="186" y="222"/>
                    </a:lnTo>
                    <a:lnTo>
                      <a:pt x="200" y="216"/>
                    </a:lnTo>
                    <a:lnTo>
                      <a:pt x="220" y="208"/>
                    </a:lnTo>
                    <a:lnTo>
                      <a:pt x="228" y="204"/>
                    </a:lnTo>
                    <a:lnTo>
                      <a:pt x="228" y="72"/>
                    </a:lnTo>
                    <a:lnTo>
                      <a:pt x="228" y="72"/>
                    </a:lnTo>
                    <a:lnTo>
                      <a:pt x="228" y="72"/>
                    </a:lnTo>
                    <a:lnTo>
                      <a:pt x="228" y="70"/>
                    </a:lnTo>
                    <a:lnTo>
                      <a:pt x="212" y="30"/>
                    </a:lnTo>
                    <a:lnTo>
                      <a:pt x="212" y="30"/>
                    </a:lnTo>
                    <a:lnTo>
                      <a:pt x="210" y="24"/>
                    </a:lnTo>
                    <a:lnTo>
                      <a:pt x="204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46" y="24"/>
                    </a:lnTo>
                    <a:lnTo>
                      <a:pt x="44" y="30"/>
                    </a:lnTo>
                    <a:lnTo>
                      <a:pt x="28" y="70"/>
                    </a:lnTo>
                    <a:lnTo>
                      <a:pt x="28" y="70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28" y="204"/>
                    </a:lnTo>
                    <a:lnTo>
                      <a:pt x="28" y="204"/>
                    </a:lnTo>
                    <a:lnTo>
                      <a:pt x="36" y="208"/>
                    </a:lnTo>
                    <a:lnTo>
                      <a:pt x="56" y="216"/>
                    </a:lnTo>
                    <a:lnTo>
                      <a:pt x="70" y="222"/>
                    </a:lnTo>
                    <a:lnTo>
                      <a:pt x="88" y="226"/>
                    </a:lnTo>
                    <a:lnTo>
                      <a:pt x="108" y="228"/>
                    </a:lnTo>
                    <a:lnTo>
                      <a:pt x="128" y="228"/>
                    </a:lnTo>
                    <a:lnTo>
                      <a:pt x="128" y="228"/>
                    </a:lnTo>
                    <a:close/>
                    <a:moveTo>
                      <a:pt x="230" y="258"/>
                    </a:moveTo>
                    <a:lnTo>
                      <a:pt x="230" y="258"/>
                    </a:lnTo>
                    <a:lnTo>
                      <a:pt x="228" y="250"/>
                    </a:lnTo>
                    <a:lnTo>
                      <a:pt x="224" y="244"/>
                    </a:lnTo>
                    <a:lnTo>
                      <a:pt x="224" y="244"/>
                    </a:lnTo>
                    <a:lnTo>
                      <a:pt x="218" y="240"/>
                    </a:lnTo>
                    <a:lnTo>
                      <a:pt x="212" y="240"/>
                    </a:lnTo>
                    <a:lnTo>
                      <a:pt x="204" y="240"/>
                    </a:lnTo>
                    <a:lnTo>
                      <a:pt x="198" y="244"/>
                    </a:lnTo>
                    <a:lnTo>
                      <a:pt x="198" y="244"/>
                    </a:lnTo>
                    <a:lnTo>
                      <a:pt x="194" y="250"/>
                    </a:lnTo>
                    <a:lnTo>
                      <a:pt x="194" y="258"/>
                    </a:lnTo>
                    <a:lnTo>
                      <a:pt x="194" y="258"/>
                    </a:lnTo>
                    <a:lnTo>
                      <a:pt x="194" y="264"/>
                    </a:lnTo>
                    <a:lnTo>
                      <a:pt x="198" y="270"/>
                    </a:lnTo>
                    <a:lnTo>
                      <a:pt x="198" y="270"/>
                    </a:lnTo>
                    <a:lnTo>
                      <a:pt x="204" y="274"/>
                    </a:lnTo>
                    <a:lnTo>
                      <a:pt x="212" y="276"/>
                    </a:lnTo>
                    <a:lnTo>
                      <a:pt x="212" y="276"/>
                    </a:lnTo>
                    <a:lnTo>
                      <a:pt x="218" y="274"/>
                    </a:lnTo>
                    <a:lnTo>
                      <a:pt x="224" y="270"/>
                    </a:lnTo>
                    <a:lnTo>
                      <a:pt x="224" y="270"/>
                    </a:lnTo>
                    <a:lnTo>
                      <a:pt x="228" y="264"/>
                    </a:lnTo>
                    <a:lnTo>
                      <a:pt x="230" y="258"/>
                    </a:lnTo>
                    <a:lnTo>
                      <a:pt x="230" y="258"/>
                    </a:lnTo>
                    <a:close/>
                    <a:moveTo>
                      <a:pt x="200" y="54"/>
                    </a:moveTo>
                    <a:lnTo>
                      <a:pt x="200" y="54"/>
                    </a:lnTo>
                    <a:lnTo>
                      <a:pt x="198" y="48"/>
                    </a:lnTo>
                    <a:lnTo>
                      <a:pt x="196" y="44"/>
                    </a:lnTo>
                    <a:lnTo>
                      <a:pt x="192" y="42"/>
                    </a:lnTo>
                    <a:lnTo>
                      <a:pt x="186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64" y="42"/>
                    </a:lnTo>
                    <a:lnTo>
                      <a:pt x="60" y="44"/>
                    </a:lnTo>
                    <a:lnTo>
                      <a:pt x="58" y="48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8" y="60"/>
                    </a:lnTo>
                    <a:lnTo>
                      <a:pt x="60" y="64"/>
                    </a:lnTo>
                    <a:lnTo>
                      <a:pt x="64" y="68"/>
                    </a:lnTo>
                    <a:lnTo>
                      <a:pt x="70" y="68"/>
                    </a:lnTo>
                    <a:lnTo>
                      <a:pt x="186" y="68"/>
                    </a:lnTo>
                    <a:lnTo>
                      <a:pt x="186" y="68"/>
                    </a:lnTo>
                    <a:lnTo>
                      <a:pt x="192" y="68"/>
                    </a:lnTo>
                    <a:lnTo>
                      <a:pt x="196" y="64"/>
                    </a:lnTo>
                    <a:lnTo>
                      <a:pt x="198" y="60"/>
                    </a:lnTo>
                    <a:lnTo>
                      <a:pt x="200" y="54"/>
                    </a:lnTo>
                    <a:lnTo>
                      <a:pt x="200" y="5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85" name="Group 184"/>
            <p:cNvGrpSpPr/>
            <p:nvPr/>
          </p:nvGrpSpPr>
          <p:grpSpPr>
            <a:xfrm>
              <a:off x="2493702" y="5669182"/>
              <a:ext cx="755999" cy="756000"/>
              <a:chOff x="2123341" y="5280060"/>
              <a:chExt cx="893248" cy="902988"/>
            </a:xfrm>
          </p:grpSpPr>
          <p:grpSp>
            <p:nvGrpSpPr>
              <p:cNvPr id="224" name="Group 223"/>
              <p:cNvGrpSpPr/>
              <p:nvPr/>
            </p:nvGrpSpPr>
            <p:grpSpPr>
              <a:xfrm>
                <a:off x="2123341" y="5280060"/>
                <a:ext cx="893248" cy="902988"/>
                <a:chOff x="3679182" y="4289694"/>
                <a:chExt cx="1729902" cy="1766307"/>
              </a:xfrm>
            </p:grpSpPr>
            <p:sp>
              <p:nvSpPr>
                <p:cNvPr id="226" name="Oval 225"/>
                <p:cNvSpPr/>
                <p:nvPr/>
              </p:nvSpPr>
              <p:spPr bwMode="ltGray">
                <a:xfrm>
                  <a:off x="3679182" y="4289694"/>
                  <a:ext cx="1729902" cy="1766307"/>
                </a:xfrm>
                <a:prstGeom prst="ellipse">
                  <a:avLst/>
                </a:prstGeom>
                <a:solidFill>
                  <a:srgbClr val="9E957A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algn="ctr">
                    <a:defRPr/>
                  </a:pPr>
                  <a:endParaRPr lang="en-US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227" name="TextBox 226"/>
                <p:cNvSpPr txBox="1"/>
                <p:nvPr/>
              </p:nvSpPr>
              <p:spPr>
                <a:xfrm>
                  <a:off x="3936069" y="5261227"/>
                  <a:ext cx="1258557" cy="44980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indent="-246175" algn="ctr"/>
                  <a:r>
                    <a:rPr lang="ru-RU" sz="600" i="1" dirty="0" smtClean="0">
                      <a:solidFill>
                        <a:schemeClr val="bg1"/>
                      </a:solidFill>
                      <a:latin typeface="+mj-lt"/>
                    </a:rPr>
                    <a:t>Кафе, рестораны</a:t>
                  </a:r>
                  <a:endParaRPr lang="ru-RU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225" name="Freeform 4904"/>
              <p:cNvSpPr>
                <a:spLocks noEditPoints="1"/>
              </p:cNvSpPr>
              <p:nvPr/>
            </p:nvSpPr>
            <p:spPr bwMode="auto">
              <a:xfrm>
                <a:off x="2428814" y="5329219"/>
                <a:ext cx="315602" cy="394501"/>
              </a:xfrm>
              <a:custGeom>
                <a:avLst/>
                <a:gdLst>
                  <a:gd name="T0" fmla="*/ 98 w 320"/>
                  <a:gd name="T1" fmla="*/ 140 h 400"/>
                  <a:gd name="T2" fmla="*/ 82 w 320"/>
                  <a:gd name="T3" fmla="*/ 68 h 400"/>
                  <a:gd name="T4" fmla="*/ 110 w 320"/>
                  <a:gd name="T5" fmla="*/ 28 h 400"/>
                  <a:gd name="T6" fmla="*/ 122 w 320"/>
                  <a:gd name="T7" fmla="*/ 36 h 400"/>
                  <a:gd name="T8" fmla="*/ 110 w 320"/>
                  <a:gd name="T9" fmla="*/ 54 h 400"/>
                  <a:gd name="T10" fmla="*/ 102 w 320"/>
                  <a:gd name="T11" fmla="*/ 106 h 400"/>
                  <a:gd name="T12" fmla="*/ 116 w 320"/>
                  <a:gd name="T13" fmla="*/ 134 h 400"/>
                  <a:gd name="T14" fmla="*/ 106 w 320"/>
                  <a:gd name="T15" fmla="*/ 142 h 400"/>
                  <a:gd name="T16" fmla="*/ 148 w 320"/>
                  <a:gd name="T17" fmla="*/ 116 h 400"/>
                  <a:gd name="T18" fmla="*/ 136 w 320"/>
                  <a:gd name="T19" fmla="*/ 90 h 400"/>
                  <a:gd name="T20" fmla="*/ 154 w 320"/>
                  <a:gd name="T21" fmla="*/ 54 h 400"/>
                  <a:gd name="T22" fmla="*/ 154 w 320"/>
                  <a:gd name="T23" fmla="*/ 18 h 400"/>
                  <a:gd name="T24" fmla="*/ 138 w 320"/>
                  <a:gd name="T25" fmla="*/ 0 h 400"/>
                  <a:gd name="T26" fmla="*/ 128 w 320"/>
                  <a:gd name="T27" fmla="*/ 10 h 400"/>
                  <a:gd name="T28" fmla="*/ 138 w 320"/>
                  <a:gd name="T29" fmla="*/ 36 h 400"/>
                  <a:gd name="T30" fmla="*/ 124 w 320"/>
                  <a:gd name="T31" fmla="*/ 64 h 400"/>
                  <a:gd name="T32" fmla="*/ 120 w 320"/>
                  <a:gd name="T33" fmla="*/ 108 h 400"/>
                  <a:gd name="T34" fmla="*/ 138 w 320"/>
                  <a:gd name="T35" fmla="*/ 126 h 400"/>
                  <a:gd name="T36" fmla="*/ 170 w 320"/>
                  <a:gd name="T37" fmla="*/ 146 h 400"/>
                  <a:gd name="T38" fmla="*/ 184 w 320"/>
                  <a:gd name="T39" fmla="*/ 114 h 400"/>
                  <a:gd name="T40" fmla="*/ 170 w 320"/>
                  <a:gd name="T41" fmla="*/ 82 h 400"/>
                  <a:gd name="T42" fmla="*/ 156 w 320"/>
                  <a:gd name="T43" fmla="*/ 82 h 400"/>
                  <a:gd name="T44" fmla="*/ 156 w 320"/>
                  <a:gd name="T45" fmla="*/ 96 h 400"/>
                  <a:gd name="T46" fmla="*/ 162 w 320"/>
                  <a:gd name="T47" fmla="*/ 124 h 400"/>
                  <a:gd name="T48" fmla="*/ 154 w 320"/>
                  <a:gd name="T49" fmla="*/ 142 h 400"/>
                  <a:gd name="T50" fmla="*/ 164 w 320"/>
                  <a:gd name="T51" fmla="*/ 148 h 400"/>
                  <a:gd name="T52" fmla="*/ 16 w 320"/>
                  <a:gd name="T53" fmla="*/ 158 h 400"/>
                  <a:gd name="T54" fmla="*/ 278 w 320"/>
                  <a:gd name="T55" fmla="*/ 196 h 400"/>
                  <a:gd name="T56" fmla="*/ 308 w 320"/>
                  <a:gd name="T57" fmla="*/ 208 h 400"/>
                  <a:gd name="T58" fmla="*/ 320 w 320"/>
                  <a:gd name="T59" fmla="*/ 238 h 400"/>
                  <a:gd name="T60" fmla="*/ 302 w 320"/>
                  <a:gd name="T61" fmla="*/ 272 h 400"/>
                  <a:gd name="T62" fmla="*/ 270 w 320"/>
                  <a:gd name="T63" fmla="*/ 278 h 400"/>
                  <a:gd name="T64" fmla="*/ 242 w 320"/>
                  <a:gd name="T65" fmla="*/ 290 h 400"/>
                  <a:gd name="T66" fmla="*/ 76 w 320"/>
                  <a:gd name="T67" fmla="*/ 336 h 400"/>
                  <a:gd name="T68" fmla="*/ 24 w 320"/>
                  <a:gd name="T69" fmla="*/ 280 h 400"/>
                  <a:gd name="T70" fmla="*/ 258 w 320"/>
                  <a:gd name="T71" fmla="*/ 238 h 400"/>
                  <a:gd name="T72" fmla="*/ 278 w 320"/>
                  <a:gd name="T73" fmla="*/ 260 h 400"/>
                  <a:gd name="T74" fmla="*/ 300 w 320"/>
                  <a:gd name="T75" fmla="*/ 238 h 400"/>
                  <a:gd name="T76" fmla="*/ 278 w 320"/>
                  <a:gd name="T77" fmla="*/ 216 h 400"/>
                  <a:gd name="T78" fmla="*/ 258 w 320"/>
                  <a:gd name="T79" fmla="*/ 238 h 400"/>
                  <a:gd name="T80" fmla="*/ 46 w 320"/>
                  <a:gd name="T81" fmla="*/ 254 h 400"/>
                  <a:gd name="T82" fmla="*/ 74 w 320"/>
                  <a:gd name="T83" fmla="*/ 300 h 400"/>
                  <a:gd name="T84" fmla="*/ 94 w 320"/>
                  <a:gd name="T85" fmla="*/ 308 h 400"/>
                  <a:gd name="T86" fmla="*/ 98 w 320"/>
                  <a:gd name="T87" fmla="*/ 294 h 400"/>
                  <a:gd name="T88" fmla="*/ 66 w 320"/>
                  <a:gd name="T89" fmla="*/ 250 h 400"/>
                  <a:gd name="T90" fmla="*/ 60 w 320"/>
                  <a:gd name="T91" fmla="*/ 194 h 400"/>
                  <a:gd name="T92" fmla="*/ 46 w 320"/>
                  <a:gd name="T93" fmla="*/ 194 h 400"/>
                  <a:gd name="T94" fmla="*/ 0 w 320"/>
                  <a:gd name="T95" fmla="*/ 352 h 400"/>
                  <a:gd name="T96" fmla="*/ 60 w 320"/>
                  <a:gd name="T97" fmla="*/ 388 h 400"/>
                  <a:gd name="T98" fmla="*/ 136 w 320"/>
                  <a:gd name="T99" fmla="*/ 400 h 400"/>
                  <a:gd name="T100" fmla="*/ 228 w 320"/>
                  <a:gd name="T101" fmla="*/ 38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20" h="400">
                    <a:moveTo>
                      <a:pt x="106" y="142"/>
                    </a:moveTo>
                    <a:lnTo>
                      <a:pt x="106" y="142"/>
                    </a:lnTo>
                    <a:lnTo>
                      <a:pt x="102" y="142"/>
                    </a:lnTo>
                    <a:lnTo>
                      <a:pt x="98" y="140"/>
                    </a:lnTo>
                    <a:lnTo>
                      <a:pt x="98" y="140"/>
                    </a:lnTo>
                    <a:lnTo>
                      <a:pt x="88" y="126"/>
                    </a:lnTo>
                    <a:lnTo>
                      <a:pt x="82" y="112"/>
                    </a:lnTo>
                    <a:lnTo>
                      <a:pt x="80" y="98"/>
                    </a:lnTo>
                    <a:lnTo>
                      <a:pt x="80" y="84"/>
                    </a:lnTo>
                    <a:lnTo>
                      <a:pt x="82" y="68"/>
                    </a:lnTo>
                    <a:lnTo>
                      <a:pt x="86" y="54"/>
                    </a:lnTo>
                    <a:lnTo>
                      <a:pt x="94" y="42"/>
                    </a:lnTo>
                    <a:lnTo>
                      <a:pt x="106" y="30"/>
                    </a:lnTo>
                    <a:lnTo>
                      <a:pt x="106" y="30"/>
                    </a:lnTo>
                    <a:lnTo>
                      <a:pt x="110" y="28"/>
                    </a:lnTo>
                    <a:lnTo>
                      <a:pt x="112" y="28"/>
                    </a:lnTo>
                    <a:lnTo>
                      <a:pt x="116" y="30"/>
                    </a:lnTo>
                    <a:lnTo>
                      <a:pt x="120" y="32"/>
                    </a:lnTo>
                    <a:lnTo>
                      <a:pt x="120" y="32"/>
                    </a:lnTo>
                    <a:lnTo>
                      <a:pt x="122" y="36"/>
                    </a:lnTo>
                    <a:lnTo>
                      <a:pt x="122" y="38"/>
                    </a:lnTo>
                    <a:lnTo>
                      <a:pt x="122" y="42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10" y="54"/>
                    </a:lnTo>
                    <a:lnTo>
                      <a:pt x="104" y="64"/>
                    </a:lnTo>
                    <a:lnTo>
                      <a:pt x="100" y="74"/>
                    </a:lnTo>
                    <a:lnTo>
                      <a:pt x="100" y="84"/>
                    </a:lnTo>
                    <a:lnTo>
                      <a:pt x="100" y="96"/>
                    </a:lnTo>
                    <a:lnTo>
                      <a:pt x="102" y="106"/>
                    </a:lnTo>
                    <a:lnTo>
                      <a:pt x="106" y="116"/>
                    </a:lnTo>
                    <a:lnTo>
                      <a:pt x="112" y="126"/>
                    </a:lnTo>
                    <a:lnTo>
                      <a:pt x="112" y="126"/>
                    </a:lnTo>
                    <a:lnTo>
                      <a:pt x="114" y="130"/>
                    </a:lnTo>
                    <a:lnTo>
                      <a:pt x="116" y="134"/>
                    </a:lnTo>
                    <a:lnTo>
                      <a:pt x="114" y="138"/>
                    </a:lnTo>
                    <a:lnTo>
                      <a:pt x="112" y="140"/>
                    </a:lnTo>
                    <a:lnTo>
                      <a:pt x="112" y="140"/>
                    </a:lnTo>
                    <a:lnTo>
                      <a:pt x="108" y="142"/>
                    </a:lnTo>
                    <a:lnTo>
                      <a:pt x="106" y="142"/>
                    </a:lnTo>
                    <a:lnTo>
                      <a:pt x="106" y="142"/>
                    </a:lnTo>
                    <a:close/>
                    <a:moveTo>
                      <a:pt x="144" y="124"/>
                    </a:moveTo>
                    <a:lnTo>
                      <a:pt x="144" y="124"/>
                    </a:lnTo>
                    <a:lnTo>
                      <a:pt x="146" y="120"/>
                    </a:lnTo>
                    <a:lnTo>
                      <a:pt x="148" y="116"/>
                    </a:lnTo>
                    <a:lnTo>
                      <a:pt x="146" y="112"/>
                    </a:lnTo>
                    <a:lnTo>
                      <a:pt x="144" y="108"/>
                    </a:lnTo>
                    <a:lnTo>
                      <a:pt x="144" y="108"/>
                    </a:lnTo>
                    <a:lnTo>
                      <a:pt x="138" y="100"/>
                    </a:lnTo>
                    <a:lnTo>
                      <a:pt x="136" y="90"/>
                    </a:lnTo>
                    <a:lnTo>
                      <a:pt x="138" y="80"/>
                    </a:lnTo>
                    <a:lnTo>
                      <a:pt x="144" y="70"/>
                    </a:lnTo>
                    <a:lnTo>
                      <a:pt x="144" y="70"/>
                    </a:lnTo>
                    <a:lnTo>
                      <a:pt x="150" y="62"/>
                    </a:lnTo>
                    <a:lnTo>
                      <a:pt x="154" y="54"/>
                    </a:lnTo>
                    <a:lnTo>
                      <a:pt x="158" y="46"/>
                    </a:lnTo>
                    <a:lnTo>
                      <a:pt x="158" y="36"/>
                    </a:lnTo>
                    <a:lnTo>
                      <a:pt x="158" y="36"/>
                    </a:lnTo>
                    <a:lnTo>
                      <a:pt x="158" y="26"/>
                    </a:lnTo>
                    <a:lnTo>
                      <a:pt x="154" y="18"/>
                    </a:lnTo>
                    <a:lnTo>
                      <a:pt x="150" y="10"/>
                    </a:lnTo>
                    <a:lnTo>
                      <a:pt x="144" y="2"/>
                    </a:lnTo>
                    <a:lnTo>
                      <a:pt x="144" y="2"/>
                    </a:lnTo>
                    <a:lnTo>
                      <a:pt x="142" y="0"/>
                    </a:lnTo>
                    <a:lnTo>
                      <a:pt x="138" y="0"/>
                    </a:lnTo>
                    <a:lnTo>
                      <a:pt x="134" y="0"/>
                    </a:lnTo>
                    <a:lnTo>
                      <a:pt x="130" y="2"/>
                    </a:lnTo>
                    <a:lnTo>
                      <a:pt x="130" y="2"/>
                    </a:lnTo>
                    <a:lnTo>
                      <a:pt x="128" y="6"/>
                    </a:lnTo>
                    <a:lnTo>
                      <a:pt x="128" y="10"/>
                    </a:lnTo>
                    <a:lnTo>
                      <a:pt x="128" y="14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6" y="26"/>
                    </a:lnTo>
                    <a:lnTo>
                      <a:pt x="138" y="36"/>
                    </a:lnTo>
                    <a:lnTo>
                      <a:pt x="138" y="36"/>
                    </a:lnTo>
                    <a:lnTo>
                      <a:pt x="136" y="4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24" y="64"/>
                    </a:lnTo>
                    <a:lnTo>
                      <a:pt x="120" y="72"/>
                    </a:lnTo>
                    <a:lnTo>
                      <a:pt x="118" y="80"/>
                    </a:lnTo>
                    <a:lnTo>
                      <a:pt x="116" y="90"/>
                    </a:lnTo>
                    <a:lnTo>
                      <a:pt x="118" y="98"/>
                    </a:lnTo>
                    <a:lnTo>
                      <a:pt x="120" y="108"/>
                    </a:lnTo>
                    <a:lnTo>
                      <a:pt x="124" y="116"/>
                    </a:lnTo>
                    <a:lnTo>
                      <a:pt x="130" y="124"/>
                    </a:lnTo>
                    <a:lnTo>
                      <a:pt x="130" y="124"/>
                    </a:lnTo>
                    <a:lnTo>
                      <a:pt x="134" y="126"/>
                    </a:lnTo>
                    <a:lnTo>
                      <a:pt x="138" y="126"/>
                    </a:lnTo>
                    <a:lnTo>
                      <a:pt x="138" y="126"/>
                    </a:lnTo>
                    <a:lnTo>
                      <a:pt x="142" y="126"/>
                    </a:lnTo>
                    <a:lnTo>
                      <a:pt x="144" y="124"/>
                    </a:lnTo>
                    <a:lnTo>
                      <a:pt x="144" y="124"/>
                    </a:lnTo>
                    <a:close/>
                    <a:moveTo>
                      <a:pt x="170" y="146"/>
                    </a:moveTo>
                    <a:lnTo>
                      <a:pt x="170" y="146"/>
                    </a:lnTo>
                    <a:lnTo>
                      <a:pt x="176" y="138"/>
                    </a:lnTo>
                    <a:lnTo>
                      <a:pt x="180" y="132"/>
                    </a:lnTo>
                    <a:lnTo>
                      <a:pt x="182" y="122"/>
                    </a:lnTo>
                    <a:lnTo>
                      <a:pt x="184" y="114"/>
                    </a:lnTo>
                    <a:lnTo>
                      <a:pt x="184" y="114"/>
                    </a:lnTo>
                    <a:lnTo>
                      <a:pt x="182" y="104"/>
                    </a:lnTo>
                    <a:lnTo>
                      <a:pt x="180" y="96"/>
                    </a:lnTo>
                    <a:lnTo>
                      <a:pt x="176" y="88"/>
                    </a:lnTo>
                    <a:lnTo>
                      <a:pt x="170" y="82"/>
                    </a:lnTo>
                    <a:lnTo>
                      <a:pt x="170" y="82"/>
                    </a:lnTo>
                    <a:lnTo>
                      <a:pt x="168" y="80"/>
                    </a:lnTo>
                    <a:lnTo>
                      <a:pt x="164" y="78"/>
                    </a:lnTo>
                    <a:lnTo>
                      <a:pt x="160" y="80"/>
                    </a:lnTo>
                    <a:lnTo>
                      <a:pt x="156" y="82"/>
                    </a:lnTo>
                    <a:lnTo>
                      <a:pt x="156" y="82"/>
                    </a:lnTo>
                    <a:lnTo>
                      <a:pt x="154" y="86"/>
                    </a:lnTo>
                    <a:lnTo>
                      <a:pt x="154" y="88"/>
                    </a:lnTo>
                    <a:lnTo>
                      <a:pt x="154" y="92"/>
                    </a:lnTo>
                    <a:lnTo>
                      <a:pt x="156" y="96"/>
                    </a:lnTo>
                    <a:lnTo>
                      <a:pt x="156" y="96"/>
                    </a:lnTo>
                    <a:lnTo>
                      <a:pt x="162" y="104"/>
                    </a:lnTo>
                    <a:lnTo>
                      <a:pt x="164" y="114"/>
                    </a:lnTo>
                    <a:lnTo>
                      <a:pt x="164" y="114"/>
                    </a:lnTo>
                    <a:lnTo>
                      <a:pt x="162" y="124"/>
                    </a:lnTo>
                    <a:lnTo>
                      <a:pt x="156" y="132"/>
                    </a:lnTo>
                    <a:lnTo>
                      <a:pt x="156" y="132"/>
                    </a:lnTo>
                    <a:lnTo>
                      <a:pt x="154" y="134"/>
                    </a:lnTo>
                    <a:lnTo>
                      <a:pt x="154" y="138"/>
                    </a:lnTo>
                    <a:lnTo>
                      <a:pt x="154" y="142"/>
                    </a:lnTo>
                    <a:lnTo>
                      <a:pt x="156" y="146"/>
                    </a:lnTo>
                    <a:lnTo>
                      <a:pt x="156" y="146"/>
                    </a:lnTo>
                    <a:lnTo>
                      <a:pt x="160" y="148"/>
                    </a:lnTo>
                    <a:lnTo>
                      <a:pt x="164" y="148"/>
                    </a:lnTo>
                    <a:lnTo>
                      <a:pt x="164" y="148"/>
                    </a:lnTo>
                    <a:lnTo>
                      <a:pt x="168" y="148"/>
                    </a:lnTo>
                    <a:lnTo>
                      <a:pt x="170" y="146"/>
                    </a:lnTo>
                    <a:lnTo>
                      <a:pt x="170" y="146"/>
                    </a:lnTo>
                    <a:close/>
                    <a:moveTo>
                      <a:pt x="16" y="232"/>
                    </a:moveTo>
                    <a:lnTo>
                      <a:pt x="16" y="158"/>
                    </a:lnTo>
                    <a:lnTo>
                      <a:pt x="258" y="158"/>
                    </a:lnTo>
                    <a:lnTo>
                      <a:pt x="258" y="202"/>
                    </a:lnTo>
                    <a:lnTo>
                      <a:pt x="258" y="202"/>
                    </a:lnTo>
                    <a:lnTo>
                      <a:pt x="268" y="198"/>
                    </a:lnTo>
                    <a:lnTo>
                      <a:pt x="278" y="196"/>
                    </a:lnTo>
                    <a:lnTo>
                      <a:pt x="278" y="196"/>
                    </a:lnTo>
                    <a:lnTo>
                      <a:pt x="286" y="198"/>
                    </a:lnTo>
                    <a:lnTo>
                      <a:pt x="294" y="200"/>
                    </a:lnTo>
                    <a:lnTo>
                      <a:pt x="302" y="204"/>
                    </a:lnTo>
                    <a:lnTo>
                      <a:pt x="308" y="208"/>
                    </a:lnTo>
                    <a:lnTo>
                      <a:pt x="312" y="214"/>
                    </a:lnTo>
                    <a:lnTo>
                      <a:pt x="316" y="222"/>
                    </a:lnTo>
                    <a:lnTo>
                      <a:pt x="318" y="230"/>
                    </a:lnTo>
                    <a:lnTo>
                      <a:pt x="320" y="238"/>
                    </a:lnTo>
                    <a:lnTo>
                      <a:pt x="320" y="238"/>
                    </a:lnTo>
                    <a:lnTo>
                      <a:pt x="318" y="246"/>
                    </a:lnTo>
                    <a:lnTo>
                      <a:pt x="316" y="254"/>
                    </a:lnTo>
                    <a:lnTo>
                      <a:pt x="312" y="260"/>
                    </a:lnTo>
                    <a:lnTo>
                      <a:pt x="308" y="266"/>
                    </a:lnTo>
                    <a:lnTo>
                      <a:pt x="302" y="272"/>
                    </a:lnTo>
                    <a:lnTo>
                      <a:pt x="294" y="276"/>
                    </a:lnTo>
                    <a:lnTo>
                      <a:pt x="286" y="278"/>
                    </a:lnTo>
                    <a:lnTo>
                      <a:pt x="278" y="280"/>
                    </a:lnTo>
                    <a:lnTo>
                      <a:pt x="278" y="280"/>
                    </a:lnTo>
                    <a:lnTo>
                      <a:pt x="270" y="278"/>
                    </a:lnTo>
                    <a:lnTo>
                      <a:pt x="264" y="276"/>
                    </a:lnTo>
                    <a:lnTo>
                      <a:pt x="258" y="274"/>
                    </a:lnTo>
                    <a:lnTo>
                      <a:pt x="252" y="268"/>
                    </a:lnTo>
                    <a:lnTo>
                      <a:pt x="252" y="268"/>
                    </a:lnTo>
                    <a:lnTo>
                      <a:pt x="242" y="290"/>
                    </a:lnTo>
                    <a:lnTo>
                      <a:pt x="230" y="308"/>
                    </a:lnTo>
                    <a:lnTo>
                      <a:pt x="214" y="324"/>
                    </a:lnTo>
                    <a:lnTo>
                      <a:pt x="196" y="336"/>
                    </a:lnTo>
                    <a:lnTo>
                      <a:pt x="76" y="336"/>
                    </a:lnTo>
                    <a:lnTo>
                      <a:pt x="76" y="336"/>
                    </a:lnTo>
                    <a:lnTo>
                      <a:pt x="64" y="328"/>
                    </a:lnTo>
                    <a:lnTo>
                      <a:pt x="52" y="318"/>
                    </a:lnTo>
                    <a:lnTo>
                      <a:pt x="40" y="306"/>
                    </a:lnTo>
                    <a:lnTo>
                      <a:pt x="32" y="294"/>
                    </a:lnTo>
                    <a:lnTo>
                      <a:pt x="24" y="280"/>
                    </a:lnTo>
                    <a:lnTo>
                      <a:pt x="20" y="264"/>
                    </a:lnTo>
                    <a:lnTo>
                      <a:pt x="16" y="248"/>
                    </a:lnTo>
                    <a:lnTo>
                      <a:pt x="16" y="232"/>
                    </a:lnTo>
                    <a:lnTo>
                      <a:pt x="16" y="232"/>
                    </a:lnTo>
                    <a:close/>
                    <a:moveTo>
                      <a:pt x="258" y="238"/>
                    </a:moveTo>
                    <a:lnTo>
                      <a:pt x="258" y="238"/>
                    </a:lnTo>
                    <a:lnTo>
                      <a:pt x="258" y="246"/>
                    </a:lnTo>
                    <a:lnTo>
                      <a:pt x="264" y="252"/>
                    </a:lnTo>
                    <a:lnTo>
                      <a:pt x="270" y="258"/>
                    </a:lnTo>
                    <a:lnTo>
                      <a:pt x="278" y="260"/>
                    </a:lnTo>
                    <a:lnTo>
                      <a:pt x="278" y="260"/>
                    </a:lnTo>
                    <a:lnTo>
                      <a:pt x="286" y="258"/>
                    </a:lnTo>
                    <a:lnTo>
                      <a:pt x="294" y="252"/>
                    </a:lnTo>
                    <a:lnTo>
                      <a:pt x="298" y="246"/>
                    </a:lnTo>
                    <a:lnTo>
                      <a:pt x="300" y="238"/>
                    </a:lnTo>
                    <a:lnTo>
                      <a:pt x="300" y="238"/>
                    </a:lnTo>
                    <a:lnTo>
                      <a:pt x="298" y="230"/>
                    </a:lnTo>
                    <a:lnTo>
                      <a:pt x="294" y="222"/>
                    </a:lnTo>
                    <a:lnTo>
                      <a:pt x="286" y="218"/>
                    </a:lnTo>
                    <a:lnTo>
                      <a:pt x="278" y="216"/>
                    </a:lnTo>
                    <a:lnTo>
                      <a:pt x="278" y="216"/>
                    </a:lnTo>
                    <a:lnTo>
                      <a:pt x="270" y="218"/>
                    </a:lnTo>
                    <a:lnTo>
                      <a:pt x="264" y="222"/>
                    </a:lnTo>
                    <a:lnTo>
                      <a:pt x="258" y="230"/>
                    </a:lnTo>
                    <a:lnTo>
                      <a:pt x="258" y="238"/>
                    </a:lnTo>
                    <a:lnTo>
                      <a:pt x="258" y="238"/>
                    </a:lnTo>
                    <a:close/>
                    <a:moveTo>
                      <a:pt x="44" y="232"/>
                    </a:moveTo>
                    <a:lnTo>
                      <a:pt x="44" y="232"/>
                    </a:lnTo>
                    <a:lnTo>
                      <a:pt x="44" y="242"/>
                    </a:lnTo>
                    <a:lnTo>
                      <a:pt x="46" y="254"/>
                    </a:lnTo>
                    <a:lnTo>
                      <a:pt x="50" y="264"/>
                    </a:lnTo>
                    <a:lnTo>
                      <a:pt x="54" y="274"/>
                    </a:lnTo>
                    <a:lnTo>
                      <a:pt x="60" y="284"/>
                    </a:lnTo>
                    <a:lnTo>
                      <a:pt x="66" y="292"/>
                    </a:lnTo>
                    <a:lnTo>
                      <a:pt x="74" y="300"/>
                    </a:lnTo>
                    <a:lnTo>
                      <a:pt x="84" y="308"/>
                    </a:lnTo>
                    <a:lnTo>
                      <a:pt x="84" y="308"/>
                    </a:lnTo>
                    <a:lnTo>
                      <a:pt x="88" y="310"/>
                    </a:lnTo>
                    <a:lnTo>
                      <a:pt x="88" y="310"/>
                    </a:lnTo>
                    <a:lnTo>
                      <a:pt x="94" y="308"/>
                    </a:lnTo>
                    <a:lnTo>
                      <a:pt x="98" y="306"/>
                    </a:lnTo>
                    <a:lnTo>
                      <a:pt x="98" y="306"/>
                    </a:lnTo>
                    <a:lnTo>
                      <a:pt x="98" y="302"/>
                    </a:lnTo>
                    <a:lnTo>
                      <a:pt x="98" y="298"/>
                    </a:lnTo>
                    <a:lnTo>
                      <a:pt x="98" y="294"/>
                    </a:lnTo>
                    <a:lnTo>
                      <a:pt x="94" y="292"/>
                    </a:lnTo>
                    <a:lnTo>
                      <a:pt x="94" y="292"/>
                    </a:lnTo>
                    <a:lnTo>
                      <a:pt x="82" y="280"/>
                    </a:lnTo>
                    <a:lnTo>
                      <a:pt x="72" y="266"/>
                    </a:lnTo>
                    <a:lnTo>
                      <a:pt x="66" y="250"/>
                    </a:lnTo>
                    <a:lnTo>
                      <a:pt x="64" y="232"/>
                    </a:lnTo>
                    <a:lnTo>
                      <a:pt x="64" y="202"/>
                    </a:lnTo>
                    <a:lnTo>
                      <a:pt x="64" y="202"/>
                    </a:lnTo>
                    <a:lnTo>
                      <a:pt x="62" y="198"/>
                    </a:lnTo>
                    <a:lnTo>
                      <a:pt x="60" y="194"/>
                    </a:lnTo>
                    <a:lnTo>
                      <a:pt x="58" y="192"/>
                    </a:lnTo>
                    <a:lnTo>
                      <a:pt x="54" y="192"/>
                    </a:lnTo>
                    <a:lnTo>
                      <a:pt x="54" y="192"/>
                    </a:lnTo>
                    <a:lnTo>
                      <a:pt x="50" y="192"/>
                    </a:lnTo>
                    <a:lnTo>
                      <a:pt x="46" y="194"/>
                    </a:lnTo>
                    <a:lnTo>
                      <a:pt x="44" y="198"/>
                    </a:lnTo>
                    <a:lnTo>
                      <a:pt x="44" y="202"/>
                    </a:lnTo>
                    <a:lnTo>
                      <a:pt x="44" y="232"/>
                    </a:lnTo>
                    <a:close/>
                    <a:moveTo>
                      <a:pt x="272" y="352"/>
                    </a:moveTo>
                    <a:lnTo>
                      <a:pt x="0" y="352"/>
                    </a:lnTo>
                    <a:lnTo>
                      <a:pt x="0" y="352"/>
                    </a:lnTo>
                    <a:lnTo>
                      <a:pt x="14" y="364"/>
                    </a:lnTo>
                    <a:lnTo>
                      <a:pt x="28" y="372"/>
                    </a:lnTo>
                    <a:lnTo>
                      <a:pt x="44" y="380"/>
                    </a:lnTo>
                    <a:lnTo>
                      <a:pt x="60" y="388"/>
                    </a:lnTo>
                    <a:lnTo>
                      <a:pt x="78" y="394"/>
                    </a:lnTo>
                    <a:lnTo>
                      <a:pt x="96" y="398"/>
                    </a:lnTo>
                    <a:lnTo>
                      <a:pt x="116" y="400"/>
                    </a:lnTo>
                    <a:lnTo>
                      <a:pt x="136" y="400"/>
                    </a:lnTo>
                    <a:lnTo>
                      <a:pt x="136" y="400"/>
                    </a:lnTo>
                    <a:lnTo>
                      <a:pt x="156" y="400"/>
                    </a:lnTo>
                    <a:lnTo>
                      <a:pt x="176" y="398"/>
                    </a:lnTo>
                    <a:lnTo>
                      <a:pt x="194" y="394"/>
                    </a:lnTo>
                    <a:lnTo>
                      <a:pt x="212" y="388"/>
                    </a:lnTo>
                    <a:lnTo>
                      <a:pt x="228" y="380"/>
                    </a:lnTo>
                    <a:lnTo>
                      <a:pt x="244" y="372"/>
                    </a:lnTo>
                    <a:lnTo>
                      <a:pt x="258" y="364"/>
                    </a:lnTo>
                    <a:lnTo>
                      <a:pt x="272" y="35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86" name="Group 185"/>
            <p:cNvGrpSpPr/>
            <p:nvPr/>
          </p:nvGrpSpPr>
          <p:grpSpPr>
            <a:xfrm>
              <a:off x="2505108" y="4075319"/>
              <a:ext cx="720000" cy="720000"/>
              <a:chOff x="1144101" y="2467352"/>
              <a:chExt cx="850714" cy="859989"/>
            </a:xfrm>
          </p:grpSpPr>
          <p:grpSp>
            <p:nvGrpSpPr>
              <p:cNvPr id="220" name="Group 85"/>
              <p:cNvGrpSpPr>
                <a:grpSpLocks/>
              </p:cNvGrpSpPr>
              <p:nvPr/>
            </p:nvGrpSpPr>
            <p:grpSpPr>
              <a:xfrm>
                <a:off x="1144101" y="2467352"/>
                <a:ext cx="850714" cy="859989"/>
                <a:chOff x="1525954" y="3850276"/>
                <a:chExt cx="1448348" cy="1512743"/>
              </a:xfrm>
            </p:grpSpPr>
            <p:sp>
              <p:nvSpPr>
                <p:cNvPr id="222" name="Oval 221"/>
                <p:cNvSpPr/>
                <p:nvPr/>
              </p:nvSpPr>
              <p:spPr bwMode="ltGray">
                <a:xfrm>
                  <a:off x="1525954" y="3850276"/>
                  <a:ext cx="1448348" cy="1512743"/>
                </a:xfrm>
                <a:prstGeom prst="ellipse">
                  <a:avLst/>
                </a:prstGeom>
                <a:solidFill>
                  <a:srgbClr val="A7A49B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algn="ctr">
                    <a:defRPr/>
                  </a:pPr>
                  <a:endParaRPr lang="en-US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223" name="TextBox 222"/>
                <p:cNvSpPr txBox="1"/>
                <p:nvPr/>
              </p:nvSpPr>
              <p:spPr>
                <a:xfrm>
                  <a:off x="1697684" y="4659967"/>
                  <a:ext cx="1104890" cy="40449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indent="-246175" algn="ctr"/>
                  <a:r>
                    <a:rPr lang="ru-RU" sz="600" i="1" dirty="0" smtClean="0">
                      <a:solidFill>
                        <a:schemeClr val="bg1"/>
                      </a:solidFill>
                      <a:latin typeface="+mj-lt"/>
                    </a:rPr>
                    <a:t>Офисные здания</a:t>
                  </a:r>
                  <a:endParaRPr lang="ru-RU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221" name="Freeform 4919"/>
              <p:cNvSpPr>
                <a:spLocks noEditPoints="1"/>
              </p:cNvSpPr>
              <p:nvPr/>
            </p:nvSpPr>
            <p:spPr bwMode="auto">
              <a:xfrm>
                <a:off x="1459003" y="2553429"/>
                <a:ext cx="220910" cy="337180"/>
              </a:xfrm>
              <a:custGeom>
                <a:avLst/>
                <a:gdLst>
                  <a:gd name="T0" fmla="*/ 150 w 248"/>
                  <a:gd name="T1" fmla="*/ 30 h 390"/>
                  <a:gd name="T2" fmla="*/ 160 w 248"/>
                  <a:gd name="T3" fmla="*/ 12 h 390"/>
                  <a:gd name="T4" fmla="*/ 178 w 248"/>
                  <a:gd name="T5" fmla="*/ 2 h 390"/>
                  <a:gd name="T6" fmla="*/ 192 w 248"/>
                  <a:gd name="T7" fmla="*/ 2 h 390"/>
                  <a:gd name="T8" fmla="*/ 212 w 248"/>
                  <a:gd name="T9" fmla="*/ 12 h 390"/>
                  <a:gd name="T10" fmla="*/ 222 w 248"/>
                  <a:gd name="T11" fmla="*/ 30 h 390"/>
                  <a:gd name="T12" fmla="*/ 222 w 248"/>
                  <a:gd name="T13" fmla="*/ 44 h 390"/>
                  <a:gd name="T14" fmla="*/ 212 w 248"/>
                  <a:gd name="T15" fmla="*/ 64 h 390"/>
                  <a:gd name="T16" fmla="*/ 192 w 248"/>
                  <a:gd name="T17" fmla="*/ 74 h 390"/>
                  <a:gd name="T18" fmla="*/ 178 w 248"/>
                  <a:gd name="T19" fmla="*/ 74 h 390"/>
                  <a:gd name="T20" fmla="*/ 160 w 248"/>
                  <a:gd name="T21" fmla="*/ 64 h 390"/>
                  <a:gd name="T22" fmla="*/ 150 w 248"/>
                  <a:gd name="T23" fmla="*/ 44 h 390"/>
                  <a:gd name="T24" fmla="*/ 248 w 248"/>
                  <a:gd name="T25" fmla="*/ 120 h 390"/>
                  <a:gd name="T26" fmla="*/ 242 w 248"/>
                  <a:gd name="T27" fmla="*/ 100 h 390"/>
                  <a:gd name="T28" fmla="*/ 232 w 248"/>
                  <a:gd name="T29" fmla="*/ 90 h 390"/>
                  <a:gd name="T30" fmla="*/ 210 w 248"/>
                  <a:gd name="T31" fmla="*/ 84 h 390"/>
                  <a:gd name="T32" fmla="*/ 194 w 248"/>
                  <a:gd name="T33" fmla="*/ 88 h 390"/>
                  <a:gd name="T34" fmla="*/ 182 w 248"/>
                  <a:gd name="T35" fmla="*/ 98 h 390"/>
                  <a:gd name="T36" fmla="*/ 182 w 248"/>
                  <a:gd name="T37" fmla="*/ 98 h 390"/>
                  <a:gd name="T38" fmla="*/ 84 w 248"/>
                  <a:gd name="T39" fmla="*/ 156 h 390"/>
                  <a:gd name="T40" fmla="*/ 74 w 248"/>
                  <a:gd name="T41" fmla="*/ 160 h 390"/>
                  <a:gd name="T42" fmla="*/ 70 w 248"/>
                  <a:gd name="T43" fmla="*/ 170 h 390"/>
                  <a:gd name="T44" fmla="*/ 80 w 248"/>
                  <a:gd name="T45" fmla="*/ 184 h 390"/>
                  <a:gd name="T46" fmla="*/ 146 w 248"/>
                  <a:gd name="T47" fmla="*/ 186 h 390"/>
                  <a:gd name="T48" fmla="*/ 172 w 248"/>
                  <a:gd name="T49" fmla="*/ 160 h 390"/>
                  <a:gd name="T50" fmla="*/ 138 w 248"/>
                  <a:gd name="T51" fmla="*/ 222 h 390"/>
                  <a:gd name="T52" fmla="*/ 146 w 248"/>
                  <a:gd name="T53" fmla="*/ 212 h 390"/>
                  <a:gd name="T54" fmla="*/ 142 w 248"/>
                  <a:gd name="T55" fmla="*/ 204 h 390"/>
                  <a:gd name="T56" fmla="*/ 50 w 248"/>
                  <a:gd name="T57" fmla="*/ 202 h 390"/>
                  <a:gd name="T58" fmla="*/ 42 w 248"/>
                  <a:gd name="T59" fmla="*/ 204 h 390"/>
                  <a:gd name="T60" fmla="*/ 38 w 248"/>
                  <a:gd name="T61" fmla="*/ 212 h 390"/>
                  <a:gd name="T62" fmla="*/ 46 w 248"/>
                  <a:gd name="T63" fmla="*/ 222 h 390"/>
                  <a:gd name="T64" fmla="*/ 104 w 248"/>
                  <a:gd name="T65" fmla="*/ 224 h 390"/>
                  <a:gd name="T66" fmla="*/ 98 w 248"/>
                  <a:gd name="T67" fmla="*/ 226 h 390"/>
                  <a:gd name="T68" fmla="*/ 94 w 248"/>
                  <a:gd name="T69" fmla="*/ 228 h 390"/>
                  <a:gd name="T70" fmla="*/ 0 w 248"/>
                  <a:gd name="T71" fmla="*/ 324 h 390"/>
                  <a:gd name="T72" fmla="*/ 6 w 248"/>
                  <a:gd name="T73" fmla="*/ 344 h 390"/>
                  <a:gd name="T74" fmla="*/ 20 w 248"/>
                  <a:gd name="T75" fmla="*/ 350 h 390"/>
                  <a:gd name="T76" fmla="*/ 88 w 248"/>
                  <a:gd name="T77" fmla="*/ 290 h 390"/>
                  <a:gd name="T78" fmla="*/ 90 w 248"/>
                  <a:gd name="T79" fmla="*/ 378 h 390"/>
                  <a:gd name="T80" fmla="*/ 108 w 248"/>
                  <a:gd name="T81" fmla="*/ 390 h 390"/>
                  <a:gd name="T82" fmla="*/ 116 w 248"/>
                  <a:gd name="T83" fmla="*/ 388 h 390"/>
                  <a:gd name="T84" fmla="*/ 128 w 248"/>
                  <a:gd name="T85" fmla="*/ 370 h 390"/>
                  <a:gd name="T86" fmla="*/ 216 w 248"/>
                  <a:gd name="T87" fmla="*/ 284 h 390"/>
                  <a:gd name="T88" fmla="*/ 236 w 248"/>
                  <a:gd name="T89" fmla="*/ 282 h 390"/>
                  <a:gd name="T90" fmla="*/ 248 w 248"/>
                  <a:gd name="T91" fmla="*/ 264 h 390"/>
                  <a:gd name="T92" fmla="*/ 248 w 248"/>
                  <a:gd name="T93" fmla="*/ 120 h 390"/>
                  <a:gd name="T94" fmla="*/ 28 w 248"/>
                  <a:gd name="T95" fmla="*/ 202 h 390"/>
                  <a:gd name="T96" fmla="*/ 36 w 248"/>
                  <a:gd name="T97" fmla="*/ 208 h 390"/>
                  <a:gd name="T98" fmla="*/ 42 w 248"/>
                  <a:gd name="T99" fmla="*/ 206 h 390"/>
                  <a:gd name="T100" fmla="*/ 44 w 248"/>
                  <a:gd name="T101" fmla="*/ 196 h 390"/>
                  <a:gd name="T102" fmla="*/ 16 w 248"/>
                  <a:gd name="T103" fmla="*/ 118 h 390"/>
                  <a:gd name="T104" fmla="*/ 8 w 248"/>
                  <a:gd name="T105" fmla="*/ 116 h 390"/>
                  <a:gd name="T106" fmla="*/ 2 w 248"/>
                  <a:gd name="T107" fmla="*/ 120 h 390"/>
                  <a:gd name="T108" fmla="*/ 28 w 248"/>
                  <a:gd name="T109" fmla="*/ 202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48" h="390">
                    <a:moveTo>
                      <a:pt x="148" y="38"/>
                    </a:moveTo>
                    <a:lnTo>
                      <a:pt x="148" y="38"/>
                    </a:lnTo>
                    <a:lnTo>
                      <a:pt x="150" y="30"/>
                    </a:lnTo>
                    <a:lnTo>
                      <a:pt x="152" y="22"/>
                    </a:lnTo>
                    <a:lnTo>
                      <a:pt x="154" y="16"/>
                    </a:lnTo>
                    <a:lnTo>
                      <a:pt x="160" y="12"/>
                    </a:lnTo>
                    <a:lnTo>
                      <a:pt x="164" y="6"/>
                    </a:lnTo>
                    <a:lnTo>
                      <a:pt x="172" y="4"/>
                    </a:lnTo>
                    <a:lnTo>
                      <a:pt x="178" y="2"/>
                    </a:lnTo>
                    <a:lnTo>
                      <a:pt x="186" y="0"/>
                    </a:lnTo>
                    <a:lnTo>
                      <a:pt x="186" y="0"/>
                    </a:lnTo>
                    <a:lnTo>
                      <a:pt x="192" y="2"/>
                    </a:lnTo>
                    <a:lnTo>
                      <a:pt x="200" y="4"/>
                    </a:lnTo>
                    <a:lnTo>
                      <a:pt x="206" y="6"/>
                    </a:lnTo>
                    <a:lnTo>
                      <a:pt x="212" y="12"/>
                    </a:lnTo>
                    <a:lnTo>
                      <a:pt x="216" y="16"/>
                    </a:lnTo>
                    <a:lnTo>
                      <a:pt x="220" y="22"/>
                    </a:lnTo>
                    <a:lnTo>
                      <a:pt x="222" y="30"/>
                    </a:lnTo>
                    <a:lnTo>
                      <a:pt x="222" y="38"/>
                    </a:lnTo>
                    <a:lnTo>
                      <a:pt x="222" y="38"/>
                    </a:lnTo>
                    <a:lnTo>
                      <a:pt x="222" y="44"/>
                    </a:lnTo>
                    <a:lnTo>
                      <a:pt x="220" y="52"/>
                    </a:lnTo>
                    <a:lnTo>
                      <a:pt x="216" y="58"/>
                    </a:lnTo>
                    <a:lnTo>
                      <a:pt x="212" y="64"/>
                    </a:lnTo>
                    <a:lnTo>
                      <a:pt x="206" y="68"/>
                    </a:lnTo>
                    <a:lnTo>
                      <a:pt x="200" y="72"/>
                    </a:lnTo>
                    <a:lnTo>
                      <a:pt x="192" y="74"/>
                    </a:lnTo>
                    <a:lnTo>
                      <a:pt x="186" y="74"/>
                    </a:lnTo>
                    <a:lnTo>
                      <a:pt x="186" y="74"/>
                    </a:lnTo>
                    <a:lnTo>
                      <a:pt x="178" y="74"/>
                    </a:lnTo>
                    <a:lnTo>
                      <a:pt x="172" y="72"/>
                    </a:lnTo>
                    <a:lnTo>
                      <a:pt x="164" y="68"/>
                    </a:lnTo>
                    <a:lnTo>
                      <a:pt x="160" y="64"/>
                    </a:lnTo>
                    <a:lnTo>
                      <a:pt x="154" y="58"/>
                    </a:lnTo>
                    <a:lnTo>
                      <a:pt x="152" y="52"/>
                    </a:lnTo>
                    <a:lnTo>
                      <a:pt x="150" y="44"/>
                    </a:lnTo>
                    <a:lnTo>
                      <a:pt x="148" y="38"/>
                    </a:lnTo>
                    <a:lnTo>
                      <a:pt x="148" y="38"/>
                    </a:lnTo>
                    <a:close/>
                    <a:moveTo>
                      <a:pt x="248" y="120"/>
                    </a:moveTo>
                    <a:lnTo>
                      <a:pt x="248" y="120"/>
                    </a:lnTo>
                    <a:lnTo>
                      <a:pt x="246" y="106"/>
                    </a:lnTo>
                    <a:lnTo>
                      <a:pt x="242" y="100"/>
                    </a:lnTo>
                    <a:lnTo>
                      <a:pt x="238" y="96"/>
                    </a:lnTo>
                    <a:lnTo>
                      <a:pt x="238" y="96"/>
                    </a:lnTo>
                    <a:lnTo>
                      <a:pt x="232" y="90"/>
                    </a:lnTo>
                    <a:lnTo>
                      <a:pt x="226" y="88"/>
                    </a:lnTo>
                    <a:lnTo>
                      <a:pt x="218" y="84"/>
                    </a:lnTo>
                    <a:lnTo>
                      <a:pt x="210" y="84"/>
                    </a:lnTo>
                    <a:lnTo>
                      <a:pt x="210" y="84"/>
                    </a:lnTo>
                    <a:lnTo>
                      <a:pt x="202" y="86"/>
                    </a:lnTo>
                    <a:lnTo>
                      <a:pt x="194" y="88"/>
                    </a:lnTo>
                    <a:lnTo>
                      <a:pt x="188" y="92"/>
                    </a:lnTo>
                    <a:lnTo>
                      <a:pt x="182" y="98"/>
                    </a:lnTo>
                    <a:lnTo>
                      <a:pt x="182" y="98"/>
                    </a:lnTo>
                    <a:lnTo>
                      <a:pt x="182" y="98"/>
                    </a:lnTo>
                    <a:lnTo>
                      <a:pt x="182" y="98"/>
                    </a:lnTo>
                    <a:lnTo>
                      <a:pt x="182" y="98"/>
                    </a:lnTo>
                    <a:lnTo>
                      <a:pt x="178" y="102"/>
                    </a:lnTo>
                    <a:lnTo>
                      <a:pt x="138" y="156"/>
                    </a:lnTo>
                    <a:lnTo>
                      <a:pt x="84" y="156"/>
                    </a:lnTo>
                    <a:lnTo>
                      <a:pt x="84" y="156"/>
                    </a:lnTo>
                    <a:lnTo>
                      <a:pt x="80" y="156"/>
                    </a:lnTo>
                    <a:lnTo>
                      <a:pt x="74" y="160"/>
                    </a:lnTo>
                    <a:lnTo>
                      <a:pt x="70" y="164"/>
                    </a:lnTo>
                    <a:lnTo>
                      <a:pt x="70" y="170"/>
                    </a:lnTo>
                    <a:lnTo>
                      <a:pt x="70" y="170"/>
                    </a:lnTo>
                    <a:lnTo>
                      <a:pt x="70" y="176"/>
                    </a:lnTo>
                    <a:lnTo>
                      <a:pt x="74" y="182"/>
                    </a:lnTo>
                    <a:lnTo>
                      <a:pt x="80" y="184"/>
                    </a:lnTo>
                    <a:lnTo>
                      <a:pt x="84" y="186"/>
                    </a:lnTo>
                    <a:lnTo>
                      <a:pt x="146" y="186"/>
                    </a:lnTo>
                    <a:lnTo>
                      <a:pt x="146" y="186"/>
                    </a:lnTo>
                    <a:lnTo>
                      <a:pt x="152" y="184"/>
                    </a:lnTo>
                    <a:lnTo>
                      <a:pt x="158" y="180"/>
                    </a:lnTo>
                    <a:lnTo>
                      <a:pt x="172" y="160"/>
                    </a:lnTo>
                    <a:lnTo>
                      <a:pt x="172" y="222"/>
                    </a:lnTo>
                    <a:lnTo>
                      <a:pt x="138" y="222"/>
                    </a:lnTo>
                    <a:lnTo>
                      <a:pt x="138" y="222"/>
                    </a:lnTo>
                    <a:lnTo>
                      <a:pt x="142" y="218"/>
                    </a:lnTo>
                    <a:lnTo>
                      <a:pt x="144" y="216"/>
                    </a:lnTo>
                    <a:lnTo>
                      <a:pt x="146" y="212"/>
                    </a:lnTo>
                    <a:lnTo>
                      <a:pt x="146" y="212"/>
                    </a:lnTo>
                    <a:lnTo>
                      <a:pt x="144" y="208"/>
                    </a:lnTo>
                    <a:lnTo>
                      <a:pt x="142" y="204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50" y="202"/>
                    </a:lnTo>
                    <a:lnTo>
                      <a:pt x="50" y="202"/>
                    </a:lnTo>
                    <a:lnTo>
                      <a:pt x="46" y="202"/>
                    </a:lnTo>
                    <a:lnTo>
                      <a:pt x="42" y="204"/>
                    </a:lnTo>
                    <a:lnTo>
                      <a:pt x="40" y="208"/>
                    </a:lnTo>
                    <a:lnTo>
                      <a:pt x="38" y="212"/>
                    </a:lnTo>
                    <a:lnTo>
                      <a:pt x="38" y="212"/>
                    </a:lnTo>
                    <a:lnTo>
                      <a:pt x="40" y="216"/>
                    </a:lnTo>
                    <a:lnTo>
                      <a:pt x="42" y="220"/>
                    </a:lnTo>
                    <a:lnTo>
                      <a:pt x="46" y="222"/>
                    </a:lnTo>
                    <a:lnTo>
                      <a:pt x="50" y="224"/>
                    </a:lnTo>
                    <a:lnTo>
                      <a:pt x="104" y="224"/>
                    </a:lnTo>
                    <a:lnTo>
                      <a:pt x="104" y="224"/>
                    </a:lnTo>
                    <a:lnTo>
                      <a:pt x="100" y="224"/>
                    </a:lnTo>
                    <a:lnTo>
                      <a:pt x="100" y="224"/>
                    </a:lnTo>
                    <a:lnTo>
                      <a:pt x="98" y="226"/>
                    </a:lnTo>
                    <a:lnTo>
                      <a:pt x="98" y="226"/>
                    </a:lnTo>
                    <a:lnTo>
                      <a:pt x="94" y="228"/>
                    </a:lnTo>
                    <a:lnTo>
                      <a:pt x="94" y="228"/>
                    </a:lnTo>
                    <a:lnTo>
                      <a:pt x="6" y="318"/>
                    </a:lnTo>
                    <a:lnTo>
                      <a:pt x="6" y="318"/>
                    </a:lnTo>
                    <a:lnTo>
                      <a:pt x="0" y="324"/>
                    </a:lnTo>
                    <a:lnTo>
                      <a:pt x="0" y="332"/>
                    </a:lnTo>
                    <a:lnTo>
                      <a:pt x="0" y="338"/>
                    </a:lnTo>
                    <a:lnTo>
                      <a:pt x="6" y="344"/>
                    </a:lnTo>
                    <a:lnTo>
                      <a:pt x="6" y="344"/>
                    </a:lnTo>
                    <a:lnTo>
                      <a:pt x="12" y="350"/>
                    </a:lnTo>
                    <a:lnTo>
                      <a:pt x="20" y="350"/>
                    </a:lnTo>
                    <a:lnTo>
                      <a:pt x="26" y="350"/>
                    </a:lnTo>
                    <a:lnTo>
                      <a:pt x="32" y="344"/>
                    </a:lnTo>
                    <a:lnTo>
                      <a:pt x="88" y="290"/>
                    </a:lnTo>
                    <a:lnTo>
                      <a:pt x="88" y="370"/>
                    </a:lnTo>
                    <a:lnTo>
                      <a:pt x="88" y="370"/>
                    </a:lnTo>
                    <a:lnTo>
                      <a:pt x="90" y="378"/>
                    </a:lnTo>
                    <a:lnTo>
                      <a:pt x="94" y="384"/>
                    </a:lnTo>
                    <a:lnTo>
                      <a:pt x="100" y="388"/>
                    </a:lnTo>
                    <a:lnTo>
                      <a:pt x="108" y="390"/>
                    </a:lnTo>
                    <a:lnTo>
                      <a:pt x="108" y="390"/>
                    </a:lnTo>
                    <a:lnTo>
                      <a:pt x="108" y="390"/>
                    </a:lnTo>
                    <a:lnTo>
                      <a:pt x="116" y="388"/>
                    </a:lnTo>
                    <a:lnTo>
                      <a:pt x="122" y="384"/>
                    </a:lnTo>
                    <a:lnTo>
                      <a:pt x="126" y="378"/>
                    </a:lnTo>
                    <a:lnTo>
                      <a:pt x="128" y="370"/>
                    </a:lnTo>
                    <a:lnTo>
                      <a:pt x="128" y="284"/>
                    </a:lnTo>
                    <a:lnTo>
                      <a:pt x="192" y="284"/>
                    </a:lnTo>
                    <a:lnTo>
                      <a:pt x="216" y="284"/>
                    </a:lnTo>
                    <a:lnTo>
                      <a:pt x="230" y="284"/>
                    </a:lnTo>
                    <a:lnTo>
                      <a:pt x="230" y="284"/>
                    </a:lnTo>
                    <a:lnTo>
                      <a:pt x="236" y="282"/>
                    </a:lnTo>
                    <a:lnTo>
                      <a:pt x="244" y="278"/>
                    </a:lnTo>
                    <a:lnTo>
                      <a:pt x="248" y="272"/>
                    </a:lnTo>
                    <a:lnTo>
                      <a:pt x="248" y="264"/>
                    </a:lnTo>
                    <a:lnTo>
                      <a:pt x="248" y="122"/>
                    </a:lnTo>
                    <a:lnTo>
                      <a:pt x="248" y="122"/>
                    </a:lnTo>
                    <a:lnTo>
                      <a:pt x="248" y="120"/>
                    </a:lnTo>
                    <a:lnTo>
                      <a:pt x="248" y="120"/>
                    </a:lnTo>
                    <a:close/>
                    <a:moveTo>
                      <a:pt x="28" y="202"/>
                    </a:moveTo>
                    <a:lnTo>
                      <a:pt x="28" y="202"/>
                    </a:lnTo>
                    <a:lnTo>
                      <a:pt x="30" y="206"/>
                    </a:lnTo>
                    <a:lnTo>
                      <a:pt x="36" y="208"/>
                    </a:lnTo>
                    <a:lnTo>
                      <a:pt x="36" y="208"/>
                    </a:lnTo>
                    <a:lnTo>
                      <a:pt x="38" y="208"/>
                    </a:lnTo>
                    <a:lnTo>
                      <a:pt x="38" y="208"/>
                    </a:lnTo>
                    <a:lnTo>
                      <a:pt x="42" y="206"/>
                    </a:lnTo>
                    <a:lnTo>
                      <a:pt x="44" y="204"/>
                    </a:lnTo>
                    <a:lnTo>
                      <a:pt x="44" y="200"/>
                    </a:lnTo>
                    <a:lnTo>
                      <a:pt x="44" y="196"/>
                    </a:lnTo>
                    <a:lnTo>
                      <a:pt x="18" y="122"/>
                    </a:lnTo>
                    <a:lnTo>
                      <a:pt x="18" y="122"/>
                    </a:lnTo>
                    <a:lnTo>
                      <a:pt x="16" y="118"/>
                    </a:lnTo>
                    <a:lnTo>
                      <a:pt x="14" y="116"/>
                    </a:lnTo>
                    <a:lnTo>
                      <a:pt x="10" y="116"/>
                    </a:lnTo>
                    <a:lnTo>
                      <a:pt x="8" y="116"/>
                    </a:lnTo>
                    <a:lnTo>
                      <a:pt x="8" y="116"/>
                    </a:lnTo>
                    <a:lnTo>
                      <a:pt x="4" y="118"/>
                    </a:lnTo>
                    <a:lnTo>
                      <a:pt x="2" y="120"/>
                    </a:lnTo>
                    <a:lnTo>
                      <a:pt x="2" y="124"/>
                    </a:lnTo>
                    <a:lnTo>
                      <a:pt x="2" y="126"/>
                    </a:lnTo>
                    <a:lnTo>
                      <a:pt x="28" y="20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82058" tIns="41029" rIns="82058" bIns="4102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87" name="Group 186"/>
            <p:cNvGrpSpPr/>
            <p:nvPr/>
          </p:nvGrpSpPr>
          <p:grpSpPr>
            <a:xfrm>
              <a:off x="1564666" y="4096081"/>
              <a:ext cx="685594" cy="683999"/>
              <a:chOff x="1924663" y="3210096"/>
              <a:chExt cx="890026" cy="897637"/>
            </a:xfrm>
          </p:grpSpPr>
          <p:grpSp>
            <p:nvGrpSpPr>
              <p:cNvPr id="214" name="Group 66"/>
              <p:cNvGrpSpPr/>
              <p:nvPr/>
            </p:nvGrpSpPr>
            <p:grpSpPr>
              <a:xfrm>
                <a:off x="1924663" y="3210096"/>
                <a:ext cx="890026" cy="897637"/>
                <a:chOff x="2967634" y="1807463"/>
                <a:chExt cx="1926625" cy="2007606"/>
              </a:xfrm>
            </p:grpSpPr>
            <p:sp>
              <p:nvSpPr>
                <p:cNvPr id="218" name="Oval 217"/>
                <p:cNvSpPr/>
                <p:nvPr/>
              </p:nvSpPr>
              <p:spPr bwMode="ltGray">
                <a:xfrm>
                  <a:off x="2967634" y="1807463"/>
                  <a:ext cx="1926625" cy="2007606"/>
                </a:xfrm>
                <a:prstGeom prst="ellipse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algn="ctr">
                    <a:defRPr/>
                  </a:pPr>
                  <a:endParaRPr lang="en-US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219" name="TextBox 218"/>
                <p:cNvSpPr txBox="1"/>
                <p:nvPr/>
              </p:nvSpPr>
              <p:spPr>
                <a:xfrm>
                  <a:off x="3307088" y="2854193"/>
                  <a:ext cx="1226945" cy="56506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indent="-246175" algn="ctr"/>
                  <a:r>
                    <a:rPr lang="ru-RU" sz="600" i="1" dirty="0" smtClean="0">
                      <a:solidFill>
                        <a:schemeClr val="bg1"/>
                      </a:solidFill>
                      <a:latin typeface="+mj-lt"/>
                    </a:rPr>
                    <a:t>Торговый центр</a:t>
                  </a:r>
                  <a:endParaRPr lang="ru-RU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  <p:grpSp>
            <p:nvGrpSpPr>
              <p:cNvPr id="215" name="Group 214"/>
              <p:cNvGrpSpPr/>
              <p:nvPr/>
            </p:nvGrpSpPr>
            <p:grpSpPr>
              <a:xfrm>
                <a:off x="2174076" y="3286742"/>
                <a:ext cx="408859" cy="333583"/>
                <a:chOff x="4845722" y="4230198"/>
                <a:chExt cx="502626" cy="410087"/>
              </a:xfrm>
              <a:solidFill>
                <a:schemeClr val="bg1"/>
              </a:solidFill>
            </p:grpSpPr>
            <p:sp>
              <p:nvSpPr>
                <p:cNvPr id="216" name="Freeform 301"/>
                <p:cNvSpPr>
                  <a:spLocks noEditPoints="1"/>
                </p:cNvSpPr>
                <p:nvPr/>
              </p:nvSpPr>
              <p:spPr bwMode="auto">
                <a:xfrm>
                  <a:off x="4845722" y="4285843"/>
                  <a:ext cx="502626" cy="354442"/>
                </a:xfrm>
                <a:custGeom>
                  <a:avLst/>
                  <a:gdLst>
                    <a:gd name="T0" fmla="*/ 366 w 502"/>
                    <a:gd name="T1" fmla="*/ 0 h 354"/>
                    <a:gd name="T2" fmla="*/ 328 w 502"/>
                    <a:gd name="T3" fmla="*/ 12 h 354"/>
                    <a:gd name="T4" fmla="*/ 246 w 502"/>
                    <a:gd name="T5" fmla="*/ 70 h 354"/>
                    <a:gd name="T6" fmla="*/ 242 w 502"/>
                    <a:gd name="T7" fmla="*/ 56 h 354"/>
                    <a:gd name="T8" fmla="*/ 230 w 502"/>
                    <a:gd name="T9" fmla="*/ 42 h 354"/>
                    <a:gd name="T10" fmla="*/ 200 w 502"/>
                    <a:gd name="T11" fmla="*/ 38 h 354"/>
                    <a:gd name="T12" fmla="*/ 186 w 502"/>
                    <a:gd name="T13" fmla="*/ 50 h 354"/>
                    <a:gd name="T14" fmla="*/ 180 w 502"/>
                    <a:gd name="T15" fmla="*/ 70 h 354"/>
                    <a:gd name="T16" fmla="*/ 118 w 502"/>
                    <a:gd name="T17" fmla="*/ 218 h 354"/>
                    <a:gd name="T18" fmla="*/ 100 w 502"/>
                    <a:gd name="T19" fmla="*/ 224 h 354"/>
                    <a:gd name="T20" fmla="*/ 60 w 502"/>
                    <a:gd name="T21" fmla="*/ 224 h 354"/>
                    <a:gd name="T22" fmla="*/ 24 w 502"/>
                    <a:gd name="T23" fmla="*/ 236 h 354"/>
                    <a:gd name="T24" fmla="*/ 4 w 502"/>
                    <a:gd name="T25" fmla="*/ 264 h 354"/>
                    <a:gd name="T26" fmla="*/ 0 w 502"/>
                    <a:gd name="T27" fmla="*/ 288 h 354"/>
                    <a:gd name="T28" fmla="*/ 10 w 502"/>
                    <a:gd name="T29" fmla="*/ 320 h 354"/>
                    <a:gd name="T30" fmla="*/ 36 w 502"/>
                    <a:gd name="T31" fmla="*/ 348 h 354"/>
                    <a:gd name="T32" fmla="*/ 64 w 502"/>
                    <a:gd name="T33" fmla="*/ 354 h 354"/>
                    <a:gd name="T34" fmla="*/ 144 w 502"/>
                    <a:gd name="T35" fmla="*/ 352 h 354"/>
                    <a:gd name="T36" fmla="*/ 184 w 502"/>
                    <a:gd name="T37" fmla="*/ 332 h 354"/>
                    <a:gd name="T38" fmla="*/ 388 w 502"/>
                    <a:gd name="T39" fmla="*/ 130 h 354"/>
                    <a:gd name="T40" fmla="*/ 446 w 502"/>
                    <a:gd name="T41" fmla="*/ 130 h 354"/>
                    <a:gd name="T42" fmla="*/ 464 w 502"/>
                    <a:gd name="T43" fmla="*/ 124 h 354"/>
                    <a:gd name="T44" fmla="*/ 490 w 502"/>
                    <a:gd name="T45" fmla="*/ 102 h 354"/>
                    <a:gd name="T46" fmla="*/ 502 w 502"/>
                    <a:gd name="T47" fmla="*/ 64 h 354"/>
                    <a:gd name="T48" fmla="*/ 496 w 502"/>
                    <a:gd name="T49" fmla="*/ 38 h 354"/>
                    <a:gd name="T50" fmla="*/ 474 w 502"/>
                    <a:gd name="T51" fmla="*/ 10 h 354"/>
                    <a:gd name="T52" fmla="*/ 444 w 502"/>
                    <a:gd name="T53" fmla="*/ 0 h 354"/>
                    <a:gd name="T54" fmla="*/ 398 w 502"/>
                    <a:gd name="T55" fmla="*/ 96 h 354"/>
                    <a:gd name="T56" fmla="*/ 378 w 502"/>
                    <a:gd name="T57" fmla="*/ 98 h 354"/>
                    <a:gd name="T58" fmla="*/ 162 w 502"/>
                    <a:gd name="T59" fmla="*/ 308 h 354"/>
                    <a:gd name="T60" fmla="*/ 148 w 502"/>
                    <a:gd name="T61" fmla="*/ 318 h 354"/>
                    <a:gd name="T62" fmla="*/ 64 w 502"/>
                    <a:gd name="T63" fmla="*/ 320 h 354"/>
                    <a:gd name="T64" fmla="*/ 52 w 502"/>
                    <a:gd name="T65" fmla="*/ 318 h 354"/>
                    <a:gd name="T66" fmla="*/ 36 w 502"/>
                    <a:gd name="T67" fmla="*/ 300 h 354"/>
                    <a:gd name="T68" fmla="*/ 32 w 502"/>
                    <a:gd name="T69" fmla="*/ 286 h 354"/>
                    <a:gd name="T70" fmla="*/ 38 w 502"/>
                    <a:gd name="T71" fmla="*/ 270 h 354"/>
                    <a:gd name="T72" fmla="*/ 62 w 502"/>
                    <a:gd name="T73" fmla="*/ 258 h 354"/>
                    <a:gd name="T74" fmla="*/ 116 w 502"/>
                    <a:gd name="T75" fmla="*/ 256 h 354"/>
                    <a:gd name="T76" fmla="*/ 136 w 502"/>
                    <a:gd name="T77" fmla="*/ 246 h 354"/>
                    <a:gd name="T78" fmla="*/ 346 w 502"/>
                    <a:gd name="T79" fmla="*/ 38 h 354"/>
                    <a:gd name="T80" fmla="*/ 370 w 502"/>
                    <a:gd name="T81" fmla="*/ 34 h 354"/>
                    <a:gd name="T82" fmla="*/ 446 w 502"/>
                    <a:gd name="T83" fmla="*/ 34 h 354"/>
                    <a:gd name="T84" fmla="*/ 466 w 502"/>
                    <a:gd name="T85" fmla="*/ 54 h 354"/>
                    <a:gd name="T86" fmla="*/ 468 w 502"/>
                    <a:gd name="T87" fmla="*/ 74 h 354"/>
                    <a:gd name="T88" fmla="*/ 454 w 502"/>
                    <a:gd name="T89" fmla="*/ 92 h 354"/>
                    <a:gd name="T90" fmla="*/ 440 w 502"/>
                    <a:gd name="T91" fmla="*/ 96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02" h="354">
                      <a:moveTo>
                        <a:pt x="444" y="0"/>
                      </a:moveTo>
                      <a:lnTo>
                        <a:pt x="366" y="0"/>
                      </a:lnTo>
                      <a:lnTo>
                        <a:pt x="366" y="0"/>
                      </a:lnTo>
                      <a:lnTo>
                        <a:pt x="354" y="2"/>
                      </a:lnTo>
                      <a:lnTo>
                        <a:pt x="340" y="6"/>
                      </a:lnTo>
                      <a:lnTo>
                        <a:pt x="328" y="12"/>
                      </a:lnTo>
                      <a:lnTo>
                        <a:pt x="318" y="20"/>
                      </a:lnTo>
                      <a:lnTo>
                        <a:pt x="246" y="90"/>
                      </a:lnTo>
                      <a:lnTo>
                        <a:pt x="246" y="70"/>
                      </a:lnTo>
                      <a:lnTo>
                        <a:pt x="246" y="70"/>
                      </a:lnTo>
                      <a:lnTo>
                        <a:pt x="244" y="62"/>
                      </a:lnTo>
                      <a:lnTo>
                        <a:pt x="242" y="56"/>
                      </a:lnTo>
                      <a:lnTo>
                        <a:pt x="240" y="50"/>
                      </a:lnTo>
                      <a:lnTo>
                        <a:pt x="236" y="44"/>
                      </a:lnTo>
                      <a:lnTo>
                        <a:pt x="230" y="42"/>
                      </a:lnTo>
                      <a:lnTo>
                        <a:pt x="224" y="38"/>
                      </a:lnTo>
                      <a:lnTo>
                        <a:pt x="212" y="36"/>
                      </a:lnTo>
                      <a:lnTo>
                        <a:pt x="200" y="38"/>
                      </a:lnTo>
                      <a:lnTo>
                        <a:pt x="194" y="42"/>
                      </a:lnTo>
                      <a:lnTo>
                        <a:pt x="190" y="44"/>
                      </a:lnTo>
                      <a:lnTo>
                        <a:pt x="186" y="50"/>
                      </a:lnTo>
                      <a:lnTo>
                        <a:pt x="182" y="56"/>
                      </a:lnTo>
                      <a:lnTo>
                        <a:pt x="180" y="62"/>
                      </a:lnTo>
                      <a:lnTo>
                        <a:pt x="180" y="70"/>
                      </a:lnTo>
                      <a:lnTo>
                        <a:pt x="180" y="156"/>
                      </a:lnTo>
                      <a:lnTo>
                        <a:pt x="180" y="156"/>
                      </a:lnTo>
                      <a:lnTo>
                        <a:pt x="118" y="218"/>
                      </a:lnTo>
                      <a:lnTo>
                        <a:pt x="118" y="218"/>
                      </a:lnTo>
                      <a:lnTo>
                        <a:pt x="110" y="222"/>
                      </a:lnTo>
                      <a:lnTo>
                        <a:pt x="100" y="224"/>
                      </a:lnTo>
                      <a:lnTo>
                        <a:pt x="100" y="224"/>
                      </a:lnTo>
                      <a:lnTo>
                        <a:pt x="60" y="224"/>
                      </a:lnTo>
                      <a:lnTo>
                        <a:pt x="60" y="224"/>
                      </a:lnTo>
                      <a:lnTo>
                        <a:pt x="48" y="226"/>
                      </a:lnTo>
                      <a:lnTo>
                        <a:pt x="36" y="230"/>
                      </a:lnTo>
                      <a:lnTo>
                        <a:pt x="24" y="236"/>
                      </a:lnTo>
                      <a:lnTo>
                        <a:pt x="16" y="244"/>
                      </a:lnTo>
                      <a:lnTo>
                        <a:pt x="8" y="254"/>
                      </a:lnTo>
                      <a:lnTo>
                        <a:pt x="4" y="264"/>
                      </a:lnTo>
                      <a:lnTo>
                        <a:pt x="0" y="276"/>
                      </a:lnTo>
                      <a:lnTo>
                        <a:pt x="0" y="288"/>
                      </a:lnTo>
                      <a:lnTo>
                        <a:pt x="0" y="288"/>
                      </a:lnTo>
                      <a:lnTo>
                        <a:pt x="0" y="298"/>
                      </a:lnTo>
                      <a:lnTo>
                        <a:pt x="4" y="310"/>
                      </a:lnTo>
                      <a:lnTo>
                        <a:pt x="10" y="320"/>
                      </a:lnTo>
                      <a:lnTo>
                        <a:pt x="16" y="332"/>
                      </a:lnTo>
                      <a:lnTo>
                        <a:pt x="26" y="340"/>
                      </a:lnTo>
                      <a:lnTo>
                        <a:pt x="36" y="348"/>
                      </a:lnTo>
                      <a:lnTo>
                        <a:pt x="50" y="352"/>
                      </a:lnTo>
                      <a:lnTo>
                        <a:pt x="64" y="354"/>
                      </a:lnTo>
                      <a:lnTo>
                        <a:pt x="64" y="354"/>
                      </a:lnTo>
                      <a:lnTo>
                        <a:pt x="132" y="354"/>
                      </a:lnTo>
                      <a:lnTo>
                        <a:pt x="132" y="354"/>
                      </a:lnTo>
                      <a:lnTo>
                        <a:pt x="144" y="352"/>
                      </a:lnTo>
                      <a:lnTo>
                        <a:pt x="158" y="348"/>
                      </a:lnTo>
                      <a:lnTo>
                        <a:pt x="172" y="342"/>
                      </a:lnTo>
                      <a:lnTo>
                        <a:pt x="184" y="332"/>
                      </a:lnTo>
                      <a:lnTo>
                        <a:pt x="382" y="134"/>
                      </a:lnTo>
                      <a:lnTo>
                        <a:pt x="382" y="134"/>
                      </a:lnTo>
                      <a:lnTo>
                        <a:pt x="388" y="130"/>
                      </a:lnTo>
                      <a:lnTo>
                        <a:pt x="396" y="130"/>
                      </a:lnTo>
                      <a:lnTo>
                        <a:pt x="396" y="130"/>
                      </a:lnTo>
                      <a:lnTo>
                        <a:pt x="446" y="130"/>
                      </a:lnTo>
                      <a:lnTo>
                        <a:pt x="446" y="130"/>
                      </a:lnTo>
                      <a:lnTo>
                        <a:pt x="454" y="128"/>
                      </a:lnTo>
                      <a:lnTo>
                        <a:pt x="464" y="124"/>
                      </a:lnTo>
                      <a:lnTo>
                        <a:pt x="474" y="118"/>
                      </a:lnTo>
                      <a:lnTo>
                        <a:pt x="482" y="112"/>
                      </a:lnTo>
                      <a:lnTo>
                        <a:pt x="490" y="102"/>
                      </a:lnTo>
                      <a:lnTo>
                        <a:pt x="498" y="90"/>
                      </a:lnTo>
                      <a:lnTo>
                        <a:pt x="502" y="78"/>
                      </a:lnTo>
                      <a:lnTo>
                        <a:pt x="502" y="64"/>
                      </a:lnTo>
                      <a:lnTo>
                        <a:pt x="502" y="64"/>
                      </a:lnTo>
                      <a:lnTo>
                        <a:pt x="502" y="50"/>
                      </a:lnTo>
                      <a:lnTo>
                        <a:pt x="496" y="38"/>
                      </a:lnTo>
                      <a:lnTo>
                        <a:pt x="490" y="28"/>
                      </a:lnTo>
                      <a:lnTo>
                        <a:pt x="482" y="18"/>
                      </a:lnTo>
                      <a:lnTo>
                        <a:pt x="474" y="10"/>
                      </a:lnTo>
                      <a:lnTo>
                        <a:pt x="464" y="6"/>
                      </a:lnTo>
                      <a:lnTo>
                        <a:pt x="454" y="2"/>
                      </a:lnTo>
                      <a:lnTo>
                        <a:pt x="444" y="0"/>
                      </a:lnTo>
                      <a:lnTo>
                        <a:pt x="444" y="0"/>
                      </a:lnTo>
                      <a:close/>
                      <a:moveTo>
                        <a:pt x="440" y="96"/>
                      </a:moveTo>
                      <a:lnTo>
                        <a:pt x="398" y="96"/>
                      </a:lnTo>
                      <a:lnTo>
                        <a:pt x="398" y="96"/>
                      </a:lnTo>
                      <a:lnTo>
                        <a:pt x="386" y="96"/>
                      </a:lnTo>
                      <a:lnTo>
                        <a:pt x="378" y="98"/>
                      </a:lnTo>
                      <a:lnTo>
                        <a:pt x="370" y="102"/>
                      </a:lnTo>
                      <a:lnTo>
                        <a:pt x="362" y="108"/>
                      </a:lnTo>
                      <a:lnTo>
                        <a:pt x="162" y="308"/>
                      </a:lnTo>
                      <a:lnTo>
                        <a:pt x="162" y="308"/>
                      </a:lnTo>
                      <a:lnTo>
                        <a:pt x="156" y="314"/>
                      </a:lnTo>
                      <a:lnTo>
                        <a:pt x="148" y="318"/>
                      </a:lnTo>
                      <a:lnTo>
                        <a:pt x="140" y="320"/>
                      </a:lnTo>
                      <a:lnTo>
                        <a:pt x="130" y="320"/>
                      </a:lnTo>
                      <a:lnTo>
                        <a:pt x="64" y="320"/>
                      </a:lnTo>
                      <a:lnTo>
                        <a:pt x="64" y="320"/>
                      </a:lnTo>
                      <a:lnTo>
                        <a:pt x="58" y="320"/>
                      </a:lnTo>
                      <a:lnTo>
                        <a:pt x="52" y="318"/>
                      </a:lnTo>
                      <a:lnTo>
                        <a:pt x="42" y="310"/>
                      </a:lnTo>
                      <a:lnTo>
                        <a:pt x="38" y="306"/>
                      </a:lnTo>
                      <a:lnTo>
                        <a:pt x="36" y="300"/>
                      </a:lnTo>
                      <a:lnTo>
                        <a:pt x="34" y="294"/>
                      </a:lnTo>
                      <a:lnTo>
                        <a:pt x="32" y="286"/>
                      </a:lnTo>
                      <a:lnTo>
                        <a:pt x="32" y="286"/>
                      </a:lnTo>
                      <a:lnTo>
                        <a:pt x="34" y="280"/>
                      </a:lnTo>
                      <a:lnTo>
                        <a:pt x="34" y="274"/>
                      </a:lnTo>
                      <a:lnTo>
                        <a:pt x="38" y="270"/>
                      </a:lnTo>
                      <a:lnTo>
                        <a:pt x="42" y="266"/>
                      </a:lnTo>
                      <a:lnTo>
                        <a:pt x="50" y="260"/>
                      </a:lnTo>
                      <a:lnTo>
                        <a:pt x="62" y="258"/>
                      </a:lnTo>
                      <a:lnTo>
                        <a:pt x="106" y="258"/>
                      </a:lnTo>
                      <a:lnTo>
                        <a:pt x="106" y="258"/>
                      </a:lnTo>
                      <a:lnTo>
                        <a:pt x="116" y="256"/>
                      </a:lnTo>
                      <a:lnTo>
                        <a:pt x="124" y="254"/>
                      </a:lnTo>
                      <a:lnTo>
                        <a:pt x="130" y="252"/>
                      </a:lnTo>
                      <a:lnTo>
                        <a:pt x="136" y="246"/>
                      </a:lnTo>
                      <a:lnTo>
                        <a:pt x="340" y="42"/>
                      </a:lnTo>
                      <a:lnTo>
                        <a:pt x="340" y="42"/>
                      </a:lnTo>
                      <a:lnTo>
                        <a:pt x="346" y="38"/>
                      </a:lnTo>
                      <a:lnTo>
                        <a:pt x="354" y="34"/>
                      </a:lnTo>
                      <a:lnTo>
                        <a:pt x="362" y="34"/>
                      </a:lnTo>
                      <a:lnTo>
                        <a:pt x="370" y="34"/>
                      </a:lnTo>
                      <a:lnTo>
                        <a:pt x="440" y="34"/>
                      </a:lnTo>
                      <a:lnTo>
                        <a:pt x="440" y="34"/>
                      </a:lnTo>
                      <a:lnTo>
                        <a:pt x="446" y="34"/>
                      </a:lnTo>
                      <a:lnTo>
                        <a:pt x="452" y="36"/>
                      </a:lnTo>
                      <a:lnTo>
                        <a:pt x="462" y="44"/>
                      </a:lnTo>
                      <a:lnTo>
                        <a:pt x="466" y="54"/>
                      </a:lnTo>
                      <a:lnTo>
                        <a:pt x="468" y="64"/>
                      </a:lnTo>
                      <a:lnTo>
                        <a:pt x="468" y="64"/>
                      </a:lnTo>
                      <a:lnTo>
                        <a:pt x="468" y="74"/>
                      </a:lnTo>
                      <a:lnTo>
                        <a:pt x="462" y="84"/>
                      </a:lnTo>
                      <a:lnTo>
                        <a:pt x="458" y="88"/>
                      </a:lnTo>
                      <a:lnTo>
                        <a:pt x="454" y="92"/>
                      </a:lnTo>
                      <a:lnTo>
                        <a:pt x="448" y="94"/>
                      </a:lnTo>
                      <a:lnTo>
                        <a:pt x="440" y="96"/>
                      </a:lnTo>
                      <a:lnTo>
                        <a:pt x="440" y="9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217" name="Freeform 297"/>
                <p:cNvSpPr>
                  <a:spLocks/>
                </p:cNvSpPr>
                <p:nvPr/>
              </p:nvSpPr>
              <p:spPr bwMode="auto">
                <a:xfrm>
                  <a:off x="5026727" y="4230198"/>
                  <a:ext cx="66082" cy="66083"/>
                </a:xfrm>
                <a:custGeom>
                  <a:avLst/>
                  <a:gdLst>
                    <a:gd name="T0" fmla="*/ 32 w 66"/>
                    <a:gd name="T1" fmla="*/ 66 h 66"/>
                    <a:gd name="T2" fmla="*/ 32 w 66"/>
                    <a:gd name="T3" fmla="*/ 66 h 66"/>
                    <a:gd name="T4" fmla="*/ 40 w 66"/>
                    <a:gd name="T5" fmla="*/ 66 h 66"/>
                    <a:gd name="T6" fmla="*/ 46 w 66"/>
                    <a:gd name="T7" fmla="*/ 64 h 66"/>
                    <a:gd name="T8" fmla="*/ 52 w 66"/>
                    <a:gd name="T9" fmla="*/ 62 h 66"/>
                    <a:gd name="T10" fmla="*/ 56 w 66"/>
                    <a:gd name="T11" fmla="*/ 58 h 66"/>
                    <a:gd name="T12" fmla="*/ 60 w 66"/>
                    <a:gd name="T13" fmla="*/ 52 h 66"/>
                    <a:gd name="T14" fmla="*/ 64 w 66"/>
                    <a:gd name="T15" fmla="*/ 46 h 66"/>
                    <a:gd name="T16" fmla="*/ 66 w 66"/>
                    <a:gd name="T17" fmla="*/ 40 h 66"/>
                    <a:gd name="T18" fmla="*/ 66 w 66"/>
                    <a:gd name="T19" fmla="*/ 34 h 66"/>
                    <a:gd name="T20" fmla="*/ 66 w 66"/>
                    <a:gd name="T21" fmla="*/ 34 h 66"/>
                    <a:gd name="T22" fmla="*/ 66 w 66"/>
                    <a:gd name="T23" fmla="*/ 26 h 66"/>
                    <a:gd name="T24" fmla="*/ 64 w 66"/>
                    <a:gd name="T25" fmla="*/ 20 h 66"/>
                    <a:gd name="T26" fmla="*/ 60 w 66"/>
                    <a:gd name="T27" fmla="*/ 14 h 66"/>
                    <a:gd name="T28" fmla="*/ 56 w 66"/>
                    <a:gd name="T29" fmla="*/ 10 h 66"/>
                    <a:gd name="T30" fmla="*/ 52 w 66"/>
                    <a:gd name="T31" fmla="*/ 6 h 66"/>
                    <a:gd name="T32" fmla="*/ 46 w 66"/>
                    <a:gd name="T33" fmla="*/ 2 h 66"/>
                    <a:gd name="T34" fmla="*/ 40 w 66"/>
                    <a:gd name="T35" fmla="*/ 0 h 66"/>
                    <a:gd name="T36" fmla="*/ 32 w 66"/>
                    <a:gd name="T37" fmla="*/ 0 h 66"/>
                    <a:gd name="T38" fmla="*/ 32 w 66"/>
                    <a:gd name="T39" fmla="*/ 0 h 66"/>
                    <a:gd name="T40" fmla="*/ 26 w 66"/>
                    <a:gd name="T41" fmla="*/ 0 h 66"/>
                    <a:gd name="T42" fmla="*/ 20 w 66"/>
                    <a:gd name="T43" fmla="*/ 2 h 66"/>
                    <a:gd name="T44" fmla="*/ 14 w 66"/>
                    <a:gd name="T45" fmla="*/ 6 h 66"/>
                    <a:gd name="T46" fmla="*/ 8 w 66"/>
                    <a:gd name="T47" fmla="*/ 10 h 66"/>
                    <a:gd name="T48" fmla="*/ 4 w 66"/>
                    <a:gd name="T49" fmla="*/ 14 h 66"/>
                    <a:gd name="T50" fmla="*/ 2 w 66"/>
                    <a:gd name="T51" fmla="*/ 20 h 66"/>
                    <a:gd name="T52" fmla="*/ 0 w 66"/>
                    <a:gd name="T53" fmla="*/ 26 h 66"/>
                    <a:gd name="T54" fmla="*/ 0 w 66"/>
                    <a:gd name="T55" fmla="*/ 34 h 66"/>
                    <a:gd name="T56" fmla="*/ 0 w 66"/>
                    <a:gd name="T57" fmla="*/ 34 h 66"/>
                    <a:gd name="T58" fmla="*/ 0 w 66"/>
                    <a:gd name="T59" fmla="*/ 40 h 66"/>
                    <a:gd name="T60" fmla="*/ 2 w 66"/>
                    <a:gd name="T61" fmla="*/ 46 h 66"/>
                    <a:gd name="T62" fmla="*/ 4 w 66"/>
                    <a:gd name="T63" fmla="*/ 52 h 66"/>
                    <a:gd name="T64" fmla="*/ 8 w 66"/>
                    <a:gd name="T65" fmla="*/ 58 h 66"/>
                    <a:gd name="T66" fmla="*/ 14 w 66"/>
                    <a:gd name="T67" fmla="*/ 62 h 66"/>
                    <a:gd name="T68" fmla="*/ 20 w 66"/>
                    <a:gd name="T69" fmla="*/ 64 h 66"/>
                    <a:gd name="T70" fmla="*/ 26 w 66"/>
                    <a:gd name="T71" fmla="*/ 66 h 66"/>
                    <a:gd name="T72" fmla="*/ 32 w 66"/>
                    <a:gd name="T73" fmla="*/ 66 h 66"/>
                    <a:gd name="T74" fmla="*/ 32 w 66"/>
                    <a:gd name="T75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66" h="66">
                      <a:moveTo>
                        <a:pt x="32" y="66"/>
                      </a:moveTo>
                      <a:lnTo>
                        <a:pt x="32" y="66"/>
                      </a:lnTo>
                      <a:lnTo>
                        <a:pt x="40" y="66"/>
                      </a:lnTo>
                      <a:lnTo>
                        <a:pt x="46" y="64"/>
                      </a:lnTo>
                      <a:lnTo>
                        <a:pt x="52" y="62"/>
                      </a:lnTo>
                      <a:lnTo>
                        <a:pt x="56" y="58"/>
                      </a:lnTo>
                      <a:lnTo>
                        <a:pt x="60" y="52"/>
                      </a:lnTo>
                      <a:lnTo>
                        <a:pt x="64" y="46"/>
                      </a:lnTo>
                      <a:lnTo>
                        <a:pt x="66" y="40"/>
                      </a:lnTo>
                      <a:lnTo>
                        <a:pt x="66" y="34"/>
                      </a:lnTo>
                      <a:lnTo>
                        <a:pt x="66" y="34"/>
                      </a:lnTo>
                      <a:lnTo>
                        <a:pt x="66" y="26"/>
                      </a:lnTo>
                      <a:lnTo>
                        <a:pt x="64" y="20"/>
                      </a:lnTo>
                      <a:lnTo>
                        <a:pt x="60" y="14"/>
                      </a:lnTo>
                      <a:lnTo>
                        <a:pt x="56" y="10"/>
                      </a:lnTo>
                      <a:lnTo>
                        <a:pt x="52" y="6"/>
                      </a:lnTo>
                      <a:lnTo>
                        <a:pt x="46" y="2"/>
                      </a:lnTo>
                      <a:lnTo>
                        <a:pt x="40" y="0"/>
                      </a:lnTo>
                      <a:lnTo>
                        <a:pt x="32" y="0"/>
                      </a:lnTo>
                      <a:lnTo>
                        <a:pt x="32" y="0"/>
                      </a:lnTo>
                      <a:lnTo>
                        <a:pt x="26" y="0"/>
                      </a:lnTo>
                      <a:lnTo>
                        <a:pt x="20" y="2"/>
                      </a:lnTo>
                      <a:lnTo>
                        <a:pt x="14" y="6"/>
                      </a:lnTo>
                      <a:lnTo>
                        <a:pt x="8" y="10"/>
                      </a:lnTo>
                      <a:lnTo>
                        <a:pt x="4" y="14"/>
                      </a:lnTo>
                      <a:lnTo>
                        <a:pt x="2" y="20"/>
                      </a:lnTo>
                      <a:lnTo>
                        <a:pt x="0" y="26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40"/>
                      </a:lnTo>
                      <a:lnTo>
                        <a:pt x="2" y="46"/>
                      </a:lnTo>
                      <a:lnTo>
                        <a:pt x="4" y="52"/>
                      </a:lnTo>
                      <a:lnTo>
                        <a:pt x="8" y="58"/>
                      </a:lnTo>
                      <a:lnTo>
                        <a:pt x="14" y="62"/>
                      </a:lnTo>
                      <a:lnTo>
                        <a:pt x="20" y="64"/>
                      </a:lnTo>
                      <a:lnTo>
                        <a:pt x="26" y="66"/>
                      </a:lnTo>
                      <a:lnTo>
                        <a:pt x="32" y="66"/>
                      </a:lnTo>
                      <a:lnTo>
                        <a:pt x="32" y="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</p:grpSp>
        <p:grpSp>
          <p:nvGrpSpPr>
            <p:cNvPr id="188" name="Group 187"/>
            <p:cNvGrpSpPr/>
            <p:nvPr/>
          </p:nvGrpSpPr>
          <p:grpSpPr>
            <a:xfrm>
              <a:off x="1472895" y="3221573"/>
              <a:ext cx="812821" cy="791999"/>
              <a:chOff x="395955" y="2541657"/>
              <a:chExt cx="820790" cy="808484"/>
            </a:xfrm>
          </p:grpSpPr>
          <p:grpSp>
            <p:nvGrpSpPr>
              <p:cNvPr id="210" name="Group 79"/>
              <p:cNvGrpSpPr/>
              <p:nvPr/>
            </p:nvGrpSpPr>
            <p:grpSpPr>
              <a:xfrm>
                <a:off x="395955" y="2541657"/>
                <a:ext cx="820790" cy="808484"/>
                <a:chOff x="845682" y="1695476"/>
                <a:chExt cx="1776748" cy="1808202"/>
              </a:xfrm>
            </p:grpSpPr>
            <p:sp>
              <p:nvSpPr>
                <p:cNvPr id="212" name="Oval 211"/>
                <p:cNvSpPr/>
                <p:nvPr/>
              </p:nvSpPr>
              <p:spPr bwMode="ltGray">
                <a:xfrm>
                  <a:off x="859221" y="1695476"/>
                  <a:ext cx="1731235" cy="1808202"/>
                </a:xfrm>
                <a:prstGeom prst="ellipse">
                  <a:avLst/>
                </a:prstGeom>
                <a:solidFill>
                  <a:schemeClr val="tx2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algn="ctr">
                    <a:defRPr/>
                  </a:pPr>
                  <a:endParaRPr lang="en-US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213" name="TextBox 212"/>
                <p:cNvSpPr txBox="1"/>
                <p:nvPr/>
              </p:nvSpPr>
              <p:spPr>
                <a:xfrm>
                  <a:off x="845682" y="2765252"/>
                  <a:ext cx="1776748" cy="65931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indent="-246175" algn="ctr"/>
                  <a:r>
                    <a:rPr lang="ru-RU" sz="600" i="1" dirty="0" smtClean="0">
                      <a:solidFill>
                        <a:schemeClr val="bg1"/>
                      </a:solidFill>
                      <a:latin typeface="+mj-lt"/>
                    </a:rPr>
                    <a:t>Здания общественного назначения, банки</a:t>
                  </a:r>
                  <a:endParaRPr lang="ru-RU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211" name="Freeform 4806"/>
              <p:cNvSpPr>
                <a:spLocks noEditPoints="1"/>
              </p:cNvSpPr>
              <p:nvPr/>
            </p:nvSpPr>
            <p:spPr bwMode="auto">
              <a:xfrm>
                <a:off x="622045" y="2630310"/>
                <a:ext cx="362934" cy="319063"/>
              </a:xfrm>
              <a:custGeom>
                <a:avLst/>
                <a:gdLst>
                  <a:gd name="T0" fmla="*/ 310 w 364"/>
                  <a:gd name="T1" fmla="*/ 104 h 320"/>
                  <a:gd name="T2" fmla="*/ 314 w 364"/>
                  <a:gd name="T3" fmla="*/ 242 h 320"/>
                  <a:gd name="T4" fmla="*/ 304 w 364"/>
                  <a:gd name="T5" fmla="*/ 252 h 320"/>
                  <a:gd name="T6" fmla="*/ 276 w 364"/>
                  <a:gd name="T7" fmla="*/ 248 h 320"/>
                  <a:gd name="T8" fmla="*/ 274 w 364"/>
                  <a:gd name="T9" fmla="*/ 110 h 320"/>
                  <a:gd name="T10" fmla="*/ 284 w 364"/>
                  <a:gd name="T11" fmla="*/ 100 h 320"/>
                  <a:gd name="T12" fmla="*/ 26 w 364"/>
                  <a:gd name="T13" fmla="*/ 66 h 320"/>
                  <a:gd name="T14" fmla="*/ 178 w 364"/>
                  <a:gd name="T15" fmla="*/ 0 h 320"/>
                  <a:gd name="T16" fmla="*/ 180 w 364"/>
                  <a:gd name="T17" fmla="*/ 0 h 320"/>
                  <a:gd name="T18" fmla="*/ 184 w 364"/>
                  <a:gd name="T19" fmla="*/ 0 h 320"/>
                  <a:gd name="T20" fmla="*/ 186 w 364"/>
                  <a:gd name="T21" fmla="*/ 0 h 320"/>
                  <a:gd name="T22" fmla="*/ 332 w 364"/>
                  <a:gd name="T23" fmla="*/ 62 h 320"/>
                  <a:gd name="T24" fmla="*/ 338 w 364"/>
                  <a:gd name="T25" fmla="*/ 74 h 320"/>
                  <a:gd name="T26" fmla="*/ 328 w 364"/>
                  <a:gd name="T27" fmla="*/ 82 h 320"/>
                  <a:gd name="T28" fmla="*/ 36 w 364"/>
                  <a:gd name="T29" fmla="*/ 82 h 320"/>
                  <a:gd name="T30" fmla="*/ 26 w 364"/>
                  <a:gd name="T31" fmla="*/ 72 h 320"/>
                  <a:gd name="T32" fmla="*/ 168 w 364"/>
                  <a:gd name="T33" fmla="*/ 56 h 320"/>
                  <a:gd name="T34" fmla="*/ 190 w 364"/>
                  <a:gd name="T35" fmla="*/ 60 h 320"/>
                  <a:gd name="T36" fmla="*/ 200 w 364"/>
                  <a:gd name="T37" fmla="*/ 42 h 320"/>
                  <a:gd name="T38" fmla="*/ 182 w 364"/>
                  <a:gd name="T39" fmla="*/ 24 h 320"/>
                  <a:gd name="T40" fmla="*/ 164 w 364"/>
                  <a:gd name="T41" fmla="*/ 36 h 320"/>
                  <a:gd name="T42" fmla="*/ 230 w 364"/>
                  <a:gd name="T43" fmla="*/ 252 h 320"/>
                  <a:gd name="T44" fmla="*/ 240 w 364"/>
                  <a:gd name="T45" fmla="*/ 242 h 320"/>
                  <a:gd name="T46" fmla="*/ 236 w 364"/>
                  <a:gd name="T47" fmla="*/ 104 h 320"/>
                  <a:gd name="T48" fmla="*/ 134 w 364"/>
                  <a:gd name="T49" fmla="*/ 100 h 320"/>
                  <a:gd name="T50" fmla="*/ 124 w 364"/>
                  <a:gd name="T51" fmla="*/ 110 h 320"/>
                  <a:gd name="T52" fmla="*/ 128 w 364"/>
                  <a:gd name="T53" fmla="*/ 248 h 320"/>
                  <a:gd name="T54" fmla="*/ 162 w 364"/>
                  <a:gd name="T55" fmla="*/ 170 h 320"/>
                  <a:gd name="T56" fmla="*/ 174 w 364"/>
                  <a:gd name="T57" fmla="*/ 152 h 320"/>
                  <a:gd name="T58" fmla="*/ 196 w 364"/>
                  <a:gd name="T59" fmla="*/ 156 h 320"/>
                  <a:gd name="T60" fmla="*/ 230 w 364"/>
                  <a:gd name="T61" fmla="*/ 252 h 320"/>
                  <a:gd name="T62" fmla="*/ 332 w 364"/>
                  <a:gd name="T63" fmla="*/ 286 h 320"/>
                  <a:gd name="T64" fmla="*/ 338 w 364"/>
                  <a:gd name="T65" fmla="*/ 278 h 320"/>
                  <a:gd name="T66" fmla="*/ 328 w 364"/>
                  <a:gd name="T67" fmla="*/ 268 h 320"/>
                  <a:gd name="T68" fmla="*/ 28 w 364"/>
                  <a:gd name="T69" fmla="*/ 270 h 320"/>
                  <a:gd name="T70" fmla="*/ 26 w 364"/>
                  <a:gd name="T71" fmla="*/ 282 h 320"/>
                  <a:gd name="T72" fmla="*/ 36 w 364"/>
                  <a:gd name="T73" fmla="*/ 288 h 320"/>
                  <a:gd name="T74" fmla="*/ 6 w 364"/>
                  <a:gd name="T75" fmla="*/ 302 h 320"/>
                  <a:gd name="T76" fmla="*/ 0 w 364"/>
                  <a:gd name="T77" fmla="*/ 310 h 320"/>
                  <a:gd name="T78" fmla="*/ 10 w 364"/>
                  <a:gd name="T79" fmla="*/ 320 h 320"/>
                  <a:gd name="T80" fmla="*/ 362 w 364"/>
                  <a:gd name="T81" fmla="*/ 318 h 320"/>
                  <a:gd name="T82" fmla="*/ 364 w 364"/>
                  <a:gd name="T83" fmla="*/ 306 h 320"/>
                  <a:gd name="T84" fmla="*/ 354 w 364"/>
                  <a:gd name="T85" fmla="*/ 300 h 320"/>
                  <a:gd name="T86" fmla="*/ 54 w 364"/>
                  <a:gd name="T87" fmla="*/ 104 h 320"/>
                  <a:gd name="T88" fmla="*/ 50 w 364"/>
                  <a:gd name="T89" fmla="*/ 242 h 320"/>
                  <a:gd name="T90" fmla="*/ 60 w 364"/>
                  <a:gd name="T91" fmla="*/ 252 h 320"/>
                  <a:gd name="T92" fmla="*/ 88 w 364"/>
                  <a:gd name="T93" fmla="*/ 248 h 320"/>
                  <a:gd name="T94" fmla="*/ 90 w 364"/>
                  <a:gd name="T95" fmla="*/ 110 h 320"/>
                  <a:gd name="T96" fmla="*/ 80 w 364"/>
                  <a:gd name="T97" fmla="*/ 10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64" h="320">
                    <a:moveTo>
                      <a:pt x="304" y="100"/>
                    </a:moveTo>
                    <a:lnTo>
                      <a:pt x="304" y="100"/>
                    </a:lnTo>
                    <a:lnTo>
                      <a:pt x="308" y="102"/>
                    </a:lnTo>
                    <a:lnTo>
                      <a:pt x="310" y="104"/>
                    </a:lnTo>
                    <a:lnTo>
                      <a:pt x="312" y="106"/>
                    </a:lnTo>
                    <a:lnTo>
                      <a:pt x="314" y="110"/>
                    </a:lnTo>
                    <a:lnTo>
                      <a:pt x="314" y="242"/>
                    </a:lnTo>
                    <a:lnTo>
                      <a:pt x="314" y="242"/>
                    </a:lnTo>
                    <a:lnTo>
                      <a:pt x="312" y="246"/>
                    </a:lnTo>
                    <a:lnTo>
                      <a:pt x="310" y="248"/>
                    </a:lnTo>
                    <a:lnTo>
                      <a:pt x="308" y="250"/>
                    </a:lnTo>
                    <a:lnTo>
                      <a:pt x="304" y="252"/>
                    </a:lnTo>
                    <a:lnTo>
                      <a:pt x="284" y="252"/>
                    </a:lnTo>
                    <a:lnTo>
                      <a:pt x="284" y="252"/>
                    </a:lnTo>
                    <a:lnTo>
                      <a:pt x="280" y="250"/>
                    </a:lnTo>
                    <a:lnTo>
                      <a:pt x="276" y="248"/>
                    </a:lnTo>
                    <a:lnTo>
                      <a:pt x="274" y="246"/>
                    </a:lnTo>
                    <a:lnTo>
                      <a:pt x="274" y="242"/>
                    </a:lnTo>
                    <a:lnTo>
                      <a:pt x="274" y="110"/>
                    </a:lnTo>
                    <a:lnTo>
                      <a:pt x="274" y="110"/>
                    </a:lnTo>
                    <a:lnTo>
                      <a:pt x="274" y="106"/>
                    </a:lnTo>
                    <a:lnTo>
                      <a:pt x="276" y="104"/>
                    </a:lnTo>
                    <a:lnTo>
                      <a:pt x="280" y="102"/>
                    </a:lnTo>
                    <a:lnTo>
                      <a:pt x="284" y="100"/>
                    </a:lnTo>
                    <a:lnTo>
                      <a:pt x="304" y="100"/>
                    </a:lnTo>
                    <a:close/>
                    <a:moveTo>
                      <a:pt x="26" y="72"/>
                    </a:moveTo>
                    <a:lnTo>
                      <a:pt x="26" y="72"/>
                    </a:lnTo>
                    <a:lnTo>
                      <a:pt x="26" y="66"/>
                    </a:lnTo>
                    <a:lnTo>
                      <a:pt x="32" y="62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82" y="0"/>
                    </a:lnTo>
                    <a:lnTo>
                      <a:pt x="182" y="0"/>
                    </a:lnTo>
                    <a:lnTo>
                      <a:pt x="184" y="0"/>
                    </a:lnTo>
                    <a:lnTo>
                      <a:pt x="184" y="0"/>
                    </a:lnTo>
                    <a:lnTo>
                      <a:pt x="184" y="0"/>
                    </a:lnTo>
                    <a:lnTo>
                      <a:pt x="184" y="0"/>
                    </a:lnTo>
                    <a:lnTo>
                      <a:pt x="186" y="0"/>
                    </a:lnTo>
                    <a:lnTo>
                      <a:pt x="186" y="0"/>
                    </a:lnTo>
                    <a:lnTo>
                      <a:pt x="186" y="0"/>
                    </a:lnTo>
                    <a:lnTo>
                      <a:pt x="332" y="62"/>
                    </a:lnTo>
                    <a:lnTo>
                      <a:pt x="332" y="62"/>
                    </a:lnTo>
                    <a:lnTo>
                      <a:pt x="336" y="64"/>
                    </a:lnTo>
                    <a:lnTo>
                      <a:pt x="338" y="72"/>
                    </a:lnTo>
                    <a:lnTo>
                      <a:pt x="338" y="72"/>
                    </a:lnTo>
                    <a:lnTo>
                      <a:pt x="338" y="74"/>
                    </a:lnTo>
                    <a:lnTo>
                      <a:pt x="336" y="78"/>
                    </a:lnTo>
                    <a:lnTo>
                      <a:pt x="332" y="80"/>
                    </a:lnTo>
                    <a:lnTo>
                      <a:pt x="328" y="82"/>
                    </a:lnTo>
                    <a:lnTo>
                      <a:pt x="328" y="82"/>
                    </a:lnTo>
                    <a:lnTo>
                      <a:pt x="328" y="82"/>
                    </a:lnTo>
                    <a:lnTo>
                      <a:pt x="182" y="82"/>
                    </a:lnTo>
                    <a:lnTo>
                      <a:pt x="182" y="82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30" y="78"/>
                    </a:lnTo>
                    <a:lnTo>
                      <a:pt x="26" y="72"/>
                    </a:lnTo>
                    <a:lnTo>
                      <a:pt x="26" y="72"/>
                    </a:lnTo>
                    <a:close/>
                    <a:moveTo>
                      <a:pt x="164" y="42"/>
                    </a:moveTo>
                    <a:lnTo>
                      <a:pt x="164" y="42"/>
                    </a:lnTo>
                    <a:lnTo>
                      <a:pt x="164" y="50"/>
                    </a:lnTo>
                    <a:lnTo>
                      <a:pt x="168" y="56"/>
                    </a:lnTo>
                    <a:lnTo>
                      <a:pt x="174" y="60"/>
                    </a:lnTo>
                    <a:lnTo>
                      <a:pt x="182" y="62"/>
                    </a:lnTo>
                    <a:lnTo>
                      <a:pt x="182" y="62"/>
                    </a:lnTo>
                    <a:lnTo>
                      <a:pt x="190" y="60"/>
                    </a:lnTo>
                    <a:lnTo>
                      <a:pt x="196" y="56"/>
                    </a:lnTo>
                    <a:lnTo>
                      <a:pt x="200" y="50"/>
                    </a:lnTo>
                    <a:lnTo>
                      <a:pt x="200" y="42"/>
                    </a:lnTo>
                    <a:lnTo>
                      <a:pt x="200" y="42"/>
                    </a:lnTo>
                    <a:lnTo>
                      <a:pt x="200" y="36"/>
                    </a:lnTo>
                    <a:lnTo>
                      <a:pt x="196" y="30"/>
                    </a:lnTo>
                    <a:lnTo>
                      <a:pt x="190" y="26"/>
                    </a:lnTo>
                    <a:lnTo>
                      <a:pt x="182" y="24"/>
                    </a:lnTo>
                    <a:lnTo>
                      <a:pt x="182" y="24"/>
                    </a:lnTo>
                    <a:lnTo>
                      <a:pt x="174" y="26"/>
                    </a:lnTo>
                    <a:lnTo>
                      <a:pt x="168" y="30"/>
                    </a:lnTo>
                    <a:lnTo>
                      <a:pt x="164" y="36"/>
                    </a:lnTo>
                    <a:lnTo>
                      <a:pt x="164" y="42"/>
                    </a:lnTo>
                    <a:lnTo>
                      <a:pt x="164" y="42"/>
                    </a:lnTo>
                    <a:close/>
                    <a:moveTo>
                      <a:pt x="230" y="252"/>
                    </a:moveTo>
                    <a:lnTo>
                      <a:pt x="230" y="252"/>
                    </a:lnTo>
                    <a:lnTo>
                      <a:pt x="234" y="250"/>
                    </a:lnTo>
                    <a:lnTo>
                      <a:pt x="236" y="248"/>
                    </a:lnTo>
                    <a:lnTo>
                      <a:pt x="238" y="246"/>
                    </a:lnTo>
                    <a:lnTo>
                      <a:pt x="240" y="242"/>
                    </a:lnTo>
                    <a:lnTo>
                      <a:pt x="240" y="110"/>
                    </a:lnTo>
                    <a:lnTo>
                      <a:pt x="240" y="110"/>
                    </a:lnTo>
                    <a:lnTo>
                      <a:pt x="238" y="106"/>
                    </a:lnTo>
                    <a:lnTo>
                      <a:pt x="236" y="104"/>
                    </a:lnTo>
                    <a:lnTo>
                      <a:pt x="234" y="102"/>
                    </a:lnTo>
                    <a:lnTo>
                      <a:pt x="230" y="100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0" y="102"/>
                    </a:lnTo>
                    <a:lnTo>
                      <a:pt x="128" y="104"/>
                    </a:lnTo>
                    <a:lnTo>
                      <a:pt x="126" y="106"/>
                    </a:lnTo>
                    <a:lnTo>
                      <a:pt x="124" y="110"/>
                    </a:lnTo>
                    <a:lnTo>
                      <a:pt x="124" y="242"/>
                    </a:lnTo>
                    <a:lnTo>
                      <a:pt x="124" y="242"/>
                    </a:lnTo>
                    <a:lnTo>
                      <a:pt x="126" y="246"/>
                    </a:lnTo>
                    <a:lnTo>
                      <a:pt x="128" y="248"/>
                    </a:lnTo>
                    <a:lnTo>
                      <a:pt x="130" y="250"/>
                    </a:lnTo>
                    <a:lnTo>
                      <a:pt x="134" y="252"/>
                    </a:lnTo>
                    <a:lnTo>
                      <a:pt x="162" y="252"/>
                    </a:lnTo>
                    <a:lnTo>
                      <a:pt x="162" y="170"/>
                    </a:lnTo>
                    <a:lnTo>
                      <a:pt x="162" y="170"/>
                    </a:lnTo>
                    <a:lnTo>
                      <a:pt x="164" y="162"/>
                    </a:lnTo>
                    <a:lnTo>
                      <a:pt x="168" y="156"/>
                    </a:lnTo>
                    <a:lnTo>
                      <a:pt x="174" y="152"/>
                    </a:lnTo>
                    <a:lnTo>
                      <a:pt x="182" y="150"/>
                    </a:lnTo>
                    <a:lnTo>
                      <a:pt x="182" y="150"/>
                    </a:lnTo>
                    <a:lnTo>
                      <a:pt x="190" y="152"/>
                    </a:lnTo>
                    <a:lnTo>
                      <a:pt x="196" y="156"/>
                    </a:lnTo>
                    <a:lnTo>
                      <a:pt x="200" y="162"/>
                    </a:lnTo>
                    <a:lnTo>
                      <a:pt x="202" y="170"/>
                    </a:lnTo>
                    <a:lnTo>
                      <a:pt x="202" y="252"/>
                    </a:lnTo>
                    <a:lnTo>
                      <a:pt x="230" y="252"/>
                    </a:lnTo>
                    <a:close/>
                    <a:moveTo>
                      <a:pt x="36" y="288"/>
                    </a:moveTo>
                    <a:lnTo>
                      <a:pt x="328" y="288"/>
                    </a:lnTo>
                    <a:lnTo>
                      <a:pt x="328" y="288"/>
                    </a:lnTo>
                    <a:lnTo>
                      <a:pt x="332" y="286"/>
                    </a:lnTo>
                    <a:lnTo>
                      <a:pt x="336" y="284"/>
                    </a:lnTo>
                    <a:lnTo>
                      <a:pt x="338" y="282"/>
                    </a:lnTo>
                    <a:lnTo>
                      <a:pt x="338" y="278"/>
                    </a:lnTo>
                    <a:lnTo>
                      <a:pt x="338" y="278"/>
                    </a:lnTo>
                    <a:lnTo>
                      <a:pt x="338" y="274"/>
                    </a:lnTo>
                    <a:lnTo>
                      <a:pt x="336" y="270"/>
                    </a:lnTo>
                    <a:lnTo>
                      <a:pt x="332" y="268"/>
                    </a:lnTo>
                    <a:lnTo>
                      <a:pt x="328" y="268"/>
                    </a:lnTo>
                    <a:lnTo>
                      <a:pt x="36" y="268"/>
                    </a:lnTo>
                    <a:lnTo>
                      <a:pt x="36" y="268"/>
                    </a:lnTo>
                    <a:lnTo>
                      <a:pt x="32" y="268"/>
                    </a:lnTo>
                    <a:lnTo>
                      <a:pt x="28" y="270"/>
                    </a:lnTo>
                    <a:lnTo>
                      <a:pt x="26" y="274"/>
                    </a:lnTo>
                    <a:lnTo>
                      <a:pt x="26" y="278"/>
                    </a:lnTo>
                    <a:lnTo>
                      <a:pt x="26" y="278"/>
                    </a:lnTo>
                    <a:lnTo>
                      <a:pt x="26" y="282"/>
                    </a:lnTo>
                    <a:lnTo>
                      <a:pt x="28" y="284"/>
                    </a:lnTo>
                    <a:lnTo>
                      <a:pt x="32" y="286"/>
                    </a:lnTo>
                    <a:lnTo>
                      <a:pt x="36" y="288"/>
                    </a:lnTo>
                    <a:lnTo>
                      <a:pt x="36" y="288"/>
                    </a:lnTo>
                    <a:close/>
                    <a:moveTo>
                      <a:pt x="354" y="300"/>
                    </a:moveTo>
                    <a:lnTo>
                      <a:pt x="10" y="300"/>
                    </a:lnTo>
                    <a:lnTo>
                      <a:pt x="10" y="300"/>
                    </a:lnTo>
                    <a:lnTo>
                      <a:pt x="6" y="302"/>
                    </a:lnTo>
                    <a:lnTo>
                      <a:pt x="2" y="304"/>
                    </a:lnTo>
                    <a:lnTo>
                      <a:pt x="0" y="306"/>
                    </a:lnTo>
                    <a:lnTo>
                      <a:pt x="0" y="310"/>
                    </a:lnTo>
                    <a:lnTo>
                      <a:pt x="0" y="310"/>
                    </a:lnTo>
                    <a:lnTo>
                      <a:pt x="0" y="314"/>
                    </a:lnTo>
                    <a:lnTo>
                      <a:pt x="2" y="318"/>
                    </a:lnTo>
                    <a:lnTo>
                      <a:pt x="6" y="320"/>
                    </a:lnTo>
                    <a:lnTo>
                      <a:pt x="10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8" y="320"/>
                    </a:lnTo>
                    <a:lnTo>
                      <a:pt x="362" y="318"/>
                    </a:lnTo>
                    <a:lnTo>
                      <a:pt x="364" y="314"/>
                    </a:lnTo>
                    <a:lnTo>
                      <a:pt x="364" y="310"/>
                    </a:lnTo>
                    <a:lnTo>
                      <a:pt x="364" y="310"/>
                    </a:lnTo>
                    <a:lnTo>
                      <a:pt x="364" y="306"/>
                    </a:lnTo>
                    <a:lnTo>
                      <a:pt x="362" y="304"/>
                    </a:lnTo>
                    <a:lnTo>
                      <a:pt x="358" y="302"/>
                    </a:lnTo>
                    <a:lnTo>
                      <a:pt x="354" y="300"/>
                    </a:lnTo>
                    <a:lnTo>
                      <a:pt x="354" y="300"/>
                    </a:lnTo>
                    <a:close/>
                    <a:moveTo>
                      <a:pt x="60" y="100"/>
                    </a:moveTo>
                    <a:lnTo>
                      <a:pt x="60" y="100"/>
                    </a:lnTo>
                    <a:lnTo>
                      <a:pt x="56" y="102"/>
                    </a:lnTo>
                    <a:lnTo>
                      <a:pt x="54" y="104"/>
                    </a:lnTo>
                    <a:lnTo>
                      <a:pt x="52" y="106"/>
                    </a:lnTo>
                    <a:lnTo>
                      <a:pt x="50" y="110"/>
                    </a:lnTo>
                    <a:lnTo>
                      <a:pt x="50" y="242"/>
                    </a:lnTo>
                    <a:lnTo>
                      <a:pt x="50" y="242"/>
                    </a:lnTo>
                    <a:lnTo>
                      <a:pt x="52" y="246"/>
                    </a:lnTo>
                    <a:lnTo>
                      <a:pt x="54" y="248"/>
                    </a:lnTo>
                    <a:lnTo>
                      <a:pt x="56" y="250"/>
                    </a:lnTo>
                    <a:lnTo>
                      <a:pt x="60" y="252"/>
                    </a:lnTo>
                    <a:lnTo>
                      <a:pt x="80" y="252"/>
                    </a:lnTo>
                    <a:lnTo>
                      <a:pt x="80" y="252"/>
                    </a:lnTo>
                    <a:lnTo>
                      <a:pt x="84" y="250"/>
                    </a:lnTo>
                    <a:lnTo>
                      <a:pt x="88" y="248"/>
                    </a:lnTo>
                    <a:lnTo>
                      <a:pt x="90" y="246"/>
                    </a:lnTo>
                    <a:lnTo>
                      <a:pt x="90" y="242"/>
                    </a:lnTo>
                    <a:lnTo>
                      <a:pt x="90" y="110"/>
                    </a:lnTo>
                    <a:lnTo>
                      <a:pt x="90" y="110"/>
                    </a:lnTo>
                    <a:lnTo>
                      <a:pt x="90" y="106"/>
                    </a:lnTo>
                    <a:lnTo>
                      <a:pt x="88" y="104"/>
                    </a:lnTo>
                    <a:lnTo>
                      <a:pt x="84" y="102"/>
                    </a:lnTo>
                    <a:lnTo>
                      <a:pt x="80" y="100"/>
                    </a:lnTo>
                    <a:lnTo>
                      <a:pt x="60" y="10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89" name="Group 188"/>
            <p:cNvGrpSpPr/>
            <p:nvPr/>
          </p:nvGrpSpPr>
          <p:grpSpPr>
            <a:xfrm>
              <a:off x="2322468" y="5209793"/>
              <a:ext cx="576000" cy="576000"/>
              <a:chOff x="1572615" y="4714427"/>
              <a:chExt cx="680571" cy="687991"/>
            </a:xfrm>
          </p:grpSpPr>
          <p:grpSp>
            <p:nvGrpSpPr>
              <p:cNvPr id="206" name="Group 66"/>
              <p:cNvGrpSpPr/>
              <p:nvPr/>
            </p:nvGrpSpPr>
            <p:grpSpPr>
              <a:xfrm>
                <a:off x="1572615" y="4714427"/>
                <a:ext cx="680571" cy="687991"/>
                <a:chOff x="3230105" y="2066050"/>
                <a:chExt cx="1350879" cy="1379306"/>
              </a:xfrm>
            </p:grpSpPr>
            <p:sp>
              <p:nvSpPr>
                <p:cNvPr id="208" name="Oval 207"/>
                <p:cNvSpPr/>
                <p:nvPr/>
              </p:nvSpPr>
              <p:spPr bwMode="ltGray">
                <a:xfrm>
                  <a:off x="3230105" y="2066050"/>
                  <a:ext cx="1350879" cy="1379306"/>
                </a:xfrm>
                <a:prstGeom prst="ellipse">
                  <a:avLst/>
                </a:prstGeom>
                <a:solidFill>
                  <a:schemeClr val="tx2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algn="ctr">
                    <a:defRPr/>
                  </a:pPr>
                  <a:endParaRPr lang="en-US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209" name="TextBox 208"/>
                <p:cNvSpPr txBox="1"/>
                <p:nvPr/>
              </p:nvSpPr>
              <p:spPr>
                <a:xfrm>
                  <a:off x="3403834" y="2936432"/>
                  <a:ext cx="1003425" cy="23050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indent="-246175" algn="ctr"/>
                  <a:r>
                    <a:rPr lang="ru-RU" sz="600" i="1" dirty="0" smtClean="0">
                      <a:solidFill>
                        <a:schemeClr val="bg1"/>
                      </a:solidFill>
                      <a:latin typeface="+mj-lt"/>
                    </a:rPr>
                    <a:t>Трафик</a:t>
                  </a:r>
                  <a:endParaRPr lang="ru-RU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207" name="Freeform 4805"/>
              <p:cNvSpPr>
                <a:spLocks noEditPoints="1"/>
              </p:cNvSpPr>
              <p:nvPr/>
            </p:nvSpPr>
            <p:spPr bwMode="auto">
              <a:xfrm>
                <a:off x="1735422" y="4836912"/>
                <a:ext cx="354958" cy="269209"/>
              </a:xfrm>
              <a:custGeom>
                <a:avLst/>
                <a:gdLst>
                  <a:gd name="T0" fmla="*/ 324 w 356"/>
                  <a:gd name="T1" fmla="*/ 64 h 270"/>
                  <a:gd name="T2" fmla="*/ 280 w 356"/>
                  <a:gd name="T3" fmla="*/ 10 h 270"/>
                  <a:gd name="T4" fmla="*/ 234 w 356"/>
                  <a:gd name="T5" fmla="*/ 2 h 270"/>
                  <a:gd name="T6" fmla="*/ 92 w 356"/>
                  <a:gd name="T7" fmla="*/ 4 h 270"/>
                  <a:gd name="T8" fmla="*/ 64 w 356"/>
                  <a:gd name="T9" fmla="*/ 18 h 270"/>
                  <a:gd name="T10" fmla="*/ 32 w 356"/>
                  <a:gd name="T11" fmla="*/ 64 h 270"/>
                  <a:gd name="T12" fmla="*/ 8 w 356"/>
                  <a:gd name="T13" fmla="*/ 108 h 270"/>
                  <a:gd name="T14" fmla="*/ 0 w 356"/>
                  <a:gd name="T15" fmla="*/ 168 h 270"/>
                  <a:gd name="T16" fmla="*/ 6 w 356"/>
                  <a:gd name="T17" fmla="*/ 224 h 270"/>
                  <a:gd name="T18" fmla="*/ 12 w 356"/>
                  <a:gd name="T19" fmla="*/ 232 h 270"/>
                  <a:gd name="T20" fmla="*/ 22 w 356"/>
                  <a:gd name="T21" fmla="*/ 232 h 270"/>
                  <a:gd name="T22" fmla="*/ 26 w 356"/>
                  <a:gd name="T23" fmla="*/ 266 h 270"/>
                  <a:gd name="T24" fmla="*/ 60 w 356"/>
                  <a:gd name="T25" fmla="*/ 270 h 270"/>
                  <a:gd name="T26" fmla="*/ 72 w 356"/>
                  <a:gd name="T27" fmla="*/ 258 h 270"/>
                  <a:gd name="T28" fmla="*/ 284 w 356"/>
                  <a:gd name="T29" fmla="*/ 258 h 270"/>
                  <a:gd name="T30" fmla="*/ 292 w 356"/>
                  <a:gd name="T31" fmla="*/ 268 h 270"/>
                  <a:gd name="T32" fmla="*/ 326 w 356"/>
                  <a:gd name="T33" fmla="*/ 268 h 270"/>
                  <a:gd name="T34" fmla="*/ 334 w 356"/>
                  <a:gd name="T35" fmla="*/ 232 h 270"/>
                  <a:gd name="T36" fmla="*/ 340 w 356"/>
                  <a:gd name="T37" fmla="*/ 232 h 270"/>
                  <a:gd name="T38" fmla="*/ 350 w 356"/>
                  <a:gd name="T39" fmla="*/ 224 h 270"/>
                  <a:gd name="T40" fmla="*/ 356 w 356"/>
                  <a:gd name="T41" fmla="*/ 168 h 270"/>
                  <a:gd name="T42" fmla="*/ 352 w 356"/>
                  <a:gd name="T43" fmla="*/ 120 h 270"/>
                  <a:gd name="T44" fmla="*/ 330 w 356"/>
                  <a:gd name="T45" fmla="*/ 72 h 270"/>
                  <a:gd name="T46" fmla="*/ 138 w 356"/>
                  <a:gd name="T47" fmla="*/ 20 h 270"/>
                  <a:gd name="T48" fmla="*/ 246 w 356"/>
                  <a:gd name="T49" fmla="*/ 22 h 270"/>
                  <a:gd name="T50" fmla="*/ 296 w 356"/>
                  <a:gd name="T51" fmla="*/ 62 h 270"/>
                  <a:gd name="T52" fmla="*/ 298 w 356"/>
                  <a:gd name="T53" fmla="*/ 76 h 270"/>
                  <a:gd name="T54" fmla="*/ 284 w 356"/>
                  <a:gd name="T55" fmla="*/ 80 h 270"/>
                  <a:gd name="T56" fmla="*/ 72 w 356"/>
                  <a:gd name="T57" fmla="*/ 80 h 270"/>
                  <a:gd name="T58" fmla="*/ 56 w 356"/>
                  <a:gd name="T59" fmla="*/ 74 h 270"/>
                  <a:gd name="T60" fmla="*/ 70 w 356"/>
                  <a:gd name="T61" fmla="*/ 46 h 270"/>
                  <a:gd name="T62" fmla="*/ 262 w 356"/>
                  <a:gd name="T63" fmla="*/ 136 h 270"/>
                  <a:gd name="T64" fmla="*/ 244 w 356"/>
                  <a:gd name="T65" fmla="*/ 154 h 270"/>
                  <a:gd name="T66" fmla="*/ 100 w 356"/>
                  <a:gd name="T67" fmla="*/ 148 h 270"/>
                  <a:gd name="T68" fmla="*/ 46 w 356"/>
                  <a:gd name="T69" fmla="*/ 152 h 270"/>
                  <a:gd name="T70" fmla="*/ 22 w 356"/>
                  <a:gd name="T71" fmla="*/ 136 h 270"/>
                  <a:gd name="T72" fmla="*/ 28 w 356"/>
                  <a:gd name="T73" fmla="*/ 106 h 270"/>
                  <a:gd name="T74" fmla="*/ 56 w 356"/>
                  <a:gd name="T75" fmla="*/ 102 h 270"/>
                  <a:gd name="T76" fmla="*/ 72 w 356"/>
                  <a:gd name="T77" fmla="*/ 126 h 270"/>
                  <a:gd name="T78" fmla="*/ 46 w 356"/>
                  <a:gd name="T79" fmla="*/ 152 h 270"/>
                  <a:gd name="T80" fmla="*/ 156 w 356"/>
                  <a:gd name="T81" fmla="*/ 212 h 270"/>
                  <a:gd name="T82" fmla="*/ 70 w 356"/>
                  <a:gd name="T83" fmla="*/ 198 h 270"/>
                  <a:gd name="T84" fmla="*/ 152 w 356"/>
                  <a:gd name="T85" fmla="*/ 184 h 270"/>
                  <a:gd name="T86" fmla="*/ 274 w 356"/>
                  <a:gd name="T87" fmla="*/ 186 h 270"/>
                  <a:gd name="T88" fmla="*/ 288 w 356"/>
                  <a:gd name="T89" fmla="*/ 212 h 270"/>
                  <a:gd name="T90" fmla="*/ 292 w 356"/>
                  <a:gd name="T91" fmla="*/ 144 h 270"/>
                  <a:gd name="T92" fmla="*/ 286 w 356"/>
                  <a:gd name="T93" fmla="*/ 116 h 270"/>
                  <a:gd name="T94" fmla="*/ 310 w 356"/>
                  <a:gd name="T95" fmla="*/ 100 h 270"/>
                  <a:gd name="T96" fmla="*/ 336 w 356"/>
                  <a:gd name="T97" fmla="*/ 126 h 270"/>
                  <a:gd name="T98" fmla="*/ 320 w 356"/>
                  <a:gd name="T99" fmla="*/ 15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56" h="270">
                    <a:moveTo>
                      <a:pt x="330" y="72"/>
                    </a:moveTo>
                    <a:lnTo>
                      <a:pt x="330" y="72"/>
                    </a:lnTo>
                    <a:lnTo>
                      <a:pt x="324" y="64"/>
                    </a:lnTo>
                    <a:lnTo>
                      <a:pt x="324" y="64"/>
                    </a:lnTo>
                    <a:lnTo>
                      <a:pt x="314" y="46"/>
                    </a:lnTo>
                    <a:lnTo>
                      <a:pt x="302" y="32"/>
                    </a:lnTo>
                    <a:lnTo>
                      <a:pt x="292" y="18"/>
                    </a:lnTo>
                    <a:lnTo>
                      <a:pt x="280" y="10"/>
                    </a:lnTo>
                    <a:lnTo>
                      <a:pt x="280" y="10"/>
                    </a:lnTo>
                    <a:lnTo>
                      <a:pt x="274" y="6"/>
                    </a:lnTo>
                    <a:lnTo>
                      <a:pt x="264" y="4"/>
                    </a:lnTo>
                    <a:lnTo>
                      <a:pt x="234" y="2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22" y="2"/>
                    </a:lnTo>
                    <a:lnTo>
                      <a:pt x="92" y="4"/>
                    </a:lnTo>
                    <a:lnTo>
                      <a:pt x="82" y="6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64" y="18"/>
                    </a:lnTo>
                    <a:lnTo>
                      <a:pt x="54" y="32"/>
                    </a:lnTo>
                    <a:lnTo>
                      <a:pt x="42" y="4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16" y="88"/>
                    </a:lnTo>
                    <a:lnTo>
                      <a:pt x="8" y="108"/>
                    </a:lnTo>
                    <a:lnTo>
                      <a:pt x="4" y="120"/>
                    </a:lnTo>
                    <a:lnTo>
                      <a:pt x="2" y="134"/>
                    </a:lnTo>
                    <a:lnTo>
                      <a:pt x="0" y="150"/>
                    </a:lnTo>
                    <a:lnTo>
                      <a:pt x="0" y="168"/>
                    </a:lnTo>
                    <a:lnTo>
                      <a:pt x="0" y="168"/>
                    </a:lnTo>
                    <a:lnTo>
                      <a:pt x="0" y="192"/>
                    </a:lnTo>
                    <a:lnTo>
                      <a:pt x="2" y="210"/>
                    </a:lnTo>
                    <a:lnTo>
                      <a:pt x="6" y="224"/>
                    </a:lnTo>
                    <a:lnTo>
                      <a:pt x="6" y="224"/>
                    </a:lnTo>
                    <a:lnTo>
                      <a:pt x="6" y="228"/>
                    </a:lnTo>
                    <a:lnTo>
                      <a:pt x="10" y="230"/>
                    </a:lnTo>
                    <a:lnTo>
                      <a:pt x="12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22" y="232"/>
                    </a:lnTo>
                    <a:lnTo>
                      <a:pt x="22" y="258"/>
                    </a:lnTo>
                    <a:lnTo>
                      <a:pt x="22" y="258"/>
                    </a:lnTo>
                    <a:lnTo>
                      <a:pt x="24" y="262"/>
                    </a:lnTo>
                    <a:lnTo>
                      <a:pt x="26" y="266"/>
                    </a:lnTo>
                    <a:lnTo>
                      <a:pt x="30" y="268"/>
                    </a:lnTo>
                    <a:lnTo>
                      <a:pt x="34" y="270"/>
                    </a:lnTo>
                    <a:lnTo>
                      <a:pt x="60" y="270"/>
                    </a:lnTo>
                    <a:lnTo>
                      <a:pt x="60" y="270"/>
                    </a:lnTo>
                    <a:lnTo>
                      <a:pt x="64" y="268"/>
                    </a:lnTo>
                    <a:lnTo>
                      <a:pt x="68" y="266"/>
                    </a:lnTo>
                    <a:lnTo>
                      <a:pt x="70" y="262"/>
                    </a:lnTo>
                    <a:lnTo>
                      <a:pt x="72" y="258"/>
                    </a:lnTo>
                    <a:lnTo>
                      <a:pt x="72" y="232"/>
                    </a:lnTo>
                    <a:lnTo>
                      <a:pt x="178" y="232"/>
                    </a:lnTo>
                    <a:lnTo>
                      <a:pt x="284" y="232"/>
                    </a:lnTo>
                    <a:lnTo>
                      <a:pt x="284" y="258"/>
                    </a:lnTo>
                    <a:lnTo>
                      <a:pt x="284" y="258"/>
                    </a:lnTo>
                    <a:lnTo>
                      <a:pt x="286" y="262"/>
                    </a:lnTo>
                    <a:lnTo>
                      <a:pt x="288" y="266"/>
                    </a:lnTo>
                    <a:lnTo>
                      <a:pt x="292" y="268"/>
                    </a:lnTo>
                    <a:lnTo>
                      <a:pt x="296" y="270"/>
                    </a:lnTo>
                    <a:lnTo>
                      <a:pt x="322" y="270"/>
                    </a:lnTo>
                    <a:lnTo>
                      <a:pt x="322" y="270"/>
                    </a:lnTo>
                    <a:lnTo>
                      <a:pt x="326" y="268"/>
                    </a:lnTo>
                    <a:lnTo>
                      <a:pt x="330" y="266"/>
                    </a:lnTo>
                    <a:lnTo>
                      <a:pt x="332" y="262"/>
                    </a:lnTo>
                    <a:lnTo>
                      <a:pt x="334" y="258"/>
                    </a:lnTo>
                    <a:lnTo>
                      <a:pt x="334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4" y="232"/>
                    </a:lnTo>
                    <a:lnTo>
                      <a:pt x="346" y="230"/>
                    </a:lnTo>
                    <a:lnTo>
                      <a:pt x="350" y="228"/>
                    </a:lnTo>
                    <a:lnTo>
                      <a:pt x="350" y="224"/>
                    </a:lnTo>
                    <a:lnTo>
                      <a:pt x="350" y="224"/>
                    </a:lnTo>
                    <a:lnTo>
                      <a:pt x="354" y="210"/>
                    </a:lnTo>
                    <a:lnTo>
                      <a:pt x="356" y="192"/>
                    </a:lnTo>
                    <a:lnTo>
                      <a:pt x="356" y="168"/>
                    </a:lnTo>
                    <a:lnTo>
                      <a:pt x="356" y="168"/>
                    </a:lnTo>
                    <a:lnTo>
                      <a:pt x="356" y="150"/>
                    </a:lnTo>
                    <a:lnTo>
                      <a:pt x="354" y="134"/>
                    </a:lnTo>
                    <a:lnTo>
                      <a:pt x="352" y="120"/>
                    </a:lnTo>
                    <a:lnTo>
                      <a:pt x="348" y="108"/>
                    </a:lnTo>
                    <a:lnTo>
                      <a:pt x="340" y="88"/>
                    </a:lnTo>
                    <a:lnTo>
                      <a:pt x="330" y="72"/>
                    </a:lnTo>
                    <a:lnTo>
                      <a:pt x="330" y="72"/>
                    </a:lnTo>
                    <a:close/>
                    <a:moveTo>
                      <a:pt x="88" y="26"/>
                    </a:moveTo>
                    <a:lnTo>
                      <a:pt x="88" y="26"/>
                    </a:lnTo>
                    <a:lnTo>
                      <a:pt x="110" y="22"/>
                    </a:lnTo>
                    <a:lnTo>
                      <a:pt x="138" y="20"/>
                    </a:lnTo>
                    <a:lnTo>
                      <a:pt x="178" y="20"/>
                    </a:lnTo>
                    <a:lnTo>
                      <a:pt x="178" y="20"/>
                    </a:lnTo>
                    <a:lnTo>
                      <a:pt x="218" y="20"/>
                    </a:lnTo>
                    <a:lnTo>
                      <a:pt x="246" y="22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86" y="46"/>
                    </a:lnTo>
                    <a:lnTo>
                      <a:pt x="296" y="62"/>
                    </a:lnTo>
                    <a:lnTo>
                      <a:pt x="298" y="70"/>
                    </a:lnTo>
                    <a:lnTo>
                      <a:pt x="300" y="74"/>
                    </a:lnTo>
                    <a:lnTo>
                      <a:pt x="300" y="74"/>
                    </a:lnTo>
                    <a:lnTo>
                      <a:pt x="298" y="76"/>
                    </a:lnTo>
                    <a:lnTo>
                      <a:pt x="296" y="78"/>
                    </a:lnTo>
                    <a:lnTo>
                      <a:pt x="292" y="80"/>
                    </a:lnTo>
                    <a:lnTo>
                      <a:pt x="284" y="80"/>
                    </a:lnTo>
                    <a:lnTo>
                      <a:pt x="284" y="80"/>
                    </a:lnTo>
                    <a:lnTo>
                      <a:pt x="178" y="80"/>
                    </a:lnTo>
                    <a:lnTo>
                      <a:pt x="178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64" y="80"/>
                    </a:lnTo>
                    <a:lnTo>
                      <a:pt x="60" y="78"/>
                    </a:lnTo>
                    <a:lnTo>
                      <a:pt x="58" y="76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8" y="70"/>
                    </a:lnTo>
                    <a:lnTo>
                      <a:pt x="60" y="62"/>
                    </a:lnTo>
                    <a:lnTo>
                      <a:pt x="70" y="46"/>
                    </a:lnTo>
                    <a:lnTo>
                      <a:pt x="88" y="26"/>
                    </a:lnTo>
                    <a:lnTo>
                      <a:pt x="88" y="26"/>
                    </a:lnTo>
                    <a:close/>
                    <a:moveTo>
                      <a:pt x="262" y="136"/>
                    </a:moveTo>
                    <a:lnTo>
                      <a:pt x="262" y="136"/>
                    </a:lnTo>
                    <a:lnTo>
                      <a:pt x="260" y="144"/>
                    </a:lnTo>
                    <a:lnTo>
                      <a:pt x="256" y="148"/>
                    </a:lnTo>
                    <a:lnTo>
                      <a:pt x="252" y="152"/>
                    </a:lnTo>
                    <a:lnTo>
                      <a:pt x="244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4" y="152"/>
                    </a:lnTo>
                    <a:lnTo>
                      <a:pt x="100" y="148"/>
                    </a:lnTo>
                    <a:lnTo>
                      <a:pt x="96" y="144"/>
                    </a:lnTo>
                    <a:lnTo>
                      <a:pt x="94" y="136"/>
                    </a:lnTo>
                    <a:lnTo>
                      <a:pt x="262" y="136"/>
                    </a:lnTo>
                    <a:close/>
                    <a:moveTo>
                      <a:pt x="46" y="152"/>
                    </a:moveTo>
                    <a:lnTo>
                      <a:pt x="46" y="152"/>
                    </a:lnTo>
                    <a:lnTo>
                      <a:pt x="36" y="150"/>
                    </a:lnTo>
                    <a:lnTo>
                      <a:pt x="28" y="144"/>
                    </a:lnTo>
                    <a:lnTo>
                      <a:pt x="22" y="136"/>
                    </a:lnTo>
                    <a:lnTo>
                      <a:pt x="20" y="126"/>
                    </a:lnTo>
                    <a:lnTo>
                      <a:pt x="20" y="126"/>
                    </a:lnTo>
                    <a:lnTo>
                      <a:pt x="22" y="116"/>
                    </a:lnTo>
                    <a:lnTo>
                      <a:pt x="28" y="106"/>
                    </a:lnTo>
                    <a:lnTo>
                      <a:pt x="36" y="102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56" y="102"/>
                    </a:lnTo>
                    <a:lnTo>
                      <a:pt x="64" y="106"/>
                    </a:lnTo>
                    <a:lnTo>
                      <a:pt x="70" y="116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0" y="136"/>
                    </a:lnTo>
                    <a:lnTo>
                      <a:pt x="64" y="144"/>
                    </a:lnTo>
                    <a:lnTo>
                      <a:pt x="56" y="150"/>
                    </a:lnTo>
                    <a:lnTo>
                      <a:pt x="46" y="152"/>
                    </a:lnTo>
                    <a:lnTo>
                      <a:pt x="46" y="152"/>
                    </a:lnTo>
                    <a:close/>
                    <a:moveTo>
                      <a:pt x="288" y="212"/>
                    </a:moveTo>
                    <a:lnTo>
                      <a:pt x="204" y="212"/>
                    </a:lnTo>
                    <a:lnTo>
                      <a:pt x="156" y="212"/>
                    </a:lnTo>
                    <a:lnTo>
                      <a:pt x="68" y="212"/>
                    </a:lnTo>
                    <a:lnTo>
                      <a:pt x="68" y="206"/>
                    </a:lnTo>
                    <a:lnTo>
                      <a:pt x="68" y="206"/>
                    </a:lnTo>
                    <a:lnTo>
                      <a:pt x="70" y="198"/>
                    </a:lnTo>
                    <a:lnTo>
                      <a:pt x="76" y="190"/>
                    </a:lnTo>
                    <a:lnTo>
                      <a:pt x="82" y="186"/>
                    </a:lnTo>
                    <a:lnTo>
                      <a:pt x="90" y="184"/>
                    </a:lnTo>
                    <a:lnTo>
                      <a:pt x="152" y="184"/>
                    </a:lnTo>
                    <a:lnTo>
                      <a:pt x="208" y="184"/>
                    </a:lnTo>
                    <a:lnTo>
                      <a:pt x="266" y="184"/>
                    </a:lnTo>
                    <a:lnTo>
                      <a:pt x="266" y="184"/>
                    </a:lnTo>
                    <a:lnTo>
                      <a:pt x="274" y="186"/>
                    </a:lnTo>
                    <a:lnTo>
                      <a:pt x="280" y="190"/>
                    </a:lnTo>
                    <a:lnTo>
                      <a:pt x="286" y="198"/>
                    </a:lnTo>
                    <a:lnTo>
                      <a:pt x="288" y="206"/>
                    </a:lnTo>
                    <a:lnTo>
                      <a:pt x="288" y="212"/>
                    </a:lnTo>
                    <a:close/>
                    <a:moveTo>
                      <a:pt x="310" y="152"/>
                    </a:moveTo>
                    <a:lnTo>
                      <a:pt x="310" y="152"/>
                    </a:lnTo>
                    <a:lnTo>
                      <a:pt x="300" y="150"/>
                    </a:lnTo>
                    <a:lnTo>
                      <a:pt x="292" y="144"/>
                    </a:lnTo>
                    <a:lnTo>
                      <a:pt x="286" y="136"/>
                    </a:lnTo>
                    <a:lnTo>
                      <a:pt x="284" y="126"/>
                    </a:lnTo>
                    <a:lnTo>
                      <a:pt x="284" y="126"/>
                    </a:lnTo>
                    <a:lnTo>
                      <a:pt x="286" y="116"/>
                    </a:lnTo>
                    <a:lnTo>
                      <a:pt x="292" y="106"/>
                    </a:lnTo>
                    <a:lnTo>
                      <a:pt x="300" y="102"/>
                    </a:lnTo>
                    <a:lnTo>
                      <a:pt x="310" y="100"/>
                    </a:lnTo>
                    <a:lnTo>
                      <a:pt x="310" y="100"/>
                    </a:lnTo>
                    <a:lnTo>
                      <a:pt x="320" y="102"/>
                    </a:lnTo>
                    <a:lnTo>
                      <a:pt x="328" y="106"/>
                    </a:lnTo>
                    <a:lnTo>
                      <a:pt x="334" y="116"/>
                    </a:lnTo>
                    <a:lnTo>
                      <a:pt x="336" y="126"/>
                    </a:lnTo>
                    <a:lnTo>
                      <a:pt x="336" y="126"/>
                    </a:lnTo>
                    <a:lnTo>
                      <a:pt x="334" y="136"/>
                    </a:lnTo>
                    <a:lnTo>
                      <a:pt x="328" y="144"/>
                    </a:lnTo>
                    <a:lnTo>
                      <a:pt x="320" y="150"/>
                    </a:lnTo>
                    <a:lnTo>
                      <a:pt x="310" y="152"/>
                    </a:lnTo>
                    <a:lnTo>
                      <a:pt x="310" y="15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91" name="Group 190"/>
            <p:cNvGrpSpPr/>
            <p:nvPr/>
          </p:nvGrpSpPr>
          <p:grpSpPr>
            <a:xfrm>
              <a:off x="2592661" y="3268124"/>
              <a:ext cx="738540" cy="720000"/>
              <a:chOff x="1266308" y="5495977"/>
              <a:chExt cx="872620" cy="859989"/>
            </a:xfrm>
          </p:grpSpPr>
          <p:grpSp>
            <p:nvGrpSpPr>
              <p:cNvPr id="202" name="Group 68"/>
              <p:cNvGrpSpPr/>
              <p:nvPr/>
            </p:nvGrpSpPr>
            <p:grpSpPr>
              <a:xfrm>
                <a:off x="1266308" y="5495977"/>
                <a:ext cx="872620" cy="859989"/>
                <a:chOff x="1420379" y="3744702"/>
                <a:chExt cx="1732080" cy="1724135"/>
              </a:xfrm>
            </p:grpSpPr>
            <p:sp>
              <p:nvSpPr>
                <p:cNvPr id="204" name="Oval 203"/>
                <p:cNvSpPr/>
                <p:nvPr/>
              </p:nvSpPr>
              <p:spPr bwMode="ltGray">
                <a:xfrm>
                  <a:off x="1420379" y="3744702"/>
                  <a:ext cx="1604168" cy="1724135"/>
                </a:xfrm>
                <a:prstGeom prst="ellipse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algn="ctr">
                    <a:defRPr/>
                  </a:pPr>
                  <a:endParaRPr lang="en-US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205" name="TextBox 204"/>
                <p:cNvSpPr txBox="1"/>
                <p:nvPr/>
              </p:nvSpPr>
              <p:spPr>
                <a:xfrm>
                  <a:off x="1566546" y="4718381"/>
                  <a:ext cx="1585913" cy="46101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indent="-246175" algn="ctr"/>
                  <a:r>
                    <a:rPr lang="ru-RU" sz="600" i="1" dirty="0" smtClean="0">
                      <a:solidFill>
                        <a:schemeClr val="bg1"/>
                      </a:solidFill>
                      <a:latin typeface="+mj-lt"/>
                    </a:rPr>
                    <a:t>Покупательная способность</a:t>
                  </a:r>
                  <a:endParaRPr lang="ru-RU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203" name="Freeform 195"/>
              <p:cNvSpPr>
                <a:spLocks noEditPoints="1"/>
              </p:cNvSpPr>
              <p:nvPr/>
            </p:nvSpPr>
            <p:spPr bwMode="auto">
              <a:xfrm>
                <a:off x="1554214" y="5592502"/>
                <a:ext cx="232367" cy="334505"/>
              </a:xfrm>
              <a:custGeom>
                <a:avLst/>
                <a:gdLst>
                  <a:gd name="T0" fmla="*/ 350010811 w 636"/>
                  <a:gd name="T1" fmla="*/ 216073037 h 916"/>
                  <a:gd name="T2" fmla="*/ 328548598 w 636"/>
                  <a:gd name="T3" fmla="*/ 174837444 h 916"/>
                  <a:gd name="T4" fmla="*/ 295528481 w 636"/>
                  <a:gd name="T5" fmla="*/ 151746348 h 916"/>
                  <a:gd name="T6" fmla="*/ 354964328 w 636"/>
                  <a:gd name="T7" fmla="*/ 291945785 h 916"/>
                  <a:gd name="T8" fmla="*/ 424306302 w 636"/>
                  <a:gd name="T9" fmla="*/ 318336128 h 916"/>
                  <a:gd name="T10" fmla="*/ 468882506 w 636"/>
                  <a:gd name="T11" fmla="*/ 346376549 h 916"/>
                  <a:gd name="T12" fmla="*/ 493647480 w 636"/>
                  <a:gd name="T13" fmla="*/ 374416062 h 916"/>
                  <a:gd name="T14" fmla="*/ 516761471 w 636"/>
                  <a:gd name="T15" fmla="*/ 420600071 h 916"/>
                  <a:gd name="T16" fmla="*/ 525016728 w 636"/>
                  <a:gd name="T17" fmla="*/ 476680118 h 916"/>
                  <a:gd name="T18" fmla="*/ 520064119 w 636"/>
                  <a:gd name="T19" fmla="*/ 519564880 h 916"/>
                  <a:gd name="T20" fmla="*/ 505204476 w 636"/>
                  <a:gd name="T21" fmla="*/ 560800473 h 916"/>
                  <a:gd name="T22" fmla="*/ 467231636 w 636"/>
                  <a:gd name="T23" fmla="*/ 611931991 h 916"/>
                  <a:gd name="T24" fmla="*/ 435863297 w 636"/>
                  <a:gd name="T25" fmla="*/ 636673164 h 916"/>
                  <a:gd name="T26" fmla="*/ 384681798 w 636"/>
                  <a:gd name="T27" fmla="*/ 663063508 h 916"/>
                  <a:gd name="T28" fmla="*/ 343407333 w 636"/>
                  <a:gd name="T29" fmla="*/ 671310263 h 916"/>
                  <a:gd name="T30" fmla="*/ 295528481 w 636"/>
                  <a:gd name="T31" fmla="*/ 755430618 h 916"/>
                  <a:gd name="T32" fmla="*/ 234441707 w 636"/>
                  <a:gd name="T33" fmla="*/ 676258680 h 916"/>
                  <a:gd name="T34" fmla="*/ 155193608 w 636"/>
                  <a:gd name="T35" fmla="*/ 663063508 h 916"/>
                  <a:gd name="T36" fmla="*/ 115569984 w 636"/>
                  <a:gd name="T37" fmla="*/ 648219167 h 916"/>
                  <a:gd name="T38" fmla="*/ 67691132 w 636"/>
                  <a:gd name="T39" fmla="*/ 615230329 h 916"/>
                  <a:gd name="T40" fmla="*/ 41274479 w 636"/>
                  <a:gd name="T41" fmla="*/ 588839986 h 916"/>
                  <a:gd name="T42" fmla="*/ 23113998 w 636"/>
                  <a:gd name="T43" fmla="*/ 560800473 h 916"/>
                  <a:gd name="T44" fmla="*/ 4952610 w 636"/>
                  <a:gd name="T45" fmla="*/ 508018878 h 916"/>
                  <a:gd name="T46" fmla="*/ 171703212 w 636"/>
                  <a:gd name="T47" fmla="*/ 468433250 h 916"/>
                  <a:gd name="T48" fmla="*/ 186562855 w 636"/>
                  <a:gd name="T49" fmla="*/ 517915711 h 916"/>
                  <a:gd name="T50" fmla="*/ 199770721 w 636"/>
                  <a:gd name="T51" fmla="*/ 537708469 h 916"/>
                  <a:gd name="T52" fmla="*/ 234441707 w 636"/>
                  <a:gd name="T53" fmla="*/ 560800473 h 916"/>
                  <a:gd name="T54" fmla="*/ 194817203 w 636"/>
                  <a:gd name="T55" fmla="*/ 400807314 h 916"/>
                  <a:gd name="T56" fmla="*/ 113919114 w 636"/>
                  <a:gd name="T57" fmla="*/ 371117723 h 916"/>
                  <a:gd name="T58" fmla="*/ 80898997 w 636"/>
                  <a:gd name="T59" fmla="*/ 348025719 h 916"/>
                  <a:gd name="T60" fmla="*/ 51180605 w 636"/>
                  <a:gd name="T61" fmla="*/ 315037789 h 916"/>
                  <a:gd name="T62" fmla="*/ 26415737 w 636"/>
                  <a:gd name="T63" fmla="*/ 249061023 h 916"/>
                  <a:gd name="T64" fmla="*/ 26415737 w 636"/>
                  <a:gd name="T65" fmla="*/ 204527034 h 916"/>
                  <a:gd name="T66" fmla="*/ 37972740 w 636"/>
                  <a:gd name="T67" fmla="*/ 153395517 h 916"/>
                  <a:gd name="T68" fmla="*/ 66040263 w 636"/>
                  <a:gd name="T69" fmla="*/ 110510727 h 916"/>
                  <a:gd name="T70" fmla="*/ 92455993 w 636"/>
                  <a:gd name="T71" fmla="*/ 85769553 h 916"/>
                  <a:gd name="T72" fmla="*/ 143636612 w 636"/>
                  <a:gd name="T73" fmla="*/ 57729117 h 916"/>
                  <a:gd name="T74" fmla="*/ 209676847 w 636"/>
                  <a:gd name="T75" fmla="*/ 42884776 h 916"/>
                  <a:gd name="T76" fmla="*/ 295528481 w 636"/>
                  <a:gd name="T77" fmla="*/ 0 h 916"/>
                  <a:gd name="T78" fmla="*/ 318642472 w 636"/>
                  <a:gd name="T79" fmla="*/ 42884776 h 916"/>
                  <a:gd name="T80" fmla="*/ 379729189 w 636"/>
                  <a:gd name="T81" fmla="*/ 54430779 h 916"/>
                  <a:gd name="T82" fmla="*/ 427608041 w 636"/>
                  <a:gd name="T83" fmla="*/ 75872720 h 916"/>
                  <a:gd name="T84" fmla="*/ 454023771 w 636"/>
                  <a:gd name="T85" fmla="*/ 95665477 h 916"/>
                  <a:gd name="T86" fmla="*/ 483742263 w 636"/>
                  <a:gd name="T87" fmla="*/ 131952682 h 916"/>
                  <a:gd name="T88" fmla="*/ 503553606 w 636"/>
                  <a:gd name="T89" fmla="*/ 174837444 h 916"/>
                  <a:gd name="T90" fmla="*/ 234441707 w 636"/>
                  <a:gd name="T91" fmla="*/ 150096270 h 916"/>
                  <a:gd name="T92" fmla="*/ 212978586 w 636"/>
                  <a:gd name="T93" fmla="*/ 159993103 h 916"/>
                  <a:gd name="T94" fmla="*/ 198119851 w 636"/>
                  <a:gd name="T95" fmla="*/ 171539105 h 916"/>
                  <a:gd name="T96" fmla="*/ 188213725 w 636"/>
                  <a:gd name="T97" fmla="*/ 194630202 h 916"/>
                  <a:gd name="T98" fmla="*/ 188213725 w 636"/>
                  <a:gd name="T99" fmla="*/ 211124620 h 916"/>
                  <a:gd name="T100" fmla="*/ 198119851 w 636"/>
                  <a:gd name="T101" fmla="*/ 234216625 h 916"/>
                  <a:gd name="T102" fmla="*/ 212978586 w 636"/>
                  <a:gd name="T103" fmla="*/ 247411853 h 916"/>
                  <a:gd name="T104" fmla="*/ 234441707 w 636"/>
                  <a:gd name="T105" fmla="*/ 150096270 h 916"/>
                  <a:gd name="T106" fmla="*/ 312038085 w 636"/>
                  <a:gd name="T107" fmla="*/ 560800473 h 916"/>
                  <a:gd name="T108" fmla="*/ 348359941 w 636"/>
                  <a:gd name="T109" fmla="*/ 539357638 h 916"/>
                  <a:gd name="T110" fmla="*/ 361567807 w 636"/>
                  <a:gd name="T111" fmla="*/ 519564880 h 916"/>
                  <a:gd name="T112" fmla="*/ 364870454 w 636"/>
                  <a:gd name="T113" fmla="*/ 498122953 h 916"/>
                  <a:gd name="T114" fmla="*/ 358266067 w 636"/>
                  <a:gd name="T115" fmla="*/ 470082419 h 916"/>
                  <a:gd name="T116" fmla="*/ 343407333 w 636"/>
                  <a:gd name="T117" fmla="*/ 453588000 h 916"/>
                  <a:gd name="T118" fmla="*/ 295528481 w 636"/>
                  <a:gd name="T119" fmla="*/ 430496904 h 91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636"/>
                  <a:gd name="T181" fmla="*/ 0 h 916"/>
                  <a:gd name="T182" fmla="*/ 636 w 636"/>
                  <a:gd name="T183" fmla="*/ 916 h 91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636" h="916">
                    <a:moveTo>
                      <a:pt x="614" y="232"/>
                    </a:moveTo>
                    <a:lnTo>
                      <a:pt x="424" y="262"/>
                    </a:lnTo>
                    <a:lnTo>
                      <a:pt x="410" y="232"/>
                    </a:lnTo>
                    <a:lnTo>
                      <a:pt x="398" y="212"/>
                    </a:lnTo>
                    <a:lnTo>
                      <a:pt x="392" y="206"/>
                    </a:lnTo>
                    <a:lnTo>
                      <a:pt x="382" y="198"/>
                    </a:lnTo>
                    <a:lnTo>
                      <a:pt x="358" y="184"/>
                    </a:lnTo>
                    <a:lnTo>
                      <a:pt x="358" y="332"/>
                    </a:lnTo>
                    <a:lnTo>
                      <a:pt x="430" y="354"/>
                    </a:lnTo>
                    <a:lnTo>
                      <a:pt x="462" y="364"/>
                    </a:lnTo>
                    <a:lnTo>
                      <a:pt x="490" y="376"/>
                    </a:lnTo>
                    <a:lnTo>
                      <a:pt x="514" y="386"/>
                    </a:lnTo>
                    <a:lnTo>
                      <a:pt x="534" y="398"/>
                    </a:lnTo>
                    <a:lnTo>
                      <a:pt x="552" y="408"/>
                    </a:lnTo>
                    <a:lnTo>
                      <a:pt x="568" y="420"/>
                    </a:lnTo>
                    <a:lnTo>
                      <a:pt x="584" y="436"/>
                    </a:lnTo>
                    <a:lnTo>
                      <a:pt x="598" y="454"/>
                    </a:lnTo>
                    <a:lnTo>
                      <a:pt x="610" y="472"/>
                    </a:lnTo>
                    <a:lnTo>
                      <a:pt x="620" y="490"/>
                    </a:lnTo>
                    <a:lnTo>
                      <a:pt x="626" y="510"/>
                    </a:lnTo>
                    <a:lnTo>
                      <a:pt x="632" y="532"/>
                    </a:lnTo>
                    <a:lnTo>
                      <a:pt x="636" y="554"/>
                    </a:lnTo>
                    <a:lnTo>
                      <a:pt x="636" y="578"/>
                    </a:lnTo>
                    <a:lnTo>
                      <a:pt x="636" y="604"/>
                    </a:lnTo>
                    <a:lnTo>
                      <a:pt x="630" y="630"/>
                    </a:lnTo>
                    <a:lnTo>
                      <a:pt x="622" y="656"/>
                    </a:lnTo>
                    <a:lnTo>
                      <a:pt x="612" y="680"/>
                    </a:lnTo>
                    <a:lnTo>
                      <a:pt x="598" y="702"/>
                    </a:lnTo>
                    <a:lnTo>
                      <a:pt x="584" y="722"/>
                    </a:lnTo>
                    <a:lnTo>
                      <a:pt x="566" y="742"/>
                    </a:lnTo>
                    <a:lnTo>
                      <a:pt x="548" y="758"/>
                    </a:lnTo>
                    <a:lnTo>
                      <a:pt x="528" y="772"/>
                    </a:lnTo>
                    <a:lnTo>
                      <a:pt x="508" y="784"/>
                    </a:lnTo>
                    <a:lnTo>
                      <a:pt x="488" y="796"/>
                    </a:lnTo>
                    <a:lnTo>
                      <a:pt x="466" y="804"/>
                    </a:lnTo>
                    <a:lnTo>
                      <a:pt x="442" y="810"/>
                    </a:lnTo>
                    <a:lnTo>
                      <a:pt x="416" y="814"/>
                    </a:lnTo>
                    <a:lnTo>
                      <a:pt x="390" y="818"/>
                    </a:lnTo>
                    <a:lnTo>
                      <a:pt x="358" y="820"/>
                    </a:lnTo>
                    <a:lnTo>
                      <a:pt x="358" y="916"/>
                    </a:lnTo>
                    <a:lnTo>
                      <a:pt x="284" y="916"/>
                    </a:lnTo>
                    <a:lnTo>
                      <a:pt x="284" y="820"/>
                    </a:lnTo>
                    <a:lnTo>
                      <a:pt x="248" y="816"/>
                    </a:lnTo>
                    <a:lnTo>
                      <a:pt x="216" y="810"/>
                    </a:lnTo>
                    <a:lnTo>
                      <a:pt x="188" y="804"/>
                    </a:lnTo>
                    <a:lnTo>
                      <a:pt x="162" y="796"/>
                    </a:lnTo>
                    <a:lnTo>
                      <a:pt x="140" y="786"/>
                    </a:lnTo>
                    <a:lnTo>
                      <a:pt x="118" y="774"/>
                    </a:lnTo>
                    <a:lnTo>
                      <a:pt x="98" y="762"/>
                    </a:lnTo>
                    <a:lnTo>
                      <a:pt x="82" y="746"/>
                    </a:lnTo>
                    <a:lnTo>
                      <a:pt x="64" y="730"/>
                    </a:lnTo>
                    <a:lnTo>
                      <a:pt x="50" y="714"/>
                    </a:lnTo>
                    <a:lnTo>
                      <a:pt x="38" y="696"/>
                    </a:lnTo>
                    <a:lnTo>
                      <a:pt x="28" y="680"/>
                    </a:lnTo>
                    <a:lnTo>
                      <a:pt x="20" y="660"/>
                    </a:lnTo>
                    <a:lnTo>
                      <a:pt x="12" y="640"/>
                    </a:lnTo>
                    <a:lnTo>
                      <a:pt x="6" y="616"/>
                    </a:lnTo>
                    <a:lnTo>
                      <a:pt x="0" y="592"/>
                    </a:lnTo>
                    <a:lnTo>
                      <a:pt x="208" y="568"/>
                    </a:lnTo>
                    <a:lnTo>
                      <a:pt x="214" y="592"/>
                    </a:lnTo>
                    <a:lnTo>
                      <a:pt x="220" y="612"/>
                    </a:lnTo>
                    <a:lnTo>
                      <a:pt x="226" y="628"/>
                    </a:lnTo>
                    <a:lnTo>
                      <a:pt x="234" y="640"/>
                    </a:lnTo>
                    <a:lnTo>
                      <a:pt x="242" y="652"/>
                    </a:lnTo>
                    <a:lnTo>
                      <a:pt x="254" y="662"/>
                    </a:lnTo>
                    <a:lnTo>
                      <a:pt x="268" y="672"/>
                    </a:lnTo>
                    <a:lnTo>
                      <a:pt x="284" y="680"/>
                    </a:lnTo>
                    <a:lnTo>
                      <a:pt x="284" y="500"/>
                    </a:lnTo>
                    <a:lnTo>
                      <a:pt x="236" y="486"/>
                    </a:lnTo>
                    <a:lnTo>
                      <a:pt x="196" y="474"/>
                    </a:lnTo>
                    <a:lnTo>
                      <a:pt x="162" y="462"/>
                    </a:lnTo>
                    <a:lnTo>
                      <a:pt x="138" y="450"/>
                    </a:lnTo>
                    <a:lnTo>
                      <a:pt x="116" y="438"/>
                    </a:lnTo>
                    <a:lnTo>
                      <a:pt x="98" y="422"/>
                    </a:lnTo>
                    <a:lnTo>
                      <a:pt x="80" y="404"/>
                    </a:lnTo>
                    <a:lnTo>
                      <a:pt x="62" y="382"/>
                    </a:lnTo>
                    <a:lnTo>
                      <a:pt x="48" y="358"/>
                    </a:lnTo>
                    <a:lnTo>
                      <a:pt x="38" y="332"/>
                    </a:lnTo>
                    <a:lnTo>
                      <a:pt x="32" y="302"/>
                    </a:lnTo>
                    <a:lnTo>
                      <a:pt x="30" y="270"/>
                    </a:lnTo>
                    <a:lnTo>
                      <a:pt x="32" y="248"/>
                    </a:lnTo>
                    <a:lnTo>
                      <a:pt x="34" y="226"/>
                    </a:lnTo>
                    <a:lnTo>
                      <a:pt x="40" y="206"/>
                    </a:lnTo>
                    <a:lnTo>
                      <a:pt x="46" y="186"/>
                    </a:lnTo>
                    <a:lnTo>
                      <a:pt x="56" y="168"/>
                    </a:lnTo>
                    <a:lnTo>
                      <a:pt x="66" y="150"/>
                    </a:lnTo>
                    <a:lnTo>
                      <a:pt x="80" y="134"/>
                    </a:lnTo>
                    <a:lnTo>
                      <a:pt x="94" y="118"/>
                    </a:lnTo>
                    <a:lnTo>
                      <a:pt x="112" y="104"/>
                    </a:lnTo>
                    <a:lnTo>
                      <a:pt x="130" y="90"/>
                    </a:lnTo>
                    <a:lnTo>
                      <a:pt x="152" y="80"/>
                    </a:lnTo>
                    <a:lnTo>
                      <a:pt x="174" y="70"/>
                    </a:lnTo>
                    <a:lnTo>
                      <a:pt x="198" y="62"/>
                    </a:lnTo>
                    <a:lnTo>
                      <a:pt x="226" y="56"/>
                    </a:lnTo>
                    <a:lnTo>
                      <a:pt x="254" y="52"/>
                    </a:lnTo>
                    <a:lnTo>
                      <a:pt x="284" y="50"/>
                    </a:lnTo>
                    <a:lnTo>
                      <a:pt x="284" y="0"/>
                    </a:lnTo>
                    <a:lnTo>
                      <a:pt x="358" y="0"/>
                    </a:lnTo>
                    <a:lnTo>
                      <a:pt x="358" y="50"/>
                    </a:lnTo>
                    <a:lnTo>
                      <a:pt x="386" y="52"/>
                    </a:lnTo>
                    <a:lnTo>
                      <a:pt x="412" y="56"/>
                    </a:lnTo>
                    <a:lnTo>
                      <a:pt x="438" y="60"/>
                    </a:lnTo>
                    <a:lnTo>
                      <a:pt x="460" y="66"/>
                    </a:lnTo>
                    <a:lnTo>
                      <a:pt x="482" y="74"/>
                    </a:lnTo>
                    <a:lnTo>
                      <a:pt x="502" y="82"/>
                    </a:lnTo>
                    <a:lnTo>
                      <a:pt x="518" y="92"/>
                    </a:lnTo>
                    <a:lnTo>
                      <a:pt x="536" y="104"/>
                    </a:lnTo>
                    <a:lnTo>
                      <a:pt x="550" y="116"/>
                    </a:lnTo>
                    <a:lnTo>
                      <a:pt x="562" y="130"/>
                    </a:lnTo>
                    <a:lnTo>
                      <a:pt x="574" y="144"/>
                    </a:lnTo>
                    <a:lnTo>
                      <a:pt x="586" y="160"/>
                    </a:lnTo>
                    <a:lnTo>
                      <a:pt x="594" y="176"/>
                    </a:lnTo>
                    <a:lnTo>
                      <a:pt x="602" y="194"/>
                    </a:lnTo>
                    <a:lnTo>
                      <a:pt x="610" y="212"/>
                    </a:lnTo>
                    <a:lnTo>
                      <a:pt x="614" y="232"/>
                    </a:lnTo>
                    <a:close/>
                    <a:moveTo>
                      <a:pt x="284" y="182"/>
                    </a:moveTo>
                    <a:lnTo>
                      <a:pt x="284" y="182"/>
                    </a:lnTo>
                    <a:lnTo>
                      <a:pt x="270" y="188"/>
                    </a:lnTo>
                    <a:lnTo>
                      <a:pt x="258" y="194"/>
                    </a:lnTo>
                    <a:lnTo>
                      <a:pt x="246" y="200"/>
                    </a:lnTo>
                    <a:lnTo>
                      <a:pt x="240" y="208"/>
                    </a:lnTo>
                    <a:lnTo>
                      <a:pt x="234" y="216"/>
                    </a:lnTo>
                    <a:lnTo>
                      <a:pt x="230" y="226"/>
                    </a:lnTo>
                    <a:lnTo>
                      <a:pt x="228" y="236"/>
                    </a:lnTo>
                    <a:lnTo>
                      <a:pt x="226" y="246"/>
                    </a:lnTo>
                    <a:lnTo>
                      <a:pt x="228" y="256"/>
                    </a:lnTo>
                    <a:lnTo>
                      <a:pt x="230" y="266"/>
                    </a:lnTo>
                    <a:lnTo>
                      <a:pt x="234" y="276"/>
                    </a:lnTo>
                    <a:lnTo>
                      <a:pt x="240" y="284"/>
                    </a:lnTo>
                    <a:lnTo>
                      <a:pt x="248" y="292"/>
                    </a:lnTo>
                    <a:lnTo>
                      <a:pt x="258" y="300"/>
                    </a:lnTo>
                    <a:lnTo>
                      <a:pt x="270" y="306"/>
                    </a:lnTo>
                    <a:lnTo>
                      <a:pt x="284" y="312"/>
                    </a:lnTo>
                    <a:lnTo>
                      <a:pt x="284" y="182"/>
                    </a:lnTo>
                    <a:close/>
                    <a:moveTo>
                      <a:pt x="358" y="686"/>
                    </a:moveTo>
                    <a:lnTo>
                      <a:pt x="358" y="686"/>
                    </a:lnTo>
                    <a:lnTo>
                      <a:pt x="378" y="680"/>
                    </a:lnTo>
                    <a:lnTo>
                      <a:pt x="396" y="672"/>
                    </a:lnTo>
                    <a:lnTo>
                      <a:pt x="410" y="664"/>
                    </a:lnTo>
                    <a:lnTo>
                      <a:pt x="422" y="654"/>
                    </a:lnTo>
                    <a:lnTo>
                      <a:pt x="432" y="642"/>
                    </a:lnTo>
                    <a:lnTo>
                      <a:pt x="438" y="630"/>
                    </a:lnTo>
                    <a:lnTo>
                      <a:pt x="442" y="618"/>
                    </a:lnTo>
                    <a:lnTo>
                      <a:pt x="442" y="604"/>
                    </a:lnTo>
                    <a:lnTo>
                      <a:pt x="442" y="592"/>
                    </a:lnTo>
                    <a:lnTo>
                      <a:pt x="438" y="580"/>
                    </a:lnTo>
                    <a:lnTo>
                      <a:pt x="434" y="570"/>
                    </a:lnTo>
                    <a:lnTo>
                      <a:pt x="426" y="560"/>
                    </a:lnTo>
                    <a:lnTo>
                      <a:pt x="416" y="550"/>
                    </a:lnTo>
                    <a:lnTo>
                      <a:pt x="400" y="540"/>
                    </a:lnTo>
                    <a:lnTo>
                      <a:pt x="382" y="530"/>
                    </a:lnTo>
                    <a:lnTo>
                      <a:pt x="358" y="522"/>
                    </a:lnTo>
                    <a:lnTo>
                      <a:pt x="358" y="68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6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92" name="Group 191"/>
            <p:cNvGrpSpPr/>
            <p:nvPr/>
          </p:nvGrpSpPr>
          <p:grpSpPr>
            <a:xfrm>
              <a:off x="2108341" y="3749230"/>
              <a:ext cx="647265" cy="648000"/>
              <a:chOff x="477256" y="3313323"/>
              <a:chExt cx="764774" cy="773990"/>
            </a:xfrm>
          </p:grpSpPr>
          <p:grpSp>
            <p:nvGrpSpPr>
              <p:cNvPr id="198" name="Group 65"/>
              <p:cNvGrpSpPr>
                <a:grpSpLocks/>
              </p:cNvGrpSpPr>
              <p:nvPr/>
            </p:nvGrpSpPr>
            <p:grpSpPr>
              <a:xfrm>
                <a:off x="477256" y="3313323"/>
                <a:ext cx="764774" cy="773990"/>
                <a:chOff x="3922728" y="4215077"/>
                <a:chExt cx="1655489" cy="1731056"/>
              </a:xfrm>
            </p:grpSpPr>
            <p:sp>
              <p:nvSpPr>
                <p:cNvPr id="200" name="Oval 199"/>
                <p:cNvSpPr/>
                <p:nvPr/>
              </p:nvSpPr>
              <p:spPr bwMode="ltGray">
                <a:xfrm>
                  <a:off x="3922728" y="4215077"/>
                  <a:ext cx="1655489" cy="1731056"/>
                </a:xfrm>
                <a:prstGeom prst="ellipse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algn="ctr">
                    <a:defRPr/>
                  </a:pPr>
                  <a:endParaRPr lang="en-US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201" name="TextBox 200"/>
                <p:cNvSpPr txBox="1"/>
                <p:nvPr/>
              </p:nvSpPr>
              <p:spPr>
                <a:xfrm>
                  <a:off x="4055870" y="5252339"/>
                  <a:ext cx="1352862" cy="25714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indent="-246175" algn="ctr"/>
                  <a:r>
                    <a:rPr lang="ru-RU" sz="600" i="1" dirty="0" smtClean="0">
                      <a:solidFill>
                        <a:schemeClr val="bg1"/>
                      </a:solidFill>
                      <a:latin typeface="+mj-lt"/>
                    </a:rPr>
                    <a:t>Конкуренция</a:t>
                  </a:r>
                  <a:endParaRPr lang="ru-RU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199" name="Freeform 4982"/>
              <p:cNvSpPr>
                <a:spLocks noEditPoints="1"/>
              </p:cNvSpPr>
              <p:nvPr/>
            </p:nvSpPr>
            <p:spPr bwMode="auto">
              <a:xfrm>
                <a:off x="761659" y="3407045"/>
                <a:ext cx="195968" cy="325077"/>
              </a:xfrm>
              <a:custGeom>
                <a:avLst/>
                <a:gdLst>
                  <a:gd name="T0" fmla="*/ 8 w 220"/>
                  <a:gd name="T1" fmla="*/ 286 h 376"/>
                  <a:gd name="T2" fmla="*/ 26 w 220"/>
                  <a:gd name="T3" fmla="*/ 268 h 376"/>
                  <a:gd name="T4" fmla="*/ 26 w 220"/>
                  <a:gd name="T5" fmla="*/ 268 h 376"/>
                  <a:gd name="T6" fmla="*/ 50 w 220"/>
                  <a:gd name="T7" fmla="*/ 254 h 376"/>
                  <a:gd name="T8" fmla="*/ 54 w 220"/>
                  <a:gd name="T9" fmla="*/ 230 h 376"/>
                  <a:gd name="T10" fmla="*/ 70 w 220"/>
                  <a:gd name="T11" fmla="*/ 204 h 376"/>
                  <a:gd name="T12" fmla="*/ 80 w 220"/>
                  <a:gd name="T13" fmla="*/ 144 h 376"/>
                  <a:gd name="T14" fmla="*/ 84 w 220"/>
                  <a:gd name="T15" fmla="*/ 136 h 376"/>
                  <a:gd name="T16" fmla="*/ 110 w 220"/>
                  <a:gd name="T17" fmla="*/ 134 h 376"/>
                  <a:gd name="T18" fmla="*/ 132 w 220"/>
                  <a:gd name="T19" fmla="*/ 134 h 376"/>
                  <a:gd name="T20" fmla="*/ 138 w 220"/>
                  <a:gd name="T21" fmla="*/ 144 h 376"/>
                  <a:gd name="T22" fmla="*/ 144 w 220"/>
                  <a:gd name="T23" fmla="*/ 188 h 376"/>
                  <a:gd name="T24" fmla="*/ 160 w 220"/>
                  <a:gd name="T25" fmla="*/ 224 h 376"/>
                  <a:gd name="T26" fmla="*/ 170 w 220"/>
                  <a:gd name="T27" fmla="*/ 254 h 376"/>
                  <a:gd name="T28" fmla="*/ 182 w 220"/>
                  <a:gd name="T29" fmla="*/ 264 h 376"/>
                  <a:gd name="T30" fmla="*/ 192 w 220"/>
                  <a:gd name="T31" fmla="*/ 268 h 376"/>
                  <a:gd name="T32" fmla="*/ 206 w 220"/>
                  <a:gd name="T33" fmla="*/ 278 h 376"/>
                  <a:gd name="T34" fmla="*/ 212 w 220"/>
                  <a:gd name="T35" fmla="*/ 296 h 376"/>
                  <a:gd name="T36" fmla="*/ 196 w 220"/>
                  <a:gd name="T37" fmla="*/ 320 h 376"/>
                  <a:gd name="T38" fmla="*/ 184 w 220"/>
                  <a:gd name="T39" fmla="*/ 322 h 376"/>
                  <a:gd name="T40" fmla="*/ 34 w 220"/>
                  <a:gd name="T41" fmla="*/ 322 h 376"/>
                  <a:gd name="T42" fmla="*/ 24 w 220"/>
                  <a:gd name="T43" fmla="*/ 320 h 376"/>
                  <a:gd name="T44" fmla="*/ 6 w 220"/>
                  <a:gd name="T45" fmla="*/ 296 h 376"/>
                  <a:gd name="T46" fmla="*/ 44 w 220"/>
                  <a:gd name="T47" fmla="*/ 110 h 376"/>
                  <a:gd name="T48" fmla="*/ 50 w 220"/>
                  <a:gd name="T49" fmla="*/ 100 h 376"/>
                  <a:gd name="T50" fmla="*/ 80 w 220"/>
                  <a:gd name="T51" fmla="*/ 100 h 376"/>
                  <a:gd name="T52" fmla="*/ 58 w 220"/>
                  <a:gd name="T53" fmla="*/ 68 h 376"/>
                  <a:gd name="T54" fmla="*/ 56 w 220"/>
                  <a:gd name="T55" fmla="*/ 44 h 376"/>
                  <a:gd name="T56" fmla="*/ 72 w 220"/>
                  <a:gd name="T57" fmla="*/ 16 h 376"/>
                  <a:gd name="T58" fmla="*/ 100 w 220"/>
                  <a:gd name="T59" fmla="*/ 2 h 376"/>
                  <a:gd name="T60" fmla="*/ 120 w 220"/>
                  <a:gd name="T61" fmla="*/ 2 h 376"/>
                  <a:gd name="T62" fmla="*/ 148 w 220"/>
                  <a:gd name="T63" fmla="*/ 16 h 376"/>
                  <a:gd name="T64" fmla="*/ 164 w 220"/>
                  <a:gd name="T65" fmla="*/ 44 h 376"/>
                  <a:gd name="T66" fmla="*/ 162 w 220"/>
                  <a:gd name="T67" fmla="*/ 68 h 376"/>
                  <a:gd name="T68" fmla="*/ 140 w 220"/>
                  <a:gd name="T69" fmla="*/ 100 h 376"/>
                  <a:gd name="T70" fmla="*/ 170 w 220"/>
                  <a:gd name="T71" fmla="*/ 100 h 376"/>
                  <a:gd name="T72" fmla="*/ 176 w 220"/>
                  <a:gd name="T73" fmla="*/ 110 h 376"/>
                  <a:gd name="T74" fmla="*/ 172 w 220"/>
                  <a:gd name="T75" fmla="*/ 116 h 376"/>
                  <a:gd name="T76" fmla="*/ 54 w 220"/>
                  <a:gd name="T77" fmla="*/ 120 h 376"/>
                  <a:gd name="T78" fmla="*/ 48 w 220"/>
                  <a:gd name="T79" fmla="*/ 116 h 376"/>
                  <a:gd name="T80" fmla="*/ 44 w 220"/>
                  <a:gd name="T81" fmla="*/ 110 h 376"/>
                  <a:gd name="T82" fmla="*/ 96 w 220"/>
                  <a:gd name="T83" fmla="*/ 48 h 376"/>
                  <a:gd name="T84" fmla="*/ 104 w 220"/>
                  <a:gd name="T85" fmla="*/ 34 h 376"/>
                  <a:gd name="T86" fmla="*/ 100 w 220"/>
                  <a:gd name="T87" fmla="*/ 24 h 376"/>
                  <a:gd name="T88" fmla="*/ 90 w 220"/>
                  <a:gd name="T89" fmla="*/ 20 h 376"/>
                  <a:gd name="T90" fmla="*/ 76 w 220"/>
                  <a:gd name="T91" fmla="*/ 28 h 376"/>
                  <a:gd name="T92" fmla="*/ 76 w 220"/>
                  <a:gd name="T93" fmla="*/ 40 h 376"/>
                  <a:gd name="T94" fmla="*/ 90 w 220"/>
                  <a:gd name="T95" fmla="*/ 48 h 376"/>
                  <a:gd name="T96" fmla="*/ 16 w 220"/>
                  <a:gd name="T97" fmla="*/ 338 h 376"/>
                  <a:gd name="T98" fmla="*/ 6 w 220"/>
                  <a:gd name="T99" fmla="*/ 342 h 376"/>
                  <a:gd name="T100" fmla="*/ 0 w 220"/>
                  <a:gd name="T101" fmla="*/ 360 h 376"/>
                  <a:gd name="T102" fmla="*/ 6 w 220"/>
                  <a:gd name="T103" fmla="*/ 372 h 376"/>
                  <a:gd name="T104" fmla="*/ 204 w 220"/>
                  <a:gd name="T105" fmla="*/ 376 h 376"/>
                  <a:gd name="T106" fmla="*/ 214 w 220"/>
                  <a:gd name="T107" fmla="*/ 372 h 376"/>
                  <a:gd name="T108" fmla="*/ 220 w 220"/>
                  <a:gd name="T109" fmla="*/ 354 h 376"/>
                  <a:gd name="T110" fmla="*/ 214 w 220"/>
                  <a:gd name="T111" fmla="*/ 342 h 376"/>
                  <a:gd name="T112" fmla="*/ 204 w 220"/>
                  <a:gd name="T113" fmla="*/ 338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0" h="376">
                    <a:moveTo>
                      <a:pt x="6" y="296"/>
                    </a:moveTo>
                    <a:lnTo>
                      <a:pt x="6" y="296"/>
                    </a:lnTo>
                    <a:lnTo>
                      <a:pt x="8" y="286"/>
                    </a:lnTo>
                    <a:lnTo>
                      <a:pt x="12" y="278"/>
                    </a:lnTo>
                    <a:lnTo>
                      <a:pt x="18" y="272"/>
                    </a:lnTo>
                    <a:lnTo>
                      <a:pt x="26" y="268"/>
                    </a:lnTo>
                    <a:lnTo>
                      <a:pt x="26" y="268"/>
                    </a:lnTo>
                    <a:lnTo>
                      <a:pt x="26" y="268"/>
                    </a:lnTo>
                    <a:lnTo>
                      <a:pt x="26" y="268"/>
                    </a:lnTo>
                    <a:lnTo>
                      <a:pt x="36" y="264"/>
                    </a:lnTo>
                    <a:lnTo>
                      <a:pt x="44" y="260"/>
                    </a:lnTo>
                    <a:lnTo>
                      <a:pt x="50" y="254"/>
                    </a:lnTo>
                    <a:lnTo>
                      <a:pt x="50" y="234"/>
                    </a:lnTo>
                    <a:lnTo>
                      <a:pt x="50" y="234"/>
                    </a:lnTo>
                    <a:lnTo>
                      <a:pt x="54" y="230"/>
                    </a:lnTo>
                    <a:lnTo>
                      <a:pt x="58" y="224"/>
                    </a:lnTo>
                    <a:lnTo>
                      <a:pt x="64" y="216"/>
                    </a:lnTo>
                    <a:lnTo>
                      <a:pt x="70" y="204"/>
                    </a:lnTo>
                    <a:lnTo>
                      <a:pt x="76" y="188"/>
                    </a:lnTo>
                    <a:lnTo>
                      <a:pt x="78" y="168"/>
                    </a:lnTo>
                    <a:lnTo>
                      <a:pt x="80" y="144"/>
                    </a:lnTo>
                    <a:lnTo>
                      <a:pt x="80" y="144"/>
                    </a:lnTo>
                    <a:lnTo>
                      <a:pt x="80" y="140"/>
                    </a:lnTo>
                    <a:lnTo>
                      <a:pt x="84" y="136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110" y="134"/>
                    </a:lnTo>
                    <a:lnTo>
                      <a:pt x="128" y="134"/>
                    </a:lnTo>
                    <a:lnTo>
                      <a:pt x="128" y="134"/>
                    </a:lnTo>
                    <a:lnTo>
                      <a:pt x="132" y="134"/>
                    </a:lnTo>
                    <a:lnTo>
                      <a:pt x="136" y="136"/>
                    </a:lnTo>
                    <a:lnTo>
                      <a:pt x="138" y="140"/>
                    </a:lnTo>
                    <a:lnTo>
                      <a:pt x="138" y="144"/>
                    </a:lnTo>
                    <a:lnTo>
                      <a:pt x="138" y="144"/>
                    </a:lnTo>
                    <a:lnTo>
                      <a:pt x="140" y="168"/>
                    </a:lnTo>
                    <a:lnTo>
                      <a:pt x="144" y="188"/>
                    </a:lnTo>
                    <a:lnTo>
                      <a:pt x="148" y="204"/>
                    </a:lnTo>
                    <a:lnTo>
                      <a:pt x="154" y="216"/>
                    </a:lnTo>
                    <a:lnTo>
                      <a:pt x="160" y="224"/>
                    </a:lnTo>
                    <a:lnTo>
                      <a:pt x="164" y="230"/>
                    </a:lnTo>
                    <a:lnTo>
                      <a:pt x="170" y="234"/>
                    </a:lnTo>
                    <a:lnTo>
                      <a:pt x="170" y="254"/>
                    </a:lnTo>
                    <a:lnTo>
                      <a:pt x="170" y="254"/>
                    </a:lnTo>
                    <a:lnTo>
                      <a:pt x="176" y="260"/>
                    </a:lnTo>
                    <a:lnTo>
                      <a:pt x="182" y="264"/>
                    </a:lnTo>
                    <a:lnTo>
                      <a:pt x="192" y="268"/>
                    </a:lnTo>
                    <a:lnTo>
                      <a:pt x="192" y="268"/>
                    </a:lnTo>
                    <a:lnTo>
                      <a:pt x="192" y="268"/>
                    </a:lnTo>
                    <a:lnTo>
                      <a:pt x="192" y="268"/>
                    </a:lnTo>
                    <a:lnTo>
                      <a:pt x="200" y="272"/>
                    </a:lnTo>
                    <a:lnTo>
                      <a:pt x="206" y="278"/>
                    </a:lnTo>
                    <a:lnTo>
                      <a:pt x="210" y="286"/>
                    </a:lnTo>
                    <a:lnTo>
                      <a:pt x="212" y="296"/>
                    </a:lnTo>
                    <a:lnTo>
                      <a:pt x="212" y="296"/>
                    </a:lnTo>
                    <a:lnTo>
                      <a:pt x="210" y="306"/>
                    </a:lnTo>
                    <a:lnTo>
                      <a:pt x="204" y="314"/>
                    </a:lnTo>
                    <a:lnTo>
                      <a:pt x="196" y="320"/>
                    </a:lnTo>
                    <a:lnTo>
                      <a:pt x="184" y="322"/>
                    </a:lnTo>
                    <a:lnTo>
                      <a:pt x="184" y="322"/>
                    </a:lnTo>
                    <a:lnTo>
                      <a:pt x="184" y="322"/>
                    </a:lnTo>
                    <a:lnTo>
                      <a:pt x="110" y="322"/>
                    </a:lnTo>
                    <a:lnTo>
                      <a:pt x="34" y="322"/>
                    </a:lnTo>
                    <a:lnTo>
                      <a:pt x="34" y="322"/>
                    </a:lnTo>
                    <a:lnTo>
                      <a:pt x="34" y="322"/>
                    </a:lnTo>
                    <a:lnTo>
                      <a:pt x="34" y="322"/>
                    </a:lnTo>
                    <a:lnTo>
                      <a:pt x="24" y="320"/>
                    </a:lnTo>
                    <a:lnTo>
                      <a:pt x="14" y="314"/>
                    </a:lnTo>
                    <a:lnTo>
                      <a:pt x="8" y="306"/>
                    </a:lnTo>
                    <a:lnTo>
                      <a:pt x="6" y="296"/>
                    </a:lnTo>
                    <a:lnTo>
                      <a:pt x="6" y="296"/>
                    </a:lnTo>
                    <a:close/>
                    <a:moveTo>
                      <a:pt x="44" y="110"/>
                    </a:moveTo>
                    <a:lnTo>
                      <a:pt x="44" y="110"/>
                    </a:lnTo>
                    <a:lnTo>
                      <a:pt x="46" y="106"/>
                    </a:lnTo>
                    <a:lnTo>
                      <a:pt x="48" y="102"/>
                    </a:lnTo>
                    <a:lnTo>
                      <a:pt x="50" y="100"/>
                    </a:lnTo>
                    <a:lnTo>
                      <a:pt x="54" y="100"/>
                    </a:lnTo>
                    <a:lnTo>
                      <a:pt x="80" y="100"/>
                    </a:lnTo>
                    <a:lnTo>
                      <a:pt x="80" y="100"/>
                    </a:lnTo>
                    <a:lnTo>
                      <a:pt x="70" y="92"/>
                    </a:lnTo>
                    <a:lnTo>
                      <a:pt x="62" y="80"/>
                    </a:lnTo>
                    <a:lnTo>
                      <a:pt x="58" y="68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44"/>
                    </a:lnTo>
                    <a:lnTo>
                      <a:pt x="60" y="34"/>
                    </a:lnTo>
                    <a:lnTo>
                      <a:pt x="64" y="24"/>
                    </a:lnTo>
                    <a:lnTo>
                      <a:pt x="72" y="16"/>
                    </a:lnTo>
                    <a:lnTo>
                      <a:pt x="80" y="10"/>
                    </a:lnTo>
                    <a:lnTo>
                      <a:pt x="88" y="4"/>
                    </a:lnTo>
                    <a:lnTo>
                      <a:pt x="100" y="2"/>
                    </a:lnTo>
                    <a:lnTo>
                      <a:pt x="110" y="0"/>
                    </a:lnTo>
                    <a:lnTo>
                      <a:pt x="110" y="0"/>
                    </a:lnTo>
                    <a:lnTo>
                      <a:pt x="120" y="2"/>
                    </a:lnTo>
                    <a:lnTo>
                      <a:pt x="132" y="4"/>
                    </a:lnTo>
                    <a:lnTo>
                      <a:pt x="140" y="10"/>
                    </a:lnTo>
                    <a:lnTo>
                      <a:pt x="148" y="16"/>
                    </a:lnTo>
                    <a:lnTo>
                      <a:pt x="156" y="24"/>
                    </a:lnTo>
                    <a:lnTo>
                      <a:pt x="160" y="34"/>
                    </a:lnTo>
                    <a:lnTo>
                      <a:pt x="164" y="44"/>
                    </a:lnTo>
                    <a:lnTo>
                      <a:pt x="164" y="54"/>
                    </a:lnTo>
                    <a:lnTo>
                      <a:pt x="164" y="54"/>
                    </a:lnTo>
                    <a:lnTo>
                      <a:pt x="162" y="68"/>
                    </a:lnTo>
                    <a:lnTo>
                      <a:pt x="158" y="80"/>
                    </a:lnTo>
                    <a:lnTo>
                      <a:pt x="150" y="92"/>
                    </a:lnTo>
                    <a:lnTo>
                      <a:pt x="140" y="100"/>
                    </a:lnTo>
                    <a:lnTo>
                      <a:pt x="166" y="100"/>
                    </a:lnTo>
                    <a:lnTo>
                      <a:pt x="166" y="100"/>
                    </a:lnTo>
                    <a:lnTo>
                      <a:pt x="170" y="100"/>
                    </a:lnTo>
                    <a:lnTo>
                      <a:pt x="172" y="102"/>
                    </a:lnTo>
                    <a:lnTo>
                      <a:pt x="174" y="106"/>
                    </a:lnTo>
                    <a:lnTo>
                      <a:pt x="176" y="110"/>
                    </a:lnTo>
                    <a:lnTo>
                      <a:pt x="176" y="110"/>
                    </a:lnTo>
                    <a:lnTo>
                      <a:pt x="174" y="114"/>
                    </a:lnTo>
                    <a:lnTo>
                      <a:pt x="172" y="116"/>
                    </a:lnTo>
                    <a:lnTo>
                      <a:pt x="170" y="120"/>
                    </a:lnTo>
                    <a:lnTo>
                      <a:pt x="166" y="120"/>
                    </a:lnTo>
                    <a:lnTo>
                      <a:pt x="54" y="120"/>
                    </a:lnTo>
                    <a:lnTo>
                      <a:pt x="54" y="120"/>
                    </a:lnTo>
                    <a:lnTo>
                      <a:pt x="50" y="120"/>
                    </a:lnTo>
                    <a:lnTo>
                      <a:pt x="48" y="116"/>
                    </a:lnTo>
                    <a:lnTo>
                      <a:pt x="46" y="114"/>
                    </a:lnTo>
                    <a:lnTo>
                      <a:pt x="44" y="110"/>
                    </a:lnTo>
                    <a:lnTo>
                      <a:pt x="44" y="110"/>
                    </a:lnTo>
                    <a:close/>
                    <a:moveTo>
                      <a:pt x="90" y="48"/>
                    </a:moveTo>
                    <a:lnTo>
                      <a:pt x="90" y="48"/>
                    </a:lnTo>
                    <a:lnTo>
                      <a:pt x="96" y="48"/>
                    </a:lnTo>
                    <a:lnTo>
                      <a:pt x="100" y="44"/>
                    </a:lnTo>
                    <a:lnTo>
                      <a:pt x="102" y="40"/>
                    </a:lnTo>
                    <a:lnTo>
                      <a:pt x="104" y="34"/>
                    </a:lnTo>
                    <a:lnTo>
                      <a:pt x="104" y="34"/>
                    </a:lnTo>
                    <a:lnTo>
                      <a:pt x="102" y="28"/>
                    </a:lnTo>
                    <a:lnTo>
                      <a:pt x="100" y="24"/>
                    </a:lnTo>
                    <a:lnTo>
                      <a:pt x="96" y="20"/>
                    </a:lnTo>
                    <a:lnTo>
                      <a:pt x="90" y="20"/>
                    </a:lnTo>
                    <a:lnTo>
                      <a:pt x="90" y="20"/>
                    </a:lnTo>
                    <a:lnTo>
                      <a:pt x="84" y="20"/>
                    </a:lnTo>
                    <a:lnTo>
                      <a:pt x="80" y="24"/>
                    </a:lnTo>
                    <a:lnTo>
                      <a:pt x="76" y="28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6" y="40"/>
                    </a:lnTo>
                    <a:lnTo>
                      <a:pt x="80" y="44"/>
                    </a:lnTo>
                    <a:lnTo>
                      <a:pt x="84" y="48"/>
                    </a:lnTo>
                    <a:lnTo>
                      <a:pt x="90" y="48"/>
                    </a:lnTo>
                    <a:lnTo>
                      <a:pt x="90" y="48"/>
                    </a:lnTo>
                    <a:close/>
                    <a:moveTo>
                      <a:pt x="204" y="338"/>
                    </a:moveTo>
                    <a:lnTo>
                      <a:pt x="16" y="338"/>
                    </a:lnTo>
                    <a:lnTo>
                      <a:pt x="16" y="338"/>
                    </a:lnTo>
                    <a:lnTo>
                      <a:pt x="10" y="340"/>
                    </a:lnTo>
                    <a:lnTo>
                      <a:pt x="6" y="342"/>
                    </a:lnTo>
                    <a:lnTo>
                      <a:pt x="2" y="348"/>
                    </a:lnTo>
                    <a:lnTo>
                      <a:pt x="0" y="354"/>
                    </a:lnTo>
                    <a:lnTo>
                      <a:pt x="0" y="360"/>
                    </a:lnTo>
                    <a:lnTo>
                      <a:pt x="0" y="360"/>
                    </a:lnTo>
                    <a:lnTo>
                      <a:pt x="2" y="368"/>
                    </a:lnTo>
                    <a:lnTo>
                      <a:pt x="6" y="372"/>
                    </a:lnTo>
                    <a:lnTo>
                      <a:pt x="10" y="376"/>
                    </a:lnTo>
                    <a:lnTo>
                      <a:pt x="16" y="376"/>
                    </a:lnTo>
                    <a:lnTo>
                      <a:pt x="204" y="376"/>
                    </a:lnTo>
                    <a:lnTo>
                      <a:pt x="204" y="376"/>
                    </a:lnTo>
                    <a:lnTo>
                      <a:pt x="210" y="376"/>
                    </a:lnTo>
                    <a:lnTo>
                      <a:pt x="214" y="372"/>
                    </a:lnTo>
                    <a:lnTo>
                      <a:pt x="218" y="368"/>
                    </a:lnTo>
                    <a:lnTo>
                      <a:pt x="220" y="360"/>
                    </a:lnTo>
                    <a:lnTo>
                      <a:pt x="220" y="354"/>
                    </a:lnTo>
                    <a:lnTo>
                      <a:pt x="220" y="354"/>
                    </a:lnTo>
                    <a:lnTo>
                      <a:pt x="218" y="348"/>
                    </a:lnTo>
                    <a:lnTo>
                      <a:pt x="214" y="342"/>
                    </a:lnTo>
                    <a:lnTo>
                      <a:pt x="210" y="340"/>
                    </a:lnTo>
                    <a:lnTo>
                      <a:pt x="204" y="338"/>
                    </a:lnTo>
                    <a:lnTo>
                      <a:pt x="204" y="33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82058" tIns="41029" rIns="82058" bIns="4102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93" name="Group 192"/>
            <p:cNvGrpSpPr/>
            <p:nvPr/>
          </p:nvGrpSpPr>
          <p:grpSpPr>
            <a:xfrm>
              <a:off x="2627948" y="4766411"/>
              <a:ext cx="612000" cy="612000"/>
              <a:chOff x="2366962" y="4530854"/>
              <a:chExt cx="723107" cy="730991"/>
            </a:xfrm>
          </p:grpSpPr>
          <p:grpSp>
            <p:nvGrpSpPr>
              <p:cNvPr id="194" name="Group 67"/>
              <p:cNvGrpSpPr/>
              <p:nvPr/>
            </p:nvGrpSpPr>
            <p:grpSpPr>
              <a:xfrm>
                <a:off x="2366962" y="4530854"/>
                <a:ext cx="723107" cy="730991"/>
                <a:chOff x="1678929" y="3640324"/>
                <a:chExt cx="1435305" cy="1465512"/>
              </a:xfrm>
            </p:grpSpPr>
            <p:sp>
              <p:nvSpPr>
                <p:cNvPr id="196" name="Oval 195"/>
                <p:cNvSpPr/>
                <p:nvPr/>
              </p:nvSpPr>
              <p:spPr bwMode="ltGray">
                <a:xfrm>
                  <a:off x="1678929" y="3640324"/>
                  <a:ext cx="1435305" cy="1465512"/>
                </a:xfrm>
                <a:prstGeom prst="ellipse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algn="ctr">
                    <a:defRPr/>
                  </a:pPr>
                  <a:endParaRPr lang="en-US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197" name="TextBox 196"/>
                <p:cNvSpPr txBox="1"/>
                <p:nvPr/>
              </p:nvSpPr>
              <p:spPr>
                <a:xfrm>
                  <a:off x="1935151" y="4436201"/>
                  <a:ext cx="1101583" cy="46101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indent="-246175" algn="ctr"/>
                  <a:r>
                    <a:rPr lang="ru-RU" sz="600" i="1" dirty="0" smtClean="0">
                      <a:solidFill>
                        <a:schemeClr val="bg1"/>
                      </a:solidFill>
                      <a:latin typeface="+mj-lt"/>
                    </a:rPr>
                    <a:t>Городская застройка</a:t>
                  </a:r>
                  <a:endParaRPr lang="ru-RU" sz="6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195" name="Freeform 4923"/>
              <p:cNvSpPr>
                <a:spLocks noEditPoints="1"/>
              </p:cNvSpPr>
              <p:nvPr/>
            </p:nvSpPr>
            <p:spPr bwMode="auto">
              <a:xfrm>
                <a:off x="2552145" y="4579316"/>
                <a:ext cx="352742" cy="323346"/>
              </a:xfrm>
              <a:custGeom>
                <a:avLst/>
                <a:gdLst>
                  <a:gd name="T0" fmla="*/ 310 w 360"/>
                  <a:gd name="T1" fmla="*/ 80 h 330"/>
                  <a:gd name="T2" fmla="*/ 310 w 360"/>
                  <a:gd name="T3" fmla="*/ 36 h 330"/>
                  <a:gd name="T4" fmla="*/ 310 w 360"/>
                  <a:gd name="T5" fmla="*/ 34 h 330"/>
                  <a:gd name="T6" fmla="*/ 310 w 360"/>
                  <a:gd name="T7" fmla="*/ 32 h 330"/>
                  <a:gd name="T8" fmla="*/ 310 w 360"/>
                  <a:gd name="T9" fmla="*/ 32 h 330"/>
                  <a:gd name="T10" fmla="*/ 310 w 360"/>
                  <a:gd name="T11" fmla="*/ 32 h 330"/>
                  <a:gd name="T12" fmla="*/ 308 w 360"/>
                  <a:gd name="T13" fmla="*/ 30 h 330"/>
                  <a:gd name="T14" fmla="*/ 308 w 360"/>
                  <a:gd name="T15" fmla="*/ 30 h 330"/>
                  <a:gd name="T16" fmla="*/ 308 w 360"/>
                  <a:gd name="T17" fmla="*/ 28 h 330"/>
                  <a:gd name="T18" fmla="*/ 306 w 360"/>
                  <a:gd name="T19" fmla="*/ 28 h 330"/>
                  <a:gd name="T20" fmla="*/ 274 w 360"/>
                  <a:gd name="T21" fmla="*/ 12 h 330"/>
                  <a:gd name="T22" fmla="*/ 272 w 360"/>
                  <a:gd name="T23" fmla="*/ 12 h 330"/>
                  <a:gd name="T24" fmla="*/ 254 w 360"/>
                  <a:gd name="T25" fmla="*/ 20 h 330"/>
                  <a:gd name="T26" fmla="*/ 238 w 360"/>
                  <a:gd name="T27" fmla="*/ 2 h 330"/>
                  <a:gd name="T28" fmla="*/ 226 w 360"/>
                  <a:gd name="T29" fmla="*/ 0 h 330"/>
                  <a:gd name="T30" fmla="*/ 110 w 360"/>
                  <a:gd name="T31" fmla="*/ 58 h 330"/>
                  <a:gd name="T32" fmla="*/ 110 w 360"/>
                  <a:gd name="T33" fmla="*/ 60 h 330"/>
                  <a:gd name="T34" fmla="*/ 108 w 360"/>
                  <a:gd name="T35" fmla="*/ 60 h 330"/>
                  <a:gd name="T36" fmla="*/ 108 w 360"/>
                  <a:gd name="T37" fmla="*/ 60 h 330"/>
                  <a:gd name="T38" fmla="*/ 2 w 360"/>
                  <a:gd name="T39" fmla="*/ 158 h 330"/>
                  <a:gd name="T40" fmla="*/ 0 w 360"/>
                  <a:gd name="T41" fmla="*/ 170 h 330"/>
                  <a:gd name="T42" fmla="*/ 4 w 360"/>
                  <a:gd name="T43" fmla="*/ 174 h 330"/>
                  <a:gd name="T44" fmla="*/ 10 w 360"/>
                  <a:gd name="T45" fmla="*/ 176 h 330"/>
                  <a:gd name="T46" fmla="*/ 40 w 360"/>
                  <a:gd name="T47" fmla="*/ 172 h 330"/>
                  <a:gd name="T48" fmla="*/ 40 w 360"/>
                  <a:gd name="T49" fmla="*/ 304 h 330"/>
                  <a:gd name="T50" fmla="*/ 44 w 360"/>
                  <a:gd name="T51" fmla="*/ 312 h 330"/>
                  <a:gd name="T52" fmla="*/ 50 w 360"/>
                  <a:gd name="T53" fmla="*/ 314 h 330"/>
                  <a:gd name="T54" fmla="*/ 220 w 360"/>
                  <a:gd name="T55" fmla="*/ 330 h 330"/>
                  <a:gd name="T56" fmla="*/ 220 w 360"/>
                  <a:gd name="T57" fmla="*/ 330 h 330"/>
                  <a:gd name="T58" fmla="*/ 224 w 360"/>
                  <a:gd name="T59" fmla="*/ 330 h 330"/>
                  <a:gd name="T60" fmla="*/ 224 w 360"/>
                  <a:gd name="T61" fmla="*/ 330 h 330"/>
                  <a:gd name="T62" fmla="*/ 322 w 360"/>
                  <a:gd name="T63" fmla="*/ 282 h 330"/>
                  <a:gd name="T64" fmla="*/ 326 w 360"/>
                  <a:gd name="T65" fmla="*/ 278 h 330"/>
                  <a:gd name="T66" fmla="*/ 326 w 360"/>
                  <a:gd name="T67" fmla="*/ 160 h 330"/>
                  <a:gd name="T68" fmla="*/ 356 w 360"/>
                  <a:gd name="T69" fmla="*/ 146 h 330"/>
                  <a:gd name="T70" fmla="*/ 360 w 360"/>
                  <a:gd name="T71" fmla="*/ 138 h 330"/>
                  <a:gd name="T72" fmla="*/ 360 w 360"/>
                  <a:gd name="T73" fmla="*/ 134 h 330"/>
                  <a:gd name="T74" fmla="*/ 358 w 360"/>
                  <a:gd name="T75" fmla="*/ 130 h 330"/>
                  <a:gd name="T76" fmla="*/ 150 w 360"/>
                  <a:gd name="T77" fmla="*/ 304 h 330"/>
                  <a:gd name="T78" fmla="*/ 150 w 360"/>
                  <a:gd name="T79" fmla="*/ 208 h 330"/>
                  <a:gd name="T80" fmla="*/ 144 w 360"/>
                  <a:gd name="T81" fmla="*/ 192 h 330"/>
                  <a:gd name="T82" fmla="*/ 128 w 360"/>
                  <a:gd name="T83" fmla="*/ 184 h 330"/>
                  <a:gd name="T84" fmla="*/ 120 w 360"/>
                  <a:gd name="T85" fmla="*/ 184 h 330"/>
                  <a:gd name="T86" fmla="*/ 108 w 360"/>
                  <a:gd name="T87" fmla="*/ 196 h 330"/>
                  <a:gd name="T88" fmla="*/ 106 w 360"/>
                  <a:gd name="T89" fmla="*/ 300 h 330"/>
                  <a:gd name="T90" fmla="*/ 60 w 360"/>
                  <a:gd name="T91" fmla="*/ 138 h 330"/>
                  <a:gd name="T92" fmla="*/ 210 w 360"/>
                  <a:gd name="T93" fmla="*/ 182 h 330"/>
                  <a:gd name="T94" fmla="*/ 272 w 360"/>
                  <a:gd name="T95" fmla="*/ 28 h 330"/>
                  <a:gd name="T96" fmla="*/ 264 w 360"/>
                  <a:gd name="T97" fmla="*/ 46 h 330"/>
                  <a:gd name="T98" fmla="*/ 272 w 360"/>
                  <a:gd name="T99" fmla="*/ 28 h 330"/>
                  <a:gd name="T100" fmla="*/ 294 w 360"/>
                  <a:gd name="T101" fmla="*/ 124 h 330"/>
                  <a:gd name="T102" fmla="*/ 272 w 360"/>
                  <a:gd name="T103" fmla="*/ 60 h 330"/>
                  <a:gd name="T104" fmla="*/ 240 w 360"/>
                  <a:gd name="T105" fmla="*/ 52 h 330"/>
                  <a:gd name="T106" fmla="*/ 256 w 360"/>
                  <a:gd name="T107" fmla="*/ 136 h 330"/>
                  <a:gd name="T108" fmla="*/ 240 w 360"/>
                  <a:gd name="T109" fmla="*/ 52 h 330"/>
                  <a:gd name="T110" fmla="*/ 230 w 360"/>
                  <a:gd name="T111" fmla="*/ 304 h 330"/>
                  <a:gd name="T112" fmla="*/ 230 w 360"/>
                  <a:gd name="T113" fmla="*/ 204 h 330"/>
                  <a:gd name="T114" fmla="*/ 236 w 360"/>
                  <a:gd name="T115" fmla="*/ 206 h 330"/>
                  <a:gd name="T116" fmla="*/ 306 w 360"/>
                  <a:gd name="T117" fmla="*/ 17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60" h="330">
                    <a:moveTo>
                      <a:pt x="358" y="130"/>
                    </a:moveTo>
                    <a:lnTo>
                      <a:pt x="310" y="80"/>
                    </a:lnTo>
                    <a:lnTo>
                      <a:pt x="310" y="36"/>
                    </a:lnTo>
                    <a:lnTo>
                      <a:pt x="310" y="36"/>
                    </a:lnTo>
                    <a:lnTo>
                      <a:pt x="310" y="34"/>
                    </a:lnTo>
                    <a:lnTo>
                      <a:pt x="310" y="34"/>
                    </a:lnTo>
                    <a:lnTo>
                      <a:pt x="310" y="32"/>
                    </a:lnTo>
                    <a:lnTo>
                      <a:pt x="310" y="32"/>
                    </a:lnTo>
                    <a:lnTo>
                      <a:pt x="310" y="32"/>
                    </a:lnTo>
                    <a:lnTo>
                      <a:pt x="310" y="32"/>
                    </a:lnTo>
                    <a:lnTo>
                      <a:pt x="310" y="32"/>
                    </a:lnTo>
                    <a:lnTo>
                      <a:pt x="310" y="32"/>
                    </a:lnTo>
                    <a:lnTo>
                      <a:pt x="308" y="30"/>
                    </a:lnTo>
                    <a:lnTo>
                      <a:pt x="308" y="30"/>
                    </a:lnTo>
                    <a:lnTo>
                      <a:pt x="308" y="30"/>
                    </a:lnTo>
                    <a:lnTo>
                      <a:pt x="308" y="30"/>
                    </a:lnTo>
                    <a:lnTo>
                      <a:pt x="308" y="28"/>
                    </a:lnTo>
                    <a:lnTo>
                      <a:pt x="308" y="28"/>
                    </a:lnTo>
                    <a:lnTo>
                      <a:pt x="306" y="28"/>
                    </a:lnTo>
                    <a:lnTo>
                      <a:pt x="306" y="28"/>
                    </a:lnTo>
                    <a:lnTo>
                      <a:pt x="306" y="28"/>
                    </a:lnTo>
                    <a:lnTo>
                      <a:pt x="274" y="12"/>
                    </a:lnTo>
                    <a:lnTo>
                      <a:pt x="274" y="12"/>
                    </a:lnTo>
                    <a:lnTo>
                      <a:pt x="272" y="12"/>
                    </a:lnTo>
                    <a:lnTo>
                      <a:pt x="268" y="12"/>
                    </a:lnTo>
                    <a:lnTo>
                      <a:pt x="254" y="20"/>
                    </a:lnTo>
                    <a:lnTo>
                      <a:pt x="238" y="2"/>
                    </a:lnTo>
                    <a:lnTo>
                      <a:pt x="238" y="2"/>
                    </a:lnTo>
                    <a:lnTo>
                      <a:pt x="232" y="0"/>
                    </a:lnTo>
                    <a:lnTo>
                      <a:pt x="226" y="0"/>
                    </a:lnTo>
                    <a:lnTo>
                      <a:pt x="114" y="58"/>
                    </a:lnTo>
                    <a:lnTo>
                      <a:pt x="110" y="58"/>
                    </a:lnTo>
                    <a:lnTo>
                      <a:pt x="110" y="58"/>
                    </a:lnTo>
                    <a:lnTo>
                      <a:pt x="110" y="60"/>
                    </a:lnTo>
                    <a:lnTo>
                      <a:pt x="110" y="60"/>
                    </a:lnTo>
                    <a:lnTo>
                      <a:pt x="108" y="60"/>
                    </a:lnTo>
                    <a:lnTo>
                      <a:pt x="108" y="60"/>
                    </a:lnTo>
                    <a:lnTo>
                      <a:pt x="108" y="60"/>
                    </a:lnTo>
                    <a:lnTo>
                      <a:pt x="2" y="158"/>
                    </a:lnTo>
                    <a:lnTo>
                      <a:pt x="2" y="158"/>
                    </a:lnTo>
                    <a:lnTo>
                      <a:pt x="0" y="164"/>
                    </a:lnTo>
                    <a:lnTo>
                      <a:pt x="0" y="170"/>
                    </a:lnTo>
                    <a:lnTo>
                      <a:pt x="0" y="170"/>
                    </a:lnTo>
                    <a:lnTo>
                      <a:pt x="4" y="174"/>
                    </a:lnTo>
                    <a:lnTo>
                      <a:pt x="10" y="176"/>
                    </a:lnTo>
                    <a:lnTo>
                      <a:pt x="10" y="176"/>
                    </a:lnTo>
                    <a:lnTo>
                      <a:pt x="10" y="176"/>
                    </a:lnTo>
                    <a:lnTo>
                      <a:pt x="40" y="172"/>
                    </a:lnTo>
                    <a:lnTo>
                      <a:pt x="40" y="304"/>
                    </a:lnTo>
                    <a:lnTo>
                      <a:pt x="40" y="304"/>
                    </a:lnTo>
                    <a:lnTo>
                      <a:pt x="42" y="308"/>
                    </a:lnTo>
                    <a:lnTo>
                      <a:pt x="44" y="312"/>
                    </a:lnTo>
                    <a:lnTo>
                      <a:pt x="46" y="314"/>
                    </a:lnTo>
                    <a:lnTo>
                      <a:pt x="50" y="314"/>
                    </a:lnTo>
                    <a:lnTo>
                      <a:pt x="220" y="330"/>
                    </a:lnTo>
                    <a:lnTo>
                      <a:pt x="220" y="330"/>
                    </a:lnTo>
                    <a:lnTo>
                      <a:pt x="220" y="330"/>
                    </a:lnTo>
                    <a:lnTo>
                      <a:pt x="220" y="330"/>
                    </a:lnTo>
                    <a:lnTo>
                      <a:pt x="224" y="330"/>
                    </a:lnTo>
                    <a:lnTo>
                      <a:pt x="224" y="330"/>
                    </a:lnTo>
                    <a:lnTo>
                      <a:pt x="224" y="330"/>
                    </a:lnTo>
                    <a:lnTo>
                      <a:pt x="224" y="330"/>
                    </a:lnTo>
                    <a:lnTo>
                      <a:pt x="224" y="330"/>
                    </a:lnTo>
                    <a:lnTo>
                      <a:pt x="322" y="282"/>
                    </a:lnTo>
                    <a:lnTo>
                      <a:pt x="322" y="282"/>
                    </a:lnTo>
                    <a:lnTo>
                      <a:pt x="326" y="278"/>
                    </a:lnTo>
                    <a:lnTo>
                      <a:pt x="326" y="272"/>
                    </a:lnTo>
                    <a:lnTo>
                      <a:pt x="326" y="160"/>
                    </a:lnTo>
                    <a:lnTo>
                      <a:pt x="356" y="146"/>
                    </a:lnTo>
                    <a:lnTo>
                      <a:pt x="356" y="146"/>
                    </a:lnTo>
                    <a:lnTo>
                      <a:pt x="358" y="142"/>
                    </a:lnTo>
                    <a:lnTo>
                      <a:pt x="360" y="138"/>
                    </a:lnTo>
                    <a:lnTo>
                      <a:pt x="360" y="138"/>
                    </a:lnTo>
                    <a:lnTo>
                      <a:pt x="360" y="134"/>
                    </a:lnTo>
                    <a:lnTo>
                      <a:pt x="358" y="130"/>
                    </a:lnTo>
                    <a:lnTo>
                      <a:pt x="358" y="130"/>
                    </a:lnTo>
                    <a:close/>
                    <a:moveTo>
                      <a:pt x="210" y="310"/>
                    </a:moveTo>
                    <a:lnTo>
                      <a:pt x="150" y="304"/>
                    </a:lnTo>
                    <a:lnTo>
                      <a:pt x="150" y="208"/>
                    </a:lnTo>
                    <a:lnTo>
                      <a:pt x="150" y="208"/>
                    </a:lnTo>
                    <a:lnTo>
                      <a:pt x="148" y="200"/>
                    </a:lnTo>
                    <a:lnTo>
                      <a:pt x="144" y="192"/>
                    </a:lnTo>
                    <a:lnTo>
                      <a:pt x="136" y="186"/>
                    </a:lnTo>
                    <a:lnTo>
                      <a:pt x="128" y="184"/>
                    </a:lnTo>
                    <a:lnTo>
                      <a:pt x="128" y="184"/>
                    </a:lnTo>
                    <a:lnTo>
                      <a:pt x="120" y="184"/>
                    </a:lnTo>
                    <a:lnTo>
                      <a:pt x="112" y="188"/>
                    </a:lnTo>
                    <a:lnTo>
                      <a:pt x="108" y="196"/>
                    </a:lnTo>
                    <a:lnTo>
                      <a:pt x="106" y="204"/>
                    </a:lnTo>
                    <a:lnTo>
                      <a:pt x="106" y="300"/>
                    </a:lnTo>
                    <a:lnTo>
                      <a:pt x="60" y="296"/>
                    </a:lnTo>
                    <a:lnTo>
                      <a:pt x="60" y="138"/>
                    </a:lnTo>
                    <a:lnTo>
                      <a:pt x="118" y="86"/>
                    </a:lnTo>
                    <a:lnTo>
                      <a:pt x="210" y="182"/>
                    </a:lnTo>
                    <a:lnTo>
                      <a:pt x="210" y="310"/>
                    </a:lnTo>
                    <a:close/>
                    <a:moveTo>
                      <a:pt x="272" y="28"/>
                    </a:moveTo>
                    <a:lnTo>
                      <a:pt x="286" y="36"/>
                    </a:lnTo>
                    <a:lnTo>
                      <a:pt x="264" y="46"/>
                    </a:lnTo>
                    <a:lnTo>
                      <a:pt x="250" y="40"/>
                    </a:lnTo>
                    <a:lnTo>
                      <a:pt x="272" y="28"/>
                    </a:lnTo>
                    <a:close/>
                    <a:moveTo>
                      <a:pt x="294" y="48"/>
                    </a:moveTo>
                    <a:lnTo>
                      <a:pt x="294" y="124"/>
                    </a:lnTo>
                    <a:lnTo>
                      <a:pt x="272" y="136"/>
                    </a:lnTo>
                    <a:lnTo>
                      <a:pt x="272" y="60"/>
                    </a:lnTo>
                    <a:lnTo>
                      <a:pt x="294" y="48"/>
                    </a:lnTo>
                    <a:close/>
                    <a:moveTo>
                      <a:pt x="240" y="52"/>
                    </a:moveTo>
                    <a:lnTo>
                      <a:pt x="256" y="60"/>
                    </a:lnTo>
                    <a:lnTo>
                      <a:pt x="256" y="136"/>
                    </a:lnTo>
                    <a:lnTo>
                      <a:pt x="240" y="128"/>
                    </a:lnTo>
                    <a:lnTo>
                      <a:pt x="240" y="52"/>
                    </a:lnTo>
                    <a:close/>
                    <a:moveTo>
                      <a:pt x="306" y="266"/>
                    </a:moveTo>
                    <a:lnTo>
                      <a:pt x="230" y="304"/>
                    </a:lnTo>
                    <a:lnTo>
                      <a:pt x="230" y="204"/>
                    </a:lnTo>
                    <a:lnTo>
                      <a:pt x="230" y="204"/>
                    </a:lnTo>
                    <a:lnTo>
                      <a:pt x="236" y="206"/>
                    </a:lnTo>
                    <a:lnTo>
                      <a:pt x="236" y="206"/>
                    </a:lnTo>
                    <a:lnTo>
                      <a:pt x="240" y="204"/>
                    </a:lnTo>
                    <a:lnTo>
                      <a:pt x="306" y="170"/>
                    </a:lnTo>
                    <a:lnTo>
                      <a:pt x="306" y="26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cxnSp>
        <p:nvCxnSpPr>
          <p:cNvPr id="242" name="Elbow Connector 241"/>
          <p:cNvCxnSpPr>
            <a:stCxn id="73" idx="0"/>
            <a:endCxn id="48" idx="2"/>
          </p:cNvCxnSpPr>
          <p:nvPr/>
        </p:nvCxnSpPr>
        <p:spPr>
          <a:xfrm rot="5400000" flipH="1" flipV="1">
            <a:off x="4919259" y="4343233"/>
            <a:ext cx="580430" cy="178720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Elbow Connector 245"/>
          <p:cNvCxnSpPr>
            <a:stCxn id="179" idx="0"/>
            <a:endCxn id="48" idx="2"/>
          </p:cNvCxnSpPr>
          <p:nvPr/>
        </p:nvCxnSpPr>
        <p:spPr>
          <a:xfrm rot="16200000" flipV="1">
            <a:off x="6706465" y="4343233"/>
            <a:ext cx="580430" cy="178720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/>
          <p:cNvCxnSpPr>
            <a:stCxn id="178" idx="0"/>
            <a:endCxn id="48" idx="2"/>
          </p:cNvCxnSpPr>
          <p:nvPr/>
        </p:nvCxnSpPr>
        <p:spPr>
          <a:xfrm flipV="1">
            <a:off x="6103077" y="4946621"/>
            <a:ext cx="0" cy="580430"/>
          </a:xfrm>
          <a:prstGeom prst="line">
            <a:avLst/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tangle 255"/>
          <p:cNvSpPr/>
          <p:nvPr/>
        </p:nvSpPr>
        <p:spPr>
          <a:xfrm>
            <a:off x="3595871" y="5382588"/>
            <a:ext cx="1440000" cy="15160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0" lvl="1">
              <a:spcAft>
                <a:spcPts val="600"/>
              </a:spcAft>
            </a:pPr>
            <a:endParaRPr lang="en-US" sz="900" i="1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7" name="Rectangle 256"/>
          <p:cNvSpPr/>
          <p:nvPr/>
        </p:nvSpPr>
        <p:spPr>
          <a:xfrm>
            <a:off x="5383077" y="5382588"/>
            <a:ext cx="1440000" cy="15160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0" lvl="1">
              <a:spcAft>
                <a:spcPts val="600"/>
              </a:spcAft>
            </a:pPr>
            <a:endParaRPr lang="en-US" sz="9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8" name="Rectangle 257"/>
          <p:cNvSpPr/>
          <p:nvPr/>
        </p:nvSpPr>
        <p:spPr>
          <a:xfrm>
            <a:off x="7170283" y="5382588"/>
            <a:ext cx="1440000" cy="15160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0" lvl="1">
              <a:spcAft>
                <a:spcPts val="600"/>
              </a:spcAft>
            </a:pPr>
            <a:endParaRPr lang="en-US" sz="9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8" name="Rectangle 47"/>
          <p:cNvSpPr/>
          <p:nvPr/>
        </p:nvSpPr>
        <p:spPr bwMode="ltGray">
          <a:xfrm>
            <a:off x="5969727" y="4613538"/>
            <a:ext cx="266700" cy="33308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 smtClean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59" name="Group 258"/>
          <p:cNvGrpSpPr/>
          <p:nvPr/>
        </p:nvGrpSpPr>
        <p:grpSpPr>
          <a:xfrm>
            <a:off x="5914236" y="4579825"/>
            <a:ext cx="399401" cy="530633"/>
            <a:chOff x="5921448" y="4579825"/>
            <a:chExt cx="399401" cy="530633"/>
          </a:xfrm>
        </p:grpSpPr>
        <p:sp>
          <p:nvSpPr>
            <p:cNvPr id="62" name="Oval 61"/>
            <p:cNvSpPr/>
            <p:nvPr/>
          </p:nvSpPr>
          <p:spPr bwMode="ltGray">
            <a:xfrm>
              <a:off x="6062663" y="5015901"/>
              <a:ext cx="94557" cy="94557"/>
            </a:xfrm>
            <a:prstGeom prst="ellipse">
              <a:avLst/>
            </a:prstGeom>
            <a:solidFill>
              <a:srgbClr val="74706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4" name="Freeform 4814"/>
            <p:cNvSpPr>
              <a:spLocks noEditPoints="1"/>
            </p:cNvSpPr>
            <p:nvPr/>
          </p:nvSpPr>
          <p:spPr bwMode="auto">
            <a:xfrm>
              <a:off x="5921448" y="4579825"/>
              <a:ext cx="399401" cy="530633"/>
            </a:xfrm>
            <a:custGeom>
              <a:avLst/>
              <a:gdLst>
                <a:gd name="T0" fmla="*/ 148 w 280"/>
                <a:gd name="T1" fmla="*/ 304 h 372"/>
                <a:gd name="T2" fmla="*/ 148 w 280"/>
                <a:gd name="T3" fmla="*/ 98 h 372"/>
                <a:gd name="T4" fmla="*/ 164 w 280"/>
                <a:gd name="T5" fmla="*/ 92 h 372"/>
                <a:gd name="T6" fmla="*/ 180 w 280"/>
                <a:gd name="T7" fmla="*/ 72 h 372"/>
                <a:gd name="T8" fmla="*/ 186 w 280"/>
                <a:gd name="T9" fmla="*/ 48 h 372"/>
                <a:gd name="T10" fmla="*/ 178 w 280"/>
                <a:gd name="T11" fmla="*/ 20 h 372"/>
                <a:gd name="T12" fmla="*/ 160 w 280"/>
                <a:gd name="T13" fmla="*/ 48 h 372"/>
                <a:gd name="T14" fmla="*/ 106 w 280"/>
                <a:gd name="T15" fmla="*/ 0 h 372"/>
                <a:gd name="T16" fmla="*/ 80 w 280"/>
                <a:gd name="T17" fmla="*/ 32 h 372"/>
                <a:gd name="T18" fmla="*/ 78 w 280"/>
                <a:gd name="T19" fmla="*/ 56 h 372"/>
                <a:gd name="T20" fmla="*/ 88 w 280"/>
                <a:gd name="T21" fmla="*/ 80 h 372"/>
                <a:gd name="T22" fmla="*/ 108 w 280"/>
                <a:gd name="T23" fmla="*/ 96 h 372"/>
                <a:gd name="T24" fmla="*/ 116 w 280"/>
                <a:gd name="T25" fmla="*/ 300 h 372"/>
                <a:gd name="T26" fmla="*/ 108 w 280"/>
                <a:gd name="T27" fmla="*/ 308 h 372"/>
                <a:gd name="T28" fmla="*/ 96 w 280"/>
                <a:gd name="T29" fmla="*/ 336 h 372"/>
                <a:gd name="T30" fmla="*/ 98 w 280"/>
                <a:gd name="T31" fmla="*/ 350 h 372"/>
                <a:gd name="T32" fmla="*/ 106 w 280"/>
                <a:gd name="T33" fmla="*/ 360 h 372"/>
                <a:gd name="T34" fmla="*/ 124 w 280"/>
                <a:gd name="T35" fmla="*/ 370 h 372"/>
                <a:gd name="T36" fmla="*/ 140 w 280"/>
                <a:gd name="T37" fmla="*/ 370 h 372"/>
                <a:gd name="T38" fmla="*/ 158 w 280"/>
                <a:gd name="T39" fmla="*/ 360 h 372"/>
                <a:gd name="T40" fmla="*/ 168 w 280"/>
                <a:gd name="T41" fmla="*/ 342 h 372"/>
                <a:gd name="T42" fmla="*/ 168 w 280"/>
                <a:gd name="T43" fmla="*/ 328 h 372"/>
                <a:gd name="T44" fmla="*/ 158 w 280"/>
                <a:gd name="T45" fmla="*/ 310 h 372"/>
                <a:gd name="T46" fmla="*/ 144 w 280"/>
                <a:gd name="T47" fmla="*/ 346 h 372"/>
                <a:gd name="T48" fmla="*/ 132 w 280"/>
                <a:gd name="T49" fmla="*/ 352 h 372"/>
                <a:gd name="T50" fmla="*/ 120 w 280"/>
                <a:gd name="T51" fmla="*/ 346 h 372"/>
                <a:gd name="T52" fmla="*/ 116 w 280"/>
                <a:gd name="T53" fmla="*/ 336 h 372"/>
                <a:gd name="T54" fmla="*/ 120 w 280"/>
                <a:gd name="T55" fmla="*/ 324 h 372"/>
                <a:gd name="T56" fmla="*/ 132 w 280"/>
                <a:gd name="T57" fmla="*/ 320 h 372"/>
                <a:gd name="T58" fmla="*/ 144 w 280"/>
                <a:gd name="T59" fmla="*/ 324 h 372"/>
                <a:gd name="T60" fmla="*/ 148 w 280"/>
                <a:gd name="T61" fmla="*/ 336 h 372"/>
                <a:gd name="T62" fmla="*/ 144 w 280"/>
                <a:gd name="T63" fmla="*/ 346 h 372"/>
                <a:gd name="T64" fmla="*/ 186 w 280"/>
                <a:gd name="T65" fmla="*/ 318 h 372"/>
                <a:gd name="T66" fmla="*/ 172 w 280"/>
                <a:gd name="T67" fmla="*/ 296 h 372"/>
                <a:gd name="T68" fmla="*/ 168 w 280"/>
                <a:gd name="T69" fmla="*/ 286 h 372"/>
                <a:gd name="T70" fmla="*/ 168 w 280"/>
                <a:gd name="T71" fmla="*/ 250 h 372"/>
                <a:gd name="T72" fmla="*/ 172 w 280"/>
                <a:gd name="T73" fmla="*/ 190 h 372"/>
                <a:gd name="T74" fmla="*/ 178 w 280"/>
                <a:gd name="T75" fmla="*/ 194 h 372"/>
                <a:gd name="T76" fmla="*/ 186 w 280"/>
                <a:gd name="T77" fmla="*/ 190 h 372"/>
                <a:gd name="T78" fmla="*/ 188 w 280"/>
                <a:gd name="T79" fmla="*/ 180 h 372"/>
                <a:gd name="T80" fmla="*/ 168 w 280"/>
                <a:gd name="T81" fmla="*/ 150 h 372"/>
                <a:gd name="T82" fmla="*/ 204 w 280"/>
                <a:gd name="T83" fmla="*/ 158 h 372"/>
                <a:gd name="T84" fmla="*/ 212 w 280"/>
                <a:gd name="T85" fmla="*/ 160 h 372"/>
                <a:gd name="T86" fmla="*/ 218 w 280"/>
                <a:gd name="T87" fmla="*/ 158 h 372"/>
                <a:gd name="T88" fmla="*/ 220 w 280"/>
                <a:gd name="T89" fmla="*/ 146 h 372"/>
                <a:gd name="T90" fmla="*/ 216 w 280"/>
                <a:gd name="T91" fmla="*/ 102 h 372"/>
                <a:gd name="T92" fmla="*/ 240 w 280"/>
                <a:gd name="T93" fmla="*/ 126 h 372"/>
                <a:gd name="T94" fmla="*/ 248 w 280"/>
                <a:gd name="T95" fmla="*/ 126 h 372"/>
                <a:gd name="T96" fmla="*/ 254 w 280"/>
                <a:gd name="T97" fmla="*/ 122 h 372"/>
                <a:gd name="T98" fmla="*/ 252 w 280"/>
                <a:gd name="T99" fmla="*/ 110 h 372"/>
                <a:gd name="T100" fmla="*/ 84 w 280"/>
                <a:gd name="T101" fmla="*/ 234 h 372"/>
                <a:gd name="T102" fmla="*/ 96 w 280"/>
                <a:gd name="T103" fmla="*/ 292 h 372"/>
                <a:gd name="T104" fmla="*/ 0 w 280"/>
                <a:gd name="T105" fmla="*/ 318 h 372"/>
                <a:gd name="T106" fmla="*/ 72 w 280"/>
                <a:gd name="T107" fmla="*/ 290 h 372"/>
                <a:gd name="T108" fmla="*/ 80 w 280"/>
                <a:gd name="T109" fmla="*/ 292 h 372"/>
                <a:gd name="T110" fmla="*/ 86 w 280"/>
                <a:gd name="T111" fmla="*/ 290 h 372"/>
                <a:gd name="T112" fmla="*/ 88 w 280"/>
                <a:gd name="T113" fmla="*/ 278 h 372"/>
                <a:gd name="T114" fmla="*/ 84 w 280"/>
                <a:gd name="T115" fmla="*/ 234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0" h="372">
                  <a:moveTo>
                    <a:pt x="158" y="310"/>
                  </a:moveTo>
                  <a:lnTo>
                    <a:pt x="158" y="310"/>
                  </a:lnTo>
                  <a:lnTo>
                    <a:pt x="148" y="304"/>
                  </a:lnTo>
                  <a:lnTo>
                    <a:pt x="148" y="304"/>
                  </a:lnTo>
                  <a:lnTo>
                    <a:pt x="148" y="300"/>
                  </a:lnTo>
                  <a:lnTo>
                    <a:pt x="148" y="98"/>
                  </a:lnTo>
                  <a:lnTo>
                    <a:pt x="148" y="98"/>
                  </a:lnTo>
                  <a:lnTo>
                    <a:pt x="156" y="96"/>
                  </a:lnTo>
                  <a:lnTo>
                    <a:pt x="164" y="92"/>
                  </a:lnTo>
                  <a:lnTo>
                    <a:pt x="170" y="86"/>
                  </a:lnTo>
                  <a:lnTo>
                    <a:pt x="176" y="80"/>
                  </a:lnTo>
                  <a:lnTo>
                    <a:pt x="180" y="72"/>
                  </a:lnTo>
                  <a:lnTo>
                    <a:pt x="184" y="64"/>
                  </a:lnTo>
                  <a:lnTo>
                    <a:pt x="186" y="56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4" y="32"/>
                  </a:lnTo>
                  <a:lnTo>
                    <a:pt x="178" y="20"/>
                  </a:lnTo>
                  <a:lnTo>
                    <a:pt x="170" y="10"/>
                  </a:lnTo>
                  <a:lnTo>
                    <a:pt x="160" y="0"/>
                  </a:lnTo>
                  <a:lnTo>
                    <a:pt x="160" y="48"/>
                  </a:lnTo>
                  <a:lnTo>
                    <a:pt x="106" y="48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94" y="10"/>
                  </a:lnTo>
                  <a:lnTo>
                    <a:pt x="86" y="20"/>
                  </a:lnTo>
                  <a:lnTo>
                    <a:pt x="80" y="32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8" y="56"/>
                  </a:lnTo>
                  <a:lnTo>
                    <a:pt x="82" y="64"/>
                  </a:lnTo>
                  <a:lnTo>
                    <a:pt x="84" y="72"/>
                  </a:lnTo>
                  <a:lnTo>
                    <a:pt x="88" y="80"/>
                  </a:lnTo>
                  <a:lnTo>
                    <a:pt x="94" y="86"/>
                  </a:lnTo>
                  <a:lnTo>
                    <a:pt x="100" y="92"/>
                  </a:lnTo>
                  <a:lnTo>
                    <a:pt x="108" y="96"/>
                  </a:lnTo>
                  <a:lnTo>
                    <a:pt x="116" y="98"/>
                  </a:lnTo>
                  <a:lnTo>
                    <a:pt x="116" y="300"/>
                  </a:lnTo>
                  <a:lnTo>
                    <a:pt x="116" y="300"/>
                  </a:lnTo>
                  <a:lnTo>
                    <a:pt x="116" y="304"/>
                  </a:lnTo>
                  <a:lnTo>
                    <a:pt x="116" y="304"/>
                  </a:lnTo>
                  <a:lnTo>
                    <a:pt x="108" y="308"/>
                  </a:lnTo>
                  <a:lnTo>
                    <a:pt x="102" y="316"/>
                  </a:lnTo>
                  <a:lnTo>
                    <a:pt x="98" y="326"/>
                  </a:lnTo>
                  <a:lnTo>
                    <a:pt x="96" y="336"/>
                  </a:lnTo>
                  <a:lnTo>
                    <a:pt x="96" y="336"/>
                  </a:lnTo>
                  <a:lnTo>
                    <a:pt x="96" y="342"/>
                  </a:lnTo>
                  <a:lnTo>
                    <a:pt x="98" y="350"/>
                  </a:lnTo>
                  <a:lnTo>
                    <a:pt x="102" y="356"/>
                  </a:lnTo>
                  <a:lnTo>
                    <a:pt x="106" y="360"/>
                  </a:lnTo>
                  <a:lnTo>
                    <a:pt x="106" y="360"/>
                  </a:lnTo>
                  <a:lnTo>
                    <a:pt x="112" y="366"/>
                  </a:lnTo>
                  <a:lnTo>
                    <a:pt x="118" y="368"/>
                  </a:lnTo>
                  <a:lnTo>
                    <a:pt x="124" y="370"/>
                  </a:lnTo>
                  <a:lnTo>
                    <a:pt x="132" y="372"/>
                  </a:lnTo>
                  <a:lnTo>
                    <a:pt x="132" y="372"/>
                  </a:lnTo>
                  <a:lnTo>
                    <a:pt x="140" y="370"/>
                  </a:lnTo>
                  <a:lnTo>
                    <a:pt x="146" y="368"/>
                  </a:lnTo>
                  <a:lnTo>
                    <a:pt x="152" y="366"/>
                  </a:lnTo>
                  <a:lnTo>
                    <a:pt x="158" y="360"/>
                  </a:lnTo>
                  <a:lnTo>
                    <a:pt x="162" y="356"/>
                  </a:lnTo>
                  <a:lnTo>
                    <a:pt x="166" y="350"/>
                  </a:lnTo>
                  <a:lnTo>
                    <a:pt x="168" y="342"/>
                  </a:lnTo>
                  <a:lnTo>
                    <a:pt x="168" y="336"/>
                  </a:lnTo>
                  <a:lnTo>
                    <a:pt x="168" y="336"/>
                  </a:lnTo>
                  <a:lnTo>
                    <a:pt x="168" y="328"/>
                  </a:lnTo>
                  <a:lnTo>
                    <a:pt x="166" y="322"/>
                  </a:lnTo>
                  <a:lnTo>
                    <a:pt x="162" y="316"/>
                  </a:lnTo>
                  <a:lnTo>
                    <a:pt x="158" y="310"/>
                  </a:lnTo>
                  <a:lnTo>
                    <a:pt x="158" y="310"/>
                  </a:lnTo>
                  <a:close/>
                  <a:moveTo>
                    <a:pt x="144" y="346"/>
                  </a:moveTo>
                  <a:lnTo>
                    <a:pt x="144" y="346"/>
                  </a:lnTo>
                  <a:lnTo>
                    <a:pt x="138" y="350"/>
                  </a:lnTo>
                  <a:lnTo>
                    <a:pt x="132" y="352"/>
                  </a:lnTo>
                  <a:lnTo>
                    <a:pt x="132" y="352"/>
                  </a:lnTo>
                  <a:lnTo>
                    <a:pt x="126" y="350"/>
                  </a:lnTo>
                  <a:lnTo>
                    <a:pt x="120" y="346"/>
                  </a:lnTo>
                  <a:lnTo>
                    <a:pt x="120" y="346"/>
                  </a:lnTo>
                  <a:lnTo>
                    <a:pt x="118" y="342"/>
                  </a:lnTo>
                  <a:lnTo>
                    <a:pt x="116" y="336"/>
                  </a:lnTo>
                  <a:lnTo>
                    <a:pt x="116" y="336"/>
                  </a:lnTo>
                  <a:lnTo>
                    <a:pt x="118" y="330"/>
                  </a:lnTo>
                  <a:lnTo>
                    <a:pt x="120" y="324"/>
                  </a:lnTo>
                  <a:lnTo>
                    <a:pt x="120" y="324"/>
                  </a:lnTo>
                  <a:lnTo>
                    <a:pt x="126" y="320"/>
                  </a:lnTo>
                  <a:lnTo>
                    <a:pt x="132" y="320"/>
                  </a:lnTo>
                  <a:lnTo>
                    <a:pt x="132" y="320"/>
                  </a:lnTo>
                  <a:lnTo>
                    <a:pt x="138" y="320"/>
                  </a:lnTo>
                  <a:lnTo>
                    <a:pt x="144" y="324"/>
                  </a:lnTo>
                  <a:lnTo>
                    <a:pt x="144" y="324"/>
                  </a:lnTo>
                  <a:lnTo>
                    <a:pt x="146" y="330"/>
                  </a:lnTo>
                  <a:lnTo>
                    <a:pt x="148" y="336"/>
                  </a:lnTo>
                  <a:lnTo>
                    <a:pt x="148" y="336"/>
                  </a:lnTo>
                  <a:lnTo>
                    <a:pt x="146" y="342"/>
                  </a:lnTo>
                  <a:lnTo>
                    <a:pt x="144" y="346"/>
                  </a:lnTo>
                  <a:lnTo>
                    <a:pt x="144" y="346"/>
                  </a:lnTo>
                  <a:close/>
                  <a:moveTo>
                    <a:pt x="280" y="38"/>
                  </a:moveTo>
                  <a:lnTo>
                    <a:pt x="280" y="318"/>
                  </a:lnTo>
                  <a:lnTo>
                    <a:pt x="186" y="318"/>
                  </a:lnTo>
                  <a:lnTo>
                    <a:pt x="186" y="318"/>
                  </a:lnTo>
                  <a:lnTo>
                    <a:pt x="180" y="306"/>
                  </a:lnTo>
                  <a:lnTo>
                    <a:pt x="172" y="296"/>
                  </a:lnTo>
                  <a:lnTo>
                    <a:pt x="172" y="296"/>
                  </a:lnTo>
                  <a:lnTo>
                    <a:pt x="168" y="292"/>
                  </a:lnTo>
                  <a:lnTo>
                    <a:pt x="168" y="286"/>
                  </a:lnTo>
                  <a:lnTo>
                    <a:pt x="248" y="286"/>
                  </a:lnTo>
                  <a:lnTo>
                    <a:pt x="248" y="170"/>
                  </a:lnTo>
                  <a:lnTo>
                    <a:pt x="168" y="250"/>
                  </a:lnTo>
                  <a:lnTo>
                    <a:pt x="168" y="188"/>
                  </a:lnTo>
                  <a:lnTo>
                    <a:pt x="172" y="190"/>
                  </a:lnTo>
                  <a:lnTo>
                    <a:pt x="172" y="190"/>
                  </a:lnTo>
                  <a:lnTo>
                    <a:pt x="174" y="192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82" y="192"/>
                  </a:lnTo>
                  <a:lnTo>
                    <a:pt x="186" y="190"/>
                  </a:lnTo>
                  <a:lnTo>
                    <a:pt x="186" y="190"/>
                  </a:lnTo>
                  <a:lnTo>
                    <a:pt x="188" y="186"/>
                  </a:lnTo>
                  <a:lnTo>
                    <a:pt x="188" y="184"/>
                  </a:lnTo>
                  <a:lnTo>
                    <a:pt x="188" y="180"/>
                  </a:lnTo>
                  <a:lnTo>
                    <a:pt x="186" y="176"/>
                  </a:lnTo>
                  <a:lnTo>
                    <a:pt x="168" y="160"/>
                  </a:lnTo>
                  <a:lnTo>
                    <a:pt x="168" y="150"/>
                  </a:lnTo>
                  <a:lnTo>
                    <a:pt x="182" y="136"/>
                  </a:lnTo>
                  <a:lnTo>
                    <a:pt x="204" y="158"/>
                  </a:lnTo>
                  <a:lnTo>
                    <a:pt x="204" y="158"/>
                  </a:lnTo>
                  <a:lnTo>
                    <a:pt x="208" y="160"/>
                  </a:lnTo>
                  <a:lnTo>
                    <a:pt x="212" y="160"/>
                  </a:lnTo>
                  <a:lnTo>
                    <a:pt x="212" y="160"/>
                  </a:lnTo>
                  <a:lnTo>
                    <a:pt x="214" y="160"/>
                  </a:lnTo>
                  <a:lnTo>
                    <a:pt x="218" y="158"/>
                  </a:lnTo>
                  <a:lnTo>
                    <a:pt x="218" y="158"/>
                  </a:lnTo>
                  <a:lnTo>
                    <a:pt x="220" y="154"/>
                  </a:lnTo>
                  <a:lnTo>
                    <a:pt x="222" y="150"/>
                  </a:lnTo>
                  <a:lnTo>
                    <a:pt x="220" y="146"/>
                  </a:lnTo>
                  <a:lnTo>
                    <a:pt x="218" y="144"/>
                  </a:lnTo>
                  <a:lnTo>
                    <a:pt x="196" y="122"/>
                  </a:lnTo>
                  <a:lnTo>
                    <a:pt x="216" y="102"/>
                  </a:lnTo>
                  <a:lnTo>
                    <a:pt x="236" y="124"/>
                  </a:lnTo>
                  <a:lnTo>
                    <a:pt x="236" y="124"/>
                  </a:lnTo>
                  <a:lnTo>
                    <a:pt x="240" y="126"/>
                  </a:lnTo>
                  <a:lnTo>
                    <a:pt x="244" y="128"/>
                  </a:lnTo>
                  <a:lnTo>
                    <a:pt x="244" y="128"/>
                  </a:lnTo>
                  <a:lnTo>
                    <a:pt x="248" y="126"/>
                  </a:lnTo>
                  <a:lnTo>
                    <a:pt x="252" y="124"/>
                  </a:lnTo>
                  <a:lnTo>
                    <a:pt x="252" y="124"/>
                  </a:lnTo>
                  <a:lnTo>
                    <a:pt x="254" y="122"/>
                  </a:lnTo>
                  <a:lnTo>
                    <a:pt x="254" y="118"/>
                  </a:lnTo>
                  <a:lnTo>
                    <a:pt x="254" y="114"/>
                  </a:lnTo>
                  <a:lnTo>
                    <a:pt x="252" y="110"/>
                  </a:lnTo>
                  <a:lnTo>
                    <a:pt x="230" y="88"/>
                  </a:lnTo>
                  <a:lnTo>
                    <a:pt x="280" y="38"/>
                  </a:lnTo>
                  <a:close/>
                  <a:moveTo>
                    <a:pt x="84" y="234"/>
                  </a:moveTo>
                  <a:lnTo>
                    <a:pt x="96" y="248"/>
                  </a:lnTo>
                  <a:lnTo>
                    <a:pt x="96" y="292"/>
                  </a:lnTo>
                  <a:lnTo>
                    <a:pt x="96" y="292"/>
                  </a:lnTo>
                  <a:lnTo>
                    <a:pt x="86" y="304"/>
                  </a:lnTo>
                  <a:lnTo>
                    <a:pt x="80" y="318"/>
                  </a:lnTo>
                  <a:lnTo>
                    <a:pt x="0" y="318"/>
                  </a:lnTo>
                  <a:lnTo>
                    <a:pt x="50" y="268"/>
                  </a:lnTo>
                  <a:lnTo>
                    <a:pt x="72" y="290"/>
                  </a:lnTo>
                  <a:lnTo>
                    <a:pt x="72" y="290"/>
                  </a:lnTo>
                  <a:lnTo>
                    <a:pt x="76" y="292"/>
                  </a:lnTo>
                  <a:lnTo>
                    <a:pt x="80" y="292"/>
                  </a:lnTo>
                  <a:lnTo>
                    <a:pt x="80" y="292"/>
                  </a:lnTo>
                  <a:lnTo>
                    <a:pt x="84" y="292"/>
                  </a:lnTo>
                  <a:lnTo>
                    <a:pt x="86" y="290"/>
                  </a:lnTo>
                  <a:lnTo>
                    <a:pt x="86" y="290"/>
                  </a:lnTo>
                  <a:lnTo>
                    <a:pt x="88" y="286"/>
                  </a:lnTo>
                  <a:lnTo>
                    <a:pt x="90" y="282"/>
                  </a:lnTo>
                  <a:lnTo>
                    <a:pt x="88" y="278"/>
                  </a:lnTo>
                  <a:lnTo>
                    <a:pt x="86" y="274"/>
                  </a:lnTo>
                  <a:lnTo>
                    <a:pt x="64" y="254"/>
                  </a:lnTo>
                  <a:lnTo>
                    <a:pt x="84" y="234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28" y="2531292"/>
            <a:ext cx="856607" cy="216272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207720" y="457158"/>
            <a:ext cx="7137706" cy="914400"/>
          </a:xfrm>
        </p:spPr>
        <p:txBody>
          <a:bodyPr/>
          <a:lstStyle/>
          <a:p>
            <a:r>
              <a:rPr lang="ru-RU" b="0" dirty="0" smtClean="0"/>
              <a:t>Повышение рентабельности филиальной сети</a:t>
            </a:r>
            <a:r>
              <a:rPr b="0" dirty="0"/>
              <a:t/>
            </a:r>
            <a:br>
              <a:rPr b="0" dirty="0"/>
            </a:br>
            <a:endParaRPr lang="ru-RU" b="0" dirty="0"/>
          </a:p>
        </p:txBody>
      </p:sp>
      <p:sp>
        <p:nvSpPr>
          <p:cNvPr id="156" name="Rectangle 17"/>
          <p:cNvSpPr>
            <a:spLocks/>
          </p:cNvSpPr>
          <p:nvPr/>
        </p:nvSpPr>
        <p:spPr bwMode="auto">
          <a:xfrm>
            <a:off x="142451" y="1143115"/>
            <a:ext cx="738960" cy="2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9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Машинное обучение</a:t>
            </a:r>
            <a:endParaRPr lang="ru-RU" sz="9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157" name="Rectangle 17"/>
          <p:cNvSpPr>
            <a:spLocks/>
          </p:cNvSpPr>
          <p:nvPr/>
        </p:nvSpPr>
        <p:spPr bwMode="auto">
          <a:xfrm>
            <a:off x="108688" y="1507831"/>
            <a:ext cx="853341" cy="252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900" i="1" dirty="0" err="1" smtClean="0">
                <a:solidFill>
                  <a:schemeClr val="bg1"/>
                </a:solidFill>
                <a:latin typeface="+mj-lt"/>
                <a:sym typeface="Helvetica Neue" charset="0"/>
              </a:rPr>
              <a:t>ГеоАналитика</a:t>
            </a:r>
            <a:endParaRPr lang="ru-RU" sz="9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47993" y="4536826"/>
            <a:ext cx="727877" cy="542451"/>
            <a:chOff x="147993" y="4332403"/>
            <a:chExt cx="727877" cy="542451"/>
          </a:xfrm>
        </p:grpSpPr>
        <p:sp>
          <p:nvSpPr>
            <p:cNvPr id="36" name="Rectangle 17"/>
            <p:cNvSpPr>
              <a:spLocks/>
            </p:cNvSpPr>
            <p:nvPr/>
          </p:nvSpPr>
          <p:spPr bwMode="auto">
            <a:xfrm>
              <a:off x="147993" y="4628633"/>
              <a:ext cx="72787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Статистические бюро</a:t>
              </a:r>
            </a:p>
          </p:txBody>
        </p:sp>
        <p:grpSp>
          <p:nvGrpSpPr>
            <p:cNvPr id="190" name="Group 19"/>
            <p:cNvGrpSpPr>
              <a:grpSpLocks noChangeAspect="1"/>
            </p:cNvGrpSpPr>
            <p:nvPr/>
          </p:nvGrpSpPr>
          <p:grpSpPr bwMode="auto">
            <a:xfrm>
              <a:off x="382761" y="4332403"/>
              <a:ext cx="245626" cy="189402"/>
              <a:chOff x="-1698" y="1247"/>
              <a:chExt cx="2512" cy="1937"/>
            </a:xfrm>
            <a:solidFill>
              <a:schemeClr val="bg1"/>
            </a:solidFill>
          </p:grpSpPr>
          <p:sp>
            <p:nvSpPr>
              <p:cNvPr id="237" name="Freeform 21"/>
              <p:cNvSpPr>
                <a:spLocks/>
              </p:cNvSpPr>
              <p:nvPr/>
            </p:nvSpPr>
            <p:spPr bwMode="auto">
              <a:xfrm>
                <a:off x="-1698" y="1629"/>
                <a:ext cx="2512" cy="1555"/>
              </a:xfrm>
              <a:custGeom>
                <a:avLst/>
                <a:gdLst>
                  <a:gd name="T0" fmla="*/ 1567 w 5025"/>
                  <a:gd name="T1" fmla="*/ 0 h 3111"/>
                  <a:gd name="T2" fmla="*/ 687 w 5025"/>
                  <a:gd name="T3" fmla="*/ 329 h 3111"/>
                  <a:gd name="T4" fmla="*/ 4341 w 5025"/>
                  <a:gd name="T5" fmla="*/ 2522 h 3111"/>
                  <a:gd name="T6" fmla="*/ 4130 w 5025"/>
                  <a:gd name="T7" fmla="*/ 329 h 3111"/>
                  <a:gd name="T8" fmla="*/ 4479 w 5025"/>
                  <a:gd name="T9" fmla="*/ 0 h 3111"/>
                  <a:gd name="T10" fmla="*/ 4554 w 5025"/>
                  <a:gd name="T11" fmla="*/ 15 h 3111"/>
                  <a:gd name="T12" fmla="*/ 4614 w 5025"/>
                  <a:gd name="T13" fmla="*/ 55 h 3111"/>
                  <a:gd name="T14" fmla="*/ 4655 w 5025"/>
                  <a:gd name="T15" fmla="*/ 116 h 3111"/>
                  <a:gd name="T16" fmla="*/ 4670 w 5025"/>
                  <a:gd name="T17" fmla="*/ 189 h 3111"/>
                  <a:gd name="T18" fmla="*/ 4939 w 5025"/>
                  <a:gd name="T19" fmla="*/ 2651 h 3111"/>
                  <a:gd name="T20" fmla="*/ 4990 w 5025"/>
                  <a:gd name="T21" fmla="*/ 2668 h 3111"/>
                  <a:gd name="T22" fmla="*/ 5020 w 5025"/>
                  <a:gd name="T23" fmla="*/ 2711 h 3111"/>
                  <a:gd name="T24" fmla="*/ 5022 w 5025"/>
                  <a:gd name="T25" fmla="*/ 2793 h 3111"/>
                  <a:gd name="T26" fmla="*/ 4991 w 5025"/>
                  <a:gd name="T27" fmla="*/ 2894 h 3111"/>
                  <a:gd name="T28" fmla="*/ 4933 w 5025"/>
                  <a:gd name="T29" fmla="*/ 2983 h 3111"/>
                  <a:gd name="T30" fmla="*/ 4855 w 5025"/>
                  <a:gd name="T31" fmla="*/ 3050 h 3111"/>
                  <a:gd name="T32" fmla="*/ 4761 w 5025"/>
                  <a:gd name="T33" fmla="*/ 3094 h 3111"/>
                  <a:gd name="T34" fmla="*/ 4652 w 5025"/>
                  <a:gd name="T35" fmla="*/ 3111 h 3111"/>
                  <a:gd name="T36" fmla="*/ 3969 w 5025"/>
                  <a:gd name="T37" fmla="*/ 2949 h 3111"/>
                  <a:gd name="T38" fmla="*/ 3954 w 5025"/>
                  <a:gd name="T39" fmla="*/ 2897 h 3111"/>
                  <a:gd name="T40" fmla="*/ 3917 w 5025"/>
                  <a:gd name="T41" fmla="*/ 2859 h 3111"/>
                  <a:gd name="T42" fmla="*/ 3866 w 5025"/>
                  <a:gd name="T43" fmla="*/ 2845 h 3111"/>
                  <a:gd name="T44" fmla="*/ 3812 w 5025"/>
                  <a:gd name="T45" fmla="*/ 2859 h 3111"/>
                  <a:gd name="T46" fmla="*/ 3775 w 5025"/>
                  <a:gd name="T47" fmla="*/ 2897 h 3111"/>
                  <a:gd name="T48" fmla="*/ 3762 w 5025"/>
                  <a:gd name="T49" fmla="*/ 2949 h 3111"/>
                  <a:gd name="T50" fmla="*/ 3591 w 5025"/>
                  <a:gd name="T51" fmla="*/ 3111 h 3111"/>
                  <a:gd name="T52" fmla="*/ 3588 w 5025"/>
                  <a:gd name="T53" fmla="*/ 2922 h 3111"/>
                  <a:gd name="T54" fmla="*/ 3560 w 5025"/>
                  <a:gd name="T55" fmla="*/ 2876 h 3111"/>
                  <a:gd name="T56" fmla="*/ 3514 w 5025"/>
                  <a:gd name="T57" fmla="*/ 2850 h 3111"/>
                  <a:gd name="T58" fmla="*/ 3459 w 5025"/>
                  <a:gd name="T59" fmla="*/ 2850 h 3111"/>
                  <a:gd name="T60" fmla="*/ 3413 w 5025"/>
                  <a:gd name="T61" fmla="*/ 2876 h 3111"/>
                  <a:gd name="T62" fmla="*/ 3387 w 5025"/>
                  <a:gd name="T63" fmla="*/ 2922 h 3111"/>
                  <a:gd name="T64" fmla="*/ 3383 w 5025"/>
                  <a:gd name="T65" fmla="*/ 3111 h 3111"/>
                  <a:gd name="T66" fmla="*/ 318 w 5025"/>
                  <a:gd name="T67" fmla="*/ 3106 h 3111"/>
                  <a:gd name="T68" fmla="*/ 215 w 5025"/>
                  <a:gd name="T69" fmla="*/ 3076 h 3111"/>
                  <a:gd name="T70" fmla="*/ 128 w 5025"/>
                  <a:gd name="T71" fmla="*/ 3019 h 3111"/>
                  <a:gd name="T72" fmla="*/ 60 w 5025"/>
                  <a:gd name="T73" fmla="*/ 2940 h 3111"/>
                  <a:gd name="T74" fmla="*/ 15 w 5025"/>
                  <a:gd name="T75" fmla="*/ 2845 h 3111"/>
                  <a:gd name="T76" fmla="*/ 0 w 5025"/>
                  <a:gd name="T77" fmla="*/ 2738 h 3111"/>
                  <a:gd name="T78" fmla="*/ 17 w 5025"/>
                  <a:gd name="T79" fmla="*/ 2687 h 3111"/>
                  <a:gd name="T80" fmla="*/ 60 w 5025"/>
                  <a:gd name="T81" fmla="*/ 2656 h 3111"/>
                  <a:gd name="T82" fmla="*/ 357 w 5025"/>
                  <a:gd name="T83" fmla="*/ 2651 h 3111"/>
                  <a:gd name="T84" fmla="*/ 360 w 5025"/>
                  <a:gd name="T85" fmla="*/ 151 h 3111"/>
                  <a:gd name="T86" fmla="*/ 389 w 5025"/>
                  <a:gd name="T87" fmla="*/ 84 h 3111"/>
                  <a:gd name="T88" fmla="*/ 441 w 5025"/>
                  <a:gd name="T89" fmla="*/ 32 h 3111"/>
                  <a:gd name="T90" fmla="*/ 509 w 5025"/>
                  <a:gd name="T91" fmla="*/ 3 h 3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025" h="3111">
                    <a:moveTo>
                      <a:pt x="547" y="0"/>
                    </a:moveTo>
                    <a:lnTo>
                      <a:pt x="1567" y="0"/>
                    </a:lnTo>
                    <a:lnTo>
                      <a:pt x="1167" y="329"/>
                    </a:lnTo>
                    <a:lnTo>
                      <a:pt x="687" y="329"/>
                    </a:lnTo>
                    <a:lnTo>
                      <a:pt x="687" y="2522"/>
                    </a:lnTo>
                    <a:lnTo>
                      <a:pt x="4341" y="2522"/>
                    </a:lnTo>
                    <a:lnTo>
                      <a:pt x="4341" y="329"/>
                    </a:lnTo>
                    <a:lnTo>
                      <a:pt x="4130" y="329"/>
                    </a:lnTo>
                    <a:lnTo>
                      <a:pt x="4266" y="0"/>
                    </a:lnTo>
                    <a:lnTo>
                      <a:pt x="4479" y="0"/>
                    </a:lnTo>
                    <a:lnTo>
                      <a:pt x="4518" y="3"/>
                    </a:lnTo>
                    <a:lnTo>
                      <a:pt x="4554" y="15"/>
                    </a:lnTo>
                    <a:lnTo>
                      <a:pt x="4586" y="32"/>
                    </a:lnTo>
                    <a:lnTo>
                      <a:pt x="4614" y="55"/>
                    </a:lnTo>
                    <a:lnTo>
                      <a:pt x="4637" y="84"/>
                    </a:lnTo>
                    <a:lnTo>
                      <a:pt x="4655" y="116"/>
                    </a:lnTo>
                    <a:lnTo>
                      <a:pt x="4666" y="151"/>
                    </a:lnTo>
                    <a:lnTo>
                      <a:pt x="4670" y="189"/>
                    </a:lnTo>
                    <a:lnTo>
                      <a:pt x="4670" y="2651"/>
                    </a:lnTo>
                    <a:lnTo>
                      <a:pt x="4939" y="2651"/>
                    </a:lnTo>
                    <a:lnTo>
                      <a:pt x="4965" y="2656"/>
                    </a:lnTo>
                    <a:lnTo>
                      <a:pt x="4990" y="2668"/>
                    </a:lnTo>
                    <a:lnTo>
                      <a:pt x="5008" y="2687"/>
                    </a:lnTo>
                    <a:lnTo>
                      <a:pt x="5020" y="2711"/>
                    </a:lnTo>
                    <a:lnTo>
                      <a:pt x="5025" y="2738"/>
                    </a:lnTo>
                    <a:lnTo>
                      <a:pt x="5022" y="2793"/>
                    </a:lnTo>
                    <a:lnTo>
                      <a:pt x="5009" y="2845"/>
                    </a:lnTo>
                    <a:lnTo>
                      <a:pt x="4991" y="2894"/>
                    </a:lnTo>
                    <a:lnTo>
                      <a:pt x="4965" y="2940"/>
                    </a:lnTo>
                    <a:lnTo>
                      <a:pt x="4933" y="2983"/>
                    </a:lnTo>
                    <a:lnTo>
                      <a:pt x="4896" y="3019"/>
                    </a:lnTo>
                    <a:lnTo>
                      <a:pt x="4855" y="3050"/>
                    </a:lnTo>
                    <a:lnTo>
                      <a:pt x="4809" y="3076"/>
                    </a:lnTo>
                    <a:lnTo>
                      <a:pt x="4761" y="3094"/>
                    </a:lnTo>
                    <a:lnTo>
                      <a:pt x="4707" y="3106"/>
                    </a:lnTo>
                    <a:lnTo>
                      <a:pt x="4652" y="3111"/>
                    </a:lnTo>
                    <a:lnTo>
                      <a:pt x="3969" y="3111"/>
                    </a:lnTo>
                    <a:lnTo>
                      <a:pt x="3969" y="2949"/>
                    </a:lnTo>
                    <a:lnTo>
                      <a:pt x="3965" y="2922"/>
                    </a:lnTo>
                    <a:lnTo>
                      <a:pt x="3954" y="2897"/>
                    </a:lnTo>
                    <a:lnTo>
                      <a:pt x="3939" y="2876"/>
                    </a:lnTo>
                    <a:lnTo>
                      <a:pt x="3917" y="2859"/>
                    </a:lnTo>
                    <a:lnTo>
                      <a:pt x="3893" y="2850"/>
                    </a:lnTo>
                    <a:lnTo>
                      <a:pt x="3866" y="2845"/>
                    </a:lnTo>
                    <a:lnTo>
                      <a:pt x="3838" y="2850"/>
                    </a:lnTo>
                    <a:lnTo>
                      <a:pt x="3812" y="2859"/>
                    </a:lnTo>
                    <a:lnTo>
                      <a:pt x="3792" y="2876"/>
                    </a:lnTo>
                    <a:lnTo>
                      <a:pt x="3775" y="2897"/>
                    </a:lnTo>
                    <a:lnTo>
                      <a:pt x="3765" y="2922"/>
                    </a:lnTo>
                    <a:lnTo>
                      <a:pt x="3762" y="2949"/>
                    </a:lnTo>
                    <a:lnTo>
                      <a:pt x="3762" y="3111"/>
                    </a:lnTo>
                    <a:lnTo>
                      <a:pt x="3591" y="3111"/>
                    </a:lnTo>
                    <a:lnTo>
                      <a:pt x="3591" y="2949"/>
                    </a:lnTo>
                    <a:lnTo>
                      <a:pt x="3588" y="2922"/>
                    </a:lnTo>
                    <a:lnTo>
                      <a:pt x="3577" y="2897"/>
                    </a:lnTo>
                    <a:lnTo>
                      <a:pt x="3560" y="2876"/>
                    </a:lnTo>
                    <a:lnTo>
                      <a:pt x="3540" y="2859"/>
                    </a:lnTo>
                    <a:lnTo>
                      <a:pt x="3514" y="2850"/>
                    </a:lnTo>
                    <a:lnTo>
                      <a:pt x="3487" y="2845"/>
                    </a:lnTo>
                    <a:lnTo>
                      <a:pt x="3459" y="2850"/>
                    </a:lnTo>
                    <a:lnTo>
                      <a:pt x="3435" y="2859"/>
                    </a:lnTo>
                    <a:lnTo>
                      <a:pt x="3413" y="2876"/>
                    </a:lnTo>
                    <a:lnTo>
                      <a:pt x="3398" y="2897"/>
                    </a:lnTo>
                    <a:lnTo>
                      <a:pt x="3387" y="2922"/>
                    </a:lnTo>
                    <a:lnTo>
                      <a:pt x="3383" y="2949"/>
                    </a:lnTo>
                    <a:lnTo>
                      <a:pt x="3383" y="3111"/>
                    </a:lnTo>
                    <a:lnTo>
                      <a:pt x="373" y="3111"/>
                    </a:lnTo>
                    <a:lnTo>
                      <a:pt x="318" y="3106"/>
                    </a:lnTo>
                    <a:lnTo>
                      <a:pt x="266" y="3094"/>
                    </a:lnTo>
                    <a:lnTo>
                      <a:pt x="215" y="3076"/>
                    </a:lnTo>
                    <a:lnTo>
                      <a:pt x="170" y="3050"/>
                    </a:lnTo>
                    <a:lnTo>
                      <a:pt x="128" y="3019"/>
                    </a:lnTo>
                    <a:lnTo>
                      <a:pt x="92" y="2983"/>
                    </a:lnTo>
                    <a:lnTo>
                      <a:pt x="60" y="2940"/>
                    </a:lnTo>
                    <a:lnTo>
                      <a:pt x="35" y="2894"/>
                    </a:lnTo>
                    <a:lnTo>
                      <a:pt x="15" y="2845"/>
                    </a:lnTo>
                    <a:lnTo>
                      <a:pt x="5" y="2793"/>
                    </a:lnTo>
                    <a:lnTo>
                      <a:pt x="0" y="2738"/>
                    </a:lnTo>
                    <a:lnTo>
                      <a:pt x="5" y="2711"/>
                    </a:lnTo>
                    <a:lnTo>
                      <a:pt x="17" y="2687"/>
                    </a:lnTo>
                    <a:lnTo>
                      <a:pt x="35" y="2668"/>
                    </a:lnTo>
                    <a:lnTo>
                      <a:pt x="60" y="2656"/>
                    </a:lnTo>
                    <a:lnTo>
                      <a:pt x="87" y="2651"/>
                    </a:lnTo>
                    <a:lnTo>
                      <a:pt x="357" y="2651"/>
                    </a:lnTo>
                    <a:lnTo>
                      <a:pt x="357" y="189"/>
                    </a:lnTo>
                    <a:lnTo>
                      <a:pt x="360" y="151"/>
                    </a:lnTo>
                    <a:lnTo>
                      <a:pt x="373" y="116"/>
                    </a:lnTo>
                    <a:lnTo>
                      <a:pt x="389" y="84"/>
                    </a:lnTo>
                    <a:lnTo>
                      <a:pt x="412" y="55"/>
                    </a:lnTo>
                    <a:lnTo>
                      <a:pt x="441" y="32"/>
                    </a:lnTo>
                    <a:lnTo>
                      <a:pt x="473" y="15"/>
                    </a:lnTo>
                    <a:lnTo>
                      <a:pt x="509" y="3"/>
                    </a:lnTo>
                    <a:lnTo>
                      <a:pt x="54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38" name="Freeform 22"/>
              <p:cNvSpPr>
                <a:spLocks/>
              </p:cNvSpPr>
              <p:nvPr/>
            </p:nvSpPr>
            <p:spPr bwMode="auto">
              <a:xfrm>
                <a:off x="-1128" y="1247"/>
                <a:ext cx="1571" cy="825"/>
              </a:xfrm>
              <a:custGeom>
                <a:avLst/>
                <a:gdLst>
                  <a:gd name="T0" fmla="*/ 3101 w 3143"/>
                  <a:gd name="T1" fmla="*/ 0 h 1651"/>
                  <a:gd name="T2" fmla="*/ 3101 w 3143"/>
                  <a:gd name="T3" fmla="*/ 0 h 1651"/>
                  <a:gd name="T4" fmla="*/ 3113 w 3143"/>
                  <a:gd name="T5" fmla="*/ 2 h 1651"/>
                  <a:gd name="T6" fmla="*/ 3124 w 3143"/>
                  <a:gd name="T7" fmla="*/ 6 h 1651"/>
                  <a:gd name="T8" fmla="*/ 3134 w 3143"/>
                  <a:gd name="T9" fmla="*/ 15 h 1651"/>
                  <a:gd name="T10" fmla="*/ 3142 w 3143"/>
                  <a:gd name="T11" fmla="*/ 29 h 1651"/>
                  <a:gd name="T12" fmla="*/ 3143 w 3143"/>
                  <a:gd name="T13" fmla="*/ 44 h 1651"/>
                  <a:gd name="T14" fmla="*/ 3140 w 3143"/>
                  <a:gd name="T15" fmla="*/ 60 h 1651"/>
                  <a:gd name="T16" fmla="*/ 2752 w 3143"/>
                  <a:gd name="T17" fmla="*/ 1001 h 1651"/>
                  <a:gd name="T18" fmla="*/ 2745 w 3143"/>
                  <a:gd name="T19" fmla="*/ 1015 h 1651"/>
                  <a:gd name="T20" fmla="*/ 2733 w 3143"/>
                  <a:gd name="T21" fmla="*/ 1022 h 1651"/>
                  <a:gd name="T22" fmla="*/ 2719 w 3143"/>
                  <a:gd name="T23" fmla="*/ 1029 h 1651"/>
                  <a:gd name="T24" fmla="*/ 2713 w 3143"/>
                  <a:gd name="T25" fmla="*/ 1029 h 1651"/>
                  <a:gd name="T26" fmla="*/ 2701 w 3143"/>
                  <a:gd name="T27" fmla="*/ 1027 h 1651"/>
                  <a:gd name="T28" fmla="*/ 2688 w 3143"/>
                  <a:gd name="T29" fmla="*/ 1021 h 1651"/>
                  <a:gd name="T30" fmla="*/ 2679 w 3143"/>
                  <a:gd name="T31" fmla="*/ 1013 h 1651"/>
                  <a:gd name="T32" fmla="*/ 2484 w 3143"/>
                  <a:gd name="T33" fmla="*/ 775 h 1651"/>
                  <a:gd name="T34" fmla="*/ 1271 w 3143"/>
                  <a:gd name="T35" fmla="*/ 1596 h 1651"/>
                  <a:gd name="T36" fmla="*/ 1189 w 3143"/>
                  <a:gd name="T37" fmla="*/ 1651 h 1651"/>
                  <a:gd name="T38" fmla="*/ 1134 w 3143"/>
                  <a:gd name="T39" fmla="*/ 1584 h 1651"/>
                  <a:gd name="T40" fmla="*/ 677 w 3143"/>
                  <a:gd name="T41" fmla="*/ 1033 h 1651"/>
                  <a:gd name="T42" fmla="*/ 40 w 3143"/>
                  <a:gd name="T43" fmla="*/ 1492 h 1651"/>
                  <a:gd name="T44" fmla="*/ 37 w 3143"/>
                  <a:gd name="T45" fmla="*/ 1488 h 1651"/>
                  <a:gd name="T46" fmla="*/ 29 w 3143"/>
                  <a:gd name="T47" fmla="*/ 1480 h 1651"/>
                  <a:gd name="T48" fmla="*/ 20 w 3143"/>
                  <a:gd name="T49" fmla="*/ 1471 h 1651"/>
                  <a:gd name="T50" fmla="*/ 11 w 3143"/>
                  <a:gd name="T51" fmla="*/ 1460 h 1651"/>
                  <a:gd name="T52" fmla="*/ 5 w 3143"/>
                  <a:gd name="T53" fmla="*/ 1453 h 1651"/>
                  <a:gd name="T54" fmla="*/ 0 w 3143"/>
                  <a:gd name="T55" fmla="*/ 1448 h 1651"/>
                  <a:gd name="T56" fmla="*/ 652 w 3143"/>
                  <a:gd name="T57" fmla="*/ 911 h 1651"/>
                  <a:gd name="T58" fmla="*/ 689 w 3143"/>
                  <a:gd name="T59" fmla="*/ 879 h 1651"/>
                  <a:gd name="T60" fmla="*/ 729 w 3143"/>
                  <a:gd name="T61" fmla="*/ 917 h 1651"/>
                  <a:gd name="T62" fmla="*/ 1211 w 3143"/>
                  <a:gd name="T63" fmla="*/ 1379 h 1651"/>
                  <a:gd name="T64" fmla="*/ 2245 w 3143"/>
                  <a:gd name="T65" fmla="*/ 488 h 1651"/>
                  <a:gd name="T66" fmla="*/ 2067 w 3143"/>
                  <a:gd name="T67" fmla="*/ 273 h 1651"/>
                  <a:gd name="T68" fmla="*/ 2061 w 3143"/>
                  <a:gd name="T69" fmla="*/ 260 h 1651"/>
                  <a:gd name="T70" fmla="*/ 2058 w 3143"/>
                  <a:gd name="T71" fmla="*/ 246 h 1651"/>
                  <a:gd name="T72" fmla="*/ 2061 w 3143"/>
                  <a:gd name="T73" fmla="*/ 231 h 1651"/>
                  <a:gd name="T74" fmla="*/ 2067 w 3143"/>
                  <a:gd name="T75" fmla="*/ 218 h 1651"/>
                  <a:gd name="T76" fmla="*/ 2079 w 3143"/>
                  <a:gd name="T77" fmla="*/ 208 h 1651"/>
                  <a:gd name="T78" fmla="*/ 2093 w 3143"/>
                  <a:gd name="T79" fmla="*/ 203 h 1651"/>
                  <a:gd name="T80" fmla="*/ 3092 w 3143"/>
                  <a:gd name="T81" fmla="*/ 0 h 1651"/>
                  <a:gd name="T82" fmla="*/ 3101 w 3143"/>
                  <a:gd name="T83" fmla="*/ 0 h 1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143" h="1651">
                    <a:moveTo>
                      <a:pt x="3101" y="0"/>
                    </a:moveTo>
                    <a:lnTo>
                      <a:pt x="3101" y="0"/>
                    </a:lnTo>
                    <a:lnTo>
                      <a:pt x="3113" y="2"/>
                    </a:lnTo>
                    <a:lnTo>
                      <a:pt x="3124" y="6"/>
                    </a:lnTo>
                    <a:lnTo>
                      <a:pt x="3134" y="15"/>
                    </a:lnTo>
                    <a:lnTo>
                      <a:pt x="3142" y="29"/>
                    </a:lnTo>
                    <a:lnTo>
                      <a:pt x="3143" y="44"/>
                    </a:lnTo>
                    <a:lnTo>
                      <a:pt x="3140" y="60"/>
                    </a:lnTo>
                    <a:lnTo>
                      <a:pt x="2752" y="1001"/>
                    </a:lnTo>
                    <a:lnTo>
                      <a:pt x="2745" y="1015"/>
                    </a:lnTo>
                    <a:lnTo>
                      <a:pt x="2733" y="1022"/>
                    </a:lnTo>
                    <a:lnTo>
                      <a:pt x="2719" y="1029"/>
                    </a:lnTo>
                    <a:lnTo>
                      <a:pt x="2713" y="1029"/>
                    </a:lnTo>
                    <a:lnTo>
                      <a:pt x="2701" y="1027"/>
                    </a:lnTo>
                    <a:lnTo>
                      <a:pt x="2688" y="1021"/>
                    </a:lnTo>
                    <a:lnTo>
                      <a:pt x="2679" y="1013"/>
                    </a:lnTo>
                    <a:lnTo>
                      <a:pt x="2484" y="775"/>
                    </a:lnTo>
                    <a:lnTo>
                      <a:pt x="1271" y="1596"/>
                    </a:lnTo>
                    <a:lnTo>
                      <a:pt x="1189" y="1651"/>
                    </a:lnTo>
                    <a:lnTo>
                      <a:pt x="1134" y="1584"/>
                    </a:lnTo>
                    <a:lnTo>
                      <a:pt x="677" y="1033"/>
                    </a:lnTo>
                    <a:lnTo>
                      <a:pt x="40" y="1492"/>
                    </a:lnTo>
                    <a:lnTo>
                      <a:pt x="37" y="1488"/>
                    </a:lnTo>
                    <a:lnTo>
                      <a:pt x="29" y="1480"/>
                    </a:lnTo>
                    <a:lnTo>
                      <a:pt x="20" y="1471"/>
                    </a:lnTo>
                    <a:lnTo>
                      <a:pt x="11" y="1460"/>
                    </a:lnTo>
                    <a:lnTo>
                      <a:pt x="5" y="1453"/>
                    </a:lnTo>
                    <a:lnTo>
                      <a:pt x="0" y="1448"/>
                    </a:lnTo>
                    <a:lnTo>
                      <a:pt x="652" y="911"/>
                    </a:lnTo>
                    <a:lnTo>
                      <a:pt x="689" y="879"/>
                    </a:lnTo>
                    <a:lnTo>
                      <a:pt x="729" y="917"/>
                    </a:lnTo>
                    <a:lnTo>
                      <a:pt x="1211" y="1379"/>
                    </a:lnTo>
                    <a:lnTo>
                      <a:pt x="2245" y="488"/>
                    </a:lnTo>
                    <a:lnTo>
                      <a:pt x="2067" y="273"/>
                    </a:lnTo>
                    <a:lnTo>
                      <a:pt x="2061" y="260"/>
                    </a:lnTo>
                    <a:lnTo>
                      <a:pt x="2058" y="246"/>
                    </a:lnTo>
                    <a:lnTo>
                      <a:pt x="2061" y="231"/>
                    </a:lnTo>
                    <a:lnTo>
                      <a:pt x="2067" y="218"/>
                    </a:lnTo>
                    <a:lnTo>
                      <a:pt x="2079" y="208"/>
                    </a:lnTo>
                    <a:lnTo>
                      <a:pt x="2093" y="203"/>
                    </a:lnTo>
                    <a:lnTo>
                      <a:pt x="3092" y="0"/>
                    </a:lnTo>
                    <a:lnTo>
                      <a:pt x="310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39" name="Freeform 23"/>
              <p:cNvSpPr>
                <a:spLocks/>
              </p:cNvSpPr>
              <p:nvPr/>
            </p:nvSpPr>
            <p:spPr bwMode="auto">
              <a:xfrm>
                <a:off x="-394" y="2507"/>
                <a:ext cx="102" cy="270"/>
              </a:xfrm>
              <a:custGeom>
                <a:avLst/>
                <a:gdLst>
                  <a:gd name="T0" fmla="*/ 102 w 205"/>
                  <a:gd name="T1" fmla="*/ 0 h 540"/>
                  <a:gd name="T2" fmla="*/ 128 w 205"/>
                  <a:gd name="T3" fmla="*/ 3 h 540"/>
                  <a:gd name="T4" fmla="*/ 153 w 205"/>
                  <a:gd name="T5" fmla="*/ 14 h 540"/>
                  <a:gd name="T6" fmla="*/ 174 w 205"/>
                  <a:gd name="T7" fmla="*/ 29 h 540"/>
                  <a:gd name="T8" fmla="*/ 191 w 205"/>
                  <a:gd name="T9" fmla="*/ 50 h 540"/>
                  <a:gd name="T10" fmla="*/ 200 w 205"/>
                  <a:gd name="T11" fmla="*/ 75 h 540"/>
                  <a:gd name="T12" fmla="*/ 205 w 205"/>
                  <a:gd name="T13" fmla="*/ 102 h 540"/>
                  <a:gd name="T14" fmla="*/ 205 w 205"/>
                  <a:gd name="T15" fmla="*/ 438 h 540"/>
                  <a:gd name="T16" fmla="*/ 200 w 205"/>
                  <a:gd name="T17" fmla="*/ 465 h 540"/>
                  <a:gd name="T18" fmla="*/ 191 w 205"/>
                  <a:gd name="T19" fmla="*/ 490 h 540"/>
                  <a:gd name="T20" fmla="*/ 174 w 205"/>
                  <a:gd name="T21" fmla="*/ 511 h 540"/>
                  <a:gd name="T22" fmla="*/ 153 w 205"/>
                  <a:gd name="T23" fmla="*/ 526 h 540"/>
                  <a:gd name="T24" fmla="*/ 128 w 205"/>
                  <a:gd name="T25" fmla="*/ 537 h 540"/>
                  <a:gd name="T26" fmla="*/ 102 w 205"/>
                  <a:gd name="T27" fmla="*/ 540 h 540"/>
                  <a:gd name="T28" fmla="*/ 75 w 205"/>
                  <a:gd name="T29" fmla="*/ 537 h 540"/>
                  <a:gd name="T30" fmla="*/ 50 w 205"/>
                  <a:gd name="T31" fmla="*/ 526 h 540"/>
                  <a:gd name="T32" fmla="*/ 29 w 205"/>
                  <a:gd name="T33" fmla="*/ 511 h 540"/>
                  <a:gd name="T34" fmla="*/ 14 w 205"/>
                  <a:gd name="T35" fmla="*/ 490 h 540"/>
                  <a:gd name="T36" fmla="*/ 3 w 205"/>
                  <a:gd name="T37" fmla="*/ 465 h 540"/>
                  <a:gd name="T38" fmla="*/ 0 w 205"/>
                  <a:gd name="T39" fmla="*/ 438 h 540"/>
                  <a:gd name="T40" fmla="*/ 0 w 205"/>
                  <a:gd name="T41" fmla="*/ 102 h 540"/>
                  <a:gd name="T42" fmla="*/ 3 w 205"/>
                  <a:gd name="T43" fmla="*/ 75 h 540"/>
                  <a:gd name="T44" fmla="*/ 14 w 205"/>
                  <a:gd name="T45" fmla="*/ 50 h 540"/>
                  <a:gd name="T46" fmla="*/ 29 w 205"/>
                  <a:gd name="T47" fmla="*/ 29 h 540"/>
                  <a:gd name="T48" fmla="*/ 50 w 205"/>
                  <a:gd name="T49" fmla="*/ 14 h 540"/>
                  <a:gd name="T50" fmla="*/ 75 w 205"/>
                  <a:gd name="T51" fmla="*/ 3 h 540"/>
                  <a:gd name="T52" fmla="*/ 102 w 205"/>
                  <a:gd name="T53" fmla="*/ 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5" h="540">
                    <a:moveTo>
                      <a:pt x="102" y="0"/>
                    </a:moveTo>
                    <a:lnTo>
                      <a:pt x="128" y="3"/>
                    </a:lnTo>
                    <a:lnTo>
                      <a:pt x="153" y="14"/>
                    </a:lnTo>
                    <a:lnTo>
                      <a:pt x="174" y="29"/>
                    </a:lnTo>
                    <a:lnTo>
                      <a:pt x="191" y="50"/>
                    </a:lnTo>
                    <a:lnTo>
                      <a:pt x="200" y="75"/>
                    </a:lnTo>
                    <a:lnTo>
                      <a:pt x="205" y="102"/>
                    </a:lnTo>
                    <a:lnTo>
                      <a:pt x="205" y="438"/>
                    </a:lnTo>
                    <a:lnTo>
                      <a:pt x="200" y="465"/>
                    </a:lnTo>
                    <a:lnTo>
                      <a:pt x="191" y="490"/>
                    </a:lnTo>
                    <a:lnTo>
                      <a:pt x="174" y="511"/>
                    </a:lnTo>
                    <a:lnTo>
                      <a:pt x="153" y="526"/>
                    </a:lnTo>
                    <a:lnTo>
                      <a:pt x="128" y="537"/>
                    </a:lnTo>
                    <a:lnTo>
                      <a:pt x="102" y="540"/>
                    </a:lnTo>
                    <a:lnTo>
                      <a:pt x="75" y="537"/>
                    </a:lnTo>
                    <a:lnTo>
                      <a:pt x="50" y="526"/>
                    </a:lnTo>
                    <a:lnTo>
                      <a:pt x="29" y="511"/>
                    </a:lnTo>
                    <a:lnTo>
                      <a:pt x="14" y="490"/>
                    </a:lnTo>
                    <a:lnTo>
                      <a:pt x="3" y="465"/>
                    </a:lnTo>
                    <a:lnTo>
                      <a:pt x="0" y="438"/>
                    </a:lnTo>
                    <a:lnTo>
                      <a:pt x="0" y="102"/>
                    </a:lnTo>
                    <a:lnTo>
                      <a:pt x="3" y="75"/>
                    </a:lnTo>
                    <a:lnTo>
                      <a:pt x="14" y="50"/>
                    </a:lnTo>
                    <a:lnTo>
                      <a:pt x="29" y="29"/>
                    </a:lnTo>
                    <a:lnTo>
                      <a:pt x="50" y="14"/>
                    </a:lnTo>
                    <a:lnTo>
                      <a:pt x="75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40" name="Freeform 24"/>
              <p:cNvSpPr>
                <a:spLocks/>
              </p:cNvSpPr>
              <p:nvPr/>
            </p:nvSpPr>
            <p:spPr bwMode="auto">
              <a:xfrm>
                <a:off x="-587" y="2296"/>
                <a:ext cx="102" cy="481"/>
              </a:xfrm>
              <a:custGeom>
                <a:avLst/>
                <a:gdLst>
                  <a:gd name="T0" fmla="*/ 103 w 205"/>
                  <a:gd name="T1" fmla="*/ 0 h 963"/>
                  <a:gd name="T2" fmla="*/ 130 w 205"/>
                  <a:gd name="T3" fmla="*/ 3 h 963"/>
                  <a:gd name="T4" fmla="*/ 154 w 205"/>
                  <a:gd name="T5" fmla="*/ 14 h 963"/>
                  <a:gd name="T6" fmla="*/ 176 w 205"/>
                  <a:gd name="T7" fmla="*/ 31 h 963"/>
                  <a:gd name="T8" fmla="*/ 191 w 205"/>
                  <a:gd name="T9" fmla="*/ 51 h 963"/>
                  <a:gd name="T10" fmla="*/ 202 w 205"/>
                  <a:gd name="T11" fmla="*/ 75 h 963"/>
                  <a:gd name="T12" fmla="*/ 205 w 205"/>
                  <a:gd name="T13" fmla="*/ 102 h 963"/>
                  <a:gd name="T14" fmla="*/ 205 w 205"/>
                  <a:gd name="T15" fmla="*/ 861 h 963"/>
                  <a:gd name="T16" fmla="*/ 202 w 205"/>
                  <a:gd name="T17" fmla="*/ 888 h 963"/>
                  <a:gd name="T18" fmla="*/ 191 w 205"/>
                  <a:gd name="T19" fmla="*/ 913 h 963"/>
                  <a:gd name="T20" fmla="*/ 176 w 205"/>
                  <a:gd name="T21" fmla="*/ 934 h 963"/>
                  <a:gd name="T22" fmla="*/ 154 w 205"/>
                  <a:gd name="T23" fmla="*/ 949 h 963"/>
                  <a:gd name="T24" fmla="*/ 130 w 205"/>
                  <a:gd name="T25" fmla="*/ 960 h 963"/>
                  <a:gd name="T26" fmla="*/ 103 w 205"/>
                  <a:gd name="T27" fmla="*/ 963 h 963"/>
                  <a:gd name="T28" fmla="*/ 75 w 205"/>
                  <a:gd name="T29" fmla="*/ 960 h 963"/>
                  <a:gd name="T30" fmla="*/ 51 w 205"/>
                  <a:gd name="T31" fmla="*/ 949 h 963"/>
                  <a:gd name="T32" fmla="*/ 31 w 205"/>
                  <a:gd name="T33" fmla="*/ 934 h 963"/>
                  <a:gd name="T34" fmla="*/ 14 w 205"/>
                  <a:gd name="T35" fmla="*/ 913 h 963"/>
                  <a:gd name="T36" fmla="*/ 5 w 205"/>
                  <a:gd name="T37" fmla="*/ 888 h 963"/>
                  <a:gd name="T38" fmla="*/ 0 w 205"/>
                  <a:gd name="T39" fmla="*/ 861 h 963"/>
                  <a:gd name="T40" fmla="*/ 0 w 205"/>
                  <a:gd name="T41" fmla="*/ 102 h 963"/>
                  <a:gd name="T42" fmla="*/ 5 w 205"/>
                  <a:gd name="T43" fmla="*/ 75 h 963"/>
                  <a:gd name="T44" fmla="*/ 14 w 205"/>
                  <a:gd name="T45" fmla="*/ 51 h 963"/>
                  <a:gd name="T46" fmla="*/ 31 w 205"/>
                  <a:gd name="T47" fmla="*/ 31 h 963"/>
                  <a:gd name="T48" fmla="*/ 51 w 205"/>
                  <a:gd name="T49" fmla="*/ 14 h 963"/>
                  <a:gd name="T50" fmla="*/ 75 w 205"/>
                  <a:gd name="T51" fmla="*/ 3 h 963"/>
                  <a:gd name="T52" fmla="*/ 103 w 205"/>
                  <a:gd name="T53" fmla="*/ 0 h 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5" h="963">
                    <a:moveTo>
                      <a:pt x="103" y="0"/>
                    </a:moveTo>
                    <a:lnTo>
                      <a:pt x="130" y="3"/>
                    </a:lnTo>
                    <a:lnTo>
                      <a:pt x="154" y="14"/>
                    </a:lnTo>
                    <a:lnTo>
                      <a:pt x="176" y="31"/>
                    </a:lnTo>
                    <a:lnTo>
                      <a:pt x="191" y="51"/>
                    </a:lnTo>
                    <a:lnTo>
                      <a:pt x="202" y="75"/>
                    </a:lnTo>
                    <a:lnTo>
                      <a:pt x="205" y="102"/>
                    </a:lnTo>
                    <a:lnTo>
                      <a:pt x="205" y="861"/>
                    </a:lnTo>
                    <a:lnTo>
                      <a:pt x="202" y="888"/>
                    </a:lnTo>
                    <a:lnTo>
                      <a:pt x="191" y="913"/>
                    </a:lnTo>
                    <a:lnTo>
                      <a:pt x="176" y="934"/>
                    </a:lnTo>
                    <a:lnTo>
                      <a:pt x="154" y="949"/>
                    </a:lnTo>
                    <a:lnTo>
                      <a:pt x="130" y="960"/>
                    </a:lnTo>
                    <a:lnTo>
                      <a:pt x="103" y="963"/>
                    </a:lnTo>
                    <a:lnTo>
                      <a:pt x="75" y="960"/>
                    </a:lnTo>
                    <a:lnTo>
                      <a:pt x="51" y="949"/>
                    </a:lnTo>
                    <a:lnTo>
                      <a:pt x="31" y="934"/>
                    </a:lnTo>
                    <a:lnTo>
                      <a:pt x="14" y="913"/>
                    </a:lnTo>
                    <a:lnTo>
                      <a:pt x="5" y="888"/>
                    </a:lnTo>
                    <a:lnTo>
                      <a:pt x="0" y="861"/>
                    </a:lnTo>
                    <a:lnTo>
                      <a:pt x="0" y="102"/>
                    </a:lnTo>
                    <a:lnTo>
                      <a:pt x="5" y="75"/>
                    </a:lnTo>
                    <a:lnTo>
                      <a:pt x="14" y="51"/>
                    </a:lnTo>
                    <a:lnTo>
                      <a:pt x="31" y="31"/>
                    </a:lnTo>
                    <a:lnTo>
                      <a:pt x="51" y="14"/>
                    </a:lnTo>
                    <a:lnTo>
                      <a:pt x="75" y="3"/>
                    </a:lnTo>
                    <a:lnTo>
                      <a:pt x="1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41" name="Freeform 25"/>
              <p:cNvSpPr>
                <a:spLocks/>
              </p:cNvSpPr>
              <p:nvPr/>
            </p:nvSpPr>
            <p:spPr bwMode="auto">
              <a:xfrm>
                <a:off x="-779" y="2507"/>
                <a:ext cx="103" cy="270"/>
              </a:xfrm>
              <a:custGeom>
                <a:avLst/>
                <a:gdLst>
                  <a:gd name="T0" fmla="*/ 102 w 204"/>
                  <a:gd name="T1" fmla="*/ 0 h 540"/>
                  <a:gd name="T2" fmla="*/ 130 w 204"/>
                  <a:gd name="T3" fmla="*/ 3 h 540"/>
                  <a:gd name="T4" fmla="*/ 154 w 204"/>
                  <a:gd name="T5" fmla="*/ 14 h 540"/>
                  <a:gd name="T6" fmla="*/ 174 w 204"/>
                  <a:gd name="T7" fmla="*/ 29 h 540"/>
                  <a:gd name="T8" fmla="*/ 191 w 204"/>
                  <a:gd name="T9" fmla="*/ 50 h 540"/>
                  <a:gd name="T10" fmla="*/ 200 w 204"/>
                  <a:gd name="T11" fmla="*/ 75 h 540"/>
                  <a:gd name="T12" fmla="*/ 204 w 204"/>
                  <a:gd name="T13" fmla="*/ 102 h 540"/>
                  <a:gd name="T14" fmla="*/ 204 w 204"/>
                  <a:gd name="T15" fmla="*/ 438 h 540"/>
                  <a:gd name="T16" fmla="*/ 200 w 204"/>
                  <a:gd name="T17" fmla="*/ 465 h 540"/>
                  <a:gd name="T18" fmla="*/ 191 w 204"/>
                  <a:gd name="T19" fmla="*/ 490 h 540"/>
                  <a:gd name="T20" fmla="*/ 174 w 204"/>
                  <a:gd name="T21" fmla="*/ 511 h 540"/>
                  <a:gd name="T22" fmla="*/ 154 w 204"/>
                  <a:gd name="T23" fmla="*/ 526 h 540"/>
                  <a:gd name="T24" fmla="*/ 130 w 204"/>
                  <a:gd name="T25" fmla="*/ 537 h 540"/>
                  <a:gd name="T26" fmla="*/ 102 w 204"/>
                  <a:gd name="T27" fmla="*/ 540 h 540"/>
                  <a:gd name="T28" fmla="*/ 75 w 204"/>
                  <a:gd name="T29" fmla="*/ 537 h 540"/>
                  <a:gd name="T30" fmla="*/ 50 w 204"/>
                  <a:gd name="T31" fmla="*/ 526 h 540"/>
                  <a:gd name="T32" fmla="*/ 29 w 204"/>
                  <a:gd name="T33" fmla="*/ 511 h 540"/>
                  <a:gd name="T34" fmla="*/ 14 w 204"/>
                  <a:gd name="T35" fmla="*/ 490 h 540"/>
                  <a:gd name="T36" fmla="*/ 3 w 204"/>
                  <a:gd name="T37" fmla="*/ 465 h 540"/>
                  <a:gd name="T38" fmla="*/ 0 w 204"/>
                  <a:gd name="T39" fmla="*/ 438 h 540"/>
                  <a:gd name="T40" fmla="*/ 0 w 204"/>
                  <a:gd name="T41" fmla="*/ 102 h 540"/>
                  <a:gd name="T42" fmla="*/ 3 w 204"/>
                  <a:gd name="T43" fmla="*/ 75 h 540"/>
                  <a:gd name="T44" fmla="*/ 14 w 204"/>
                  <a:gd name="T45" fmla="*/ 50 h 540"/>
                  <a:gd name="T46" fmla="*/ 29 w 204"/>
                  <a:gd name="T47" fmla="*/ 29 h 540"/>
                  <a:gd name="T48" fmla="*/ 50 w 204"/>
                  <a:gd name="T49" fmla="*/ 14 h 540"/>
                  <a:gd name="T50" fmla="*/ 75 w 204"/>
                  <a:gd name="T51" fmla="*/ 3 h 540"/>
                  <a:gd name="T52" fmla="*/ 102 w 204"/>
                  <a:gd name="T53" fmla="*/ 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4" h="540">
                    <a:moveTo>
                      <a:pt x="102" y="0"/>
                    </a:moveTo>
                    <a:lnTo>
                      <a:pt x="130" y="3"/>
                    </a:lnTo>
                    <a:lnTo>
                      <a:pt x="154" y="14"/>
                    </a:lnTo>
                    <a:lnTo>
                      <a:pt x="174" y="29"/>
                    </a:lnTo>
                    <a:lnTo>
                      <a:pt x="191" y="50"/>
                    </a:lnTo>
                    <a:lnTo>
                      <a:pt x="200" y="75"/>
                    </a:lnTo>
                    <a:lnTo>
                      <a:pt x="204" y="102"/>
                    </a:lnTo>
                    <a:lnTo>
                      <a:pt x="204" y="438"/>
                    </a:lnTo>
                    <a:lnTo>
                      <a:pt x="200" y="465"/>
                    </a:lnTo>
                    <a:lnTo>
                      <a:pt x="191" y="490"/>
                    </a:lnTo>
                    <a:lnTo>
                      <a:pt x="174" y="511"/>
                    </a:lnTo>
                    <a:lnTo>
                      <a:pt x="154" y="526"/>
                    </a:lnTo>
                    <a:lnTo>
                      <a:pt x="130" y="537"/>
                    </a:lnTo>
                    <a:lnTo>
                      <a:pt x="102" y="540"/>
                    </a:lnTo>
                    <a:lnTo>
                      <a:pt x="75" y="537"/>
                    </a:lnTo>
                    <a:lnTo>
                      <a:pt x="50" y="526"/>
                    </a:lnTo>
                    <a:lnTo>
                      <a:pt x="29" y="511"/>
                    </a:lnTo>
                    <a:lnTo>
                      <a:pt x="14" y="490"/>
                    </a:lnTo>
                    <a:lnTo>
                      <a:pt x="3" y="465"/>
                    </a:lnTo>
                    <a:lnTo>
                      <a:pt x="0" y="438"/>
                    </a:lnTo>
                    <a:lnTo>
                      <a:pt x="0" y="102"/>
                    </a:lnTo>
                    <a:lnTo>
                      <a:pt x="3" y="75"/>
                    </a:lnTo>
                    <a:lnTo>
                      <a:pt x="14" y="50"/>
                    </a:lnTo>
                    <a:lnTo>
                      <a:pt x="29" y="29"/>
                    </a:lnTo>
                    <a:lnTo>
                      <a:pt x="50" y="14"/>
                    </a:lnTo>
                    <a:lnTo>
                      <a:pt x="75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43" name="Freeform 26"/>
              <p:cNvSpPr>
                <a:spLocks/>
              </p:cNvSpPr>
              <p:nvPr/>
            </p:nvSpPr>
            <p:spPr bwMode="auto">
              <a:xfrm>
                <a:off x="-971" y="2296"/>
                <a:ext cx="102" cy="481"/>
              </a:xfrm>
              <a:custGeom>
                <a:avLst/>
                <a:gdLst>
                  <a:gd name="T0" fmla="*/ 102 w 205"/>
                  <a:gd name="T1" fmla="*/ 0 h 963"/>
                  <a:gd name="T2" fmla="*/ 130 w 205"/>
                  <a:gd name="T3" fmla="*/ 3 h 963"/>
                  <a:gd name="T4" fmla="*/ 154 w 205"/>
                  <a:gd name="T5" fmla="*/ 14 h 963"/>
                  <a:gd name="T6" fmla="*/ 176 w 205"/>
                  <a:gd name="T7" fmla="*/ 31 h 963"/>
                  <a:gd name="T8" fmla="*/ 191 w 205"/>
                  <a:gd name="T9" fmla="*/ 51 h 963"/>
                  <a:gd name="T10" fmla="*/ 202 w 205"/>
                  <a:gd name="T11" fmla="*/ 75 h 963"/>
                  <a:gd name="T12" fmla="*/ 205 w 205"/>
                  <a:gd name="T13" fmla="*/ 102 h 963"/>
                  <a:gd name="T14" fmla="*/ 205 w 205"/>
                  <a:gd name="T15" fmla="*/ 861 h 963"/>
                  <a:gd name="T16" fmla="*/ 202 w 205"/>
                  <a:gd name="T17" fmla="*/ 888 h 963"/>
                  <a:gd name="T18" fmla="*/ 191 w 205"/>
                  <a:gd name="T19" fmla="*/ 913 h 963"/>
                  <a:gd name="T20" fmla="*/ 176 w 205"/>
                  <a:gd name="T21" fmla="*/ 934 h 963"/>
                  <a:gd name="T22" fmla="*/ 154 w 205"/>
                  <a:gd name="T23" fmla="*/ 949 h 963"/>
                  <a:gd name="T24" fmla="*/ 130 w 205"/>
                  <a:gd name="T25" fmla="*/ 960 h 963"/>
                  <a:gd name="T26" fmla="*/ 102 w 205"/>
                  <a:gd name="T27" fmla="*/ 963 h 963"/>
                  <a:gd name="T28" fmla="*/ 76 w 205"/>
                  <a:gd name="T29" fmla="*/ 960 h 963"/>
                  <a:gd name="T30" fmla="*/ 50 w 205"/>
                  <a:gd name="T31" fmla="*/ 949 h 963"/>
                  <a:gd name="T32" fmla="*/ 31 w 205"/>
                  <a:gd name="T33" fmla="*/ 934 h 963"/>
                  <a:gd name="T34" fmla="*/ 14 w 205"/>
                  <a:gd name="T35" fmla="*/ 913 h 963"/>
                  <a:gd name="T36" fmla="*/ 5 w 205"/>
                  <a:gd name="T37" fmla="*/ 888 h 963"/>
                  <a:gd name="T38" fmla="*/ 0 w 205"/>
                  <a:gd name="T39" fmla="*/ 861 h 963"/>
                  <a:gd name="T40" fmla="*/ 0 w 205"/>
                  <a:gd name="T41" fmla="*/ 102 h 963"/>
                  <a:gd name="T42" fmla="*/ 5 w 205"/>
                  <a:gd name="T43" fmla="*/ 75 h 963"/>
                  <a:gd name="T44" fmla="*/ 14 w 205"/>
                  <a:gd name="T45" fmla="*/ 51 h 963"/>
                  <a:gd name="T46" fmla="*/ 31 w 205"/>
                  <a:gd name="T47" fmla="*/ 31 h 963"/>
                  <a:gd name="T48" fmla="*/ 50 w 205"/>
                  <a:gd name="T49" fmla="*/ 14 h 963"/>
                  <a:gd name="T50" fmla="*/ 76 w 205"/>
                  <a:gd name="T51" fmla="*/ 3 h 963"/>
                  <a:gd name="T52" fmla="*/ 102 w 205"/>
                  <a:gd name="T53" fmla="*/ 0 h 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5" h="963">
                    <a:moveTo>
                      <a:pt x="102" y="0"/>
                    </a:moveTo>
                    <a:lnTo>
                      <a:pt x="130" y="3"/>
                    </a:lnTo>
                    <a:lnTo>
                      <a:pt x="154" y="14"/>
                    </a:lnTo>
                    <a:lnTo>
                      <a:pt x="176" y="31"/>
                    </a:lnTo>
                    <a:lnTo>
                      <a:pt x="191" y="51"/>
                    </a:lnTo>
                    <a:lnTo>
                      <a:pt x="202" y="75"/>
                    </a:lnTo>
                    <a:lnTo>
                      <a:pt x="205" y="102"/>
                    </a:lnTo>
                    <a:lnTo>
                      <a:pt x="205" y="861"/>
                    </a:lnTo>
                    <a:lnTo>
                      <a:pt x="202" y="888"/>
                    </a:lnTo>
                    <a:lnTo>
                      <a:pt x="191" y="913"/>
                    </a:lnTo>
                    <a:lnTo>
                      <a:pt x="176" y="934"/>
                    </a:lnTo>
                    <a:lnTo>
                      <a:pt x="154" y="949"/>
                    </a:lnTo>
                    <a:lnTo>
                      <a:pt x="130" y="960"/>
                    </a:lnTo>
                    <a:lnTo>
                      <a:pt x="102" y="963"/>
                    </a:lnTo>
                    <a:lnTo>
                      <a:pt x="76" y="960"/>
                    </a:lnTo>
                    <a:lnTo>
                      <a:pt x="50" y="949"/>
                    </a:lnTo>
                    <a:lnTo>
                      <a:pt x="31" y="934"/>
                    </a:lnTo>
                    <a:lnTo>
                      <a:pt x="14" y="913"/>
                    </a:lnTo>
                    <a:lnTo>
                      <a:pt x="5" y="888"/>
                    </a:lnTo>
                    <a:lnTo>
                      <a:pt x="0" y="861"/>
                    </a:lnTo>
                    <a:lnTo>
                      <a:pt x="0" y="102"/>
                    </a:lnTo>
                    <a:lnTo>
                      <a:pt x="5" y="75"/>
                    </a:lnTo>
                    <a:lnTo>
                      <a:pt x="14" y="51"/>
                    </a:lnTo>
                    <a:lnTo>
                      <a:pt x="31" y="31"/>
                    </a:lnTo>
                    <a:lnTo>
                      <a:pt x="50" y="14"/>
                    </a:lnTo>
                    <a:lnTo>
                      <a:pt x="76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44" name="Freeform 27"/>
              <p:cNvSpPr>
                <a:spLocks/>
              </p:cNvSpPr>
              <p:nvPr/>
            </p:nvSpPr>
            <p:spPr bwMode="auto">
              <a:xfrm>
                <a:off x="-1163" y="2161"/>
                <a:ext cx="103" cy="616"/>
              </a:xfrm>
              <a:custGeom>
                <a:avLst/>
                <a:gdLst>
                  <a:gd name="T0" fmla="*/ 102 w 204"/>
                  <a:gd name="T1" fmla="*/ 0 h 1231"/>
                  <a:gd name="T2" fmla="*/ 129 w 204"/>
                  <a:gd name="T3" fmla="*/ 3 h 1231"/>
                  <a:gd name="T4" fmla="*/ 154 w 204"/>
                  <a:gd name="T5" fmla="*/ 13 h 1231"/>
                  <a:gd name="T6" fmla="*/ 174 w 204"/>
                  <a:gd name="T7" fmla="*/ 30 h 1231"/>
                  <a:gd name="T8" fmla="*/ 191 w 204"/>
                  <a:gd name="T9" fmla="*/ 50 h 1231"/>
                  <a:gd name="T10" fmla="*/ 201 w 204"/>
                  <a:gd name="T11" fmla="*/ 74 h 1231"/>
                  <a:gd name="T12" fmla="*/ 204 w 204"/>
                  <a:gd name="T13" fmla="*/ 102 h 1231"/>
                  <a:gd name="T14" fmla="*/ 204 w 204"/>
                  <a:gd name="T15" fmla="*/ 1129 h 1231"/>
                  <a:gd name="T16" fmla="*/ 201 w 204"/>
                  <a:gd name="T17" fmla="*/ 1156 h 1231"/>
                  <a:gd name="T18" fmla="*/ 191 w 204"/>
                  <a:gd name="T19" fmla="*/ 1181 h 1231"/>
                  <a:gd name="T20" fmla="*/ 174 w 204"/>
                  <a:gd name="T21" fmla="*/ 1202 h 1231"/>
                  <a:gd name="T22" fmla="*/ 154 w 204"/>
                  <a:gd name="T23" fmla="*/ 1217 h 1231"/>
                  <a:gd name="T24" fmla="*/ 129 w 204"/>
                  <a:gd name="T25" fmla="*/ 1228 h 1231"/>
                  <a:gd name="T26" fmla="*/ 102 w 204"/>
                  <a:gd name="T27" fmla="*/ 1231 h 1231"/>
                  <a:gd name="T28" fmla="*/ 74 w 204"/>
                  <a:gd name="T29" fmla="*/ 1228 h 1231"/>
                  <a:gd name="T30" fmla="*/ 50 w 204"/>
                  <a:gd name="T31" fmla="*/ 1217 h 1231"/>
                  <a:gd name="T32" fmla="*/ 29 w 204"/>
                  <a:gd name="T33" fmla="*/ 1202 h 1231"/>
                  <a:gd name="T34" fmla="*/ 13 w 204"/>
                  <a:gd name="T35" fmla="*/ 1181 h 1231"/>
                  <a:gd name="T36" fmla="*/ 3 w 204"/>
                  <a:gd name="T37" fmla="*/ 1156 h 1231"/>
                  <a:gd name="T38" fmla="*/ 0 w 204"/>
                  <a:gd name="T39" fmla="*/ 1129 h 1231"/>
                  <a:gd name="T40" fmla="*/ 0 w 204"/>
                  <a:gd name="T41" fmla="*/ 102 h 1231"/>
                  <a:gd name="T42" fmla="*/ 3 w 204"/>
                  <a:gd name="T43" fmla="*/ 74 h 1231"/>
                  <a:gd name="T44" fmla="*/ 13 w 204"/>
                  <a:gd name="T45" fmla="*/ 51 h 1231"/>
                  <a:gd name="T46" fmla="*/ 29 w 204"/>
                  <a:gd name="T47" fmla="*/ 30 h 1231"/>
                  <a:gd name="T48" fmla="*/ 48 w 204"/>
                  <a:gd name="T49" fmla="*/ 15 h 1231"/>
                  <a:gd name="T50" fmla="*/ 74 w 204"/>
                  <a:gd name="T51" fmla="*/ 4 h 1231"/>
                  <a:gd name="T52" fmla="*/ 102 w 204"/>
                  <a:gd name="T53" fmla="*/ 0 h 1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4" h="1231">
                    <a:moveTo>
                      <a:pt x="102" y="0"/>
                    </a:moveTo>
                    <a:lnTo>
                      <a:pt x="129" y="3"/>
                    </a:lnTo>
                    <a:lnTo>
                      <a:pt x="154" y="13"/>
                    </a:lnTo>
                    <a:lnTo>
                      <a:pt x="174" y="30"/>
                    </a:lnTo>
                    <a:lnTo>
                      <a:pt x="191" y="50"/>
                    </a:lnTo>
                    <a:lnTo>
                      <a:pt x="201" y="74"/>
                    </a:lnTo>
                    <a:lnTo>
                      <a:pt x="204" y="102"/>
                    </a:lnTo>
                    <a:lnTo>
                      <a:pt x="204" y="1129"/>
                    </a:lnTo>
                    <a:lnTo>
                      <a:pt x="201" y="1156"/>
                    </a:lnTo>
                    <a:lnTo>
                      <a:pt x="191" y="1181"/>
                    </a:lnTo>
                    <a:lnTo>
                      <a:pt x="174" y="1202"/>
                    </a:lnTo>
                    <a:lnTo>
                      <a:pt x="154" y="1217"/>
                    </a:lnTo>
                    <a:lnTo>
                      <a:pt x="129" y="1228"/>
                    </a:lnTo>
                    <a:lnTo>
                      <a:pt x="102" y="1231"/>
                    </a:lnTo>
                    <a:lnTo>
                      <a:pt x="74" y="1228"/>
                    </a:lnTo>
                    <a:lnTo>
                      <a:pt x="50" y="1217"/>
                    </a:lnTo>
                    <a:lnTo>
                      <a:pt x="29" y="1202"/>
                    </a:lnTo>
                    <a:lnTo>
                      <a:pt x="13" y="1181"/>
                    </a:lnTo>
                    <a:lnTo>
                      <a:pt x="3" y="1156"/>
                    </a:lnTo>
                    <a:lnTo>
                      <a:pt x="0" y="1129"/>
                    </a:lnTo>
                    <a:lnTo>
                      <a:pt x="0" y="102"/>
                    </a:lnTo>
                    <a:lnTo>
                      <a:pt x="3" y="74"/>
                    </a:lnTo>
                    <a:lnTo>
                      <a:pt x="13" y="51"/>
                    </a:lnTo>
                    <a:lnTo>
                      <a:pt x="29" y="30"/>
                    </a:lnTo>
                    <a:lnTo>
                      <a:pt x="48" y="15"/>
                    </a:lnTo>
                    <a:lnTo>
                      <a:pt x="74" y="4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45" name="Freeform 28"/>
              <p:cNvSpPr>
                <a:spLocks/>
              </p:cNvSpPr>
              <p:nvPr/>
            </p:nvSpPr>
            <p:spPr bwMode="auto">
              <a:xfrm>
                <a:off x="21" y="2418"/>
                <a:ext cx="337" cy="103"/>
              </a:xfrm>
              <a:custGeom>
                <a:avLst/>
                <a:gdLst>
                  <a:gd name="T0" fmla="*/ 102 w 675"/>
                  <a:gd name="T1" fmla="*/ 0 h 204"/>
                  <a:gd name="T2" fmla="*/ 573 w 675"/>
                  <a:gd name="T3" fmla="*/ 0 h 204"/>
                  <a:gd name="T4" fmla="*/ 600 w 675"/>
                  <a:gd name="T5" fmla="*/ 3 h 204"/>
                  <a:gd name="T6" fmla="*/ 625 w 675"/>
                  <a:gd name="T7" fmla="*/ 14 h 204"/>
                  <a:gd name="T8" fmla="*/ 644 w 675"/>
                  <a:gd name="T9" fmla="*/ 29 h 204"/>
                  <a:gd name="T10" fmla="*/ 661 w 675"/>
                  <a:gd name="T11" fmla="*/ 50 h 204"/>
                  <a:gd name="T12" fmla="*/ 670 w 675"/>
                  <a:gd name="T13" fmla="*/ 75 h 204"/>
                  <a:gd name="T14" fmla="*/ 675 w 675"/>
                  <a:gd name="T15" fmla="*/ 102 h 204"/>
                  <a:gd name="T16" fmla="*/ 670 w 675"/>
                  <a:gd name="T17" fmla="*/ 128 h 204"/>
                  <a:gd name="T18" fmla="*/ 661 w 675"/>
                  <a:gd name="T19" fmla="*/ 152 h 204"/>
                  <a:gd name="T20" fmla="*/ 644 w 675"/>
                  <a:gd name="T21" fmla="*/ 174 h 204"/>
                  <a:gd name="T22" fmla="*/ 625 w 675"/>
                  <a:gd name="T23" fmla="*/ 191 h 204"/>
                  <a:gd name="T24" fmla="*/ 600 w 675"/>
                  <a:gd name="T25" fmla="*/ 200 h 204"/>
                  <a:gd name="T26" fmla="*/ 573 w 675"/>
                  <a:gd name="T27" fmla="*/ 204 h 204"/>
                  <a:gd name="T28" fmla="*/ 102 w 675"/>
                  <a:gd name="T29" fmla="*/ 204 h 204"/>
                  <a:gd name="T30" fmla="*/ 76 w 675"/>
                  <a:gd name="T31" fmla="*/ 200 h 204"/>
                  <a:gd name="T32" fmla="*/ 52 w 675"/>
                  <a:gd name="T33" fmla="*/ 191 h 204"/>
                  <a:gd name="T34" fmla="*/ 30 w 675"/>
                  <a:gd name="T35" fmla="*/ 174 h 204"/>
                  <a:gd name="T36" fmla="*/ 14 w 675"/>
                  <a:gd name="T37" fmla="*/ 152 h 204"/>
                  <a:gd name="T38" fmla="*/ 4 w 675"/>
                  <a:gd name="T39" fmla="*/ 128 h 204"/>
                  <a:gd name="T40" fmla="*/ 0 w 675"/>
                  <a:gd name="T41" fmla="*/ 102 h 204"/>
                  <a:gd name="T42" fmla="*/ 4 w 675"/>
                  <a:gd name="T43" fmla="*/ 75 h 204"/>
                  <a:gd name="T44" fmla="*/ 14 w 675"/>
                  <a:gd name="T45" fmla="*/ 50 h 204"/>
                  <a:gd name="T46" fmla="*/ 30 w 675"/>
                  <a:gd name="T47" fmla="*/ 29 h 204"/>
                  <a:gd name="T48" fmla="*/ 52 w 675"/>
                  <a:gd name="T49" fmla="*/ 14 h 204"/>
                  <a:gd name="T50" fmla="*/ 76 w 675"/>
                  <a:gd name="T51" fmla="*/ 3 h 204"/>
                  <a:gd name="T52" fmla="*/ 102 w 675"/>
                  <a:gd name="T53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75" h="204">
                    <a:moveTo>
                      <a:pt x="102" y="0"/>
                    </a:moveTo>
                    <a:lnTo>
                      <a:pt x="573" y="0"/>
                    </a:lnTo>
                    <a:lnTo>
                      <a:pt x="600" y="3"/>
                    </a:lnTo>
                    <a:lnTo>
                      <a:pt x="625" y="14"/>
                    </a:lnTo>
                    <a:lnTo>
                      <a:pt x="644" y="29"/>
                    </a:lnTo>
                    <a:lnTo>
                      <a:pt x="661" y="50"/>
                    </a:lnTo>
                    <a:lnTo>
                      <a:pt x="670" y="75"/>
                    </a:lnTo>
                    <a:lnTo>
                      <a:pt x="675" y="102"/>
                    </a:lnTo>
                    <a:lnTo>
                      <a:pt x="670" y="128"/>
                    </a:lnTo>
                    <a:lnTo>
                      <a:pt x="661" y="152"/>
                    </a:lnTo>
                    <a:lnTo>
                      <a:pt x="644" y="174"/>
                    </a:lnTo>
                    <a:lnTo>
                      <a:pt x="625" y="191"/>
                    </a:lnTo>
                    <a:lnTo>
                      <a:pt x="600" y="200"/>
                    </a:lnTo>
                    <a:lnTo>
                      <a:pt x="573" y="204"/>
                    </a:lnTo>
                    <a:lnTo>
                      <a:pt x="102" y="204"/>
                    </a:lnTo>
                    <a:lnTo>
                      <a:pt x="76" y="200"/>
                    </a:lnTo>
                    <a:lnTo>
                      <a:pt x="52" y="191"/>
                    </a:lnTo>
                    <a:lnTo>
                      <a:pt x="30" y="174"/>
                    </a:lnTo>
                    <a:lnTo>
                      <a:pt x="14" y="152"/>
                    </a:lnTo>
                    <a:lnTo>
                      <a:pt x="4" y="128"/>
                    </a:lnTo>
                    <a:lnTo>
                      <a:pt x="0" y="102"/>
                    </a:lnTo>
                    <a:lnTo>
                      <a:pt x="4" y="75"/>
                    </a:lnTo>
                    <a:lnTo>
                      <a:pt x="14" y="50"/>
                    </a:lnTo>
                    <a:lnTo>
                      <a:pt x="30" y="29"/>
                    </a:lnTo>
                    <a:lnTo>
                      <a:pt x="52" y="14"/>
                    </a:lnTo>
                    <a:lnTo>
                      <a:pt x="76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47" name="Freeform 29"/>
              <p:cNvSpPr>
                <a:spLocks/>
              </p:cNvSpPr>
              <p:nvPr/>
            </p:nvSpPr>
            <p:spPr bwMode="auto">
              <a:xfrm>
                <a:off x="21" y="2642"/>
                <a:ext cx="337" cy="102"/>
              </a:xfrm>
              <a:custGeom>
                <a:avLst/>
                <a:gdLst>
                  <a:gd name="T0" fmla="*/ 102 w 675"/>
                  <a:gd name="T1" fmla="*/ 0 h 204"/>
                  <a:gd name="T2" fmla="*/ 573 w 675"/>
                  <a:gd name="T3" fmla="*/ 0 h 204"/>
                  <a:gd name="T4" fmla="*/ 600 w 675"/>
                  <a:gd name="T5" fmla="*/ 3 h 204"/>
                  <a:gd name="T6" fmla="*/ 625 w 675"/>
                  <a:gd name="T7" fmla="*/ 14 h 204"/>
                  <a:gd name="T8" fmla="*/ 644 w 675"/>
                  <a:gd name="T9" fmla="*/ 30 h 204"/>
                  <a:gd name="T10" fmla="*/ 661 w 675"/>
                  <a:gd name="T11" fmla="*/ 50 h 204"/>
                  <a:gd name="T12" fmla="*/ 670 w 675"/>
                  <a:gd name="T13" fmla="*/ 75 h 204"/>
                  <a:gd name="T14" fmla="*/ 675 w 675"/>
                  <a:gd name="T15" fmla="*/ 102 h 204"/>
                  <a:gd name="T16" fmla="*/ 670 w 675"/>
                  <a:gd name="T17" fmla="*/ 130 h 204"/>
                  <a:gd name="T18" fmla="*/ 661 w 675"/>
                  <a:gd name="T19" fmla="*/ 154 h 204"/>
                  <a:gd name="T20" fmla="*/ 644 w 675"/>
                  <a:gd name="T21" fmla="*/ 174 h 204"/>
                  <a:gd name="T22" fmla="*/ 625 w 675"/>
                  <a:gd name="T23" fmla="*/ 191 h 204"/>
                  <a:gd name="T24" fmla="*/ 600 w 675"/>
                  <a:gd name="T25" fmla="*/ 201 h 204"/>
                  <a:gd name="T26" fmla="*/ 573 w 675"/>
                  <a:gd name="T27" fmla="*/ 204 h 204"/>
                  <a:gd name="T28" fmla="*/ 102 w 675"/>
                  <a:gd name="T29" fmla="*/ 204 h 204"/>
                  <a:gd name="T30" fmla="*/ 76 w 675"/>
                  <a:gd name="T31" fmla="*/ 201 h 204"/>
                  <a:gd name="T32" fmla="*/ 52 w 675"/>
                  <a:gd name="T33" fmla="*/ 191 h 204"/>
                  <a:gd name="T34" fmla="*/ 30 w 675"/>
                  <a:gd name="T35" fmla="*/ 174 h 204"/>
                  <a:gd name="T36" fmla="*/ 14 w 675"/>
                  <a:gd name="T37" fmla="*/ 154 h 204"/>
                  <a:gd name="T38" fmla="*/ 4 w 675"/>
                  <a:gd name="T39" fmla="*/ 130 h 204"/>
                  <a:gd name="T40" fmla="*/ 0 w 675"/>
                  <a:gd name="T41" fmla="*/ 102 h 204"/>
                  <a:gd name="T42" fmla="*/ 4 w 675"/>
                  <a:gd name="T43" fmla="*/ 75 h 204"/>
                  <a:gd name="T44" fmla="*/ 14 w 675"/>
                  <a:gd name="T45" fmla="*/ 50 h 204"/>
                  <a:gd name="T46" fmla="*/ 30 w 675"/>
                  <a:gd name="T47" fmla="*/ 30 h 204"/>
                  <a:gd name="T48" fmla="*/ 52 w 675"/>
                  <a:gd name="T49" fmla="*/ 14 h 204"/>
                  <a:gd name="T50" fmla="*/ 76 w 675"/>
                  <a:gd name="T51" fmla="*/ 3 h 204"/>
                  <a:gd name="T52" fmla="*/ 102 w 675"/>
                  <a:gd name="T53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75" h="204">
                    <a:moveTo>
                      <a:pt x="102" y="0"/>
                    </a:moveTo>
                    <a:lnTo>
                      <a:pt x="573" y="0"/>
                    </a:lnTo>
                    <a:lnTo>
                      <a:pt x="600" y="3"/>
                    </a:lnTo>
                    <a:lnTo>
                      <a:pt x="625" y="14"/>
                    </a:lnTo>
                    <a:lnTo>
                      <a:pt x="644" y="30"/>
                    </a:lnTo>
                    <a:lnTo>
                      <a:pt x="661" y="50"/>
                    </a:lnTo>
                    <a:lnTo>
                      <a:pt x="670" y="75"/>
                    </a:lnTo>
                    <a:lnTo>
                      <a:pt x="675" y="102"/>
                    </a:lnTo>
                    <a:lnTo>
                      <a:pt x="670" y="130"/>
                    </a:lnTo>
                    <a:lnTo>
                      <a:pt x="661" y="154"/>
                    </a:lnTo>
                    <a:lnTo>
                      <a:pt x="644" y="174"/>
                    </a:lnTo>
                    <a:lnTo>
                      <a:pt x="625" y="191"/>
                    </a:lnTo>
                    <a:lnTo>
                      <a:pt x="600" y="201"/>
                    </a:lnTo>
                    <a:lnTo>
                      <a:pt x="573" y="204"/>
                    </a:lnTo>
                    <a:lnTo>
                      <a:pt x="102" y="204"/>
                    </a:lnTo>
                    <a:lnTo>
                      <a:pt x="76" y="201"/>
                    </a:lnTo>
                    <a:lnTo>
                      <a:pt x="52" y="191"/>
                    </a:lnTo>
                    <a:lnTo>
                      <a:pt x="30" y="174"/>
                    </a:lnTo>
                    <a:lnTo>
                      <a:pt x="14" y="154"/>
                    </a:lnTo>
                    <a:lnTo>
                      <a:pt x="4" y="130"/>
                    </a:lnTo>
                    <a:lnTo>
                      <a:pt x="0" y="102"/>
                    </a:lnTo>
                    <a:lnTo>
                      <a:pt x="4" y="75"/>
                    </a:lnTo>
                    <a:lnTo>
                      <a:pt x="14" y="50"/>
                    </a:lnTo>
                    <a:lnTo>
                      <a:pt x="30" y="30"/>
                    </a:lnTo>
                    <a:lnTo>
                      <a:pt x="52" y="14"/>
                    </a:lnTo>
                    <a:lnTo>
                      <a:pt x="76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147993" y="5299348"/>
            <a:ext cx="727877" cy="559995"/>
            <a:chOff x="147993" y="5080087"/>
            <a:chExt cx="727877" cy="559995"/>
          </a:xfrm>
        </p:grpSpPr>
        <p:sp>
          <p:nvSpPr>
            <p:cNvPr id="37" name="Rectangle 17"/>
            <p:cNvSpPr>
              <a:spLocks/>
            </p:cNvSpPr>
            <p:nvPr/>
          </p:nvSpPr>
          <p:spPr bwMode="auto">
            <a:xfrm>
              <a:off x="147993" y="5270750"/>
              <a:ext cx="72787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Объекты инфраструктуры / карты</a:t>
              </a:r>
            </a:p>
          </p:txBody>
        </p:sp>
        <p:grpSp>
          <p:nvGrpSpPr>
            <p:cNvPr id="248" name="Group 247"/>
            <p:cNvGrpSpPr/>
            <p:nvPr/>
          </p:nvGrpSpPr>
          <p:grpSpPr>
            <a:xfrm>
              <a:off x="365905" y="5080087"/>
              <a:ext cx="233576" cy="214640"/>
              <a:chOff x="-1831145" y="1063685"/>
              <a:chExt cx="488634" cy="449020"/>
            </a:xfrm>
            <a:solidFill>
              <a:schemeClr val="bg1"/>
            </a:solidFill>
          </p:grpSpPr>
          <p:sp>
            <p:nvSpPr>
              <p:cNvPr id="250" name="Freeform 7"/>
              <p:cNvSpPr>
                <a:spLocks/>
              </p:cNvSpPr>
              <p:nvPr/>
            </p:nvSpPr>
            <p:spPr bwMode="auto">
              <a:xfrm>
                <a:off x="-1793165" y="1260323"/>
                <a:ext cx="210523" cy="127008"/>
              </a:xfrm>
              <a:custGeom>
                <a:avLst/>
                <a:gdLst>
                  <a:gd name="T0" fmla="*/ 396 w 2061"/>
                  <a:gd name="T1" fmla="*/ 0 h 1245"/>
                  <a:gd name="T2" fmla="*/ 1816 w 2061"/>
                  <a:gd name="T3" fmla="*/ 0 h 1245"/>
                  <a:gd name="T4" fmla="*/ 1869 w 2061"/>
                  <a:gd name="T5" fmla="*/ 137 h 1245"/>
                  <a:gd name="T6" fmla="*/ 1928 w 2061"/>
                  <a:gd name="T7" fmla="*/ 271 h 1245"/>
                  <a:gd name="T8" fmla="*/ 1993 w 2061"/>
                  <a:gd name="T9" fmla="*/ 402 h 1245"/>
                  <a:gd name="T10" fmla="*/ 2061 w 2061"/>
                  <a:gd name="T11" fmla="*/ 528 h 1245"/>
                  <a:gd name="T12" fmla="*/ 1912 w 2061"/>
                  <a:gd name="T13" fmla="*/ 1245 h 1245"/>
                  <a:gd name="T14" fmla="*/ 0 w 2061"/>
                  <a:gd name="T15" fmla="*/ 1037 h 1245"/>
                  <a:gd name="T16" fmla="*/ 272 w 2061"/>
                  <a:gd name="T17" fmla="*/ 93 h 1245"/>
                  <a:gd name="T18" fmla="*/ 284 w 2061"/>
                  <a:gd name="T19" fmla="*/ 67 h 1245"/>
                  <a:gd name="T20" fmla="*/ 299 w 2061"/>
                  <a:gd name="T21" fmla="*/ 45 h 1245"/>
                  <a:gd name="T22" fmla="*/ 319 w 2061"/>
                  <a:gd name="T23" fmla="*/ 26 h 1245"/>
                  <a:gd name="T24" fmla="*/ 342 w 2061"/>
                  <a:gd name="T25" fmla="*/ 13 h 1245"/>
                  <a:gd name="T26" fmla="*/ 368 w 2061"/>
                  <a:gd name="T27" fmla="*/ 5 h 1245"/>
                  <a:gd name="T28" fmla="*/ 396 w 2061"/>
                  <a:gd name="T29" fmla="*/ 0 h 1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61" h="1245">
                    <a:moveTo>
                      <a:pt x="396" y="0"/>
                    </a:moveTo>
                    <a:lnTo>
                      <a:pt x="1816" y="0"/>
                    </a:lnTo>
                    <a:lnTo>
                      <a:pt x="1869" y="137"/>
                    </a:lnTo>
                    <a:lnTo>
                      <a:pt x="1928" y="271"/>
                    </a:lnTo>
                    <a:lnTo>
                      <a:pt x="1993" y="402"/>
                    </a:lnTo>
                    <a:lnTo>
                      <a:pt x="2061" y="528"/>
                    </a:lnTo>
                    <a:lnTo>
                      <a:pt x="1912" y="1245"/>
                    </a:lnTo>
                    <a:lnTo>
                      <a:pt x="0" y="1037"/>
                    </a:lnTo>
                    <a:lnTo>
                      <a:pt x="272" y="93"/>
                    </a:lnTo>
                    <a:lnTo>
                      <a:pt x="284" y="67"/>
                    </a:lnTo>
                    <a:lnTo>
                      <a:pt x="299" y="45"/>
                    </a:lnTo>
                    <a:lnTo>
                      <a:pt x="319" y="26"/>
                    </a:lnTo>
                    <a:lnTo>
                      <a:pt x="342" y="13"/>
                    </a:lnTo>
                    <a:lnTo>
                      <a:pt x="368" y="5"/>
                    </a:lnTo>
                    <a:lnTo>
                      <a:pt x="3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51" name="Freeform 8"/>
              <p:cNvSpPr>
                <a:spLocks/>
              </p:cNvSpPr>
              <p:nvPr/>
            </p:nvSpPr>
            <p:spPr bwMode="auto">
              <a:xfrm>
                <a:off x="-1425618" y="1352209"/>
                <a:ext cx="58603" cy="60645"/>
              </a:xfrm>
              <a:custGeom>
                <a:avLst/>
                <a:gdLst>
                  <a:gd name="T0" fmla="*/ 403 w 575"/>
                  <a:gd name="T1" fmla="*/ 0 h 593"/>
                  <a:gd name="T2" fmla="*/ 575 w 575"/>
                  <a:gd name="T3" fmla="*/ 593 h 593"/>
                  <a:gd name="T4" fmla="*/ 0 w 575"/>
                  <a:gd name="T5" fmla="*/ 531 h 593"/>
                  <a:gd name="T6" fmla="*/ 63 w 575"/>
                  <a:gd name="T7" fmla="*/ 453 h 593"/>
                  <a:gd name="T8" fmla="*/ 128 w 575"/>
                  <a:gd name="T9" fmla="*/ 372 h 593"/>
                  <a:gd name="T10" fmla="*/ 197 w 575"/>
                  <a:gd name="T11" fmla="*/ 285 h 593"/>
                  <a:gd name="T12" fmla="*/ 265 w 575"/>
                  <a:gd name="T13" fmla="*/ 195 h 593"/>
                  <a:gd name="T14" fmla="*/ 335 w 575"/>
                  <a:gd name="T15" fmla="*/ 99 h 593"/>
                  <a:gd name="T16" fmla="*/ 403 w 575"/>
                  <a:gd name="T17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5" h="593">
                    <a:moveTo>
                      <a:pt x="403" y="0"/>
                    </a:moveTo>
                    <a:lnTo>
                      <a:pt x="575" y="593"/>
                    </a:lnTo>
                    <a:lnTo>
                      <a:pt x="0" y="531"/>
                    </a:lnTo>
                    <a:lnTo>
                      <a:pt x="63" y="453"/>
                    </a:lnTo>
                    <a:lnTo>
                      <a:pt x="128" y="372"/>
                    </a:lnTo>
                    <a:lnTo>
                      <a:pt x="197" y="285"/>
                    </a:lnTo>
                    <a:lnTo>
                      <a:pt x="265" y="195"/>
                    </a:lnTo>
                    <a:lnTo>
                      <a:pt x="335" y="99"/>
                    </a:lnTo>
                    <a:lnTo>
                      <a:pt x="4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52" name="Freeform 9"/>
              <p:cNvSpPr>
                <a:spLocks/>
              </p:cNvSpPr>
              <p:nvPr/>
            </p:nvSpPr>
            <p:spPr bwMode="auto">
              <a:xfrm>
                <a:off x="-1558956" y="1361602"/>
                <a:ext cx="31854" cy="33692"/>
              </a:xfrm>
              <a:custGeom>
                <a:avLst/>
                <a:gdLst>
                  <a:gd name="T0" fmla="*/ 63 w 311"/>
                  <a:gd name="T1" fmla="*/ 0 h 328"/>
                  <a:gd name="T2" fmla="*/ 67 w 311"/>
                  <a:gd name="T3" fmla="*/ 6 h 328"/>
                  <a:gd name="T4" fmla="*/ 150 w 311"/>
                  <a:gd name="T5" fmla="*/ 120 h 328"/>
                  <a:gd name="T6" fmla="*/ 231 w 311"/>
                  <a:gd name="T7" fmla="*/ 227 h 328"/>
                  <a:gd name="T8" fmla="*/ 311 w 311"/>
                  <a:gd name="T9" fmla="*/ 328 h 328"/>
                  <a:gd name="T10" fmla="*/ 0 w 311"/>
                  <a:gd name="T11" fmla="*/ 294 h 328"/>
                  <a:gd name="T12" fmla="*/ 63 w 311"/>
                  <a:gd name="T13" fmla="*/ 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1" h="328">
                    <a:moveTo>
                      <a:pt x="63" y="0"/>
                    </a:moveTo>
                    <a:lnTo>
                      <a:pt x="67" y="6"/>
                    </a:lnTo>
                    <a:lnTo>
                      <a:pt x="150" y="120"/>
                    </a:lnTo>
                    <a:lnTo>
                      <a:pt x="231" y="227"/>
                    </a:lnTo>
                    <a:lnTo>
                      <a:pt x="311" y="328"/>
                    </a:lnTo>
                    <a:lnTo>
                      <a:pt x="0" y="294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53" name="Freeform 10"/>
              <p:cNvSpPr>
                <a:spLocks/>
              </p:cNvSpPr>
              <p:nvPr/>
            </p:nvSpPr>
            <p:spPr bwMode="auto">
              <a:xfrm>
                <a:off x="-1831145" y="1404279"/>
                <a:ext cx="225021" cy="108426"/>
              </a:xfrm>
              <a:custGeom>
                <a:avLst/>
                <a:gdLst>
                  <a:gd name="T0" fmla="*/ 265 w 2204"/>
                  <a:gd name="T1" fmla="*/ 0 h 1062"/>
                  <a:gd name="T2" fmla="*/ 2204 w 2204"/>
                  <a:gd name="T3" fmla="*/ 213 h 1062"/>
                  <a:gd name="T4" fmla="*/ 2026 w 2204"/>
                  <a:gd name="T5" fmla="*/ 1062 h 1062"/>
                  <a:gd name="T6" fmla="*/ 128 w 2204"/>
                  <a:gd name="T7" fmla="*/ 1062 h 1062"/>
                  <a:gd name="T8" fmla="*/ 99 w 2204"/>
                  <a:gd name="T9" fmla="*/ 1059 h 1062"/>
                  <a:gd name="T10" fmla="*/ 71 w 2204"/>
                  <a:gd name="T11" fmla="*/ 1049 h 1062"/>
                  <a:gd name="T12" fmla="*/ 47 w 2204"/>
                  <a:gd name="T13" fmla="*/ 1033 h 1062"/>
                  <a:gd name="T14" fmla="*/ 26 w 2204"/>
                  <a:gd name="T15" fmla="*/ 1011 h 1062"/>
                  <a:gd name="T16" fmla="*/ 10 w 2204"/>
                  <a:gd name="T17" fmla="*/ 985 h 1062"/>
                  <a:gd name="T18" fmla="*/ 1 w 2204"/>
                  <a:gd name="T19" fmla="*/ 957 h 1062"/>
                  <a:gd name="T20" fmla="*/ 0 w 2204"/>
                  <a:gd name="T21" fmla="*/ 928 h 1062"/>
                  <a:gd name="T22" fmla="*/ 4 w 2204"/>
                  <a:gd name="T23" fmla="*/ 899 h 1062"/>
                  <a:gd name="T24" fmla="*/ 265 w 2204"/>
                  <a:gd name="T25" fmla="*/ 0 h 10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04" h="1062">
                    <a:moveTo>
                      <a:pt x="265" y="0"/>
                    </a:moveTo>
                    <a:lnTo>
                      <a:pt x="2204" y="213"/>
                    </a:lnTo>
                    <a:lnTo>
                      <a:pt x="2026" y="1062"/>
                    </a:lnTo>
                    <a:lnTo>
                      <a:pt x="128" y="1062"/>
                    </a:lnTo>
                    <a:lnTo>
                      <a:pt x="99" y="1059"/>
                    </a:lnTo>
                    <a:lnTo>
                      <a:pt x="71" y="1049"/>
                    </a:lnTo>
                    <a:lnTo>
                      <a:pt x="47" y="1033"/>
                    </a:lnTo>
                    <a:lnTo>
                      <a:pt x="26" y="1011"/>
                    </a:lnTo>
                    <a:lnTo>
                      <a:pt x="10" y="985"/>
                    </a:lnTo>
                    <a:lnTo>
                      <a:pt x="1" y="957"/>
                    </a:lnTo>
                    <a:lnTo>
                      <a:pt x="0" y="928"/>
                    </a:lnTo>
                    <a:lnTo>
                      <a:pt x="4" y="899"/>
                    </a:lnTo>
                    <a:lnTo>
                      <a:pt x="2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55" name="Freeform 11"/>
              <p:cNvSpPr>
                <a:spLocks/>
              </p:cNvSpPr>
              <p:nvPr/>
            </p:nvSpPr>
            <p:spPr bwMode="auto">
              <a:xfrm>
                <a:off x="-1584276" y="1430211"/>
                <a:ext cx="241765" cy="82494"/>
              </a:xfrm>
              <a:custGeom>
                <a:avLst/>
                <a:gdLst>
                  <a:gd name="T0" fmla="*/ 169 w 2368"/>
                  <a:gd name="T1" fmla="*/ 0 h 807"/>
                  <a:gd name="T2" fmla="*/ 2243 w 2368"/>
                  <a:gd name="T3" fmla="*/ 227 h 807"/>
                  <a:gd name="T4" fmla="*/ 2361 w 2368"/>
                  <a:gd name="T5" fmla="*/ 635 h 807"/>
                  <a:gd name="T6" fmla="*/ 2366 w 2368"/>
                  <a:gd name="T7" fmla="*/ 657 h 807"/>
                  <a:gd name="T8" fmla="*/ 2368 w 2368"/>
                  <a:gd name="T9" fmla="*/ 679 h 807"/>
                  <a:gd name="T10" fmla="*/ 2365 w 2368"/>
                  <a:gd name="T11" fmla="*/ 708 h 807"/>
                  <a:gd name="T12" fmla="*/ 2355 w 2368"/>
                  <a:gd name="T13" fmla="*/ 736 h 807"/>
                  <a:gd name="T14" fmla="*/ 2340 w 2368"/>
                  <a:gd name="T15" fmla="*/ 759 h 807"/>
                  <a:gd name="T16" fmla="*/ 2320 w 2368"/>
                  <a:gd name="T17" fmla="*/ 779 h 807"/>
                  <a:gd name="T18" fmla="*/ 2297 w 2368"/>
                  <a:gd name="T19" fmla="*/ 794 h 807"/>
                  <a:gd name="T20" fmla="*/ 2269 w 2368"/>
                  <a:gd name="T21" fmla="*/ 804 h 807"/>
                  <a:gd name="T22" fmla="*/ 2240 w 2368"/>
                  <a:gd name="T23" fmla="*/ 807 h 807"/>
                  <a:gd name="T24" fmla="*/ 0 w 2368"/>
                  <a:gd name="T25" fmla="*/ 807 h 807"/>
                  <a:gd name="T26" fmla="*/ 169 w 2368"/>
                  <a:gd name="T27" fmla="*/ 0 h 8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68" h="807">
                    <a:moveTo>
                      <a:pt x="169" y="0"/>
                    </a:moveTo>
                    <a:lnTo>
                      <a:pt x="2243" y="227"/>
                    </a:lnTo>
                    <a:lnTo>
                      <a:pt x="2361" y="635"/>
                    </a:lnTo>
                    <a:lnTo>
                      <a:pt x="2366" y="657"/>
                    </a:lnTo>
                    <a:lnTo>
                      <a:pt x="2368" y="679"/>
                    </a:lnTo>
                    <a:lnTo>
                      <a:pt x="2365" y="708"/>
                    </a:lnTo>
                    <a:lnTo>
                      <a:pt x="2355" y="736"/>
                    </a:lnTo>
                    <a:lnTo>
                      <a:pt x="2340" y="759"/>
                    </a:lnTo>
                    <a:lnTo>
                      <a:pt x="2320" y="779"/>
                    </a:lnTo>
                    <a:lnTo>
                      <a:pt x="2297" y="794"/>
                    </a:lnTo>
                    <a:lnTo>
                      <a:pt x="2269" y="804"/>
                    </a:lnTo>
                    <a:lnTo>
                      <a:pt x="2240" y="807"/>
                    </a:lnTo>
                    <a:lnTo>
                      <a:pt x="0" y="807"/>
                    </a:lnTo>
                    <a:lnTo>
                      <a:pt x="1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60" name="Freeform 12"/>
              <p:cNvSpPr>
                <a:spLocks noEditPoints="1"/>
              </p:cNvSpPr>
              <p:nvPr/>
            </p:nvSpPr>
            <p:spPr bwMode="auto">
              <a:xfrm>
                <a:off x="-1601224" y="1063685"/>
                <a:ext cx="258713" cy="361625"/>
              </a:xfrm>
              <a:custGeom>
                <a:avLst/>
                <a:gdLst>
                  <a:gd name="T0" fmla="*/ 1102 w 2535"/>
                  <a:gd name="T1" fmla="*/ 494 h 3540"/>
                  <a:gd name="T2" fmla="*/ 877 w 2535"/>
                  <a:gd name="T3" fmla="*/ 583 h 3540"/>
                  <a:gd name="T4" fmla="*/ 693 w 2535"/>
                  <a:gd name="T5" fmla="*/ 733 h 3540"/>
                  <a:gd name="T6" fmla="*/ 563 w 2535"/>
                  <a:gd name="T7" fmla="*/ 931 h 3540"/>
                  <a:gd name="T8" fmla="*/ 499 w 2535"/>
                  <a:gd name="T9" fmla="*/ 1166 h 3540"/>
                  <a:gd name="T10" fmla="*/ 512 w 2535"/>
                  <a:gd name="T11" fmla="*/ 1417 h 3540"/>
                  <a:gd name="T12" fmla="*/ 599 w 2535"/>
                  <a:gd name="T13" fmla="*/ 1641 h 3540"/>
                  <a:gd name="T14" fmla="*/ 749 w 2535"/>
                  <a:gd name="T15" fmla="*/ 1825 h 3540"/>
                  <a:gd name="T16" fmla="*/ 948 w 2535"/>
                  <a:gd name="T17" fmla="*/ 1956 h 3540"/>
                  <a:gd name="T18" fmla="*/ 1184 w 2535"/>
                  <a:gd name="T19" fmla="*/ 2020 h 3540"/>
                  <a:gd name="T20" fmla="*/ 1434 w 2535"/>
                  <a:gd name="T21" fmla="*/ 2007 h 3540"/>
                  <a:gd name="T22" fmla="*/ 1658 w 2535"/>
                  <a:gd name="T23" fmla="*/ 1920 h 3540"/>
                  <a:gd name="T24" fmla="*/ 1843 w 2535"/>
                  <a:gd name="T25" fmla="*/ 1769 h 3540"/>
                  <a:gd name="T26" fmla="*/ 1972 w 2535"/>
                  <a:gd name="T27" fmla="*/ 1571 h 3540"/>
                  <a:gd name="T28" fmla="*/ 2037 w 2535"/>
                  <a:gd name="T29" fmla="*/ 1335 h 3540"/>
                  <a:gd name="T30" fmla="*/ 2023 w 2535"/>
                  <a:gd name="T31" fmla="*/ 1085 h 3540"/>
                  <a:gd name="T32" fmla="*/ 1936 w 2535"/>
                  <a:gd name="T33" fmla="*/ 861 h 3540"/>
                  <a:gd name="T34" fmla="*/ 1786 w 2535"/>
                  <a:gd name="T35" fmla="*/ 676 h 3540"/>
                  <a:gd name="T36" fmla="*/ 1587 w 2535"/>
                  <a:gd name="T37" fmla="*/ 545 h 3540"/>
                  <a:gd name="T38" fmla="*/ 1351 w 2535"/>
                  <a:gd name="T39" fmla="*/ 481 h 3540"/>
                  <a:gd name="T40" fmla="*/ 1377 w 2535"/>
                  <a:gd name="T41" fmla="*/ 4 h 3540"/>
                  <a:gd name="T42" fmla="*/ 1687 w 2535"/>
                  <a:gd name="T43" fmla="*/ 71 h 3540"/>
                  <a:gd name="T44" fmla="*/ 1965 w 2535"/>
                  <a:gd name="T45" fmla="*/ 209 h 3540"/>
                  <a:gd name="T46" fmla="*/ 2199 w 2535"/>
                  <a:gd name="T47" fmla="*/ 409 h 3540"/>
                  <a:gd name="T48" fmla="*/ 2379 w 2535"/>
                  <a:gd name="T49" fmla="*/ 657 h 3540"/>
                  <a:gd name="T50" fmla="*/ 2494 w 2535"/>
                  <a:gd name="T51" fmla="*/ 948 h 3540"/>
                  <a:gd name="T52" fmla="*/ 2535 w 2535"/>
                  <a:gd name="T53" fmla="*/ 1267 h 3540"/>
                  <a:gd name="T54" fmla="*/ 2497 w 2535"/>
                  <a:gd name="T55" fmla="*/ 1594 h 3540"/>
                  <a:gd name="T56" fmla="*/ 2395 w 2535"/>
                  <a:gd name="T57" fmla="*/ 1924 h 3540"/>
                  <a:gd name="T58" fmla="*/ 2248 w 2535"/>
                  <a:gd name="T59" fmla="*/ 2246 h 3540"/>
                  <a:gd name="T60" fmla="*/ 2075 w 2535"/>
                  <a:gd name="T61" fmla="*/ 2545 h 3540"/>
                  <a:gd name="T62" fmla="*/ 1898 w 2535"/>
                  <a:gd name="T63" fmla="*/ 2812 h 3540"/>
                  <a:gd name="T64" fmla="*/ 1726 w 2535"/>
                  <a:gd name="T65" fmla="*/ 3041 h 3540"/>
                  <a:gd name="T66" fmla="*/ 1566 w 2535"/>
                  <a:gd name="T67" fmla="*/ 3241 h 3540"/>
                  <a:gd name="T68" fmla="*/ 1428 w 2535"/>
                  <a:gd name="T69" fmla="*/ 3401 h 3540"/>
                  <a:gd name="T70" fmla="*/ 1320 w 2535"/>
                  <a:gd name="T71" fmla="*/ 3517 h 3540"/>
                  <a:gd name="T72" fmla="*/ 1268 w 2535"/>
                  <a:gd name="T73" fmla="*/ 3540 h 3540"/>
                  <a:gd name="T74" fmla="*/ 1214 w 2535"/>
                  <a:gd name="T75" fmla="*/ 3517 h 3540"/>
                  <a:gd name="T76" fmla="*/ 1108 w 2535"/>
                  <a:gd name="T77" fmla="*/ 3401 h 3540"/>
                  <a:gd name="T78" fmla="*/ 968 w 2535"/>
                  <a:gd name="T79" fmla="*/ 3241 h 3540"/>
                  <a:gd name="T80" fmla="*/ 808 w 2535"/>
                  <a:gd name="T81" fmla="*/ 3043 h 3540"/>
                  <a:gd name="T82" fmla="*/ 638 w 2535"/>
                  <a:gd name="T83" fmla="*/ 2813 h 3540"/>
                  <a:gd name="T84" fmla="*/ 459 w 2535"/>
                  <a:gd name="T85" fmla="*/ 2547 h 3540"/>
                  <a:gd name="T86" fmla="*/ 288 w 2535"/>
                  <a:gd name="T87" fmla="*/ 2246 h 3540"/>
                  <a:gd name="T88" fmla="*/ 141 w 2535"/>
                  <a:gd name="T89" fmla="*/ 1924 h 3540"/>
                  <a:gd name="T90" fmla="*/ 37 w 2535"/>
                  <a:gd name="T91" fmla="*/ 1594 h 3540"/>
                  <a:gd name="T92" fmla="*/ 0 w 2535"/>
                  <a:gd name="T93" fmla="*/ 1267 h 3540"/>
                  <a:gd name="T94" fmla="*/ 40 w 2535"/>
                  <a:gd name="T95" fmla="*/ 948 h 3540"/>
                  <a:gd name="T96" fmla="*/ 155 w 2535"/>
                  <a:gd name="T97" fmla="*/ 657 h 3540"/>
                  <a:gd name="T98" fmla="*/ 336 w 2535"/>
                  <a:gd name="T99" fmla="*/ 409 h 3540"/>
                  <a:gd name="T100" fmla="*/ 570 w 2535"/>
                  <a:gd name="T101" fmla="*/ 209 h 3540"/>
                  <a:gd name="T102" fmla="*/ 848 w 2535"/>
                  <a:gd name="T103" fmla="*/ 71 h 3540"/>
                  <a:gd name="T104" fmla="*/ 1157 w 2535"/>
                  <a:gd name="T105" fmla="*/ 4 h 3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35" h="3540">
                    <a:moveTo>
                      <a:pt x="1268" y="477"/>
                    </a:moveTo>
                    <a:lnTo>
                      <a:pt x="1184" y="481"/>
                    </a:lnTo>
                    <a:lnTo>
                      <a:pt x="1102" y="494"/>
                    </a:lnTo>
                    <a:lnTo>
                      <a:pt x="1024" y="516"/>
                    </a:lnTo>
                    <a:lnTo>
                      <a:pt x="948" y="545"/>
                    </a:lnTo>
                    <a:lnTo>
                      <a:pt x="877" y="583"/>
                    </a:lnTo>
                    <a:lnTo>
                      <a:pt x="810" y="627"/>
                    </a:lnTo>
                    <a:lnTo>
                      <a:pt x="749" y="676"/>
                    </a:lnTo>
                    <a:lnTo>
                      <a:pt x="693" y="733"/>
                    </a:lnTo>
                    <a:lnTo>
                      <a:pt x="643" y="794"/>
                    </a:lnTo>
                    <a:lnTo>
                      <a:pt x="599" y="861"/>
                    </a:lnTo>
                    <a:lnTo>
                      <a:pt x="563" y="931"/>
                    </a:lnTo>
                    <a:lnTo>
                      <a:pt x="533" y="1006"/>
                    </a:lnTo>
                    <a:lnTo>
                      <a:pt x="512" y="1085"/>
                    </a:lnTo>
                    <a:lnTo>
                      <a:pt x="499" y="1166"/>
                    </a:lnTo>
                    <a:lnTo>
                      <a:pt x="493" y="1251"/>
                    </a:lnTo>
                    <a:lnTo>
                      <a:pt x="499" y="1335"/>
                    </a:lnTo>
                    <a:lnTo>
                      <a:pt x="512" y="1417"/>
                    </a:lnTo>
                    <a:lnTo>
                      <a:pt x="533" y="1495"/>
                    </a:lnTo>
                    <a:lnTo>
                      <a:pt x="563" y="1571"/>
                    </a:lnTo>
                    <a:lnTo>
                      <a:pt x="599" y="1641"/>
                    </a:lnTo>
                    <a:lnTo>
                      <a:pt x="643" y="1708"/>
                    </a:lnTo>
                    <a:lnTo>
                      <a:pt x="693" y="1769"/>
                    </a:lnTo>
                    <a:lnTo>
                      <a:pt x="749" y="1825"/>
                    </a:lnTo>
                    <a:lnTo>
                      <a:pt x="810" y="1875"/>
                    </a:lnTo>
                    <a:lnTo>
                      <a:pt x="877" y="1920"/>
                    </a:lnTo>
                    <a:lnTo>
                      <a:pt x="948" y="1956"/>
                    </a:lnTo>
                    <a:lnTo>
                      <a:pt x="1024" y="1985"/>
                    </a:lnTo>
                    <a:lnTo>
                      <a:pt x="1102" y="2007"/>
                    </a:lnTo>
                    <a:lnTo>
                      <a:pt x="1184" y="2020"/>
                    </a:lnTo>
                    <a:lnTo>
                      <a:pt x="1268" y="2025"/>
                    </a:lnTo>
                    <a:lnTo>
                      <a:pt x="1351" y="2020"/>
                    </a:lnTo>
                    <a:lnTo>
                      <a:pt x="1434" y="2007"/>
                    </a:lnTo>
                    <a:lnTo>
                      <a:pt x="1512" y="1985"/>
                    </a:lnTo>
                    <a:lnTo>
                      <a:pt x="1587" y="1956"/>
                    </a:lnTo>
                    <a:lnTo>
                      <a:pt x="1658" y="1920"/>
                    </a:lnTo>
                    <a:lnTo>
                      <a:pt x="1725" y="1875"/>
                    </a:lnTo>
                    <a:lnTo>
                      <a:pt x="1786" y="1825"/>
                    </a:lnTo>
                    <a:lnTo>
                      <a:pt x="1843" y="1769"/>
                    </a:lnTo>
                    <a:lnTo>
                      <a:pt x="1892" y="1708"/>
                    </a:lnTo>
                    <a:lnTo>
                      <a:pt x="1936" y="1641"/>
                    </a:lnTo>
                    <a:lnTo>
                      <a:pt x="1972" y="1571"/>
                    </a:lnTo>
                    <a:lnTo>
                      <a:pt x="2003" y="1495"/>
                    </a:lnTo>
                    <a:lnTo>
                      <a:pt x="2023" y="1417"/>
                    </a:lnTo>
                    <a:lnTo>
                      <a:pt x="2037" y="1335"/>
                    </a:lnTo>
                    <a:lnTo>
                      <a:pt x="2042" y="1251"/>
                    </a:lnTo>
                    <a:lnTo>
                      <a:pt x="2037" y="1166"/>
                    </a:lnTo>
                    <a:lnTo>
                      <a:pt x="2023" y="1085"/>
                    </a:lnTo>
                    <a:lnTo>
                      <a:pt x="2003" y="1006"/>
                    </a:lnTo>
                    <a:lnTo>
                      <a:pt x="1972" y="931"/>
                    </a:lnTo>
                    <a:lnTo>
                      <a:pt x="1936" y="861"/>
                    </a:lnTo>
                    <a:lnTo>
                      <a:pt x="1892" y="794"/>
                    </a:lnTo>
                    <a:lnTo>
                      <a:pt x="1843" y="733"/>
                    </a:lnTo>
                    <a:lnTo>
                      <a:pt x="1786" y="676"/>
                    </a:lnTo>
                    <a:lnTo>
                      <a:pt x="1725" y="627"/>
                    </a:lnTo>
                    <a:lnTo>
                      <a:pt x="1658" y="583"/>
                    </a:lnTo>
                    <a:lnTo>
                      <a:pt x="1587" y="545"/>
                    </a:lnTo>
                    <a:lnTo>
                      <a:pt x="1512" y="516"/>
                    </a:lnTo>
                    <a:lnTo>
                      <a:pt x="1434" y="494"/>
                    </a:lnTo>
                    <a:lnTo>
                      <a:pt x="1351" y="481"/>
                    </a:lnTo>
                    <a:lnTo>
                      <a:pt x="1268" y="477"/>
                    </a:lnTo>
                    <a:close/>
                    <a:moveTo>
                      <a:pt x="1268" y="0"/>
                    </a:moveTo>
                    <a:lnTo>
                      <a:pt x="1377" y="4"/>
                    </a:lnTo>
                    <a:lnTo>
                      <a:pt x="1483" y="17"/>
                    </a:lnTo>
                    <a:lnTo>
                      <a:pt x="1587" y="41"/>
                    </a:lnTo>
                    <a:lnTo>
                      <a:pt x="1687" y="71"/>
                    </a:lnTo>
                    <a:lnTo>
                      <a:pt x="1784" y="110"/>
                    </a:lnTo>
                    <a:lnTo>
                      <a:pt x="1877" y="156"/>
                    </a:lnTo>
                    <a:lnTo>
                      <a:pt x="1965" y="209"/>
                    </a:lnTo>
                    <a:lnTo>
                      <a:pt x="2049" y="269"/>
                    </a:lnTo>
                    <a:lnTo>
                      <a:pt x="2126" y="336"/>
                    </a:lnTo>
                    <a:lnTo>
                      <a:pt x="2199" y="409"/>
                    </a:lnTo>
                    <a:lnTo>
                      <a:pt x="2266" y="486"/>
                    </a:lnTo>
                    <a:lnTo>
                      <a:pt x="2325" y="570"/>
                    </a:lnTo>
                    <a:lnTo>
                      <a:pt x="2379" y="657"/>
                    </a:lnTo>
                    <a:lnTo>
                      <a:pt x="2424" y="750"/>
                    </a:lnTo>
                    <a:lnTo>
                      <a:pt x="2464" y="848"/>
                    </a:lnTo>
                    <a:lnTo>
                      <a:pt x="2494" y="948"/>
                    </a:lnTo>
                    <a:lnTo>
                      <a:pt x="2517" y="1052"/>
                    </a:lnTo>
                    <a:lnTo>
                      <a:pt x="2531" y="1158"/>
                    </a:lnTo>
                    <a:lnTo>
                      <a:pt x="2535" y="1267"/>
                    </a:lnTo>
                    <a:lnTo>
                      <a:pt x="2531" y="1376"/>
                    </a:lnTo>
                    <a:lnTo>
                      <a:pt x="2517" y="1485"/>
                    </a:lnTo>
                    <a:lnTo>
                      <a:pt x="2497" y="1594"/>
                    </a:lnTo>
                    <a:lnTo>
                      <a:pt x="2469" y="1705"/>
                    </a:lnTo>
                    <a:lnTo>
                      <a:pt x="2435" y="1815"/>
                    </a:lnTo>
                    <a:lnTo>
                      <a:pt x="2395" y="1924"/>
                    </a:lnTo>
                    <a:lnTo>
                      <a:pt x="2350" y="2033"/>
                    </a:lnTo>
                    <a:lnTo>
                      <a:pt x="2301" y="2140"/>
                    </a:lnTo>
                    <a:lnTo>
                      <a:pt x="2248" y="2246"/>
                    </a:lnTo>
                    <a:lnTo>
                      <a:pt x="2193" y="2349"/>
                    </a:lnTo>
                    <a:lnTo>
                      <a:pt x="2135" y="2448"/>
                    </a:lnTo>
                    <a:lnTo>
                      <a:pt x="2075" y="2545"/>
                    </a:lnTo>
                    <a:lnTo>
                      <a:pt x="2016" y="2638"/>
                    </a:lnTo>
                    <a:lnTo>
                      <a:pt x="1957" y="2727"/>
                    </a:lnTo>
                    <a:lnTo>
                      <a:pt x="1898" y="2812"/>
                    </a:lnTo>
                    <a:lnTo>
                      <a:pt x="1841" y="2892"/>
                    </a:lnTo>
                    <a:lnTo>
                      <a:pt x="1783" y="2969"/>
                    </a:lnTo>
                    <a:lnTo>
                      <a:pt x="1726" y="3041"/>
                    </a:lnTo>
                    <a:lnTo>
                      <a:pt x="1671" y="3111"/>
                    </a:lnTo>
                    <a:lnTo>
                      <a:pt x="1619" y="3178"/>
                    </a:lnTo>
                    <a:lnTo>
                      <a:pt x="1566" y="3241"/>
                    </a:lnTo>
                    <a:lnTo>
                      <a:pt x="1517" y="3297"/>
                    </a:lnTo>
                    <a:lnTo>
                      <a:pt x="1470" y="3351"/>
                    </a:lnTo>
                    <a:lnTo>
                      <a:pt x="1428" y="3401"/>
                    </a:lnTo>
                    <a:lnTo>
                      <a:pt x="1387" y="3444"/>
                    </a:lnTo>
                    <a:lnTo>
                      <a:pt x="1352" y="3484"/>
                    </a:lnTo>
                    <a:lnTo>
                      <a:pt x="1320" y="3517"/>
                    </a:lnTo>
                    <a:lnTo>
                      <a:pt x="1304" y="3530"/>
                    </a:lnTo>
                    <a:lnTo>
                      <a:pt x="1287" y="3537"/>
                    </a:lnTo>
                    <a:lnTo>
                      <a:pt x="1268" y="3540"/>
                    </a:lnTo>
                    <a:lnTo>
                      <a:pt x="1248" y="3537"/>
                    </a:lnTo>
                    <a:lnTo>
                      <a:pt x="1230" y="3530"/>
                    </a:lnTo>
                    <a:lnTo>
                      <a:pt x="1214" y="3517"/>
                    </a:lnTo>
                    <a:lnTo>
                      <a:pt x="1184" y="3484"/>
                    </a:lnTo>
                    <a:lnTo>
                      <a:pt x="1147" y="3444"/>
                    </a:lnTo>
                    <a:lnTo>
                      <a:pt x="1108" y="3401"/>
                    </a:lnTo>
                    <a:lnTo>
                      <a:pt x="1064" y="3353"/>
                    </a:lnTo>
                    <a:lnTo>
                      <a:pt x="1018" y="3299"/>
                    </a:lnTo>
                    <a:lnTo>
                      <a:pt x="968" y="3241"/>
                    </a:lnTo>
                    <a:lnTo>
                      <a:pt x="917" y="3178"/>
                    </a:lnTo>
                    <a:lnTo>
                      <a:pt x="864" y="3113"/>
                    </a:lnTo>
                    <a:lnTo>
                      <a:pt x="808" y="3043"/>
                    </a:lnTo>
                    <a:lnTo>
                      <a:pt x="752" y="2969"/>
                    </a:lnTo>
                    <a:lnTo>
                      <a:pt x="695" y="2893"/>
                    </a:lnTo>
                    <a:lnTo>
                      <a:pt x="638" y="2813"/>
                    </a:lnTo>
                    <a:lnTo>
                      <a:pt x="579" y="2729"/>
                    </a:lnTo>
                    <a:lnTo>
                      <a:pt x="519" y="2640"/>
                    </a:lnTo>
                    <a:lnTo>
                      <a:pt x="459" y="2547"/>
                    </a:lnTo>
                    <a:lnTo>
                      <a:pt x="401" y="2449"/>
                    </a:lnTo>
                    <a:lnTo>
                      <a:pt x="343" y="2349"/>
                    </a:lnTo>
                    <a:lnTo>
                      <a:pt x="288" y="2246"/>
                    </a:lnTo>
                    <a:lnTo>
                      <a:pt x="234" y="2141"/>
                    </a:lnTo>
                    <a:lnTo>
                      <a:pt x="186" y="2033"/>
                    </a:lnTo>
                    <a:lnTo>
                      <a:pt x="141" y="1924"/>
                    </a:lnTo>
                    <a:lnTo>
                      <a:pt x="100" y="1815"/>
                    </a:lnTo>
                    <a:lnTo>
                      <a:pt x="67" y="1705"/>
                    </a:lnTo>
                    <a:lnTo>
                      <a:pt x="37" y="1594"/>
                    </a:lnTo>
                    <a:lnTo>
                      <a:pt x="17" y="1485"/>
                    </a:lnTo>
                    <a:lnTo>
                      <a:pt x="4" y="1376"/>
                    </a:lnTo>
                    <a:lnTo>
                      <a:pt x="0" y="1267"/>
                    </a:lnTo>
                    <a:lnTo>
                      <a:pt x="4" y="1158"/>
                    </a:lnTo>
                    <a:lnTo>
                      <a:pt x="19" y="1052"/>
                    </a:lnTo>
                    <a:lnTo>
                      <a:pt x="40" y="948"/>
                    </a:lnTo>
                    <a:lnTo>
                      <a:pt x="71" y="848"/>
                    </a:lnTo>
                    <a:lnTo>
                      <a:pt x="110" y="750"/>
                    </a:lnTo>
                    <a:lnTo>
                      <a:pt x="155" y="657"/>
                    </a:lnTo>
                    <a:lnTo>
                      <a:pt x="209" y="570"/>
                    </a:lnTo>
                    <a:lnTo>
                      <a:pt x="269" y="486"/>
                    </a:lnTo>
                    <a:lnTo>
                      <a:pt x="336" y="409"/>
                    </a:lnTo>
                    <a:lnTo>
                      <a:pt x="408" y="336"/>
                    </a:lnTo>
                    <a:lnTo>
                      <a:pt x="487" y="269"/>
                    </a:lnTo>
                    <a:lnTo>
                      <a:pt x="570" y="209"/>
                    </a:lnTo>
                    <a:lnTo>
                      <a:pt x="659" y="156"/>
                    </a:lnTo>
                    <a:lnTo>
                      <a:pt x="750" y="110"/>
                    </a:lnTo>
                    <a:lnTo>
                      <a:pt x="848" y="71"/>
                    </a:lnTo>
                    <a:lnTo>
                      <a:pt x="948" y="41"/>
                    </a:lnTo>
                    <a:lnTo>
                      <a:pt x="1051" y="17"/>
                    </a:lnTo>
                    <a:lnTo>
                      <a:pt x="1157" y="4"/>
                    </a:lnTo>
                    <a:lnTo>
                      <a:pt x="12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267" name="Group 266"/>
          <p:cNvGrpSpPr/>
          <p:nvPr/>
        </p:nvGrpSpPr>
        <p:grpSpPr>
          <a:xfrm>
            <a:off x="147993" y="3614676"/>
            <a:ext cx="727877" cy="755941"/>
            <a:chOff x="147993" y="5867981"/>
            <a:chExt cx="727877" cy="755941"/>
          </a:xfrm>
        </p:grpSpPr>
        <p:sp>
          <p:nvSpPr>
            <p:cNvPr id="268" name="Rectangle 17"/>
            <p:cNvSpPr>
              <a:spLocks/>
            </p:cNvSpPr>
            <p:nvPr/>
          </p:nvSpPr>
          <p:spPr bwMode="auto">
            <a:xfrm>
              <a:off x="147993" y="6131479"/>
              <a:ext cx="727877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еб-ресурсы, продукт, датчики, приложения</a:t>
              </a:r>
            </a:p>
          </p:txBody>
        </p:sp>
        <p:grpSp>
          <p:nvGrpSpPr>
            <p:cNvPr id="269" name="Group 157"/>
            <p:cNvGrpSpPr>
              <a:grpSpLocks noChangeAspect="1"/>
            </p:cNvGrpSpPr>
            <p:nvPr/>
          </p:nvGrpSpPr>
          <p:grpSpPr bwMode="auto">
            <a:xfrm>
              <a:off x="384100" y="5867981"/>
              <a:ext cx="254721" cy="240654"/>
              <a:chOff x="3815" y="1810"/>
              <a:chExt cx="2354" cy="2224"/>
            </a:xfrm>
            <a:solidFill>
              <a:schemeClr val="bg1"/>
            </a:solidFill>
          </p:grpSpPr>
          <p:sp>
            <p:nvSpPr>
              <p:cNvPr id="270" name="Freeform 159"/>
              <p:cNvSpPr>
                <a:spLocks noEditPoints="1"/>
              </p:cNvSpPr>
              <p:nvPr/>
            </p:nvSpPr>
            <p:spPr bwMode="auto">
              <a:xfrm>
                <a:off x="3815" y="1810"/>
                <a:ext cx="2021" cy="1982"/>
              </a:xfrm>
              <a:custGeom>
                <a:avLst/>
                <a:gdLst>
                  <a:gd name="T0" fmla="*/ 3423 w 4043"/>
                  <a:gd name="T1" fmla="*/ 409 h 3965"/>
                  <a:gd name="T2" fmla="*/ 3363 w 4043"/>
                  <a:gd name="T3" fmla="*/ 435 h 3965"/>
                  <a:gd name="T4" fmla="*/ 3317 w 4043"/>
                  <a:gd name="T5" fmla="*/ 481 h 3965"/>
                  <a:gd name="T6" fmla="*/ 3291 w 4043"/>
                  <a:gd name="T7" fmla="*/ 542 h 3965"/>
                  <a:gd name="T8" fmla="*/ 3291 w 4043"/>
                  <a:gd name="T9" fmla="*/ 611 h 3965"/>
                  <a:gd name="T10" fmla="*/ 3317 w 4043"/>
                  <a:gd name="T11" fmla="*/ 671 h 3965"/>
                  <a:gd name="T12" fmla="*/ 3363 w 4043"/>
                  <a:gd name="T13" fmla="*/ 716 h 3965"/>
                  <a:gd name="T14" fmla="*/ 3423 w 4043"/>
                  <a:gd name="T15" fmla="*/ 742 h 3965"/>
                  <a:gd name="T16" fmla="*/ 3491 w 4043"/>
                  <a:gd name="T17" fmla="*/ 742 h 3965"/>
                  <a:gd name="T18" fmla="*/ 3553 w 4043"/>
                  <a:gd name="T19" fmla="*/ 716 h 3965"/>
                  <a:gd name="T20" fmla="*/ 3598 w 4043"/>
                  <a:gd name="T21" fmla="*/ 671 h 3965"/>
                  <a:gd name="T22" fmla="*/ 3624 w 4043"/>
                  <a:gd name="T23" fmla="*/ 611 h 3965"/>
                  <a:gd name="T24" fmla="*/ 3624 w 4043"/>
                  <a:gd name="T25" fmla="*/ 542 h 3965"/>
                  <a:gd name="T26" fmla="*/ 3598 w 4043"/>
                  <a:gd name="T27" fmla="*/ 481 h 3965"/>
                  <a:gd name="T28" fmla="*/ 3553 w 4043"/>
                  <a:gd name="T29" fmla="*/ 435 h 3965"/>
                  <a:gd name="T30" fmla="*/ 3491 w 4043"/>
                  <a:gd name="T31" fmla="*/ 409 h 3965"/>
                  <a:gd name="T32" fmla="*/ 2924 w 4043"/>
                  <a:gd name="T33" fmla="*/ 406 h 3965"/>
                  <a:gd name="T34" fmla="*/ 2858 w 4043"/>
                  <a:gd name="T35" fmla="*/ 419 h 3965"/>
                  <a:gd name="T36" fmla="*/ 2804 w 4043"/>
                  <a:gd name="T37" fmla="*/ 456 h 3965"/>
                  <a:gd name="T38" fmla="*/ 2768 w 4043"/>
                  <a:gd name="T39" fmla="*/ 511 h 3965"/>
                  <a:gd name="T40" fmla="*/ 2755 w 4043"/>
                  <a:gd name="T41" fmla="*/ 576 h 3965"/>
                  <a:gd name="T42" fmla="*/ 2768 w 4043"/>
                  <a:gd name="T43" fmla="*/ 642 h 3965"/>
                  <a:gd name="T44" fmla="*/ 2804 w 4043"/>
                  <a:gd name="T45" fmla="*/ 696 h 3965"/>
                  <a:gd name="T46" fmla="*/ 2858 w 4043"/>
                  <a:gd name="T47" fmla="*/ 732 h 3965"/>
                  <a:gd name="T48" fmla="*/ 2924 w 4043"/>
                  <a:gd name="T49" fmla="*/ 746 h 3965"/>
                  <a:gd name="T50" fmla="*/ 2991 w 4043"/>
                  <a:gd name="T51" fmla="*/ 732 h 3965"/>
                  <a:gd name="T52" fmla="*/ 3045 w 4043"/>
                  <a:gd name="T53" fmla="*/ 696 h 3965"/>
                  <a:gd name="T54" fmla="*/ 3081 w 4043"/>
                  <a:gd name="T55" fmla="*/ 642 h 3965"/>
                  <a:gd name="T56" fmla="*/ 3094 w 4043"/>
                  <a:gd name="T57" fmla="*/ 576 h 3965"/>
                  <a:gd name="T58" fmla="*/ 3081 w 4043"/>
                  <a:gd name="T59" fmla="*/ 511 h 3965"/>
                  <a:gd name="T60" fmla="*/ 3045 w 4043"/>
                  <a:gd name="T61" fmla="*/ 456 h 3965"/>
                  <a:gd name="T62" fmla="*/ 2991 w 4043"/>
                  <a:gd name="T63" fmla="*/ 419 h 3965"/>
                  <a:gd name="T64" fmla="*/ 2924 w 4043"/>
                  <a:gd name="T65" fmla="*/ 406 h 3965"/>
                  <a:gd name="T66" fmla="*/ 3924 w 4043"/>
                  <a:gd name="T67" fmla="*/ 0 h 3965"/>
                  <a:gd name="T68" fmla="*/ 3984 w 4043"/>
                  <a:gd name="T69" fmla="*/ 18 h 3965"/>
                  <a:gd name="T70" fmla="*/ 4027 w 4043"/>
                  <a:gd name="T71" fmla="*/ 60 h 3965"/>
                  <a:gd name="T72" fmla="*/ 4043 w 4043"/>
                  <a:gd name="T73" fmla="*/ 120 h 3965"/>
                  <a:gd name="T74" fmla="*/ 4026 w 4043"/>
                  <a:gd name="T75" fmla="*/ 1778 h 3965"/>
                  <a:gd name="T76" fmla="*/ 3943 w 4043"/>
                  <a:gd name="T77" fmla="*/ 1795 h 3965"/>
                  <a:gd name="T78" fmla="*/ 3874 w 4043"/>
                  <a:gd name="T79" fmla="*/ 1841 h 3965"/>
                  <a:gd name="T80" fmla="*/ 3809 w 4043"/>
                  <a:gd name="T81" fmla="*/ 1868 h 3965"/>
                  <a:gd name="T82" fmla="*/ 3744 w 4043"/>
                  <a:gd name="T83" fmla="*/ 1878 h 3965"/>
                  <a:gd name="T84" fmla="*/ 3686 w 4043"/>
                  <a:gd name="T85" fmla="*/ 1908 h 3965"/>
                  <a:gd name="T86" fmla="*/ 357 w 4043"/>
                  <a:gd name="T87" fmla="*/ 1095 h 3965"/>
                  <a:gd name="T88" fmla="*/ 2587 w 4043"/>
                  <a:gd name="T89" fmla="*/ 3608 h 3965"/>
                  <a:gd name="T90" fmla="*/ 2585 w 4043"/>
                  <a:gd name="T91" fmla="*/ 3839 h 3965"/>
                  <a:gd name="T92" fmla="*/ 2602 w 4043"/>
                  <a:gd name="T93" fmla="*/ 3926 h 3965"/>
                  <a:gd name="T94" fmla="*/ 119 w 4043"/>
                  <a:gd name="T95" fmla="*/ 3965 h 3965"/>
                  <a:gd name="T96" fmla="*/ 59 w 4043"/>
                  <a:gd name="T97" fmla="*/ 3949 h 3965"/>
                  <a:gd name="T98" fmla="*/ 16 w 4043"/>
                  <a:gd name="T99" fmla="*/ 3906 h 3965"/>
                  <a:gd name="T100" fmla="*/ 0 w 4043"/>
                  <a:gd name="T101" fmla="*/ 3846 h 3965"/>
                  <a:gd name="T102" fmla="*/ 4 w 4043"/>
                  <a:gd name="T103" fmla="*/ 88 h 3965"/>
                  <a:gd name="T104" fmla="*/ 34 w 4043"/>
                  <a:gd name="T105" fmla="*/ 36 h 3965"/>
                  <a:gd name="T106" fmla="*/ 87 w 4043"/>
                  <a:gd name="T107" fmla="*/ 5 h 3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43" h="3965">
                    <a:moveTo>
                      <a:pt x="3457" y="406"/>
                    </a:moveTo>
                    <a:lnTo>
                      <a:pt x="3423" y="409"/>
                    </a:lnTo>
                    <a:lnTo>
                      <a:pt x="3391" y="419"/>
                    </a:lnTo>
                    <a:lnTo>
                      <a:pt x="3363" y="435"/>
                    </a:lnTo>
                    <a:lnTo>
                      <a:pt x="3337" y="456"/>
                    </a:lnTo>
                    <a:lnTo>
                      <a:pt x="3317" y="481"/>
                    </a:lnTo>
                    <a:lnTo>
                      <a:pt x="3301" y="511"/>
                    </a:lnTo>
                    <a:lnTo>
                      <a:pt x="3291" y="542"/>
                    </a:lnTo>
                    <a:lnTo>
                      <a:pt x="3287" y="576"/>
                    </a:lnTo>
                    <a:lnTo>
                      <a:pt x="3291" y="611"/>
                    </a:lnTo>
                    <a:lnTo>
                      <a:pt x="3301" y="642"/>
                    </a:lnTo>
                    <a:lnTo>
                      <a:pt x="3317" y="671"/>
                    </a:lnTo>
                    <a:lnTo>
                      <a:pt x="3337" y="696"/>
                    </a:lnTo>
                    <a:lnTo>
                      <a:pt x="3363" y="716"/>
                    </a:lnTo>
                    <a:lnTo>
                      <a:pt x="3391" y="732"/>
                    </a:lnTo>
                    <a:lnTo>
                      <a:pt x="3423" y="742"/>
                    </a:lnTo>
                    <a:lnTo>
                      <a:pt x="3457" y="746"/>
                    </a:lnTo>
                    <a:lnTo>
                      <a:pt x="3491" y="742"/>
                    </a:lnTo>
                    <a:lnTo>
                      <a:pt x="3524" y="732"/>
                    </a:lnTo>
                    <a:lnTo>
                      <a:pt x="3553" y="716"/>
                    </a:lnTo>
                    <a:lnTo>
                      <a:pt x="3577" y="696"/>
                    </a:lnTo>
                    <a:lnTo>
                      <a:pt x="3598" y="671"/>
                    </a:lnTo>
                    <a:lnTo>
                      <a:pt x="3614" y="642"/>
                    </a:lnTo>
                    <a:lnTo>
                      <a:pt x="3624" y="611"/>
                    </a:lnTo>
                    <a:lnTo>
                      <a:pt x="3627" y="576"/>
                    </a:lnTo>
                    <a:lnTo>
                      <a:pt x="3624" y="542"/>
                    </a:lnTo>
                    <a:lnTo>
                      <a:pt x="3614" y="511"/>
                    </a:lnTo>
                    <a:lnTo>
                      <a:pt x="3598" y="481"/>
                    </a:lnTo>
                    <a:lnTo>
                      <a:pt x="3577" y="456"/>
                    </a:lnTo>
                    <a:lnTo>
                      <a:pt x="3553" y="435"/>
                    </a:lnTo>
                    <a:lnTo>
                      <a:pt x="3524" y="419"/>
                    </a:lnTo>
                    <a:lnTo>
                      <a:pt x="3491" y="409"/>
                    </a:lnTo>
                    <a:lnTo>
                      <a:pt x="3457" y="406"/>
                    </a:lnTo>
                    <a:close/>
                    <a:moveTo>
                      <a:pt x="2924" y="406"/>
                    </a:moveTo>
                    <a:lnTo>
                      <a:pt x="2890" y="409"/>
                    </a:lnTo>
                    <a:lnTo>
                      <a:pt x="2858" y="419"/>
                    </a:lnTo>
                    <a:lnTo>
                      <a:pt x="2830" y="435"/>
                    </a:lnTo>
                    <a:lnTo>
                      <a:pt x="2804" y="456"/>
                    </a:lnTo>
                    <a:lnTo>
                      <a:pt x="2784" y="481"/>
                    </a:lnTo>
                    <a:lnTo>
                      <a:pt x="2768" y="511"/>
                    </a:lnTo>
                    <a:lnTo>
                      <a:pt x="2758" y="542"/>
                    </a:lnTo>
                    <a:lnTo>
                      <a:pt x="2755" y="576"/>
                    </a:lnTo>
                    <a:lnTo>
                      <a:pt x="2758" y="611"/>
                    </a:lnTo>
                    <a:lnTo>
                      <a:pt x="2768" y="642"/>
                    </a:lnTo>
                    <a:lnTo>
                      <a:pt x="2784" y="671"/>
                    </a:lnTo>
                    <a:lnTo>
                      <a:pt x="2804" y="696"/>
                    </a:lnTo>
                    <a:lnTo>
                      <a:pt x="2830" y="716"/>
                    </a:lnTo>
                    <a:lnTo>
                      <a:pt x="2858" y="732"/>
                    </a:lnTo>
                    <a:lnTo>
                      <a:pt x="2890" y="742"/>
                    </a:lnTo>
                    <a:lnTo>
                      <a:pt x="2924" y="746"/>
                    </a:lnTo>
                    <a:lnTo>
                      <a:pt x="2958" y="742"/>
                    </a:lnTo>
                    <a:lnTo>
                      <a:pt x="2991" y="732"/>
                    </a:lnTo>
                    <a:lnTo>
                      <a:pt x="3020" y="716"/>
                    </a:lnTo>
                    <a:lnTo>
                      <a:pt x="3045" y="696"/>
                    </a:lnTo>
                    <a:lnTo>
                      <a:pt x="3065" y="671"/>
                    </a:lnTo>
                    <a:lnTo>
                      <a:pt x="3081" y="642"/>
                    </a:lnTo>
                    <a:lnTo>
                      <a:pt x="3091" y="611"/>
                    </a:lnTo>
                    <a:lnTo>
                      <a:pt x="3094" y="576"/>
                    </a:lnTo>
                    <a:lnTo>
                      <a:pt x="3091" y="542"/>
                    </a:lnTo>
                    <a:lnTo>
                      <a:pt x="3081" y="511"/>
                    </a:lnTo>
                    <a:lnTo>
                      <a:pt x="3065" y="481"/>
                    </a:lnTo>
                    <a:lnTo>
                      <a:pt x="3045" y="456"/>
                    </a:lnTo>
                    <a:lnTo>
                      <a:pt x="3020" y="435"/>
                    </a:lnTo>
                    <a:lnTo>
                      <a:pt x="2991" y="419"/>
                    </a:lnTo>
                    <a:lnTo>
                      <a:pt x="2958" y="409"/>
                    </a:lnTo>
                    <a:lnTo>
                      <a:pt x="2924" y="406"/>
                    </a:lnTo>
                    <a:close/>
                    <a:moveTo>
                      <a:pt x="119" y="0"/>
                    </a:moveTo>
                    <a:lnTo>
                      <a:pt x="3924" y="0"/>
                    </a:lnTo>
                    <a:lnTo>
                      <a:pt x="3956" y="5"/>
                    </a:lnTo>
                    <a:lnTo>
                      <a:pt x="3984" y="18"/>
                    </a:lnTo>
                    <a:lnTo>
                      <a:pt x="4009" y="36"/>
                    </a:lnTo>
                    <a:lnTo>
                      <a:pt x="4027" y="60"/>
                    </a:lnTo>
                    <a:lnTo>
                      <a:pt x="4039" y="88"/>
                    </a:lnTo>
                    <a:lnTo>
                      <a:pt x="4043" y="120"/>
                    </a:lnTo>
                    <a:lnTo>
                      <a:pt x="4043" y="1778"/>
                    </a:lnTo>
                    <a:lnTo>
                      <a:pt x="4026" y="1778"/>
                    </a:lnTo>
                    <a:lnTo>
                      <a:pt x="3983" y="1783"/>
                    </a:lnTo>
                    <a:lnTo>
                      <a:pt x="3943" y="1795"/>
                    </a:lnTo>
                    <a:lnTo>
                      <a:pt x="3907" y="1815"/>
                    </a:lnTo>
                    <a:lnTo>
                      <a:pt x="3874" y="1841"/>
                    </a:lnTo>
                    <a:lnTo>
                      <a:pt x="3849" y="1873"/>
                    </a:lnTo>
                    <a:lnTo>
                      <a:pt x="3809" y="1868"/>
                    </a:lnTo>
                    <a:lnTo>
                      <a:pt x="3776" y="1871"/>
                    </a:lnTo>
                    <a:lnTo>
                      <a:pt x="3744" y="1878"/>
                    </a:lnTo>
                    <a:lnTo>
                      <a:pt x="3713" y="1891"/>
                    </a:lnTo>
                    <a:lnTo>
                      <a:pt x="3686" y="1908"/>
                    </a:lnTo>
                    <a:lnTo>
                      <a:pt x="3686" y="1095"/>
                    </a:lnTo>
                    <a:lnTo>
                      <a:pt x="357" y="1095"/>
                    </a:lnTo>
                    <a:lnTo>
                      <a:pt x="357" y="3608"/>
                    </a:lnTo>
                    <a:lnTo>
                      <a:pt x="2587" y="3608"/>
                    </a:lnTo>
                    <a:lnTo>
                      <a:pt x="2585" y="3640"/>
                    </a:lnTo>
                    <a:lnTo>
                      <a:pt x="2585" y="3839"/>
                    </a:lnTo>
                    <a:lnTo>
                      <a:pt x="2590" y="3885"/>
                    </a:lnTo>
                    <a:lnTo>
                      <a:pt x="2602" y="3926"/>
                    </a:lnTo>
                    <a:lnTo>
                      <a:pt x="2622" y="3965"/>
                    </a:lnTo>
                    <a:lnTo>
                      <a:pt x="119" y="3965"/>
                    </a:lnTo>
                    <a:lnTo>
                      <a:pt x="87" y="3961"/>
                    </a:lnTo>
                    <a:lnTo>
                      <a:pt x="59" y="3949"/>
                    </a:lnTo>
                    <a:lnTo>
                      <a:pt x="34" y="3931"/>
                    </a:lnTo>
                    <a:lnTo>
                      <a:pt x="16" y="3906"/>
                    </a:lnTo>
                    <a:lnTo>
                      <a:pt x="4" y="3878"/>
                    </a:lnTo>
                    <a:lnTo>
                      <a:pt x="0" y="3846"/>
                    </a:lnTo>
                    <a:lnTo>
                      <a:pt x="0" y="120"/>
                    </a:lnTo>
                    <a:lnTo>
                      <a:pt x="4" y="88"/>
                    </a:lnTo>
                    <a:lnTo>
                      <a:pt x="16" y="60"/>
                    </a:lnTo>
                    <a:lnTo>
                      <a:pt x="34" y="36"/>
                    </a:lnTo>
                    <a:lnTo>
                      <a:pt x="59" y="18"/>
                    </a:lnTo>
                    <a:lnTo>
                      <a:pt x="87" y="5"/>
                    </a:lnTo>
                    <a:lnTo>
                      <a:pt x="1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71" name="Freeform 160"/>
              <p:cNvSpPr>
                <a:spLocks noEditPoints="1"/>
              </p:cNvSpPr>
              <p:nvPr/>
            </p:nvSpPr>
            <p:spPr bwMode="auto">
              <a:xfrm>
                <a:off x="4491" y="2507"/>
                <a:ext cx="895" cy="895"/>
              </a:xfrm>
              <a:custGeom>
                <a:avLst/>
                <a:gdLst>
                  <a:gd name="T0" fmla="*/ 727 w 1791"/>
                  <a:gd name="T1" fmla="*/ 498 h 1790"/>
                  <a:gd name="T2" fmla="*/ 554 w 1791"/>
                  <a:gd name="T3" fmla="*/ 632 h 1790"/>
                  <a:gd name="T4" fmla="*/ 469 w 1791"/>
                  <a:gd name="T5" fmla="*/ 836 h 1790"/>
                  <a:gd name="T6" fmla="*/ 499 w 1791"/>
                  <a:gd name="T7" fmla="*/ 1062 h 1790"/>
                  <a:gd name="T8" fmla="*/ 632 w 1791"/>
                  <a:gd name="T9" fmla="*/ 1236 h 1790"/>
                  <a:gd name="T10" fmla="*/ 837 w 1791"/>
                  <a:gd name="T11" fmla="*/ 1322 h 1790"/>
                  <a:gd name="T12" fmla="*/ 1063 w 1791"/>
                  <a:gd name="T13" fmla="*/ 1292 h 1790"/>
                  <a:gd name="T14" fmla="*/ 1236 w 1791"/>
                  <a:gd name="T15" fmla="*/ 1158 h 1790"/>
                  <a:gd name="T16" fmla="*/ 1323 w 1791"/>
                  <a:gd name="T17" fmla="*/ 953 h 1790"/>
                  <a:gd name="T18" fmla="*/ 1293 w 1791"/>
                  <a:gd name="T19" fmla="*/ 728 h 1790"/>
                  <a:gd name="T20" fmla="*/ 1159 w 1791"/>
                  <a:gd name="T21" fmla="*/ 553 h 1790"/>
                  <a:gd name="T22" fmla="*/ 955 w 1791"/>
                  <a:gd name="T23" fmla="*/ 468 h 1790"/>
                  <a:gd name="T24" fmla="*/ 1052 w 1791"/>
                  <a:gd name="T25" fmla="*/ 3 h 1790"/>
                  <a:gd name="T26" fmla="*/ 1139 w 1791"/>
                  <a:gd name="T27" fmla="*/ 73 h 1790"/>
                  <a:gd name="T28" fmla="*/ 1192 w 1791"/>
                  <a:gd name="T29" fmla="*/ 180 h 1790"/>
                  <a:gd name="T30" fmla="*/ 1303 w 1791"/>
                  <a:gd name="T31" fmla="*/ 142 h 1790"/>
                  <a:gd name="T32" fmla="*/ 1416 w 1791"/>
                  <a:gd name="T33" fmla="*/ 155 h 1790"/>
                  <a:gd name="T34" fmla="*/ 1649 w 1791"/>
                  <a:gd name="T35" fmla="*/ 402 h 1790"/>
                  <a:gd name="T36" fmla="*/ 1636 w 1791"/>
                  <a:gd name="T37" fmla="*/ 513 h 1790"/>
                  <a:gd name="T38" fmla="*/ 1625 w 1791"/>
                  <a:gd name="T39" fmla="*/ 638 h 1790"/>
                  <a:gd name="T40" fmla="*/ 1741 w 1791"/>
                  <a:gd name="T41" fmla="*/ 666 h 1790"/>
                  <a:gd name="T42" fmla="*/ 1791 w 1791"/>
                  <a:gd name="T43" fmla="*/ 769 h 1790"/>
                  <a:gd name="T44" fmla="*/ 1762 w 1791"/>
                  <a:gd name="T45" fmla="*/ 1104 h 1790"/>
                  <a:gd name="T46" fmla="*/ 1659 w 1791"/>
                  <a:gd name="T47" fmla="*/ 1152 h 1790"/>
                  <a:gd name="T48" fmla="*/ 1618 w 1791"/>
                  <a:gd name="T49" fmla="*/ 1252 h 1790"/>
                  <a:gd name="T50" fmla="*/ 1655 w 1791"/>
                  <a:gd name="T51" fmla="*/ 1361 h 1790"/>
                  <a:gd name="T52" fmla="*/ 1439 w 1791"/>
                  <a:gd name="T53" fmla="*/ 1617 h 1790"/>
                  <a:gd name="T54" fmla="*/ 1332 w 1791"/>
                  <a:gd name="T55" fmla="*/ 1655 h 1790"/>
                  <a:gd name="T56" fmla="*/ 1229 w 1791"/>
                  <a:gd name="T57" fmla="*/ 1592 h 1790"/>
                  <a:gd name="T58" fmla="*/ 1149 w 1791"/>
                  <a:gd name="T59" fmla="*/ 1688 h 1790"/>
                  <a:gd name="T60" fmla="*/ 1079 w 1791"/>
                  <a:gd name="T61" fmla="*/ 1777 h 1790"/>
                  <a:gd name="T62" fmla="*/ 740 w 1791"/>
                  <a:gd name="T63" fmla="*/ 1787 h 1790"/>
                  <a:gd name="T64" fmla="*/ 652 w 1791"/>
                  <a:gd name="T65" fmla="*/ 1717 h 1790"/>
                  <a:gd name="T66" fmla="*/ 600 w 1791"/>
                  <a:gd name="T67" fmla="*/ 1609 h 1790"/>
                  <a:gd name="T68" fmla="*/ 487 w 1791"/>
                  <a:gd name="T69" fmla="*/ 1648 h 1790"/>
                  <a:gd name="T70" fmla="*/ 374 w 1791"/>
                  <a:gd name="T71" fmla="*/ 1635 h 1790"/>
                  <a:gd name="T72" fmla="*/ 141 w 1791"/>
                  <a:gd name="T73" fmla="*/ 1389 h 1790"/>
                  <a:gd name="T74" fmla="*/ 154 w 1791"/>
                  <a:gd name="T75" fmla="*/ 1276 h 1790"/>
                  <a:gd name="T76" fmla="*/ 167 w 1791"/>
                  <a:gd name="T77" fmla="*/ 1152 h 1790"/>
                  <a:gd name="T78" fmla="*/ 50 w 1791"/>
                  <a:gd name="T79" fmla="*/ 1124 h 1790"/>
                  <a:gd name="T80" fmla="*/ 0 w 1791"/>
                  <a:gd name="T81" fmla="*/ 1021 h 1790"/>
                  <a:gd name="T82" fmla="*/ 29 w 1791"/>
                  <a:gd name="T83" fmla="*/ 686 h 1790"/>
                  <a:gd name="T84" fmla="*/ 133 w 1791"/>
                  <a:gd name="T85" fmla="*/ 638 h 1790"/>
                  <a:gd name="T86" fmla="*/ 174 w 1791"/>
                  <a:gd name="T87" fmla="*/ 538 h 1790"/>
                  <a:gd name="T88" fmla="*/ 136 w 1791"/>
                  <a:gd name="T89" fmla="*/ 429 h 1790"/>
                  <a:gd name="T90" fmla="*/ 351 w 1791"/>
                  <a:gd name="T91" fmla="*/ 173 h 1790"/>
                  <a:gd name="T92" fmla="*/ 459 w 1791"/>
                  <a:gd name="T93" fmla="*/ 135 h 1790"/>
                  <a:gd name="T94" fmla="*/ 562 w 1791"/>
                  <a:gd name="T95" fmla="*/ 197 h 1790"/>
                  <a:gd name="T96" fmla="*/ 642 w 1791"/>
                  <a:gd name="T97" fmla="*/ 102 h 1790"/>
                  <a:gd name="T98" fmla="*/ 712 w 1791"/>
                  <a:gd name="T99" fmla="*/ 13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91" h="1790">
                    <a:moveTo>
                      <a:pt x="896" y="463"/>
                    </a:moveTo>
                    <a:lnTo>
                      <a:pt x="837" y="468"/>
                    </a:lnTo>
                    <a:lnTo>
                      <a:pt x="780" y="479"/>
                    </a:lnTo>
                    <a:lnTo>
                      <a:pt x="727" y="498"/>
                    </a:lnTo>
                    <a:lnTo>
                      <a:pt x="677" y="523"/>
                    </a:lnTo>
                    <a:lnTo>
                      <a:pt x="632" y="553"/>
                    </a:lnTo>
                    <a:lnTo>
                      <a:pt x="590" y="590"/>
                    </a:lnTo>
                    <a:lnTo>
                      <a:pt x="554" y="632"/>
                    </a:lnTo>
                    <a:lnTo>
                      <a:pt x="523" y="678"/>
                    </a:lnTo>
                    <a:lnTo>
                      <a:pt x="499" y="728"/>
                    </a:lnTo>
                    <a:lnTo>
                      <a:pt x="480" y="781"/>
                    </a:lnTo>
                    <a:lnTo>
                      <a:pt x="469" y="836"/>
                    </a:lnTo>
                    <a:lnTo>
                      <a:pt x="464" y="895"/>
                    </a:lnTo>
                    <a:lnTo>
                      <a:pt x="469" y="953"/>
                    </a:lnTo>
                    <a:lnTo>
                      <a:pt x="480" y="1009"/>
                    </a:lnTo>
                    <a:lnTo>
                      <a:pt x="499" y="1062"/>
                    </a:lnTo>
                    <a:lnTo>
                      <a:pt x="523" y="1112"/>
                    </a:lnTo>
                    <a:lnTo>
                      <a:pt x="554" y="1158"/>
                    </a:lnTo>
                    <a:lnTo>
                      <a:pt x="590" y="1199"/>
                    </a:lnTo>
                    <a:lnTo>
                      <a:pt x="632" y="1236"/>
                    </a:lnTo>
                    <a:lnTo>
                      <a:pt x="677" y="1268"/>
                    </a:lnTo>
                    <a:lnTo>
                      <a:pt x="727" y="1292"/>
                    </a:lnTo>
                    <a:lnTo>
                      <a:pt x="780" y="1311"/>
                    </a:lnTo>
                    <a:lnTo>
                      <a:pt x="837" y="1322"/>
                    </a:lnTo>
                    <a:lnTo>
                      <a:pt x="896" y="1326"/>
                    </a:lnTo>
                    <a:lnTo>
                      <a:pt x="955" y="1322"/>
                    </a:lnTo>
                    <a:lnTo>
                      <a:pt x="1010" y="1311"/>
                    </a:lnTo>
                    <a:lnTo>
                      <a:pt x="1063" y="1292"/>
                    </a:lnTo>
                    <a:lnTo>
                      <a:pt x="1113" y="1268"/>
                    </a:lnTo>
                    <a:lnTo>
                      <a:pt x="1159" y="1236"/>
                    </a:lnTo>
                    <a:lnTo>
                      <a:pt x="1200" y="1199"/>
                    </a:lnTo>
                    <a:lnTo>
                      <a:pt x="1236" y="1158"/>
                    </a:lnTo>
                    <a:lnTo>
                      <a:pt x="1268" y="1112"/>
                    </a:lnTo>
                    <a:lnTo>
                      <a:pt x="1293" y="1062"/>
                    </a:lnTo>
                    <a:lnTo>
                      <a:pt x="1310" y="1009"/>
                    </a:lnTo>
                    <a:lnTo>
                      <a:pt x="1323" y="953"/>
                    </a:lnTo>
                    <a:lnTo>
                      <a:pt x="1326" y="895"/>
                    </a:lnTo>
                    <a:lnTo>
                      <a:pt x="1323" y="836"/>
                    </a:lnTo>
                    <a:lnTo>
                      <a:pt x="1310" y="781"/>
                    </a:lnTo>
                    <a:lnTo>
                      <a:pt x="1293" y="728"/>
                    </a:lnTo>
                    <a:lnTo>
                      <a:pt x="1268" y="678"/>
                    </a:lnTo>
                    <a:lnTo>
                      <a:pt x="1236" y="632"/>
                    </a:lnTo>
                    <a:lnTo>
                      <a:pt x="1200" y="590"/>
                    </a:lnTo>
                    <a:lnTo>
                      <a:pt x="1159" y="553"/>
                    </a:lnTo>
                    <a:lnTo>
                      <a:pt x="1113" y="523"/>
                    </a:lnTo>
                    <a:lnTo>
                      <a:pt x="1063" y="498"/>
                    </a:lnTo>
                    <a:lnTo>
                      <a:pt x="1010" y="479"/>
                    </a:lnTo>
                    <a:lnTo>
                      <a:pt x="955" y="468"/>
                    </a:lnTo>
                    <a:lnTo>
                      <a:pt x="896" y="463"/>
                    </a:lnTo>
                    <a:close/>
                    <a:moveTo>
                      <a:pt x="770" y="0"/>
                    </a:moveTo>
                    <a:lnTo>
                      <a:pt x="1020" y="0"/>
                    </a:lnTo>
                    <a:lnTo>
                      <a:pt x="1052" y="3"/>
                    </a:lnTo>
                    <a:lnTo>
                      <a:pt x="1079" y="13"/>
                    </a:lnTo>
                    <a:lnTo>
                      <a:pt x="1103" y="29"/>
                    </a:lnTo>
                    <a:lnTo>
                      <a:pt x="1125" y="49"/>
                    </a:lnTo>
                    <a:lnTo>
                      <a:pt x="1139" y="73"/>
                    </a:lnTo>
                    <a:lnTo>
                      <a:pt x="1149" y="102"/>
                    </a:lnTo>
                    <a:lnTo>
                      <a:pt x="1153" y="132"/>
                    </a:lnTo>
                    <a:lnTo>
                      <a:pt x="1153" y="166"/>
                    </a:lnTo>
                    <a:lnTo>
                      <a:pt x="1192" y="180"/>
                    </a:lnTo>
                    <a:lnTo>
                      <a:pt x="1229" y="197"/>
                    </a:lnTo>
                    <a:lnTo>
                      <a:pt x="1253" y="173"/>
                    </a:lnTo>
                    <a:lnTo>
                      <a:pt x="1276" y="155"/>
                    </a:lnTo>
                    <a:lnTo>
                      <a:pt x="1303" y="142"/>
                    </a:lnTo>
                    <a:lnTo>
                      <a:pt x="1332" y="135"/>
                    </a:lnTo>
                    <a:lnTo>
                      <a:pt x="1360" y="135"/>
                    </a:lnTo>
                    <a:lnTo>
                      <a:pt x="1389" y="142"/>
                    </a:lnTo>
                    <a:lnTo>
                      <a:pt x="1416" y="155"/>
                    </a:lnTo>
                    <a:lnTo>
                      <a:pt x="1439" y="173"/>
                    </a:lnTo>
                    <a:lnTo>
                      <a:pt x="1618" y="350"/>
                    </a:lnTo>
                    <a:lnTo>
                      <a:pt x="1636" y="375"/>
                    </a:lnTo>
                    <a:lnTo>
                      <a:pt x="1649" y="402"/>
                    </a:lnTo>
                    <a:lnTo>
                      <a:pt x="1655" y="429"/>
                    </a:lnTo>
                    <a:lnTo>
                      <a:pt x="1655" y="459"/>
                    </a:lnTo>
                    <a:lnTo>
                      <a:pt x="1649" y="488"/>
                    </a:lnTo>
                    <a:lnTo>
                      <a:pt x="1636" y="513"/>
                    </a:lnTo>
                    <a:lnTo>
                      <a:pt x="1618" y="538"/>
                    </a:lnTo>
                    <a:lnTo>
                      <a:pt x="1593" y="562"/>
                    </a:lnTo>
                    <a:lnTo>
                      <a:pt x="1609" y="599"/>
                    </a:lnTo>
                    <a:lnTo>
                      <a:pt x="1625" y="638"/>
                    </a:lnTo>
                    <a:lnTo>
                      <a:pt x="1659" y="638"/>
                    </a:lnTo>
                    <a:lnTo>
                      <a:pt x="1689" y="640"/>
                    </a:lnTo>
                    <a:lnTo>
                      <a:pt x="1716" y="651"/>
                    </a:lnTo>
                    <a:lnTo>
                      <a:pt x="1741" y="666"/>
                    </a:lnTo>
                    <a:lnTo>
                      <a:pt x="1762" y="686"/>
                    </a:lnTo>
                    <a:lnTo>
                      <a:pt x="1778" y="712"/>
                    </a:lnTo>
                    <a:lnTo>
                      <a:pt x="1788" y="739"/>
                    </a:lnTo>
                    <a:lnTo>
                      <a:pt x="1791" y="769"/>
                    </a:lnTo>
                    <a:lnTo>
                      <a:pt x="1791" y="1021"/>
                    </a:lnTo>
                    <a:lnTo>
                      <a:pt x="1788" y="1051"/>
                    </a:lnTo>
                    <a:lnTo>
                      <a:pt x="1778" y="1079"/>
                    </a:lnTo>
                    <a:lnTo>
                      <a:pt x="1762" y="1104"/>
                    </a:lnTo>
                    <a:lnTo>
                      <a:pt x="1741" y="1124"/>
                    </a:lnTo>
                    <a:lnTo>
                      <a:pt x="1716" y="1139"/>
                    </a:lnTo>
                    <a:lnTo>
                      <a:pt x="1689" y="1149"/>
                    </a:lnTo>
                    <a:lnTo>
                      <a:pt x="1659" y="1152"/>
                    </a:lnTo>
                    <a:lnTo>
                      <a:pt x="1625" y="1152"/>
                    </a:lnTo>
                    <a:lnTo>
                      <a:pt x="1609" y="1191"/>
                    </a:lnTo>
                    <a:lnTo>
                      <a:pt x="1593" y="1228"/>
                    </a:lnTo>
                    <a:lnTo>
                      <a:pt x="1618" y="1252"/>
                    </a:lnTo>
                    <a:lnTo>
                      <a:pt x="1636" y="1276"/>
                    </a:lnTo>
                    <a:lnTo>
                      <a:pt x="1649" y="1304"/>
                    </a:lnTo>
                    <a:lnTo>
                      <a:pt x="1655" y="1331"/>
                    </a:lnTo>
                    <a:lnTo>
                      <a:pt x="1655" y="1361"/>
                    </a:lnTo>
                    <a:lnTo>
                      <a:pt x="1649" y="1389"/>
                    </a:lnTo>
                    <a:lnTo>
                      <a:pt x="1636" y="1415"/>
                    </a:lnTo>
                    <a:lnTo>
                      <a:pt x="1618" y="1439"/>
                    </a:lnTo>
                    <a:lnTo>
                      <a:pt x="1439" y="1617"/>
                    </a:lnTo>
                    <a:lnTo>
                      <a:pt x="1416" y="1635"/>
                    </a:lnTo>
                    <a:lnTo>
                      <a:pt x="1389" y="1648"/>
                    </a:lnTo>
                    <a:lnTo>
                      <a:pt x="1360" y="1655"/>
                    </a:lnTo>
                    <a:lnTo>
                      <a:pt x="1332" y="1655"/>
                    </a:lnTo>
                    <a:lnTo>
                      <a:pt x="1303" y="1648"/>
                    </a:lnTo>
                    <a:lnTo>
                      <a:pt x="1276" y="1635"/>
                    </a:lnTo>
                    <a:lnTo>
                      <a:pt x="1253" y="1617"/>
                    </a:lnTo>
                    <a:lnTo>
                      <a:pt x="1229" y="1592"/>
                    </a:lnTo>
                    <a:lnTo>
                      <a:pt x="1192" y="1609"/>
                    </a:lnTo>
                    <a:lnTo>
                      <a:pt x="1153" y="1624"/>
                    </a:lnTo>
                    <a:lnTo>
                      <a:pt x="1153" y="1658"/>
                    </a:lnTo>
                    <a:lnTo>
                      <a:pt x="1149" y="1688"/>
                    </a:lnTo>
                    <a:lnTo>
                      <a:pt x="1139" y="1717"/>
                    </a:lnTo>
                    <a:lnTo>
                      <a:pt x="1125" y="1741"/>
                    </a:lnTo>
                    <a:lnTo>
                      <a:pt x="1103" y="1761"/>
                    </a:lnTo>
                    <a:lnTo>
                      <a:pt x="1079" y="1777"/>
                    </a:lnTo>
                    <a:lnTo>
                      <a:pt x="1052" y="1787"/>
                    </a:lnTo>
                    <a:lnTo>
                      <a:pt x="1020" y="1790"/>
                    </a:lnTo>
                    <a:lnTo>
                      <a:pt x="770" y="1790"/>
                    </a:lnTo>
                    <a:lnTo>
                      <a:pt x="740" y="1787"/>
                    </a:lnTo>
                    <a:lnTo>
                      <a:pt x="712" y="1777"/>
                    </a:lnTo>
                    <a:lnTo>
                      <a:pt x="687" y="1761"/>
                    </a:lnTo>
                    <a:lnTo>
                      <a:pt x="667" y="1741"/>
                    </a:lnTo>
                    <a:lnTo>
                      <a:pt x="652" y="1717"/>
                    </a:lnTo>
                    <a:lnTo>
                      <a:pt x="642" y="1688"/>
                    </a:lnTo>
                    <a:lnTo>
                      <a:pt x="637" y="1658"/>
                    </a:lnTo>
                    <a:lnTo>
                      <a:pt x="637" y="1624"/>
                    </a:lnTo>
                    <a:lnTo>
                      <a:pt x="600" y="1609"/>
                    </a:lnTo>
                    <a:lnTo>
                      <a:pt x="562" y="1592"/>
                    </a:lnTo>
                    <a:lnTo>
                      <a:pt x="537" y="1617"/>
                    </a:lnTo>
                    <a:lnTo>
                      <a:pt x="514" y="1635"/>
                    </a:lnTo>
                    <a:lnTo>
                      <a:pt x="487" y="1648"/>
                    </a:lnTo>
                    <a:lnTo>
                      <a:pt x="459" y="1655"/>
                    </a:lnTo>
                    <a:lnTo>
                      <a:pt x="430" y="1655"/>
                    </a:lnTo>
                    <a:lnTo>
                      <a:pt x="401" y="1648"/>
                    </a:lnTo>
                    <a:lnTo>
                      <a:pt x="374" y="1635"/>
                    </a:lnTo>
                    <a:lnTo>
                      <a:pt x="351" y="1617"/>
                    </a:lnTo>
                    <a:lnTo>
                      <a:pt x="174" y="1439"/>
                    </a:lnTo>
                    <a:lnTo>
                      <a:pt x="154" y="1415"/>
                    </a:lnTo>
                    <a:lnTo>
                      <a:pt x="141" y="1389"/>
                    </a:lnTo>
                    <a:lnTo>
                      <a:pt x="136" y="1361"/>
                    </a:lnTo>
                    <a:lnTo>
                      <a:pt x="136" y="1331"/>
                    </a:lnTo>
                    <a:lnTo>
                      <a:pt x="141" y="1304"/>
                    </a:lnTo>
                    <a:lnTo>
                      <a:pt x="154" y="1276"/>
                    </a:lnTo>
                    <a:lnTo>
                      <a:pt x="174" y="1252"/>
                    </a:lnTo>
                    <a:lnTo>
                      <a:pt x="199" y="1228"/>
                    </a:lnTo>
                    <a:lnTo>
                      <a:pt x="181" y="1191"/>
                    </a:lnTo>
                    <a:lnTo>
                      <a:pt x="167" y="1152"/>
                    </a:lnTo>
                    <a:lnTo>
                      <a:pt x="133" y="1152"/>
                    </a:lnTo>
                    <a:lnTo>
                      <a:pt x="101" y="1149"/>
                    </a:lnTo>
                    <a:lnTo>
                      <a:pt x="74" y="1139"/>
                    </a:lnTo>
                    <a:lnTo>
                      <a:pt x="50" y="1124"/>
                    </a:lnTo>
                    <a:lnTo>
                      <a:pt x="29" y="1104"/>
                    </a:lnTo>
                    <a:lnTo>
                      <a:pt x="14" y="1079"/>
                    </a:lnTo>
                    <a:lnTo>
                      <a:pt x="4" y="1051"/>
                    </a:lnTo>
                    <a:lnTo>
                      <a:pt x="0" y="1021"/>
                    </a:lnTo>
                    <a:lnTo>
                      <a:pt x="0" y="769"/>
                    </a:lnTo>
                    <a:lnTo>
                      <a:pt x="4" y="739"/>
                    </a:lnTo>
                    <a:lnTo>
                      <a:pt x="14" y="712"/>
                    </a:lnTo>
                    <a:lnTo>
                      <a:pt x="29" y="686"/>
                    </a:lnTo>
                    <a:lnTo>
                      <a:pt x="50" y="666"/>
                    </a:lnTo>
                    <a:lnTo>
                      <a:pt x="74" y="651"/>
                    </a:lnTo>
                    <a:lnTo>
                      <a:pt x="101" y="640"/>
                    </a:lnTo>
                    <a:lnTo>
                      <a:pt x="133" y="638"/>
                    </a:lnTo>
                    <a:lnTo>
                      <a:pt x="167" y="638"/>
                    </a:lnTo>
                    <a:lnTo>
                      <a:pt x="181" y="599"/>
                    </a:lnTo>
                    <a:lnTo>
                      <a:pt x="199" y="562"/>
                    </a:lnTo>
                    <a:lnTo>
                      <a:pt x="174" y="538"/>
                    </a:lnTo>
                    <a:lnTo>
                      <a:pt x="154" y="513"/>
                    </a:lnTo>
                    <a:lnTo>
                      <a:pt x="141" y="488"/>
                    </a:lnTo>
                    <a:lnTo>
                      <a:pt x="136" y="459"/>
                    </a:lnTo>
                    <a:lnTo>
                      <a:pt x="136" y="429"/>
                    </a:lnTo>
                    <a:lnTo>
                      <a:pt x="141" y="402"/>
                    </a:lnTo>
                    <a:lnTo>
                      <a:pt x="154" y="375"/>
                    </a:lnTo>
                    <a:lnTo>
                      <a:pt x="174" y="350"/>
                    </a:lnTo>
                    <a:lnTo>
                      <a:pt x="351" y="173"/>
                    </a:lnTo>
                    <a:lnTo>
                      <a:pt x="376" y="155"/>
                    </a:lnTo>
                    <a:lnTo>
                      <a:pt x="401" y="142"/>
                    </a:lnTo>
                    <a:lnTo>
                      <a:pt x="430" y="135"/>
                    </a:lnTo>
                    <a:lnTo>
                      <a:pt x="459" y="135"/>
                    </a:lnTo>
                    <a:lnTo>
                      <a:pt x="487" y="142"/>
                    </a:lnTo>
                    <a:lnTo>
                      <a:pt x="514" y="155"/>
                    </a:lnTo>
                    <a:lnTo>
                      <a:pt x="537" y="173"/>
                    </a:lnTo>
                    <a:lnTo>
                      <a:pt x="562" y="197"/>
                    </a:lnTo>
                    <a:lnTo>
                      <a:pt x="600" y="180"/>
                    </a:lnTo>
                    <a:lnTo>
                      <a:pt x="637" y="166"/>
                    </a:lnTo>
                    <a:lnTo>
                      <a:pt x="637" y="132"/>
                    </a:lnTo>
                    <a:lnTo>
                      <a:pt x="642" y="102"/>
                    </a:lnTo>
                    <a:lnTo>
                      <a:pt x="652" y="73"/>
                    </a:lnTo>
                    <a:lnTo>
                      <a:pt x="667" y="49"/>
                    </a:lnTo>
                    <a:lnTo>
                      <a:pt x="687" y="29"/>
                    </a:lnTo>
                    <a:lnTo>
                      <a:pt x="712" y="13"/>
                    </a:lnTo>
                    <a:lnTo>
                      <a:pt x="740" y="3"/>
                    </a:lnTo>
                    <a:lnTo>
                      <a:pt x="7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72" name="Freeform 161"/>
              <p:cNvSpPr>
                <a:spLocks noEditPoints="1"/>
              </p:cNvSpPr>
              <p:nvPr/>
            </p:nvSpPr>
            <p:spPr bwMode="auto">
              <a:xfrm>
                <a:off x="5171" y="3325"/>
                <a:ext cx="710" cy="709"/>
              </a:xfrm>
              <a:custGeom>
                <a:avLst/>
                <a:gdLst>
                  <a:gd name="T0" fmla="*/ 602 w 1421"/>
                  <a:gd name="T1" fmla="*/ 385 h 1419"/>
                  <a:gd name="T2" fmla="*/ 469 w 1421"/>
                  <a:gd name="T3" fmla="*/ 467 h 1419"/>
                  <a:gd name="T4" fmla="*/ 386 w 1421"/>
                  <a:gd name="T5" fmla="*/ 602 h 1419"/>
                  <a:gd name="T6" fmla="*/ 373 w 1421"/>
                  <a:gd name="T7" fmla="*/ 765 h 1419"/>
                  <a:gd name="T8" fmla="*/ 435 w 1421"/>
                  <a:gd name="T9" fmla="*/ 912 h 1419"/>
                  <a:gd name="T10" fmla="*/ 553 w 1421"/>
                  <a:gd name="T11" fmla="*/ 1013 h 1419"/>
                  <a:gd name="T12" fmla="*/ 711 w 1421"/>
                  <a:gd name="T13" fmla="*/ 1051 h 1419"/>
                  <a:gd name="T14" fmla="*/ 868 w 1421"/>
                  <a:gd name="T15" fmla="*/ 1013 h 1419"/>
                  <a:gd name="T16" fmla="*/ 986 w 1421"/>
                  <a:gd name="T17" fmla="*/ 912 h 1419"/>
                  <a:gd name="T18" fmla="*/ 1048 w 1421"/>
                  <a:gd name="T19" fmla="*/ 765 h 1419"/>
                  <a:gd name="T20" fmla="*/ 1035 w 1421"/>
                  <a:gd name="T21" fmla="*/ 602 h 1419"/>
                  <a:gd name="T22" fmla="*/ 952 w 1421"/>
                  <a:gd name="T23" fmla="*/ 467 h 1419"/>
                  <a:gd name="T24" fmla="*/ 819 w 1421"/>
                  <a:gd name="T25" fmla="*/ 385 h 1419"/>
                  <a:gd name="T26" fmla="*/ 611 w 1421"/>
                  <a:gd name="T27" fmla="*/ 0 h 1419"/>
                  <a:gd name="T28" fmla="*/ 864 w 1421"/>
                  <a:gd name="T29" fmla="*/ 14 h 1419"/>
                  <a:gd name="T30" fmla="*/ 911 w 1421"/>
                  <a:gd name="T31" fmla="*/ 76 h 1419"/>
                  <a:gd name="T32" fmla="*/ 975 w 1421"/>
                  <a:gd name="T33" fmla="*/ 156 h 1419"/>
                  <a:gd name="T34" fmla="*/ 1032 w 1421"/>
                  <a:gd name="T35" fmla="*/ 113 h 1419"/>
                  <a:gd name="T36" fmla="*/ 1085 w 1421"/>
                  <a:gd name="T37" fmla="*/ 107 h 1419"/>
                  <a:gd name="T38" fmla="*/ 1142 w 1421"/>
                  <a:gd name="T39" fmla="*/ 137 h 1419"/>
                  <a:gd name="T40" fmla="*/ 1311 w 1421"/>
                  <a:gd name="T41" fmla="*/ 326 h 1419"/>
                  <a:gd name="T42" fmla="*/ 1299 w 1421"/>
                  <a:gd name="T43" fmla="*/ 403 h 1419"/>
                  <a:gd name="T44" fmla="*/ 1288 w 1421"/>
                  <a:gd name="T45" fmla="*/ 505 h 1419"/>
                  <a:gd name="T46" fmla="*/ 1368 w 1421"/>
                  <a:gd name="T47" fmla="*/ 519 h 1419"/>
                  <a:gd name="T48" fmla="*/ 1417 w 1421"/>
                  <a:gd name="T49" fmla="*/ 582 h 1419"/>
                  <a:gd name="T50" fmla="*/ 1417 w 1421"/>
                  <a:gd name="T51" fmla="*/ 836 h 1419"/>
                  <a:gd name="T52" fmla="*/ 1368 w 1421"/>
                  <a:gd name="T53" fmla="*/ 899 h 1419"/>
                  <a:gd name="T54" fmla="*/ 1288 w 1421"/>
                  <a:gd name="T55" fmla="*/ 913 h 1419"/>
                  <a:gd name="T56" fmla="*/ 1299 w 1421"/>
                  <a:gd name="T57" fmla="*/ 1015 h 1419"/>
                  <a:gd name="T58" fmla="*/ 1311 w 1421"/>
                  <a:gd name="T59" fmla="*/ 1093 h 1419"/>
                  <a:gd name="T60" fmla="*/ 1142 w 1421"/>
                  <a:gd name="T61" fmla="*/ 1282 h 1419"/>
                  <a:gd name="T62" fmla="*/ 1068 w 1421"/>
                  <a:gd name="T63" fmla="*/ 1312 h 1419"/>
                  <a:gd name="T64" fmla="*/ 994 w 1421"/>
                  <a:gd name="T65" fmla="*/ 1282 h 1419"/>
                  <a:gd name="T66" fmla="*/ 915 w 1421"/>
                  <a:gd name="T67" fmla="*/ 1315 h 1419"/>
                  <a:gd name="T68" fmla="*/ 884 w 1421"/>
                  <a:gd name="T69" fmla="*/ 1388 h 1419"/>
                  <a:gd name="T70" fmla="*/ 811 w 1421"/>
                  <a:gd name="T71" fmla="*/ 1419 h 1419"/>
                  <a:gd name="T72" fmla="*/ 558 w 1421"/>
                  <a:gd name="T73" fmla="*/ 1405 h 1419"/>
                  <a:gd name="T74" fmla="*/ 511 w 1421"/>
                  <a:gd name="T75" fmla="*/ 1342 h 1419"/>
                  <a:gd name="T76" fmla="*/ 446 w 1421"/>
                  <a:gd name="T77" fmla="*/ 1262 h 1419"/>
                  <a:gd name="T78" fmla="*/ 379 w 1421"/>
                  <a:gd name="T79" fmla="*/ 1309 h 1419"/>
                  <a:gd name="T80" fmla="*/ 302 w 1421"/>
                  <a:gd name="T81" fmla="*/ 1299 h 1419"/>
                  <a:gd name="T82" fmla="*/ 122 w 1421"/>
                  <a:gd name="T83" fmla="*/ 1119 h 1419"/>
                  <a:gd name="T84" fmla="*/ 110 w 1421"/>
                  <a:gd name="T85" fmla="*/ 1041 h 1419"/>
                  <a:gd name="T86" fmla="*/ 158 w 1421"/>
                  <a:gd name="T87" fmla="*/ 973 h 1419"/>
                  <a:gd name="T88" fmla="*/ 78 w 1421"/>
                  <a:gd name="T89" fmla="*/ 911 h 1419"/>
                  <a:gd name="T90" fmla="*/ 15 w 1421"/>
                  <a:gd name="T91" fmla="*/ 862 h 1419"/>
                  <a:gd name="T92" fmla="*/ 0 w 1421"/>
                  <a:gd name="T93" fmla="*/ 610 h 1419"/>
                  <a:gd name="T94" fmla="*/ 32 w 1421"/>
                  <a:gd name="T95" fmla="*/ 536 h 1419"/>
                  <a:gd name="T96" fmla="*/ 106 w 1421"/>
                  <a:gd name="T97" fmla="*/ 505 h 1419"/>
                  <a:gd name="T98" fmla="*/ 139 w 1421"/>
                  <a:gd name="T99" fmla="*/ 426 h 1419"/>
                  <a:gd name="T100" fmla="*/ 108 w 1421"/>
                  <a:gd name="T101" fmla="*/ 352 h 1419"/>
                  <a:gd name="T102" fmla="*/ 139 w 1421"/>
                  <a:gd name="T103" fmla="*/ 277 h 1419"/>
                  <a:gd name="T104" fmla="*/ 326 w 1421"/>
                  <a:gd name="T105" fmla="*/ 110 h 1419"/>
                  <a:gd name="T106" fmla="*/ 405 w 1421"/>
                  <a:gd name="T107" fmla="*/ 120 h 1419"/>
                  <a:gd name="T108" fmla="*/ 506 w 1421"/>
                  <a:gd name="T109" fmla="*/ 132 h 1419"/>
                  <a:gd name="T110" fmla="*/ 521 w 1421"/>
                  <a:gd name="T111" fmla="*/ 52 h 1419"/>
                  <a:gd name="T112" fmla="*/ 583 w 1421"/>
                  <a:gd name="T113" fmla="*/ 3 h 1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21" h="1419">
                    <a:moveTo>
                      <a:pt x="711" y="367"/>
                    </a:moveTo>
                    <a:lnTo>
                      <a:pt x="655" y="372"/>
                    </a:lnTo>
                    <a:lnTo>
                      <a:pt x="602" y="385"/>
                    </a:lnTo>
                    <a:lnTo>
                      <a:pt x="553" y="406"/>
                    </a:lnTo>
                    <a:lnTo>
                      <a:pt x="509" y="433"/>
                    </a:lnTo>
                    <a:lnTo>
                      <a:pt x="469" y="467"/>
                    </a:lnTo>
                    <a:lnTo>
                      <a:pt x="435" y="508"/>
                    </a:lnTo>
                    <a:lnTo>
                      <a:pt x="406" y="552"/>
                    </a:lnTo>
                    <a:lnTo>
                      <a:pt x="386" y="602"/>
                    </a:lnTo>
                    <a:lnTo>
                      <a:pt x="373" y="653"/>
                    </a:lnTo>
                    <a:lnTo>
                      <a:pt x="369" y="709"/>
                    </a:lnTo>
                    <a:lnTo>
                      <a:pt x="373" y="765"/>
                    </a:lnTo>
                    <a:lnTo>
                      <a:pt x="386" y="818"/>
                    </a:lnTo>
                    <a:lnTo>
                      <a:pt x="406" y="866"/>
                    </a:lnTo>
                    <a:lnTo>
                      <a:pt x="435" y="912"/>
                    </a:lnTo>
                    <a:lnTo>
                      <a:pt x="469" y="951"/>
                    </a:lnTo>
                    <a:lnTo>
                      <a:pt x="509" y="985"/>
                    </a:lnTo>
                    <a:lnTo>
                      <a:pt x="553" y="1013"/>
                    </a:lnTo>
                    <a:lnTo>
                      <a:pt x="602" y="1033"/>
                    </a:lnTo>
                    <a:lnTo>
                      <a:pt x="655" y="1046"/>
                    </a:lnTo>
                    <a:lnTo>
                      <a:pt x="711" y="1051"/>
                    </a:lnTo>
                    <a:lnTo>
                      <a:pt x="766" y="1046"/>
                    </a:lnTo>
                    <a:lnTo>
                      <a:pt x="819" y="1033"/>
                    </a:lnTo>
                    <a:lnTo>
                      <a:pt x="868" y="1013"/>
                    </a:lnTo>
                    <a:lnTo>
                      <a:pt x="912" y="985"/>
                    </a:lnTo>
                    <a:lnTo>
                      <a:pt x="952" y="951"/>
                    </a:lnTo>
                    <a:lnTo>
                      <a:pt x="986" y="912"/>
                    </a:lnTo>
                    <a:lnTo>
                      <a:pt x="1014" y="866"/>
                    </a:lnTo>
                    <a:lnTo>
                      <a:pt x="1035" y="818"/>
                    </a:lnTo>
                    <a:lnTo>
                      <a:pt x="1048" y="765"/>
                    </a:lnTo>
                    <a:lnTo>
                      <a:pt x="1052" y="709"/>
                    </a:lnTo>
                    <a:lnTo>
                      <a:pt x="1048" y="653"/>
                    </a:lnTo>
                    <a:lnTo>
                      <a:pt x="1035" y="602"/>
                    </a:lnTo>
                    <a:lnTo>
                      <a:pt x="1014" y="552"/>
                    </a:lnTo>
                    <a:lnTo>
                      <a:pt x="986" y="508"/>
                    </a:lnTo>
                    <a:lnTo>
                      <a:pt x="952" y="467"/>
                    </a:lnTo>
                    <a:lnTo>
                      <a:pt x="912" y="433"/>
                    </a:lnTo>
                    <a:lnTo>
                      <a:pt x="868" y="406"/>
                    </a:lnTo>
                    <a:lnTo>
                      <a:pt x="819" y="385"/>
                    </a:lnTo>
                    <a:lnTo>
                      <a:pt x="766" y="372"/>
                    </a:lnTo>
                    <a:lnTo>
                      <a:pt x="711" y="367"/>
                    </a:lnTo>
                    <a:close/>
                    <a:moveTo>
                      <a:pt x="611" y="0"/>
                    </a:moveTo>
                    <a:lnTo>
                      <a:pt x="811" y="0"/>
                    </a:lnTo>
                    <a:lnTo>
                      <a:pt x="838" y="3"/>
                    </a:lnTo>
                    <a:lnTo>
                      <a:pt x="864" y="14"/>
                    </a:lnTo>
                    <a:lnTo>
                      <a:pt x="884" y="30"/>
                    </a:lnTo>
                    <a:lnTo>
                      <a:pt x="901" y="52"/>
                    </a:lnTo>
                    <a:lnTo>
                      <a:pt x="911" y="76"/>
                    </a:lnTo>
                    <a:lnTo>
                      <a:pt x="915" y="104"/>
                    </a:lnTo>
                    <a:lnTo>
                      <a:pt x="915" y="132"/>
                    </a:lnTo>
                    <a:lnTo>
                      <a:pt x="975" y="156"/>
                    </a:lnTo>
                    <a:lnTo>
                      <a:pt x="994" y="137"/>
                    </a:lnTo>
                    <a:lnTo>
                      <a:pt x="1014" y="122"/>
                    </a:lnTo>
                    <a:lnTo>
                      <a:pt x="1032" y="113"/>
                    </a:lnTo>
                    <a:lnTo>
                      <a:pt x="1052" y="107"/>
                    </a:lnTo>
                    <a:lnTo>
                      <a:pt x="1069" y="107"/>
                    </a:lnTo>
                    <a:lnTo>
                      <a:pt x="1085" y="107"/>
                    </a:lnTo>
                    <a:lnTo>
                      <a:pt x="1095" y="110"/>
                    </a:lnTo>
                    <a:lnTo>
                      <a:pt x="1121" y="120"/>
                    </a:lnTo>
                    <a:lnTo>
                      <a:pt x="1142" y="137"/>
                    </a:lnTo>
                    <a:lnTo>
                      <a:pt x="1282" y="277"/>
                    </a:lnTo>
                    <a:lnTo>
                      <a:pt x="1299" y="300"/>
                    </a:lnTo>
                    <a:lnTo>
                      <a:pt x="1311" y="326"/>
                    </a:lnTo>
                    <a:lnTo>
                      <a:pt x="1314" y="352"/>
                    </a:lnTo>
                    <a:lnTo>
                      <a:pt x="1311" y="379"/>
                    </a:lnTo>
                    <a:lnTo>
                      <a:pt x="1299" y="403"/>
                    </a:lnTo>
                    <a:lnTo>
                      <a:pt x="1282" y="426"/>
                    </a:lnTo>
                    <a:lnTo>
                      <a:pt x="1264" y="445"/>
                    </a:lnTo>
                    <a:lnTo>
                      <a:pt x="1288" y="505"/>
                    </a:lnTo>
                    <a:lnTo>
                      <a:pt x="1315" y="505"/>
                    </a:lnTo>
                    <a:lnTo>
                      <a:pt x="1344" y="509"/>
                    </a:lnTo>
                    <a:lnTo>
                      <a:pt x="1368" y="519"/>
                    </a:lnTo>
                    <a:lnTo>
                      <a:pt x="1389" y="536"/>
                    </a:lnTo>
                    <a:lnTo>
                      <a:pt x="1407" y="558"/>
                    </a:lnTo>
                    <a:lnTo>
                      <a:pt x="1417" y="582"/>
                    </a:lnTo>
                    <a:lnTo>
                      <a:pt x="1421" y="610"/>
                    </a:lnTo>
                    <a:lnTo>
                      <a:pt x="1421" y="809"/>
                    </a:lnTo>
                    <a:lnTo>
                      <a:pt x="1417" y="836"/>
                    </a:lnTo>
                    <a:lnTo>
                      <a:pt x="1407" y="862"/>
                    </a:lnTo>
                    <a:lnTo>
                      <a:pt x="1389" y="883"/>
                    </a:lnTo>
                    <a:lnTo>
                      <a:pt x="1368" y="899"/>
                    </a:lnTo>
                    <a:lnTo>
                      <a:pt x="1344" y="911"/>
                    </a:lnTo>
                    <a:lnTo>
                      <a:pt x="1315" y="913"/>
                    </a:lnTo>
                    <a:lnTo>
                      <a:pt x="1288" y="913"/>
                    </a:lnTo>
                    <a:lnTo>
                      <a:pt x="1264" y="973"/>
                    </a:lnTo>
                    <a:lnTo>
                      <a:pt x="1282" y="993"/>
                    </a:lnTo>
                    <a:lnTo>
                      <a:pt x="1299" y="1015"/>
                    </a:lnTo>
                    <a:lnTo>
                      <a:pt x="1311" y="1041"/>
                    </a:lnTo>
                    <a:lnTo>
                      <a:pt x="1314" y="1066"/>
                    </a:lnTo>
                    <a:lnTo>
                      <a:pt x="1311" y="1093"/>
                    </a:lnTo>
                    <a:lnTo>
                      <a:pt x="1299" y="1119"/>
                    </a:lnTo>
                    <a:lnTo>
                      <a:pt x="1282" y="1141"/>
                    </a:lnTo>
                    <a:lnTo>
                      <a:pt x="1142" y="1282"/>
                    </a:lnTo>
                    <a:lnTo>
                      <a:pt x="1119" y="1299"/>
                    </a:lnTo>
                    <a:lnTo>
                      <a:pt x="1095" y="1309"/>
                    </a:lnTo>
                    <a:lnTo>
                      <a:pt x="1068" y="1312"/>
                    </a:lnTo>
                    <a:lnTo>
                      <a:pt x="1042" y="1309"/>
                    </a:lnTo>
                    <a:lnTo>
                      <a:pt x="1016" y="1299"/>
                    </a:lnTo>
                    <a:lnTo>
                      <a:pt x="994" y="1282"/>
                    </a:lnTo>
                    <a:lnTo>
                      <a:pt x="975" y="1262"/>
                    </a:lnTo>
                    <a:lnTo>
                      <a:pt x="915" y="1288"/>
                    </a:lnTo>
                    <a:lnTo>
                      <a:pt x="915" y="1315"/>
                    </a:lnTo>
                    <a:lnTo>
                      <a:pt x="911" y="1342"/>
                    </a:lnTo>
                    <a:lnTo>
                      <a:pt x="901" y="1368"/>
                    </a:lnTo>
                    <a:lnTo>
                      <a:pt x="884" y="1388"/>
                    </a:lnTo>
                    <a:lnTo>
                      <a:pt x="864" y="1405"/>
                    </a:lnTo>
                    <a:lnTo>
                      <a:pt x="838" y="1415"/>
                    </a:lnTo>
                    <a:lnTo>
                      <a:pt x="811" y="1419"/>
                    </a:lnTo>
                    <a:lnTo>
                      <a:pt x="611" y="1419"/>
                    </a:lnTo>
                    <a:lnTo>
                      <a:pt x="583" y="1415"/>
                    </a:lnTo>
                    <a:lnTo>
                      <a:pt x="558" y="1405"/>
                    </a:lnTo>
                    <a:lnTo>
                      <a:pt x="538" y="1388"/>
                    </a:lnTo>
                    <a:lnTo>
                      <a:pt x="521" y="1368"/>
                    </a:lnTo>
                    <a:lnTo>
                      <a:pt x="511" y="1342"/>
                    </a:lnTo>
                    <a:lnTo>
                      <a:pt x="506" y="1315"/>
                    </a:lnTo>
                    <a:lnTo>
                      <a:pt x="506" y="1288"/>
                    </a:lnTo>
                    <a:lnTo>
                      <a:pt x="446" y="1262"/>
                    </a:lnTo>
                    <a:lnTo>
                      <a:pt x="428" y="1282"/>
                    </a:lnTo>
                    <a:lnTo>
                      <a:pt x="405" y="1299"/>
                    </a:lnTo>
                    <a:lnTo>
                      <a:pt x="379" y="1309"/>
                    </a:lnTo>
                    <a:lnTo>
                      <a:pt x="353" y="1312"/>
                    </a:lnTo>
                    <a:lnTo>
                      <a:pt x="326" y="1309"/>
                    </a:lnTo>
                    <a:lnTo>
                      <a:pt x="302" y="1299"/>
                    </a:lnTo>
                    <a:lnTo>
                      <a:pt x="279" y="1282"/>
                    </a:lnTo>
                    <a:lnTo>
                      <a:pt x="139" y="1141"/>
                    </a:lnTo>
                    <a:lnTo>
                      <a:pt x="122" y="1119"/>
                    </a:lnTo>
                    <a:lnTo>
                      <a:pt x="110" y="1093"/>
                    </a:lnTo>
                    <a:lnTo>
                      <a:pt x="108" y="1066"/>
                    </a:lnTo>
                    <a:lnTo>
                      <a:pt x="110" y="1041"/>
                    </a:lnTo>
                    <a:lnTo>
                      <a:pt x="122" y="1015"/>
                    </a:lnTo>
                    <a:lnTo>
                      <a:pt x="139" y="993"/>
                    </a:lnTo>
                    <a:lnTo>
                      <a:pt x="158" y="973"/>
                    </a:lnTo>
                    <a:lnTo>
                      <a:pt x="133" y="913"/>
                    </a:lnTo>
                    <a:lnTo>
                      <a:pt x="106" y="913"/>
                    </a:lnTo>
                    <a:lnTo>
                      <a:pt x="78" y="911"/>
                    </a:lnTo>
                    <a:lnTo>
                      <a:pt x="53" y="899"/>
                    </a:lnTo>
                    <a:lnTo>
                      <a:pt x="32" y="883"/>
                    </a:lnTo>
                    <a:lnTo>
                      <a:pt x="15" y="862"/>
                    </a:lnTo>
                    <a:lnTo>
                      <a:pt x="5" y="836"/>
                    </a:lnTo>
                    <a:lnTo>
                      <a:pt x="0" y="809"/>
                    </a:lnTo>
                    <a:lnTo>
                      <a:pt x="0" y="610"/>
                    </a:lnTo>
                    <a:lnTo>
                      <a:pt x="5" y="582"/>
                    </a:lnTo>
                    <a:lnTo>
                      <a:pt x="15" y="558"/>
                    </a:lnTo>
                    <a:lnTo>
                      <a:pt x="32" y="536"/>
                    </a:lnTo>
                    <a:lnTo>
                      <a:pt x="53" y="519"/>
                    </a:lnTo>
                    <a:lnTo>
                      <a:pt x="78" y="509"/>
                    </a:lnTo>
                    <a:lnTo>
                      <a:pt x="106" y="505"/>
                    </a:lnTo>
                    <a:lnTo>
                      <a:pt x="133" y="505"/>
                    </a:lnTo>
                    <a:lnTo>
                      <a:pt x="158" y="445"/>
                    </a:lnTo>
                    <a:lnTo>
                      <a:pt x="139" y="426"/>
                    </a:lnTo>
                    <a:lnTo>
                      <a:pt x="122" y="403"/>
                    </a:lnTo>
                    <a:lnTo>
                      <a:pt x="110" y="379"/>
                    </a:lnTo>
                    <a:lnTo>
                      <a:pt x="108" y="352"/>
                    </a:lnTo>
                    <a:lnTo>
                      <a:pt x="110" y="326"/>
                    </a:lnTo>
                    <a:lnTo>
                      <a:pt x="122" y="300"/>
                    </a:lnTo>
                    <a:lnTo>
                      <a:pt x="139" y="277"/>
                    </a:lnTo>
                    <a:lnTo>
                      <a:pt x="279" y="137"/>
                    </a:lnTo>
                    <a:lnTo>
                      <a:pt x="302" y="120"/>
                    </a:lnTo>
                    <a:lnTo>
                      <a:pt x="326" y="110"/>
                    </a:lnTo>
                    <a:lnTo>
                      <a:pt x="353" y="106"/>
                    </a:lnTo>
                    <a:lnTo>
                      <a:pt x="379" y="110"/>
                    </a:lnTo>
                    <a:lnTo>
                      <a:pt x="405" y="120"/>
                    </a:lnTo>
                    <a:lnTo>
                      <a:pt x="428" y="137"/>
                    </a:lnTo>
                    <a:lnTo>
                      <a:pt x="446" y="156"/>
                    </a:lnTo>
                    <a:lnTo>
                      <a:pt x="506" y="132"/>
                    </a:lnTo>
                    <a:lnTo>
                      <a:pt x="506" y="104"/>
                    </a:lnTo>
                    <a:lnTo>
                      <a:pt x="511" y="76"/>
                    </a:lnTo>
                    <a:lnTo>
                      <a:pt x="521" y="52"/>
                    </a:lnTo>
                    <a:lnTo>
                      <a:pt x="538" y="30"/>
                    </a:lnTo>
                    <a:lnTo>
                      <a:pt x="558" y="14"/>
                    </a:lnTo>
                    <a:lnTo>
                      <a:pt x="583" y="3"/>
                    </a:lnTo>
                    <a:lnTo>
                      <a:pt x="6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73" name="Freeform 162"/>
              <p:cNvSpPr>
                <a:spLocks noEditPoints="1"/>
              </p:cNvSpPr>
              <p:nvPr/>
            </p:nvSpPr>
            <p:spPr bwMode="auto">
              <a:xfrm>
                <a:off x="5571" y="2763"/>
                <a:ext cx="598" cy="598"/>
              </a:xfrm>
              <a:custGeom>
                <a:avLst/>
                <a:gdLst>
                  <a:gd name="T0" fmla="*/ 506 w 1194"/>
                  <a:gd name="T1" fmla="*/ 324 h 1196"/>
                  <a:gd name="T2" fmla="*/ 393 w 1194"/>
                  <a:gd name="T3" fmla="*/ 394 h 1196"/>
                  <a:gd name="T4" fmla="*/ 324 w 1194"/>
                  <a:gd name="T5" fmla="*/ 507 h 1196"/>
                  <a:gd name="T6" fmla="*/ 313 w 1194"/>
                  <a:gd name="T7" fmla="*/ 644 h 1196"/>
                  <a:gd name="T8" fmla="*/ 364 w 1194"/>
                  <a:gd name="T9" fmla="*/ 767 h 1196"/>
                  <a:gd name="T10" fmla="*/ 464 w 1194"/>
                  <a:gd name="T11" fmla="*/ 853 h 1196"/>
                  <a:gd name="T12" fmla="*/ 597 w 1194"/>
                  <a:gd name="T13" fmla="*/ 886 h 1196"/>
                  <a:gd name="T14" fmla="*/ 729 w 1194"/>
                  <a:gd name="T15" fmla="*/ 853 h 1196"/>
                  <a:gd name="T16" fmla="*/ 829 w 1194"/>
                  <a:gd name="T17" fmla="*/ 767 h 1196"/>
                  <a:gd name="T18" fmla="*/ 881 w 1194"/>
                  <a:gd name="T19" fmla="*/ 644 h 1196"/>
                  <a:gd name="T20" fmla="*/ 870 w 1194"/>
                  <a:gd name="T21" fmla="*/ 507 h 1196"/>
                  <a:gd name="T22" fmla="*/ 800 w 1194"/>
                  <a:gd name="T23" fmla="*/ 394 h 1196"/>
                  <a:gd name="T24" fmla="*/ 689 w 1194"/>
                  <a:gd name="T25" fmla="*/ 324 h 1196"/>
                  <a:gd name="T26" fmla="*/ 513 w 1194"/>
                  <a:gd name="T27" fmla="*/ 0 h 1196"/>
                  <a:gd name="T28" fmla="*/ 726 w 1194"/>
                  <a:gd name="T29" fmla="*/ 11 h 1196"/>
                  <a:gd name="T30" fmla="*/ 766 w 1194"/>
                  <a:gd name="T31" fmla="*/ 64 h 1196"/>
                  <a:gd name="T32" fmla="*/ 820 w 1194"/>
                  <a:gd name="T33" fmla="*/ 131 h 1196"/>
                  <a:gd name="T34" fmla="*/ 876 w 1194"/>
                  <a:gd name="T35" fmla="*/ 93 h 1196"/>
                  <a:gd name="T36" fmla="*/ 941 w 1194"/>
                  <a:gd name="T37" fmla="*/ 101 h 1196"/>
                  <a:gd name="T38" fmla="*/ 1093 w 1194"/>
                  <a:gd name="T39" fmla="*/ 253 h 1196"/>
                  <a:gd name="T40" fmla="*/ 1102 w 1194"/>
                  <a:gd name="T41" fmla="*/ 319 h 1196"/>
                  <a:gd name="T42" fmla="*/ 1063 w 1194"/>
                  <a:gd name="T43" fmla="*/ 376 h 1196"/>
                  <a:gd name="T44" fmla="*/ 1130 w 1194"/>
                  <a:gd name="T45" fmla="*/ 429 h 1196"/>
                  <a:gd name="T46" fmla="*/ 1183 w 1194"/>
                  <a:gd name="T47" fmla="*/ 469 h 1196"/>
                  <a:gd name="T48" fmla="*/ 1194 w 1194"/>
                  <a:gd name="T49" fmla="*/ 682 h 1196"/>
                  <a:gd name="T50" fmla="*/ 1169 w 1194"/>
                  <a:gd name="T51" fmla="*/ 743 h 1196"/>
                  <a:gd name="T52" fmla="*/ 1106 w 1194"/>
                  <a:gd name="T53" fmla="*/ 770 h 1196"/>
                  <a:gd name="T54" fmla="*/ 1079 w 1194"/>
                  <a:gd name="T55" fmla="*/ 836 h 1196"/>
                  <a:gd name="T56" fmla="*/ 1104 w 1194"/>
                  <a:gd name="T57" fmla="*/ 899 h 1196"/>
                  <a:gd name="T58" fmla="*/ 1079 w 1194"/>
                  <a:gd name="T59" fmla="*/ 962 h 1196"/>
                  <a:gd name="T60" fmla="*/ 920 w 1194"/>
                  <a:gd name="T61" fmla="*/ 1103 h 1196"/>
                  <a:gd name="T62" fmla="*/ 854 w 1194"/>
                  <a:gd name="T63" fmla="*/ 1095 h 1196"/>
                  <a:gd name="T64" fmla="*/ 769 w 1194"/>
                  <a:gd name="T65" fmla="*/ 1085 h 1196"/>
                  <a:gd name="T66" fmla="*/ 757 w 1194"/>
                  <a:gd name="T67" fmla="*/ 1152 h 1196"/>
                  <a:gd name="T68" fmla="*/ 704 w 1194"/>
                  <a:gd name="T69" fmla="*/ 1192 h 1196"/>
                  <a:gd name="T70" fmla="*/ 490 w 1194"/>
                  <a:gd name="T71" fmla="*/ 1192 h 1196"/>
                  <a:gd name="T72" fmla="*/ 437 w 1194"/>
                  <a:gd name="T73" fmla="*/ 1152 h 1196"/>
                  <a:gd name="T74" fmla="*/ 426 w 1194"/>
                  <a:gd name="T75" fmla="*/ 1085 h 1196"/>
                  <a:gd name="T76" fmla="*/ 340 w 1194"/>
                  <a:gd name="T77" fmla="*/ 1095 h 1196"/>
                  <a:gd name="T78" fmla="*/ 274 w 1194"/>
                  <a:gd name="T79" fmla="*/ 1103 h 1196"/>
                  <a:gd name="T80" fmla="*/ 115 w 1194"/>
                  <a:gd name="T81" fmla="*/ 962 h 1196"/>
                  <a:gd name="T82" fmla="*/ 90 w 1194"/>
                  <a:gd name="T83" fmla="*/ 899 h 1196"/>
                  <a:gd name="T84" fmla="*/ 115 w 1194"/>
                  <a:gd name="T85" fmla="*/ 836 h 1196"/>
                  <a:gd name="T86" fmla="*/ 87 w 1194"/>
                  <a:gd name="T87" fmla="*/ 770 h 1196"/>
                  <a:gd name="T88" fmla="*/ 25 w 1194"/>
                  <a:gd name="T89" fmla="*/ 743 h 1196"/>
                  <a:gd name="T90" fmla="*/ 0 w 1194"/>
                  <a:gd name="T91" fmla="*/ 682 h 1196"/>
                  <a:gd name="T92" fmla="*/ 11 w 1194"/>
                  <a:gd name="T93" fmla="*/ 469 h 1196"/>
                  <a:gd name="T94" fmla="*/ 64 w 1194"/>
                  <a:gd name="T95" fmla="*/ 429 h 1196"/>
                  <a:gd name="T96" fmla="*/ 131 w 1194"/>
                  <a:gd name="T97" fmla="*/ 376 h 1196"/>
                  <a:gd name="T98" fmla="*/ 93 w 1194"/>
                  <a:gd name="T99" fmla="*/ 319 h 1196"/>
                  <a:gd name="T100" fmla="*/ 101 w 1194"/>
                  <a:gd name="T101" fmla="*/ 253 h 1196"/>
                  <a:gd name="T102" fmla="*/ 253 w 1194"/>
                  <a:gd name="T103" fmla="*/ 101 h 1196"/>
                  <a:gd name="T104" fmla="*/ 318 w 1194"/>
                  <a:gd name="T105" fmla="*/ 93 h 1196"/>
                  <a:gd name="T106" fmla="*/ 374 w 1194"/>
                  <a:gd name="T107" fmla="*/ 131 h 1196"/>
                  <a:gd name="T108" fmla="*/ 428 w 1194"/>
                  <a:gd name="T109" fmla="*/ 64 h 1196"/>
                  <a:gd name="T110" fmla="*/ 468 w 1194"/>
                  <a:gd name="T111" fmla="*/ 11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94" h="1196">
                    <a:moveTo>
                      <a:pt x="597" y="310"/>
                    </a:moveTo>
                    <a:lnTo>
                      <a:pt x="550" y="313"/>
                    </a:lnTo>
                    <a:lnTo>
                      <a:pt x="506" y="324"/>
                    </a:lnTo>
                    <a:lnTo>
                      <a:pt x="464" y="341"/>
                    </a:lnTo>
                    <a:lnTo>
                      <a:pt x="427" y="366"/>
                    </a:lnTo>
                    <a:lnTo>
                      <a:pt x="393" y="394"/>
                    </a:lnTo>
                    <a:lnTo>
                      <a:pt x="364" y="427"/>
                    </a:lnTo>
                    <a:lnTo>
                      <a:pt x="341" y="466"/>
                    </a:lnTo>
                    <a:lnTo>
                      <a:pt x="324" y="507"/>
                    </a:lnTo>
                    <a:lnTo>
                      <a:pt x="313" y="552"/>
                    </a:lnTo>
                    <a:lnTo>
                      <a:pt x="308" y="597"/>
                    </a:lnTo>
                    <a:lnTo>
                      <a:pt x="313" y="644"/>
                    </a:lnTo>
                    <a:lnTo>
                      <a:pt x="324" y="689"/>
                    </a:lnTo>
                    <a:lnTo>
                      <a:pt x="341" y="730"/>
                    </a:lnTo>
                    <a:lnTo>
                      <a:pt x="364" y="767"/>
                    </a:lnTo>
                    <a:lnTo>
                      <a:pt x="393" y="802"/>
                    </a:lnTo>
                    <a:lnTo>
                      <a:pt x="427" y="830"/>
                    </a:lnTo>
                    <a:lnTo>
                      <a:pt x="464" y="853"/>
                    </a:lnTo>
                    <a:lnTo>
                      <a:pt x="506" y="870"/>
                    </a:lnTo>
                    <a:lnTo>
                      <a:pt x="550" y="882"/>
                    </a:lnTo>
                    <a:lnTo>
                      <a:pt x="597" y="886"/>
                    </a:lnTo>
                    <a:lnTo>
                      <a:pt x="644" y="882"/>
                    </a:lnTo>
                    <a:lnTo>
                      <a:pt x="689" y="870"/>
                    </a:lnTo>
                    <a:lnTo>
                      <a:pt x="729" y="853"/>
                    </a:lnTo>
                    <a:lnTo>
                      <a:pt x="767" y="830"/>
                    </a:lnTo>
                    <a:lnTo>
                      <a:pt x="800" y="802"/>
                    </a:lnTo>
                    <a:lnTo>
                      <a:pt x="829" y="767"/>
                    </a:lnTo>
                    <a:lnTo>
                      <a:pt x="853" y="730"/>
                    </a:lnTo>
                    <a:lnTo>
                      <a:pt x="870" y="689"/>
                    </a:lnTo>
                    <a:lnTo>
                      <a:pt x="881" y="644"/>
                    </a:lnTo>
                    <a:lnTo>
                      <a:pt x="884" y="597"/>
                    </a:lnTo>
                    <a:lnTo>
                      <a:pt x="881" y="552"/>
                    </a:lnTo>
                    <a:lnTo>
                      <a:pt x="870" y="507"/>
                    </a:lnTo>
                    <a:lnTo>
                      <a:pt x="853" y="466"/>
                    </a:lnTo>
                    <a:lnTo>
                      <a:pt x="829" y="427"/>
                    </a:lnTo>
                    <a:lnTo>
                      <a:pt x="800" y="394"/>
                    </a:lnTo>
                    <a:lnTo>
                      <a:pt x="767" y="366"/>
                    </a:lnTo>
                    <a:lnTo>
                      <a:pt x="729" y="341"/>
                    </a:lnTo>
                    <a:lnTo>
                      <a:pt x="689" y="324"/>
                    </a:lnTo>
                    <a:lnTo>
                      <a:pt x="644" y="313"/>
                    </a:lnTo>
                    <a:lnTo>
                      <a:pt x="597" y="310"/>
                    </a:lnTo>
                    <a:close/>
                    <a:moveTo>
                      <a:pt x="513" y="0"/>
                    </a:moveTo>
                    <a:lnTo>
                      <a:pt x="681" y="0"/>
                    </a:lnTo>
                    <a:lnTo>
                      <a:pt x="704" y="3"/>
                    </a:lnTo>
                    <a:lnTo>
                      <a:pt x="726" y="11"/>
                    </a:lnTo>
                    <a:lnTo>
                      <a:pt x="743" y="26"/>
                    </a:lnTo>
                    <a:lnTo>
                      <a:pt x="757" y="43"/>
                    </a:lnTo>
                    <a:lnTo>
                      <a:pt x="766" y="64"/>
                    </a:lnTo>
                    <a:lnTo>
                      <a:pt x="769" y="88"/>
                    </a:lnTo>
                    <a:lnTo>
                      <a:pt x="769" y="111"/>
                    </a:lnTo>
                    <a:lnTo>
                      <a:pt x="820" y="131"/>
                    </a:lnTo>
                    <a:lnTo>
                      <a:pt x="836" y="116"/>
                    </a:lnTo>
                    <a:lnTo>
                      <a:pt x="854" y="101"/>
                    </a:lnTo>
                    <a:lnTo>
                      <a:pt x="876" y="93"/>
                    </a:lnTo>
                    <a:lnTo>
                      <a:pt x="899" y="90"/>
                    </a:lnTo>
                    <a:lnTo>
                      <a:pt x="920" y="93"/>
                    </a:lnTo>
                    <a:lnTo>
                      <a:pt x="941" y="101"/>
                    </a:lnTo>
                    <a:lnTo>
                      <a:pt x="960" y="116"/>
                    </a:lnTo>
                    <a:lnTo>
                      <a:pt x="1079" y="234"/>
                    </a:lnTo>
                    <a:lnTo>
                      <a:pt x="1093" y="253"/>
                    </a:lnTo>
                    <a:lnTo>
                      <a:pt x="1102" y="274"/>
                    </a:lnTo>
                    <a:lnTo>
                      <a:pt x="1104" y="297"/>
                    </a:lnTo>
                    <a:lnTo>
                      <a:pt x="1102" y="319"/>
                    </a:lnTo>
                    <a:lnTo>
                      <a:pt x="1093" y="340"/>
                    </a:lnTo>
                    <a:lnTo>
                      <a:pt x="1079" y="359"/>
                    </a:lnTo>
                    <a:lnTo>
                      <a:pt x="1063" y="376"/>
                    </a:lnTo>
                    <a:lnTo>
                      <a:pt x="1083" y="426"/>
                    </a:lnTo>
                    <a:lnTo>
                      <a:pt x="1106" y="426"/>
                    </a:lnTo>
                    <a:lnTo>
                      <a:pt x="1130" y="429"/>
                    </a:lnTo>
                    <a:lnTo>
                      <a:pt x="1152" y="437"/>
                    </a:lnTo>
                    <a:lnTo>
                      <a:pt x="1169" y="451"/>
                    </a:lnTo>
                    <a:lnTo>
                      <a:pt x="1183" y="469"/>
                    </a:lnTo>
                    <a:lnTo>
                      <a:pt x="1192" y="490"/>
                    </a:lnTo>
                    <a:lnTo>
                      <a:pt x="1194" y="514"/>
                    </a:lnTo>
                    <a:lnTo>
                      <a:pt x="1194" y="682"/>
                    </a:lnTo>
                    <a:lnTo>
                      <a:pt x="1192" y="704"/>
                    </a:lnTo>
                    <a:lnTo>
                      <a:pt x="1183" y="726"/>
                    </a:lnTo>
                    <a:lnTo>
                      <a:pt x="1169" y="743"/>
                    </a:lnTo>
                    <a:lnTo>
                      <a:pt x="1152" y="757"/>
                    </a:lnTo>
                    <a:lnTo>
                      <a:pt x="1130" y="766"/>
                    </a:lnTo>
                    <a:lnTo>
                      <a:pt x="1106" y="770"/>
                    </a:lnTo>
                    <a:lnTo>
                      <a:pt x="1083" y="770"/>
                    </a:lnTo>
                    <a:lnTo>
                      <a:pt x="1063" y="820"/>
                    </a:lnTo>
                    <a:lnTo>
                      <a:pt x="1079" y="836"/>
                    </a:lnTo>
                    <a:lnTo>
                      <a:pt x="1093" y="854"/>
                    </a:lnTo>
                    <a:lnTo>
                      <a:pt x="1102" y="876"/>
                    </a:lnTo>
                    <a:lnTo>
                      <a:pt x="1104" y="899"/>
                    </a:lnTo>
                    <a:lnTo>
                      <a:pt x="1102" y="922"/>
                    </a:lnTo>
                    <a:lnTo>
                      <a:pt x="1093" y="942"/>
                    </a:lnTo>
                    <a:lnTo>
                      <a:pt x="1079" y="962"/>
                    </a:lnTo>
                    <a:lnTo>
                      <a:pt x="960" y="1079"/>
                    </a:lnTo>
                    <a:lnTo>
                      <a:pt x="941" y="1095"/>
                    </a:lnTo>
                    <a:lnTo>
                      <a:pt x="920" y="1103"/>
                    </a:lnTo>
                    <a:lnTo>
                      <a:pt x="899" y="1106"/>
                    </a:lnTo>
                    <a:lnTo>
                      <a:pt x="876" y="1103"/>
                    </a:lnTo>
                    <a:lnTo>
                      <a:pt x="854" y="1095"/>
                    </a:lnTo>
                    <a:lnTo>
                      <a:pt x="836" y="1079"/>
                    </a:lnTo>
                    <a:lnTo>
                      <a:pt x="820" y="1063"/>
                    </a:lnTo>
                    <a:lnTo>
                      <a:pt x="769" y="1085"/>
                    </a:lnTo>
                    <a:lnTo>
                      <a:pt x="769" y="1107"/>
                    </a:lnTo>
                    <a:lnTo>
                      <a:pt x="766" y="1130"/>
                    </a:lnTo>
                    <a:lnTo>
                      <a:pt x="757" y="1152"/>
                    </a:lnTo>
                    <a:lnTo>
                      <a:pt x="743" y="1169"/>
                    </a:lnTo>
                    <a:lnTo>
                      <a:pt x="726" y="1183"/>
                    </a:lnTo>
                    <a:lnTo>
                      <a:pt x="704" y="1192"/>
                    </a:lnTo>
                    <a:lnTo>
                      <a:pt x="681" y="1196"/>
                    </a:lnTo>
                    <a:lnTo>
                      <a:pt x="513" y="1196"/>
                    </a:lnTo>
                    <a:lnTo>
                      <a:pt x="490" y="1192"/>
                    </a:lnTo>
                    <a:lnTo>
                      <a:pt x="468" y="1183"/>
                    </a:lnTo>
                    <a:lnTo>
                      <a:pt x="451" y="1169"/>
                    </a:lnTo>
                    <a:lnTo>
                      <a:pt x="437" y="1152"/>
                    </a:lnTo>
                    <a:lnTo>
                      <a:pt x="428" y="1130"/>
                    </a:lnTo>
                    <a:lnTo>
                      <a:pt x="426" y="1107"/>
                    </a:lnTo>
                    <a:lnTo>
                      <a:pt x="426" y="1085"/>
                    </a:lnTo>
                    <a:lnTo>
                      <a:pt x="374" y="1063"/>
                    </a:lnTo>
                    <a:lnTo>
                      <a:pt x="358" y="1079"/>
                    </a:lnTo>
                    <a:lnTo>
                      <a:pt x="340" y="1095"/>
                    </a:lnTo>
                    <a:lnTo>
                      <a:pt x="318" y="1103"/>
                    </a:lnTo>
                    <a:lnTo>
                      <a:pt x="296" y="1106"/>
                    </a:lnTo>
                    <a:lnTo>
                      <a:pt x="274" y="1103"/>
                    </a:lnTo>
                    <a:lnTo>
                      <a:pt x="253" y="1095"/>
                    </a:lnTo>
                    <a:lnTo>
                      <a:pt x="234" y="1079"/>
                    </a:lnTo>
                    <a:lnTo>
                      <a:pt x="115" y="962"/>
                    </a:lnTo>
                    <a:lnTo>
                      <a:pt x="101" y="942"/>
                    </a:lnTo>
                    <a:lnTo>
                      <a:pt x="93" y="922"/>
                    </a:lnTo>
                    <a:lnTo>
                      <a:pt x="90" y="899"/>
                    </a:lnTo>
                    <a:lnTo>
                      <a:pt x="93" y="876"/>
                    </a:lnTo>
                    <a:lnTo>
                      <a:pt x="101" y="854"/>
                    </a:lnTo>
                    <a:lnTo>
                      <a:pt x="115" y="836"/>
                    </a:lnTo>
                    <a:lnTo>
                      <a:pt x="131" y="820"/>
                    </a:lnTo>
                    <a:lnTo>
                      <a:pt x="110" y="770"/>
                    </a:lnTo>
                    <a:lnTo>
                      <a:pt x="87" y="770"/>
                    </a:lnTo>
                    <a:lnTo>
                      <a:pt x="64" y="766"/>
                    </a:lnTo>
                    <a:lnTo>
                      <a:pt x="43" y="757"/>
                    </a:lnTo>
                    <a:lnTo>
                      <a:pt x="25" y="743"/>
                    </a:lnTo>
                    <a:lnTo>
                      <a:pt x="11" y="726"/>
                    </a:lnTo>
                    <a:lnTo>
                      <a:pt x="3" y="704"/>
                    </a:lnTo>
                    <a:lnTo>
                      <a:pt x="0" y="682"/>
                    </a:lnTo>
                    <a:lnTo>
                      <a:pt x="0" y="514"/>
                    </a:lnTo>
                    <a:lnTo>
                      <a:pt x="3" y="490"/>
                    </a:lnTo>
                    <a:lnTo>
                      <a:pt x="11" y="469"/>
                    </a:lnTo>
                    <a:lnTo>
                      <a:pt x="25" y="451"/>
                    </a:lnTo>
                    <a:lnTo>
                      <a:pt x="43" y="437"/>
                    </a:lnTo>
                    <a:lnTo>
                      <a:pt x="64" y="429"/>
                    </a:lnTo>
                    <a:lnTo>
                      <a:pt x="87" y="426"/>
                    </a:lnTo>
                    <a:lnTo>
                      <a:pt x="110" y="426"/>
                    </a:lnTo>
                    <a:lnTo>
                      <a:pt x="131" y="376"/>
                    </a:lnTo>
                    <a:lnTo>
                      <a:pt x="115" y="359"/>
                    </a:lnTo>
                    <a:lnTo>
                      <a:pt x="101" y="340"/>
                    </a:lnTo>
                    <a:lnTo>
                      <a:pt x="93" y="319"/>
                    </a:lnTo>
                    <a:lnTo>
                      <a:pt x="90" y="297"/>
                    </a:lnTo>
                    <a:lnTo>
                      <a:pt x="93" y="274"/>
                    </a:lnTo>
                    <a:lnTo>
                      <a:pt x="101" y="253"/>
                    </a:lnTo>
                    <a:lnTo>
                      <a:pt x="115" y="234"/>
                    </a:lnTo>
                    <a:lnTo>
                      <a:pt x="234" y="116"/>
                    </a:lnTo>
                    <a:lnTo>
                      <a:pt x="253" y="101"/>
                    </a:lnTo>
                    <a:lnTo>
                      <a:pt x="274" y="93"/>
                    </a:lnTo>
                    <a:lnTo>
                      <a:pt x="296" y="90"/>
                    </a:lnTo>
                    <a:lnTo>
                      <a:pt x="318" y="93"/>
                    </a:lnTo>
                    <a:lnTo>
                      <a:pt x="340" y="101"/>
                    </a:lnTo>
                    <a:lnTo>
                      <a:pt x="358" y="116"/>
                    </a:lnTo>
                    <a:lnTo>
                      <a:pt x="374" y="131"/>
                    </a:lnTo>
                    <a:lnTo>
                      <a:pt x="426" y="111"/>
                    </a:lnTo>
                    <a:lnTo>
                      <a:pt x="426" y="88"/>
                    </a:lnTo>
                    <a:lnTo>
                      <a:pt x="428" y="64"/>
                    </a:lnTo>
                    <a:lnTo>
                      <a:pt x="437" y="43"/>
                    </a:lnTo>
                    <a:lnTo>
                      <a:pt x="451" y="26"/>
                    </a:lnTo>
                    <a:lnTo>
                      <a:pt x="468" y="11"/>
                    </a:lnTo>
                    <a:lnTo>
                      <a:pt x="490" y="3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5" name="Group 4"/>
          <p:cNvGrpSpPr/>
          <p:nvPr/>
        </p:nvGrpSpPr>
        <p:grpSpPr>
          <a:xfrm>
            <a:off x="147993" y="5948609"/>
            <a:ext cx="727877" cy="579853"/>
            <a:chOff x="147993" y="5948609"/>
            <a:chExt cx="727877" cy="579853"/>
          </a:xfrm>
        </p:grpSpPr>
        <p:sp>
          <p:nvSpPr>
            <p:cNvPr id="275" name="Rectangle 17"/>
            <p:cNvSpPr>
              <a:spLocks/>
            </p:cNvSpPr>
            <p:nvPr/>
          </p:nvSpPr>
          <p:spPr bwMode="auto">
            <a:xfrm>
              <a:off x="147993" y="6282241"/>
              <a:ext cx="72787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нешние данные</a:t>
              </a:r>
            </a:p>
          </p:txBody>
        </p:sp>
        <p:grpSp>
          <p:nvGrpSpPr>
            <p:cNvPr id="276" name="Group 201"/>
            <p:cNvGrpSpPr>
              <a:grpSpLocks noChangeAspect="1"/>
            </p:cNvGrpSpPr>
            <p:nvPr/>
          </p:nvGrpSpPr>
          <p:grpSpPr bwMode="auto">
            <a:xfrm>
              <a:off x="417906" y="5948609"/>
              <a:ext cx="202275" cy="226804"/>
              <a:chOff x="4176" y="3243"/>
              <a:chExt cx="602" cy="675"/>
            </a:xfrm>
            <a:solidFill>
              <a:schemeClr val="bg1"/>
            </a:solidFill>
          </p:grpSpPr>
          <p:sp>
            <p:nvSpPr>
              <p:cNvPr id="277" name="Freeform 203"/>
              <p:cNvSpPr>
                <a:spLocks/>
              </p:cNvSpPr>
              <p:nvPr/>
            </p:nvSpPr>
            <p:spPr bwMode="auto">
              <a:xfrm>
                <a:off x="4184" y="3243"/>
                <a:ext cx="594" cy="675"/>
              </a:xfrm>
              <a:custGeom>
                <a:avLst/>
                <a:gdLst>
                  <a:gd name="T0" fmla="*/ 2818 w 2971"/>
                  <a:gd name="T1" fmla="*/ 0 h 3374"/>
                  <a:gd name="T2" fmla="*/ 2877 w 2971"/>
                  <a:gd name="T3" fmla="*/ 12 h 3374"/>
                  <a:gd name="T4" fmla="*/ 2926 w 2971"/>
                  <a:gd name="T5" fmla="*/ 45 h 3374"/>
                  <a:gd name="T6" fmla="*/ 2958 w 2971"/>
                  <a:gd name="T7" fmla="*/ 93 h 3374"/>
                  <a:gd name="T8" fmla="*/ 2971 w 2971"/>
                  <a:gd name="T9" fmla="*/ 154 h 3374"/>
                  <a:gd name="T10" fmla="*/ 2960 w 2971"/>
                  <a:gd name="T11" fmla="*/ 207 h 3374"/>
                  <a:gd name="T12" fmla="*/ 2934 w 2971"/>
                  <a:gd name="T13" fmla="*/ 252 h 3374"/>
                  <a:gd name="T14" fmla="*/ 2894 w 2971"/>
                  <a:gd name="T15" fmla="*/ 285 h 3374"/>
                  <a:gd name="T16" fmla="*/ 2892 w 2971"/>
                  <a:gd name="T17" fmla="*/ 2091 h 3374"/>
                  <a:gd name="T18" fmla="*/ 2872 w 2971"/>
                  <a:gd name="T19" fmla="*/ 2124 h 3374"/>
                  <a:gd name="T20" fmla="*/ 2838 w 2971"/>
                  <a:gd name="T21" fmla="*/ 2145 h 3374"/>
                  <a:gd name="T22" fmla="*/ 2197 w 2971"/>
                  <a:gd name="T23" fmla="*/ 2147 h 3374"/>
                  <a:gd name="T24" fmla="*/ 2475 w 2971"/>
                  <a:gd name="T25" fmla="*/ 3208 h 3374"/>
                  <a:gd name="T26" fmla="*/ 2469 w 2971"/>
                  <a:gd name="T27" fmla="*/ 3261 h 3374"/>
                  <a:gd name="T28" fmla="*/ 2448 w 2971"/>
                  <a:gd name="T29" fmla="*/ 3309 h 3374"/>
                  <a:gd name="T30" fmla="*/ 2411 w 2971"/>
                  <a:gd name="T31" fmla="*/ 3346 h 3374"/>
                  <a:gd name="T32" fmla="*/ 2362 w 2971"/>
                  <a:gd name="T33" fmla="*/ 3370 h 3374"/>
                  <a:gd name="T34" fmla="*/ 2323 w 2971"/>
                  <a:gd name="T35" fmla="*/ 3374 h 3374"/>
                  <a:gd name="T36" fmla="*/ 2267 w 2971"/>
                  <a:gd name="T37" fmla="*/ 3363 h 3374"/>
                  <a:gd name="T38" fmla="*/ 2220 w 2971"/>
                  <a:gd name="T39" fmla="*/ 3334 h 3374"/>
                  <a:gd name="T40" fmla="*/ 2186 w 2971"/>
                  <a:gd name="T41" fmla="*/ 3288 h 3374"/>
                  <a:gd name="T42" fmla="*/ 1902 w 2971"/>
                  <a:gd name="T43" fmla="*/ 2224 h 3374"/>
                  <a:gd name="T44" fmla="*/ 794 w 2971"/>
                  <a:gd name="T45" fmla="*/ 3260 h 3374"/>
                  <a:gd name="T46" fmla="*/ 771 w 2971"/>
                  <a:gd name="T47" fmla="*/ 3309 h 3374"/>
                  <a:gd name="T48" fmla="*/ 734 w 2971"/>
                  <a:gd name="T49" fmla="*/ 3346 h 3374"/>
                  <a:gd name="T50" fmla="*/ 687 w 2971"/>
                  <a:gd name="T51" fmla="*/ 3369 h 3374"/>
                  <a:gd name="T52" fmla="*/ 635 w 2971"/>
                  <a:gd name="T53" fmla="*/ 3374 h 3374"/>
                  <a:gd name="T54" fmla="*/ 581 w 2971"/>
                  <a:gd name="T55" fmla="*/ 3360 h 3374"/>
                  <a:gd name="T56" fmla="*/ 538 w 2971"/>
                  <a:gd name="T57" fmla="*/ 3329 h 3374"/>
                  <a:gd name="T58" fmla="*/ 509 w 2971"/>
                  <a:gd name="T59" fmla="*/ 3286 h 3374"/>
                  <a:gd name="T60" fmla="*/ 495 w 2971"/>
                  <a:gd name="T61" fmla="*/ 3236 h 3374"/>
                  <a:gd name="T62" fmla="*/ 500 w 2971"/>
                  <a:gd name="T63" fmla="*/ 3181 h 3374"/>
                  <a:gd name="T64" fmla="*/ 639 w 2971"/>
                  <a:gd name="T65" fmla="*/ 2147 h 3374"/>
                  <a:gd name="T66" fmla="*/ 729 w 2971"/>
                  <a:gd name="T67" fmla="*/ 2048 h 3374"/>
                  <a:gd name="T68" fmla="*/ 2742 w 2971"/>
                  <a:gd name="T69" fmla="*/ 1994 h 3374"/>
                  <a:gd name="T70" fmla="*/ 227 w 2971"/>
                  <a:gd name="T71" fmla="*/ 307 h 3374"/>
                  <a:gd name="T72" fmla="*/ 184 w 2971"/>
                  <a:gd name="T73" fmla="*/ 1953 h 3374"/>
                  <a:gd name="T74" fmla="*/ 108 w 2971"/>
                  <a:gd name="T75" fmla="*/ 2023 h 3374"/>
                  <a:gd name="T76" fmla="*/ 76 w 2971"/>
                  <a:gd name="T77" fmla="*/ 285 h 3374"/>
                  <a:gd name="T78" fmla="*/ 36 w 2971"/>
                  <a:gd name="T79" fmla="*/ 252 h 3374"/>
                  <a:gd name="T80" fmla="*/ 9 w 2971"/>
                  <a:gd name="T81" fmla="*/ 207 h 3374"/>
                  <a:gd name="T82" fmla="*/ 0 w 2971"/>
                  <a:gd name="T83" fmla="*/ 154 h 3374"/>
                  <a:gd name="T84" fmla="*/ 12 w 2971"/>
                  <a:gd name="T85" fmla="*/ 93 h 3374"/>
                  <a:gd name="T86" fmla="*/ 44 w 2971"/>
                  <a:gd name="T87" fmla="*/ 45 h 3374"/>
                  <a:gd name="T88" fmla="*/ 93 w 2971"/>
                  <a:gd name="T89" fmla="*/ 12 h 3374"/>
                  <a:gd name="T90" fmla="*/ 152 w 2971"/>
                  <a:gd name="T91" fmla="*/ 0 h 3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1" h="3374">
                    <a:moveTo>
                      <a:pt x="152" y="0"/>
                    </a:moveTo>
                    <a:lnTo>
                      <a:pt x="2818" y="0"/>
                    </a:lnTo>
                    <a:lnTo>
                      <a:pt x="2849" y="3"/>
                    </a:lnTo>
                    <a:lnTo>
                      <a:pt x="2877" y="12"/>
                    </a:lnTo>
                    <a:lnTo>
                      <a:pt x="2904" y="27"/>
                    </a:lnTo>
                    <a:lnTo>
                      <a:pt x="2926" y="45"/>
                    </a:lnTo>
                    <a:lnTo>
                      <a:pt x="2945" y="68"/>
                    </a:lnTo>
                    <a:lnTo>
                      <a:pt x="2958" y="93"/>
                    </a:lnTo>
                    <a:lnTo>
                      <a:pt x="2968" y="123"/>
                    </a:lnTo>
                    <a:lnTo>
                      <a:pt x="2971" y="154"/>
                    </a:lnTo>
                    <a:lnTo>
                      <a:pt x="2968" y="181"/>
                    </a:lnTo>
                    <a:lnTo>
                      <a:pt x="2960" y="207"/>
                    </a:lnTo>
                    <a:lnTo>
                      <a:pt x="2950" y="231"/>
                    </a:lnTo>
                    <a:lnTo>
                      <a:pt x="2934" y="252"/>
                    </a:lnTo>
                    <a:lnTo>
                      <a:pt x="2916" y="271"/>
                    </a:lnTo>
                    <a:lnTo>
                      <a:pt x="2894" y="285"/>
                    </a:lnTo>
                    <a:lnTo>
                      <a:pt x="2894" y="2070"/>
                    </a:lnTo>
                    <a:lnTo>
                      <a:pt x="2892" y="2091"/>
                    </a:lnTo>
                    <a:lnTo>
                      <a:pt x="2883" y="2110"/>
                    </a:lnTo>
                    <a:lnTo>
                      <a:pt x="2872" y="2124"/>
                    </a:lnTo>
                    <a:lnTo>
                      <a:pt x="2856" y="2137"/>
                    </a:lnTo>
                    <a:lnTo>
                      <a:pt x="2838" y="2145"/>
                    </a:lnTo>
                    <a:lnTo>
                      <a:pt x="2818" y="2147"/>
                    </a:lnTo>
                    <a:lnTo>
                      <a:pt x="2197" y="2147"/>
                    </a:lnTo>
                    <a:lnTo>
                      <a:pt x="2470" y="3181"/>
                    </a:lnTo>
                    <a:lnTo>
                      <a:pt x="2475" y="3208"/>
                    </a:lnTo>
                    <a:lnTo>
                      <a:pt x="2475" y="3235"/>
                    </a:lnTo>
                    <a:lnTo>
                      <a:pt x="2469" y="3261"/>
                    </a:lnTo>
                    <a:lnTo>
                      <a:pt x="2461" y="3286"/>
                    </a:lnTo>
                    <a:lnTo>
                      <a:pt x="2448" y="3309"/>
                    </a:lnTo>
                    <a:lnTo>
                      <a:pt x="2432" y="3329"/>
                    </a:lnTo>
                    <a:lnTo>
                      <a:pt x="2411" y="3346"/>
                    </a:lnTo>
                    <a:lnTo>
                      <a:pt x="2388" y="3360"/>
                    </a:lnTo>
                    <a:lnTo>
                      <a:pt x="2362" y="3370"/>
                    </a:lnTo>
                    <a:lnTo>
                      <a:pt x="2343" y="3373"/>
                    </a:lnTo>
                    <a:lnTo>
                      <a:pt x="2323" y="3374"/>
                    </a:lnTo>
                    <a:lnTo>
                      <a:pt x="2295" y="3372"/>
                    </a:lnTo>
                    <a:lnTo>
                      <a:pt x="2267" y="3363"/>
                    </a:lnTo>
                    <a:lnTo>
                      <a:pt x="2243" y="3351"/>
                    </a:lnTo>
                    <a:lnTo>
                      <a:pt x="2220" y="3334"/>
                    </a:lnTo>
                    <a:lnTo>
                      <a:pt x="2201" y="3313"/>
                    </a:lnTo>
                    <a:lnTo>
                      <a:pt x="2186" y="3288"/>
                    </a:lnTo>
                    <a:lnTo>
                      <a:pt x="2176" y="3260"/>
                    </a:lnTo>
                    <a:lnTo>
                      <a:pt x="1902" y="2224"/>
                    </a:lnTo>
                    <a:lnTo>
                      <a:pt x="1069" y="2224"/>
                    </a:lnTo>
                    <a:lnTo>
                      <a:pt x="794" y="3260"/>
                    </a:lnTo>
                    <a:lnTo>
                      <a:pt x="785" y="3287"/>
                    </a:lnTo>
                    <a:lnTo>
                      <a:pt x="771" y="3309"/>
                    </a:lnTo>
                    <a:lnTo>
                      <a:pt x="754" y="3329"/>
                    </a:lnTo>
                    <a:lnTo>
                      <a:pt x="734" y="3346"/>
                    </a:lnTo>
                    <a:lnTo>
                      <a:pt x="712" y="3360"/>
                    </a:lnTo>
                    <a:lnTo>
                      <a:pt x="687" y="3369"/>
                    </a:lnTo>
                    <a:lnTo>
                      <a:pt x="662" y="3374"/>
                    </a:lnTo>
                    <a:lnTo>
                      <a:pt x="635" y="3374"/>
                    </a:lnTo>
                    <a:lnTo>
                      <a:pt x="608" y="3370"/>
                    </a:lnTo>
                    <a:lnTo>
                      <a:pt x="581" y="3360"/>
                    </a:lnTo>
                    <a:lnTo>
                      <a:pt x="558" y="3346"/>
                    </a:lnTo>
                    <a:lnTo>
                      <a:pt x="538" y="3329"/>
                    </a:lnTo>
                    <a:lnTo>
                      <a:pt x="522" y="3309"/>
                    </a:lnTo>
                    <a:lnTo>
                      <a:pt x="509" y="3286"/>
                    </a:lnTo>
                    <a:lnTo>
                      <a:pt x="500" y="3261"/>
                    </a:lnTo>
                    <a:lnTo>
                      <a:pt x="495" y="3236"/>
                    </a:lnTo>
                    <a:lnTo>
                      <a:pt x="495" y="3208"/>
                    </a:lnTo>
                    <a:lnTo>
                      <a:pt x="500" y="3181"/>
                    </a:lnTo>
                    <a:lnTo>
                      <a:pt x="773" y="2147"/>
                    </a:lnTo>
                    <a:lnTo>
                      <a:pt x="639" y="2147"/>
                    </a:lnTo>
                    <a:lnTo>
                      <a:pt x="683" y="2099"/>
                    </a:lnTo>
                    <a:lnTo>
                      <a:pt x="729" y="2048"/>
                    </a:lnTo>
                    <a:lnTo>
                      <a:pt x="778" y="1994"/>
                    </a:lnTo>
                    <a:lnTo>
                      <a:pt x="2742" y="1994"/>
                    </a:lnTo>
                    <a:lnTo>
                      <a:pt x="2742" y="307"/>
                    </a:lnTo>
                    <a:lnTo>
                      <a:pt x="227" y="307"/>
                    </a:lnTo>
                    <a:lnTo>
                      <a:pt x="227" y="1912"/>
                    </a:lnTo>
                    <a:lnTo>
                      <a:pt x="184" y="1953"/>
                    </a:lnTo>
                    <a:lnTo>
                      <a:pt x="144" y="1989"/>
                    </a:lnTo>
                    <a:lnTo>
                      <a:pt x="108" y="2023"/>
                    </a:lnTo>
                    <a:lnTo>
                      <a:pt x="76" y="2052"/>
                    </a:lnTo>
                    <a:lnTo>
                      <a:pt x="76" y="285"/>
                    </a:lnTo>
                    <a:lnTo>
                      <a:pt x="55" y="271"/>
                    </a:lnTo>
                    <a:lnTo>
                      <a:pt x="36" y="252"/>
                    </a:lnTo>
                    <a:lnTo>
                      <a:pt x="21" y="231"/>
                    </a:lnTo>
                    <a:lnTo>
                      <a:pt x="9" y="207"/>
                    </a:lnTo>
                    <a:lnTo>
                      <a:pt x="2" y="181"/>
                    </a:lnTo>
                    <a:lnTo>
                      <a:pt x="0" y="154"/>
                    </a:lnTo>
                    <a:lnTo>
                      <a:pt x="3" y="123"/>
                    </a:lnTo>
                    <a:lnTo>
                      <a:pt x="12" y="93"/>
                    </a:lnTo>
                    <a:lnTo>
                      <a:pt x="25" y="68"/>
                    </a:lnTo>
                    <a:lnTo>
                      <a:pt x="44" y="45"/>
                    </a:lnTo>
                    <a:lnTo>
                      <a:pt x="66" y="27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78" name="Freeform 204"/>
              <p:cNvSpPr>
                <a:spLocks/>
              </p:cNvSpPr>
              <p:nvPr/>
            </p:nvSpPr>
            <p:spPr bwMode="auto">
              <a:xfrm>
                <a:off x="4443" y="3439"/>
                <a:ext cx="60" cy="176"/>
              </a:xfrm>
              <a:custGeom>
                <a:avLst/>
                <a:gdLst>
                  <a:gd name="T0" fmla="*/ 153 w 304"/>
                  <a:gd name="T1" fmla="*/ 0 h 881"/>
                  <a:gd name="T2" fmla="*/ 183 w 304"/>
                  <a:gd name="T3" fmla="*/ 3 h 881"/>
                  <a:gd name="T4" fmla="*/ 211 w 304"/>
                  <a:gd name="T5" fmla="*/ 12 h 881"/>
                  <a:gd name="T6" fmla="*/ 237 w 304"/>
                  <a:gd name="T7" fmla="*/ 25 h 881"/>
                  <a:gd name="T8" fmla="*/ 260 w 304"/>
                  <a:gd name="T9" fmla="*/ 44 h 881"/>
                  <a:gd name="T10" fmla="*/ 278 w 304"/>
                  <a:gd name="T11" fmla="*/ 68 h 881"/>
                  <a:gd name="T12" fmla="*/ 293 w 304"/>
                  <a:gd name="T13" fmla="*/ 93 h 881"/>
                  <a:gd name="T14" fmla="*/ 301 w 304"/>
                  <a:gd name="T15" fmla="*/ 122 h 881"/>
                  <a:gd name="T16" fmla="*/ 304 w 304"/>
                  <a:gd name="T17" fmla="*/ 154 h 881"/>
                  <a:gd name="T18" fmla="*/ 304 w 304"/>
                  <a:gd name="T19" fmla="*/ 729 h 881"/>
                  <a:gd name="T20" fmla="*/ 301 w 304"/>
                  <a:gd name="T21" fmla="*/ 759 h 881"/>
                  <a:gd name="T22" fmla="*/ 293 w 304"/>
                  <a:gd name="T23" fmla="*/ 788 h 881"/>
                  <a:gd name="T24" fmla="*/ 278 w 304"/>
                  <a:gd name="T25" fmla="*/ 814 h 881"/>
                  <a:gd name="T26" fmla="*/ 260 w 304"/>
                  <a:gd name="T27" fmla="*/ 837 h 881"/>
                  <a:gd name="T28" fmla="*/ 237 w 304"/>
                  <a:gd name="T29" fmla="*/ 856 h 881"/>
                  <a:gd name="T30" fmla="*/ 211 w 304"/>
                  <a:gd name="T31" fmla="*/ 870 h 881"/>
                  <a:gd name="T32" fmla="*/ 183 w 304"/>
                  <a:gd name="T33" fmla="*/ 878 h 881"/>
                  <a:gd name="T34" fmla="*/ 153 w 304"/>
                  <a:gd name="T35" fmla="*/ 881 h 881"/>
                  <a:gd name="T36" fmla="*/ 121 w 304"/>
                  <a:gd name="T37" fmla="*/ 878 h 881"/>
                  <a:gd name="T38" fmla="*/ 92 w 304"/>
                  <a:gd name="T39" fmla="*/ 870 h 881"/>
                  <a:gd name="T40" fmla="*/ 67 w 304"/>
                  <a:gd name="T41" fmla="*/ 856 h 881"/>
                  <a:gd name="T42" fmla="*/ 44 w 304"/>
                  <a:gd name="T43" fmla="*/ 837 h 881"/>
                  <a:gd name="T44" fmla="*/ 26 w 304"/>
                  <a:gd name="T45" fmla="*/ 814 h 881"/>
                  <a:gd name="T46" fmla="*/ 11 w 304"/>
                  <a:gd name="T47" fmla="*/ 788 h 881"/>
                  <a:gd name="T48" fmla="*/ 3 w 304"/>
                  <a:gd name="T49" fmla="*/ 759 h 881"/>
                  <a:gd name="T50" fmla="*/ 0 w 304"/>
                  <a:gd name="T51" fmla="*/ 729 h 881"/>
                  <a:gd name="T52" fmla="*/ 0 w 304"/>
                  <a:gd name="T53" fmla="*/ 154 h 881"/>
                  <a:gd name="T54" fmla="*/ 3 w 304"/>
                  <a:gd name="T55" fmla="*/ 122 h 881"/>
                  <a:gd name="T56" fmla="*/ 11 w 304"/>
                  <a:gd name="T57" fmla="*/ 93 h 881"/>
                  <a:gd name="T58" fmla="*/ 26 w 304"/>
                  <a:gd name="T59" fmla="*/ 68 h 881"/>
                  <a:gd name="T60" fmla="*/ 44 w 304"/>
                  <a:gd name="T61" fmla="*/ 44 h 881"/>
                  <a:gd name="T62" fmla="*/ 67 w 304"/>
                  <a:gd name="T63" fmla="*/ 25 h 881"/>
                  <a:gd name="T64" fmla="*/ 92 w 304"/>
                  <a:gd name="T65" fmla="*/ 12 h 881"/>
                  <a:gd name="T66" fmla="*/ 121 w 304"/>
                  <a:gd name="T67" fmla="*/ 3 h 881"/>
                  <a:gd name="T68" fmla="*/ 153 w 304"/>
                  <a:gd name="T69" fmla="*/ 0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881">
                    <a:moveTo>
                      <a:pt x="153" y="0"/>
                    </a:moveTo>
                    <a:lnTo>
                      <a:pt x="183" y="3"/>
                    </a:lnTo>
                    <a:lnTo>
                      <a:pt x="211" y="12"/>
                    </a:lnTo>
                    <a:lnTo>
                      <a:pt x="237" y="25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4" y="154"/>
                    </a:lnTo>
                    <a:lnTo>
                      <a:pt x="304" y="729"/>
                    </a:lnTo>
                    <a:lnTo>
                      <a:pt x="301" y="759"/>
                    </a:lnTo>
                    <a:lnTo>
                      <a:pt x="293" y="788"/>
                    </a:lnTo>
                    <a:lnTo>
                      <a:pt x="278" y="814"/>
                    </a:lnTo>
                    <a:lnTo>
                      <a:pt x="260" y="837"/>
                    </a:lnTo>
                    <a:lnTo>
                      <a:pt x="237" y="856"/>
                    </a:lnTo>
                    <a:lnTo>
                      <a:pt x="211" y="870"/>
                    </a:lnTo>
                    <a:lnTo>
                      <a:pt x="183" y="878"/>
                    </a:lnTo>
                    <a:lnTo>
                      <a:pt x="153" y="881"/>
                    </a:lnTo>
                    <a:lnTo>
                      <a:pt x="121" y="878"/>
                    </a:lnTo>
                    <a:lnTo>
                      <a:pt x="92" y="870"/>
                    </a:lnTo>
                    <a:lnTo>
                      <a:pt x="67" y="856"/>
                    </a:lnTo>
                    <a:lnTo>
                      <a:pt x="44" y="837"/>
                    </a:lnTo>
                    <a:lnTo>
                      <a:pt x="26" y="814"/>
                    </a:lnTo>
                    <a:lnTo>
                      <a:pt x="11" y="788"/>
                    </a:lnTo>
                    <a:lnTo>
                      <a:pt x="3" y="759"/>
                    </a:lnTo>
                    <a:lnTo>
                      <a:pt x="0" y="729"/>
                    </a:lnTo>
                    <a:lnTo>
                      <a:pt x="0" y="154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5"/>
                    </a:lnTo>
                    <a:lnTo>
                      <a:pt x="92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79" name="Freeform 205"/>
              <p:cNvSpPr>
                <a:spLocks/>
              </p:cNvSpPr>
              <p:nvPr/>
            </p:nvSpPr>
            <p:spPr bwMode="auto">
              <a:xfrm>
                <a:off x="4542" y="3331"/>
                <a:ext cx="60" cy="284"/>
              </a:xfrm>
              <a:custGeom>
                <a:avLst/>
                <a:gdLst>
                  <a:gd name="T0" fmla="*/ 153 w 304"/>
                  <a:gd name="T1" fmla="*/ 0 h 1418"/>
                  <a:gd name="T2" fmla="*/ 183 w 304"/>
                  <a:gd name="T3" fmla="*/ 3 h 1418"/>
                  <a:gd name="T4" fmla="*/ 212 w 304"/>
                  <a:gd name="T5" fmla="*/ 12 h 1418"/>
                  <a:gd name="T6" fmla="*/ 237 w 304"/>
                  <a:gd name="T7" fmla="*/ 26 h 1418"/>
                  <a:gd name="T8" fmla="*/ 260 w 304"/>
                  <a:gd name="T9" fmla="*/ 45 h 1418"/>
                  <a:gd name="T10" fmla="*/ 278 w 304"/>
                  <a:gd name="T11" fmla="*/ 67 h 1418"/>
                  <a:gd name="T12" fmla="*/ 293 w 304"/>
                  <a:gd name="T13" fmla="*/ 94 h 1418"/>
                  <a:gd name="T14" fmla="*/ 301 w 304"/>
                  <a:gd name="T15" fmla="*/ 122 h 1418"/>
                  <a:gd name="T16" fmla="*/ 304 w 304"/>
                  <a:gd name="T17" fmla="*/ 153 h 1418"/>
                  <a:gd name="T18" fmla="*/ 304 w 304"/>
                  <a:gd name="T19" fmla="*/ 1266 h 1418"/>
                  <a:gd name="T20" fmla="*/ 301 w 304"/>
                  <a:gd name="T21" fmla="*/ 1296 h 1418"/>
                  <a:gd name="T22" fmla="*/ 293 w 304"/>
                  <a:gd name="T23" fmla="*/ 1325 h 1418"/>
                  <a:gd name="T24" fmla="*/ 278 w 304"/>
                  <a:gd name="T25" fmla="*/ 1351 h 1418"/>
                  <a:gd name="T26" fmla="*/ 260 w 304"/>
                  <a:gd name="T27" fmla="*/ 1374 h 1418"/>
                  <a:gd name="T28" fmla="*/ 237 w 304"/>
                  <a:gd name="T29" fmla="*/ 1393 h 1418"/>
                  <a:gd name="T30" fmla="*/ 212 w 304"/>
                  <a:gd name="T31" fmla="*/ 1407 h 1418"/>
                  <a:gd name="T32" fmla="*/ 183 w 304"/>
                  <a:gd name="T33" fmla="*/ 1415 h 1418"/>
                  <a:gd name="T34" fmla="*/ 153 w 304"/>
                  <a:gd name="T35" fmla="*/ 1418 h 1418"/>
                  <a:gd name="T36" fmla="*/ 121 w 304"/>
                  <a:gd name="T37" fmla="*/ 1415 h 1418"/>
                  <a:gd name="T38" fmla="*/ 93 w 304"/>
                  <a:gd name="T39" fmla="*/ 1407 h 1418"/>
                  <a:gd name="T40" fmla="*/ 67 w 304"/>
                  <a:gd name="T41" fmla="*/ 1393 h 1418"/>
                  <a:gd name="T42" fmla="*/ 44 w 304"/>
                  <a:gd name="T43" fmla="*/ 1374 h 1418"/>
                  <a:gd name="T44" fmla="*/ 26 w 304"/>
                  <a:gd name="T45" fmla="*/ 1351 h 1418"/>
                  <a:gd name="T46" fmla="*/ 11 w 304"/>
                  <a:gd name="T47" fmla="*/ 1325 h 1418"/>
                  <a:gd name="T48" fmla="*/ 3 w 304"/>
                  <a:gd name="T49" fmla="*/ 1296 h 1418"/>
                  <a:gd name="T50" fmla="*/ 0 w 304"/>
                  <a:gd name="T51" fmla="*/ 1266 h 1418"/>
                  <a:gd name="T52" fmla="*/ 0 w 304"/>
                  <a:gd name="T53" fmla="*/ 153 h 1418"/>
                  <a:gd name="T54" fmla="*/ 3 w 304"/>
                  <a:gd name="T55" fmla="*/ 122 h 1418"/>
                  <a:gd name="T56" fmla="*/ 11 w 304"/>
                  <a:gd name="T57" fmla="*/ 94 h 1418"/>
                  <a:gd name="T58" fmla="*/ 26 w 304"/>
                  <a:gd name="T59" fmla="*/ 67 h 1418"/>
                  <a:gd name="T60" fmla="*/ 44 w 304"/>
                  <a:gd name="T61" fmla="*/ 45 h 1418"/>
                  <a:gd name="T62" fmla="*/ 67 w 304"/>
                  <a:gd name="T63" fmla="*/ 26 h 1418"/>
                  <a:gd name="T64" fmla="*/ 93 w 304"/>
                  <a:gd name="T65" fmla="*/ 12 h 1418"/>
                  <a:gd name="T66" fmla="*/ 121 w 304"/>
                  <a:gd name="T67" fmla="*/ 3 h 1418"/>
                  <a:gd name="T68" fmla="*/ 153 w 304"/>
                  <a:gd name="T69" fmla="*/ 0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1418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2"/>
                    </a:lnTo>
                    <a:lnTo>
                      <a:pt x="237" y="26"/>
                    </a:lnTo>
                    <a:lnTo>
                      <a:pt x="260" y="45"/>
                    </a:lnTo>
                    <a:lnTo>
                      <a:pt x="278" y="67"/>
                    </a:lnTo>
                    <a:lnTo>
                      <a:pt x="293" y="94"/>
                    </a:lnTo>
                    <a:lnTo>
                      <a:pt x="301" y="122"/>
                    </a:lnTo>
                    <a:lnTo>
                      <a:pt x="304" y="153"/>
                    </a:lnTo>
                    <a:lnTo>
                      <a:pt x="304" y="1266"/>
                    </a:lnTo>
                    <a:lnTo>
                      <a:pt x="301" y="1296"/>
                    </a:lnTo>
                    <a:lnTo>
                      <a:pt x="293" y="1325"/>
                    </a:lnTo>
                    <a:lnTo>
                      <a:pt x="278" y="1351"/>
                    </a:lnTo>
                    <a:lnTo>
                      <a:pt x="260" y="1374"/>
                    </a:lnTo>
                    <a:lnTo>
                      <a:pt x="237" y="1393"/>
                    </a:lnTo>
                    <a:lnTo>
                      <a:pt x="212" y="1407"/>
                    </a:lnTo>
                    <a:lnTo>
                      <a:pt x="183" y="1415"/>
                    </a:lnTo>
                    <a:lnTo>
                      <a:pt x="153" y="1418"/>
                    </a:lnTo>
                    <a:lnTo>
                      <a:pt x="121" y="1415"/>
                    </a:lnTo>
                    <a:lnTo>
                      <a:pt x="93" y="1407"/>
                    </a:lnTo>
                    <a:lnTo>
                      <a:pt x="67" y="1393"/>
                    </a:lnTo>
                    <a:lnTo>
                      <a:pt x="44" y="1374"/>
                    </a:lnTo>
                    <a:lnTo>
                      <a:pt x="26" y="1351"/>
                    </a:lnTo>
                    <a:lnTo>
                      <a:pt x="11" y="1325"/>
                    </a:lnTo>
                    <a:lnTo>
                      <a:pt x="3" y="1296"/>
                    </a:lnTo>
                    <a:lnTo>
                      <a:pt x="0" y="1266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4"/>
                    </a:lnTo>
                    <a:lnTo>
                      <a:pt x="26" y="67"/>
                    </a:lnTo>
                    <a:lnTo>
                      <a:pt x="44" y="45"/>
                    </a:lnTo>
                    <a:lnTo>
                      <a:pt x="67" y="26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80" name="Freeform 206"/>
              <p:cNvSpPr>
                <a:spLocks/>
              </p:cNvSpPr>
              <p:nvPr/>
            </p:nvSpPr>
            <p:spPr bwMode="auto">
              <a:xfrm>
                <a:off x="4641" y="3393"/>
                <a:ext cx="61" cy="222"/>
              </a:xfrm>
              <a:custGeom>
                <a:avLst/>
                <a:gdLst>
                  <a:gd name="T0" fmla="*/ 153 w 305"/>
                  <a:gd name="T1" fmla="*/ 0 h 1111"/>
                  <a:gd name="T2" fmla="*/ 183 w 305"/>
                  <a:gd name="T3" fmla="*/ 3 h 1111"/>
                  <a:gd name="T4" fmla="*/ 212 w 305"/>
                  <a:gd name="T5" fmla="*/ 11 h 1111"/>
                  <a:gd name="T6" fmla="*/ 237 w 305"/>
                  <a:gd name="T7" fmla="*/ 26 h 1111"/>
                  <a:gd name="T8" fmla="*/ 260 w 305"/>
                  <a:gd name="T9" fmla="*/ 44 h 1111"/>
                  <a:gd name="T10" fmla="*/ 278 w 305"/>
                  <a:gd name="T11" fmla="*/ 68 h 1111"/>
                  <a:gd name="T12" fmla="*/ 293 w 305"/>
                  <a:gd name="T13" fmla="*/ 93 h 1111"/>
                  <a:gd name="T14" fmla="*/ 301 w 305"/>
                  <a:gd name="T15" fmla="*/ 122 h 1111"/>
                  <a:gd name="T16" fmla="*/ 305 w 305"/>
                  <a:gd name="T17" fmla="*/ 153 h 1111"/>
                  <a:gd name="T18" fmla="*/ 305 w 305"/>
                  <a:gd name="T19" fmla="*/ 959 h 1111"/>
                  <a:gd name="T20" fmla="*/ 301 w 305"/>
                  <a:gd name="T21" fmla="*/ 989 h 1111"/>
                  <a:gd name="T22" fmla="*/ 293 w 305"/>
                  <a:gd name="T23" fmla="*/ 1018 h 1111"/>
                  <a:gd name="T24" fmla="*/ 278 w 305"/>
                  <a:gd name="T25" fmla="*/ 1044 h 1111"/>
                  <a:gd name="T26" fmla="*/ 260 w 305"/>
                  <a:gd name="T27" fmla="*/ 1067 h 1111"/>
                  <a:gd name="T28" fmla="*/ 237 w 305"/>
                  <a:gd name="T29" fmla="*/ 1086 h 1111"/>
                  <a:gd name="T30" fmla="*/ 212 w 305"/>
                  <a:gd name="T31" fmla="*/ 1100 h 1111"/>
                  <a:gd name="T32" fmla="*/ 183 w 305"/>
                  <a:gd name="T33" fmla="*/ 1108 h 1111"/>
                  <a:gd name="T34" fmla="*/ 153 w 305"/>
                  <a:gd name="T35" fmla="*/ 1111 h 1111"/>
                  <a:gd name="T36" fmla="*/ 121 w 305"/>
                  <a:gd name="T37" fmla="*/ 1108 h 1111"/>
                  <a:gd name="T38" fmla="*/ 93 w 305"/>
                  <a:gd name="T39" fmla="*/ 1100 h 1111"/>
                  <a:gd name="T40" fmla="*/ 67 w 305"/>
                  <a:gd name="T41" fmla="*/ 1086 h 1111"/>
                  <a:gd name="T42" fmla="*/ 44 w 305"/>
                  <a:gd name="T43" fmla="*/ 1067 h 1111"/>
                  <a:gd name="T44" fmla="*/ 26 w 305"/>
                  <a:gd name="T45" fmla="*/ 1044 h 1111"/>
                  <a:gd name="T46" fmla="*/ 12 w 305"/>
                  <a:gd name="T47" fmla="*/ 1018 h 1111"/>
                  <a:gd name="T48" fmla="*/ 3 w 305"/>
                  <a:gd name="T49" fmla="*/ 989 h 1111"/>
                  <a:gd name="T50" fmla="*/ 0 w 305"/>
                  <a:gd name="T51" fmla="*/ 959 h 1111"/>
                  <a:gd name="T52" fmla="*/ 0 w 305"/>
                  <a:gd name="T53" fmla="*/ 153 h 1111"/>
                  <a:gd name="T54" fmla="*/ 3 w 305"/>
                  <a:gd name="T55" fmla="*/ 122 h 1111"/>
                  <a:gd name="T56" fmla="*/ 12 w 305"/>
                  <a:gd name="T57" fmla="*/ 93 h 1111"/>
                  <a:gd name="T58" fmla="*/ 26 w 305"/>
                  <a:gd name="T59" fmla="*/ 68 h 1111"/>
                  <a:gd name="T60" fmla="*/ 44 w 305"/>
                  <a:gd name="T61" fmla="*/ 44 h 1111"/>
                  <a:gd name="T62" fmla="*/ 67 w 305"/>
                  <a:gd name="T63" fmla="*/ 26 h 1111"/>
                  <a:gd name="T64" fmla="*/ 93 w 305"/>
                  <a:gd name="T65" fmla="*/ 11 h 1111"/>
                  <a:gd name="T66" fmla="*/ 121 w 305"/>
                  <a:gd name="T67" fmla="*/ 3 h 1111"/>
                  <a:gd name="T68" fmla="*/ 153 w 305"/>
                  <a:gd name="T69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5" h="1111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1"/>
                    </a:lnTo>
                    <a:lnTo>
                      <a:pt x="237" y="26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5" y="153"/>
                    </a:lnTo>
                    <a:lnTo>
                      <a:pt x="305" y="959"/>
                    </a:lnTo>
                    <a:lnTo>
                      <a:pt x="301" y="989"/>
                    </a:lnTo>
                    <a:lnTo>
                      <a:pt x="293" y="1018"/>
                    </a:lnTo>
                    <a:lnTo>
                      <a:pt x="278" y="1044"/>
                    </a:lnTo>
                    <a:lnTo>
                      <a:pt x="260" y="1067"/>
                    </a:lnTo>
                    <a:lnTo>
                      <a:pt x="237" y="1086"/>
                    </a:lnTo>
                    <a:lnTo>
                      <a:pt x="212" y="1100"/>
                    </a:lnTo>
                    <a:lnTo>
                      <a:pt x="183" y="1108"/>
                    </a:lnTo>
                    <a:lnTo>
                      <a:pt x="153" y="1111"/>
                    </a:lnTo>
                    <a:lnTo>
                      <a:pt x="121" y="1108"/>
                    </a:lnTo>
                    <a:lnTo>
                      <a:pt x="93" y="1100"/>
                    </a:lnTo>
                    <a:lnTo>
                      <a:pt x="67" y="1086"/>
                    </a:lnTo>
                    <a:lnTo>
                      <a:pt x="44" y="1067"/>
                    </a:lnTo>
                    <a:lnTo>
                      <a:pt x="26" y="1044"/>
                    </a:lnTo>
                    <a:lnTo>
                      <a:pt x="12" y="1018"/>
                    </a:lnTo>
                    <a:lnTo>
                      <a:pt x="3" y="989"/>
                    </a:lnTo>
                    <a:lnTo>
                      <a:pt x="0" y="959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2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6"/>
                    </a:lnTo>
                    <a:lnTo>
                      <a:pt x="93" y="11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81" name="Freeform 207"/>
              <p:cNvSpPr>
                <a:spLocks/>
              </p:cNvSpPr>
              <p:nvPr/>
            </p:nvSpPr>
            <p:spPr bwMode="auto">
              <a:xfrm>
                <a:off x="4176" y="3520"/>
                <a:ext cx="223" cy="225"/>
              </a:xfrm>
              <a:custGeom>
                <a:avLst/>
                <a:gdLst>
                  <a:gd name="T0" fmla="*/ 1085 w 1117"/>
                  <a:gd name="T1" fmla="*/ 0 h 1123"/>
                  <a:gd name="T2" fmla="*/ 1106 w 1117"/>
                  <a:gd name="T3" fmla="*/ 10 h 1123"/>
                  <a:gd name="T4" fmla="*/ 1117 w 1117"/>
                  <a:gd name="T5" fmla="*/ 31 h 1123"/>
                  <a:gd name="T6" fmla="*/ 1113 w 1117"/>
                  <a:gd name="T7" fmla="*/ 53 h 1123"/>
                  <a:gd name="T8" fmla="*/ 1104 w 1117"/>
                  <a:gd name="T9" fmla="*/ 66 h 1123"/>
                  <a:gd name="T10" fmla="*/ 1089 w 1117"/>
                  <a:gd name="T11" fmla="*/ 82 h 1123"/>
                  <a:gd name="T12" fmla="*/ 1062 w 1117"/>
                  <a:gd name="T13" fmla="*/ 112 h 1123"/>
                  <a:gd name="T14" fmla="*/ 1023 w 1117"/>
                  <a:gd name="T15" fmla="*/ 155 h 1123"/>
                  <a:gd name="T16" fmla="*/ 973 w 1117"/>
                  <a:gd name="T17" fmla="*/ 209 h 1123"/>
                  <a:gd name="T18" fmla="*/ 917 w 1117"/>
                  <a:gd name="T19" fmla="*/ 272 h 1123"/>
                  <a:gd name="T20" fmla="*/ 853 w 1117"/>
                  <a:gd name="T21" fmla="*/ 342 h 1123"/>
                  <a:gd name="T22" fmla="*/ 785 w 1117"/>
                  <a:gd name="T23" fmla="*/ 417 h 1123"/>
                  <a:gd name="T24" fmla="*/ 712 w 1117"/>
                  <a:gd name="T25" fmla="*/ 497 h 1123"/>
                  <a:gd name="T26" fmla="*/ 640 w 1117"/>
                  <a:gd name="T27" fmla="*/ 577 h 1123"/>
                  <a:gd name="T28" fmla="*/ 566 w 1117"/>
                  <a:gd name="T29" fmla="*/ 658 h 1123"/>
                  <a:gd name="T30" fmla="*/ 494 w 1117"/>
                  <a:gd name="T31" fmla="*/ 737 h 1123"/>
                  <a:gd name="T32" fmla="*/ 425 w 1117"/>
                  <a:gd name="T33" fmla="*/ 813 h 1123"/>
                  <a:gd name="T34" fmla="*/ 361 w 1117"/>
                  <a:gd name="T35" fmla="*/ 884 h 1123"/>
                  <a:gd name="T36" fmla="*/ 303 w 1117"/>
                  <a:gd name="T37" fmla="*/ 946 h 1123"/>
                  <a:gd name="T38" fmla="*/ 254 w 1117"/>
                  <a:gd name="T39" fmla="*/ 1001 h 1123"/>
                  <a:gd name="T40" fmla="*/ 215 w 1117"/>
                  <a:gd name="T41" fmla="*/ 1045 h 1123"/>
                  <a:gd name="T42" fmla="*/ 186 w 1117"/>
                  <a:gd name="T43" fmla="*/ 1076 h 1123"/>
                  <a:gd name="T44" fmla="*/ 171 w 1117"/>
                  <a:gd name="T45" fmla="*/ 1093 h 1123"/>
                  <a:gd name="T46" fmla="*/ 151 w 1117"/>
                  <a:gd name="T47" fmla="*/ 1110 h 1123"/>
                  <a:gd name="T48" fmla="*/ 110 w 1117"/>
                  <a:gd name="T49" fmla="*/ 1123 h 1123"/>
                  <a:gd name="T50" fmla="*/ 66 w 1117"/>
                  <a:gd name="T51" fmla="*/ 1119 h 1123"/>
                  <a:gd name="T52" fmla="*/ 28 w 1117"/>
                  <a:gd name="T53" fmla="*/ 1095 h 1123"/>
                  <a:gd name="T54" fmla="*/ 5 w 1117"/>
                  <a:gd name="T55" fmla="*/ 1057 h 1123"/>
                  <a:gd name="T56" fmla="*/ 0 w 1117"/>
                  <a:gd name="T57" fmla="*/ 1013 h 1123"/>
                  <a:gd name="T58" fmla="*/ 14 w 1117"/>
                  <a:gd name="T59" fmla="*/ 972 h 1123"/>
                  <a:gd name="T60" fmla="*/ 31 w 1117"/>
                  <a:gd name="T61" fmla="*/ 952 h 1123"/>
                  <a:gd name="T62" fmla="*/ 47 w 1117"/>
                  <a:gd name="T63" fmla="*/ 936 h 1123"/>
                  <a:gd name="T64" fmla="*/ 78 w 1117"/>
                  <a:gd name="T65" fmla="*/ 908 h 1123"/>
                  <a:gd name="T66" fmla="*/ 122 w 1117"/>
                  <a:gd name="T67" fmla="*/ 868 h 1123"/>
                  <a:gd name="T68" fmla="*/ 176 w 1117"/>
                  <a:gd name="T69" fmla="*/ 818 h 1123"/>
                  <a:gd name="T70" fmla="*/ 238 w 1117"/>
                  <a:gd name="T71" fmla="*/ 761 h 1123"/>
                  <a:gd name="T72" fmla="*/ 309 w 1117"/>
                  <a:gd name="T73" fmla="*/ 696 h 1123"/>
                  <a:gd name="T74" fmla="*/ 383 w 1117"/>
                  <a:gd name="T75" fmla="*/ 627 h 1123"/>
                  <a:gd name="T76" fmla="*/ 463 w 1117"/>
                  <a:gd name="T77" fmla="*/ 554 h 1123"/>
                  <a:gd name="T78" fmla="*/ 543 w 1117"/>
                  <a:gd name="T79" fmla="*/ 481 h 1123"/>
                  <a:gd name="T80" fmla="*/ 623 w 1117"/>
                  <a:gd name="T81" fmla="*/ 406 h 1123"/>
                  <a:gd name="T82" fmla="*/ 702 w 1117"/>
                  <a:gd name="T83" fmla="*/ 334 h 1123"/>
                  <a:gd name="T84" fmla="*/ 776 w 1117"/>
                  <a:gd name="T85" fmla="*/ 265 h 1123"/>
                  <a:gd name="T86" fmla="*/ 846 w 1117"/>
                  <a:gd name="T87" fmla="*/ 201 h 1123"/>
                  <a:gd name="T88" fmla="*/ 908 w 1117"/>
                  <a:gd name="T89" fmla="*/ 143 h 1123"/>
                  <a:gd name="T90" fmla="*/ 962 w 1117"/>
                  <a:gd name="T91" fmla="*/ 95 h 1123"/>
                  <a:gd name="T92" fmla="*/ 1005 w 1117"/>
                  <a:gd name="T93" fmla="*/ 54 h 1123"/>
                  <a:gd name="T94" fmla="*/ 1036 w 1117"/>
                  <a:gd name="T95" fmla="*/ 27 h 1123"/>
                  <a:gd name="T96" fmla="*/ 1051 w 1117"/>
                  <a:gd name="T97" fmla="*/ 12 h 1123"/>
                  <a:gd name="T98" fmla="*/ 1063 w 1117"/>
                  <a:gd name="T99" fmla="*/ 3 h 1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17" h="1123">
                    <a:moveTo>
                      <a:pt x="1074" y="0"/>
                    </a:moveTo>
                    <a:lnTo>
                      <a:pt x="1085" y="0"/>
                    </a:lnTo>
                    <a:lnTo>
                      <a:pt x="1096" y="3"/>
                    </a:lnTo>
                    <a:lnTo>
                      <a:pt x="1106" y="10"/>
                    </a:lnTo>
                    <a:lnTo>
                      <a:pt x="1113" y="20"/>
                    </a:lnTo>
                    <a:lnTo>
                      <a:pt x="1117" y="31"/>
                    </a:lnTo>
                    <a:lnTo>
                      <a:pt x="1117" y="43"/>
                    </a:lnTo>
                    <a:lnTo>
                      <a:pt x="1113" y="53"/>
                    </a:lnTo>
                    <a:lnTo>
                      <a:pt x="1106" y="64"/>
                    </a:lnTo>
                    <a:lnTo>
                      <a:pt x="1104" y="66"/>
                    </a:lnTo>
                    <a:lnTo>
                      <a:pt x="1099" y="71"/>
                    </a:lnTo>
                    <a:lnTo>
                      <a:pt x="1089" y="82"/>
                    </a:lnTo>
                    <a:lnTo>
                      <a:pt x="1077" y="96"/>
                    </a:lnTo>
                    <a:lnTo>
                      <a:pt x="1062" y="112"/>
                    </a:lnTo>
                    <a:lnTo>
                      <a:pt x="1043" y="132"/>
                    </a:lnTo>
                    <a:lnTo>
                      <a:pt x="1023" y="155"/>
                    </a:lnTo>
                    <a:lnTo>
                      <a:pt x="999" y="181"/>
                    </a:lnTo>
                    <a:lnTo>
                      <a:pt x="973" y="209"/>
                    </a:lnTo>
                    <a:lnTo>
                      <a:pt x="946" y="240"/>
                    </a:lnTo>
                    <a:lnTo>
                      <a:pt x="917" y="272"/>
                    </a:lnTo>
                    <a:lnTo>
                      <a:pt x="885" y="306"/>
                    </a:lnTo>
                    <a:lnTo>
                      <a:pt x="853" y="342"/>
                    </a:lnTo>
                    <a:lnTo>
                      <a:pt x="820" y="379"/>
                    </a:lnTo>
                    <a:lnTo>
                      <a:pt x="785" y="417"/>
                    </a:lnTo>
                    <a:lnTo>
                      <a:pt x="749" y="456"/>
                    </a:lnTo>
                    <a:lnTo>
                      <a:pt x="712" y="497"/>
                    </a:lnTo>
                    <a:lnTo>
                      <a:pt x="676" y="537"/>
                    </a:lnTo>
                    <a:lnTo>
                      <a:pt x="640" y="577"/>
                    </a:lnTo>
                    <a:lnTo>
                      <a:pt x="603" y="617"/>
                    </a:lnTo>
                    <a:lnTo>
                      <a:pt x="566" y="658"/>
                    </a:lnTo>
                    <a:lnTo>
                      <a:pt x="529" y="698"/>
                    </a:lnTo>
                    <a:lnTo>
                      <a:pt x="494" y="737"/>
                    </a:lnTo>
                    <a:lnTo>
                      <a:pt x="458" y="776"/>
                    </a:lnTo>
                    <a:lnTo>
                      <a:pt x="425" y="813"/>
                    </a:lnTo>
                    <a:lnTo>
                      <a:pt x="392" y="849"/>
                    </a:lnTo>
                    <a:lnTo>
                      <a:pt x="361" y="884"/>
                    </a:lnTo>
                    <a:lnTo>
                      <a:pt x="332" y="917"/>
                    </a:lnTo>
                    <a:lnTo>
                      <a:pt x="303" y="946"/>
                    </a:lnTo>
                    <a:lnTo>
                      <a:pt x="278" y="975"/>
                    </a:lnTo>
                    <a:lnTo>
                      <a:pt x="254" y="1001"/>
                    </a:lnTo>
                    <a:lnTo>
                      <a:pt x="233" y="1024"/>
                    </a:lnTo>
                    <a:lnTo>
                      <a:pt x="215" y="1045"/>
                    </a:lnTo>
                    <a:lnTo>
                      <a:pt x="199" y="1062"/>
                    </a:lnTo>
                    <a:lnTo>
                      <a:pt x="186" y="1076"/>
                    </a:lnTo>
                    <a:lnTo>
                      <a:pt x="177" y="1086"/>
                    </a:lnTo>
                    <a:lnTo>
                      <a:pt x="171" y="1093"/>
                    </a:lnTo>
                    <a:lnTo>
                      <a:pt x="169" y="1095"/>
                    </a:lnTo>
                    <a:lnTo>
                      <a:pt x="151" y="1110"/>
                    </a:lnTo>
                    <a:lnTo>
                      <a:pt x="131" y="1119"/>
                    </a:lnTo>
                    <a:lnTo>
                      <a:pt x="110" y="1123"/>
                    </a:lnTo>
                    <a:lnTo>
                      <a:pt x="87" y="1123"/>
                    </a:lnTo>
                    <a:lnTo>
                      <a:pt x="66" y="1119"/>
                    </a:lnTo>
                    <a:lnTo>
                      <a:pt x="46" y="1110"/>
                    </a:lnTo>
                    <a:lnTo>
                      <a:pt x="28" y="1095"/>
                    </a:lnTo>
                    <a:lnTo>
                      <a:pt x="14" y="1077"/>
                    </a:lnTo>
                    <a:lnTo>
                      <a:pt x="5" y="1057"/>
                    </a:lnTo>
                    <a:lnTo>
                      <a:pt x="0" y="1035"/>
                    </a:lnTo>
                    <a:lnTo>
                      <a:pt x="0" y="1013"/>
                    </a:lnTo>
                    <a:lnTo>
                      <a:pt x="5" y="992"/>
                    </a:lnTo>
                    <a:lnTo>
                      <a:pt x="14" y="972"/>
                    </a:lnTo>
                    <a:lnTo>
                      <a:pt x="28" y="954"/>
                    </a:lnTo>
                    <a:lnTo>
                      <a:pt x="31" y="952"/>
                    </a:lnTo>
                    <a:lnTo>
                      <a:pt x="37" y="945"/>
                    </a:lnTo>
                    <a:lnTo>
                      <a:pt x="47" y="936"/>
                    </a:lnTo>
                    <a:lnTo>
                      <a:pt x="61" y="924"/>
                    </a:lnTo>
                    <a:lnTo>
                      <a:pt x="78" y="908"/>
                    </a:lnTo>
                    <a:lnTo>
                      <a:pt x="99" y="889"/>
                    </a:lnTo>
                    <a:lnTo>
                      <a:pt x="122" y="868"/>
                    </a:lnTo>
                    <a:lnTo>
                      <a:pt x="147" y="844"/>
                    </a:lnTo>
                    <a:lnTo>
                      <a:pt x="176" y="818"/>
                    </a:lnTo>
                    <a:lnTo>
                      <a:pt x="206" y="790"/>
                    </a:lnTo>
                    <a:lnTo>
                      <a:pt x="238" y="761"/>
                    </a:lnTo>
                    <a:lnTo>
                      <a:pt x="273" y="729"/>
                    </a:lnTo>
                    <a:lnTo>
                      <a:pt x="309" y="696"/>
                    </a:lnTo>
                    <a:lnTo>
                      <a:pt x="346" y="662"/>
                    </a:lnTo>
                    <a:lnTo>
                      <a:pt x="383" y="627"/>
                    </a:lnTo>
                    <a:lnTo>
                      <a:pt x="422" y="591"/>
                    </a:lnTo>
                    <a:lnTo>
                      <a:pt x="463" y="554"/>
                    </a:lnTo>
                    <a:lnTo>
                      <a:pt x="503" y="518"/>
                    </a:lnTo>
                    <a:lnTo>
                      <a:pt x="543" y="481"/>
                    </a:lnTo>
                    <a:lnTo>
                      <a:pt x="583" y="444"/>
                    </a:lnTo>
                    <a:lnTo>
                      <a:pt x="623" y="406"/>
                    </a:lnTo>
                    <a:lnTo>
                      <a:pt x="663" y="369"/>
                    </a:lnTo>
                    <a:lnTo>
                      <a:pt x="702" y="334"/>
                    </a:lnTo>
                    <a:lnTo>
                      <a:pt x="740" y="299"/>
                    </a:lnTo>
                    <a:lnTo>
                      <a:pt x="776" y="265"/>
                    </a:lnTo>
                    <a:lnTo>
                      <a:pt x="812" y="232"/>
                    </a:lnTo>
                    <a:lnTo>
                      <a:pt x="846" y="201"/>
                    </a:lnTo>
                    <a:lnTo>
                      <a:pt x="879" y="171"/>
                    </a:lnTo>
                    <a:lnTo>
                      <a:pt x="908" y="143"/>
                    </a:lnTo>
                    <a:lnTo>
                      <a:pt x="937" y="118"/>
                    </a:lnTo>
                    <a:lnTo>
                      <a:pt x="962" y="95"/>
                    </a:lnTo>
                    <a:lnTo>
                      <a:pt x="985" y="73"/>
                    </a:lnTo>
                    <a:lnTo>
                      <a:pt x="1005" y="54"/>
                    </a:lnTo>
                    <a:lnTo>
                      <a:pt x="1022" y="39"/>
                    </a:lnTo>
                    <a:lnTo>
                      <a:pt x="1036" y="27"/>
                    </a:lnTo>
                    <a:lnTo>
                      <a:pt x="1045" y="18"/>
                    </a:lnTo>
                    <a:lnTo>
                      <a:pt x="1051" y="12"/>
                    </a:lnTo>
                    <a:lnTo>
                      <a:pt x="1054" y="10"/>
                    </a:lnTo>
                    <a:lnTo>
                      <a:pt x="1063" y="3"/>
                    </a:lnTo>
                    <a:lnTo>
                      <a:pt x="107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pic>
        <p:nvPicPr>
          <p:cNvPr id="73033" name="Picture 329" descr="https://media.poczta-polska.pl/file/mediakit/473912/fa/logotyp_pp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6" y="2231356"/>
            <a:ext cx="850208" cy="179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0" name="Rectangle 179"/>
          <p:cNvSpPr/>
          <p:nvPr/>
        </p:nvSpPr>
        <p:spPr bwMode="ltGray">
          <a:xfrm>
            <a:off x="6174395" y="-1"/>
            <a:ext cx="2969606" cy="38364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000" i="1" dirty="0" smtClean="0">
                <a:solidFill>
                  <a:schemeClr val="bg1"/>
                </a:solidFill>
                <a:latin typeface="+mj-lt"/>
              </a:rPr>
              <a:t>Банковские услуги, телекоммуникации, розничные сети</a:t>
            </a:r>
            <a:endParaRPr lang="ru-RU" sz="1000" i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57667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6839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3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645315"/>
            <a:ext cx="738960" cy="2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9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Машинное обучение</a:t>
            </a:r>
            <a:endParaRPr lang="ru-RU" sz="9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0" name="Rectangle 17"/>
          <p:cNvSpPr>
            <a:spLocks/>
          </p:cNvSpPr>
          <p:nvPr/>
        </p:nvSpPr>
        <p:spPr bwMode="auto">
          <a:xfrm>
            <a:off x="221772" y="3250297"/>
            <a:ext cx="654097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05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Данные</a:t>
            </a:r>
            <a:endParaRPr lang="ru-RU" sz="105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2084400" y="1940805"/>
            <a:ext cx="2268190" cy="12003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300" i="1" dirty="0" smtClean="0">
                <a:solidFill>
                  <a:schemeClr val="bg1"/>
                </a:solidFill>
                <a:latin typeface="+mj-lt"/>
              </a:rPr>
              <a:t>Геопространственный прогнозный анализ повышает точность определения оптимального местоположения магазинов для расширения сети</a:t>
            </a:r>
            <a:endParaRPr lang="ru-RU" sz="13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679950" y="2346551"/>
            <a:ext cx="3576325" cy="2249169"/>
            <a:chOff x="4679950" y="2307514"/>
            <a:chExt cx="3576325" cy="2249169"/>
          </a:xfrm>
        </p:grpSpPr>
        <p:pic>
          <p:nvPicPr>
            <p:cNvPr id="238" name="Picture 5"/>
            <p:cNvPicPr>
              <a:picLocks noChangeAspect="1" noChangeArrowheads="1"/>
            </p:cNvPicPr>
            <p:nvPr/>
          </p:nvPicPr>
          <p:blipFill rotWithShape="1"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416" t="10158" r="17371" b="6994"/>
            <a:stretch/>
          </p:blipFill>
          <p:spPr bwMode="auto">
            <a:xfrm>
              <a:off x="4679950" y="2307514"/>
              <a:ext cx="2278063" cy="2249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9" name="Freeform 238"/>
            <p:cNvSpPr/>
            <p:nvPr/>
          </p:nvSpPr>
          <p:spPr bwMode="ltGray">
            <a:xfrm>
              <a:off x="5381318" y="3370542"/>
              <a:ext cx="2874957" cy="784239"/>
            </a:xfrm>
            <a:custGeom>
              <a:avLst/>
              <a:gdLst>
                <a:gd name="connsiteX0" fmla="*/ 4565650 w 4565650"/>
                <a:gd name="connsiteY0" fmla="*/ 666750 h 1873250"/>
                <a:gd name="connsiteX1" fmla="*/ 546100 w 4565650"/>
                <a:gd name="connsiteY1" fmla="*/ 0 h 1873250"/>
                <a:gd name="connsiteX2" fmla="*/ 546100 w 4565650"/>
                <a:gd name="connsiteY2" fmla="*/ 298450 h 1873250"/>
                <a:gd name="connsiteX3" fmla="*/ 0 w 4565650"/>
                <a:gd name="connsiteY3" fmla="*/ 298450 h 1873250"/>
                <a:gd name="connsiteX4" fmla="*/ 2609850 w 4565650"/>
                <a:gd name="connsiteY4" fmla="*/ 1873250 h 1873250"/>
                <a:gd name="connsiteX5" fmla="*/ 4565650 w 4565650"/>
                <a:gd name="connsiteY5" fmla="*/ 666750 h 1873250"/>
                <a:gd name="connsiteX0" fmla="*/ 4565650 w 4565650"/>
                <a:gd name="connsiteY0" fmla="*/ 666750 h 1341145"/>
                <a:gd name="connsiteX1" fmla="*/ 546100 w 4565650"/>
                <a:gd name="connsiteY1" fmla="*/ 0 h 1341145"/>
                <a:gd name="connsiteX2" fmla="*/ 546100 w 4565650"/>
                <a:gd name="connsiteY2" fmla="*/ 298450 h 1341145"/>
                <a:gd name="connsiteX3" fmla="*/ 0 w 4565650"/>
                <a:gd name="connsiteY3" fmla="*/ 298450 h 1341145"/>
                <a:gd name="connsiteX4" fmla="*/ 2614920 w 4565650"/>
                <a:gd name="connsiteY4" fmla="*/ 1341145 h 1341145"/>
                <a:gd name="connsiteX5" fmla="*/ 4565650 w 4565650"/>
                <a:gd name="connsiteY5" fmla="*/ 666750 h 1341145"/>
                <a:gd name="connsiteX0" fmla="*/ 4591001 w 4591001"/>
                <a:gd name="connsiteY0" fmla="*/ 118356 h 1341145"/>
                <a:gd name="connsiteX1" fmla="*/ 546100 w 4591001"/>
                <a:gd name="connsiteY1" fmla="*/ 0 h 1341145"/>
                <a:gd name="connsiteX2" fmla="*/ 546100 w 4591001"/>
                <a:gd name="connsiteY2" fmla="*/ 298450 h 1341145"/>
                <a:gd name="connsiteX3" fmla="*/ 0 w 4591001"/>
                <a:gd name="connsiteY3" fmla="*/ 298450 h 1341145"/>
                <a:gd name="connsiteX4" fmla="*/ 2614920 w 4591001"/>
                <a:gd name="connsiteY4" fmla="*/ 1341145 h 1341145"/>
                <a:gd name="connsiteX5" fmla="*/ 4591001 w 4591001"/>
                <a:gd name="connsiteY5" fmla="*/ 118356 h 134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91001" h="1341145">
                  <a:moveTo>
                    <a:pt x="4591001" y="118356"/>
                  </a:moveTo>
                  <a:lnTo>
                    <a:pt x="546100" y="0"/>
                  </a:lnTo>
                  <a:lnTo>
                    <a:pt x="546100" y="298450"/>
                  </a:lnTo>
                  <a:lnTo>
                    <a:pt x="0" y="298450"/>
                  </a:lnTo>
                  <a:lnTo>
                    <a:pt x="2614920" y="1341145"/>
                  </a:lnTo>
                  <a:lnTo>
                    <a:pt x="4591001" y="118356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  <a:alpha val="50196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+mj-lt"/>
              </a:endParaRPr>
            </a:p>
          </p:txBody>
        </p:sp>
        <p:pic>
          <p:nvPicPr>
            <p:cNvPr id="244" name="Picture 9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889" t="21799" r="24376" b="29616"/>
            <a:stretch/>
          </p:blipFill>
          <p:spPr bwMode="auto">
            <a:xfrm>
              <a:off x="7015858" y="3447061"/>
              <a:ext cx="1229455" cy="70746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/>
              </a:solidFill>
            </a:ln>
            <a:extLst/>
          </p:spPr>
        </p:pic>
        <p:sp>
          <p:nvSpPr>
            <p:cNvPr id="245" name="Rectangle 244"/>
            <p:cNvSpPr/>
            <p:nvPr/>
          </p:nvSpPr>
          <p:spPr bwMode="ltGray">
            <a:xfrm>
              <a:off x="5379958" y="3371133"/>
              <a:ext cx="345875" cy="175503"/>
            </a:xfrm>
            <a:prstGeom prst="rect">
              <a:avLst/>
            </a:pr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sz="1100" dirty="0" smtClean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247" name="Straight Connector 246"/>
            <p:cNvCxnSpPr/>
            <p:nvPr/>
          </p:nvCxnSpPr>
          <p:spPr>
            <a:xfrm>
              <a:off x="5725833" y="3371133"/>
              <a:ext cx="2514567" cy="69518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/>
            <p:cNvCxnSpPr/>
            <p:nvPr/>
          </p:nvCxnSpPr>
          <p:spPr>
            <a:xfrm>
              <a:off x="5379958" y="3546636"/>
              <a:ext cx="1635900" cy="610443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0" name="Group 249"/>
          <p:cNvGrpSpPr>
            <a:grpSpLocks/>
          </p:cNvGrpSpPr>
          <p:nvPr/>
        </p:nvGrpSpPr>
        <p:grpSpPr>
          <a:xfrm>
            <a:off x="7407855" y="2271281"/>
            <a:ext cx="1538024" cy="777342"/>
            <a:chOff x="4707742" y="2393672"/>
            <a:chExt cx="2456061" cy="1329347"/>
          </a:xfrm>
        </p:grpSpPr>
        <p:sp>
          <p:nvSpPr>
            <p:cNvPr id="251" name="TextBox 250"/>
            <p:cNvSpPr txBox="1"/>
            <p:nvPr/>
          </p:nvSpPr>
          <p:spPr>
            <a:xfrm>
              <a:off x="4752690" y="2393672"/>
              <a:ext cx="2240758" cy="31580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600" i="1" dirty="0" smtClean="0">
                  <a:solidFill>
                    <a:schemeClr val="bg1"/>
                  </a:solidFill>
                  <a:latin typeface="+mj-lt"/>
                </a:rPr>
                <a:t>Приоритетные направления расширения сети:</a:t>
              </a:r>
              <a:endParaRPr lang="ru-RU" sz="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2" name="Oval 251"/>
            <p:cNvSpPr/>
            <p:nvPr/>
          </p:nvSpPr>
          <p:spPr bwMode="ltGray">
            <a:xfrm>
              <a:off x="4768015" y="3429537"/>
              <a:ext cx="134803" cy="134804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00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3" name="TextBox 252"/>
            <p:cNvSpPr txBox="1"/>
            <p:nvPr/>
          </p:nvSpPr>
          <p:spPr>
            <a:xfrm>
              <a:off x="4981921" y="2731381"/>
              <a:ext cx="2181882" cy="6052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ru-RU" sz="600" dirty="0" smtClean="0">
                  <a:solidFill>
                    <a:schemeClr val="bg1"/>
                  </a:solidFill>
                  <a:latin typeface="+mj-lt"/>
                </a:rPr>
                <a:t>Местоположение третьего выбора</a:t>
              </a:r>
            </a:p>
            <a:p>
              <a:pPr>
                <a:spcAft>
                  <a:spcPts val="300"/>
                </a:spcAft>
              </a:pPr>
              <a:r>
                <a:rPr lang="ru-RU" sz="600" dirty="0" smtClean="0">
                  <a:solidFill>
                    <a:schemeClr val="bg1"/>
                  </a:solidFill>
                  <a:latin typeface="+mj-lt"/>
                </a:rPr>
                <a:t>Местоположение второго выбора</a:t>
              </a:r>
            </a:p>
            <a:p>
              <a:pPr>
                <a:spcAft>
                  <a:spcPts val="300"/>
                </a:spcAft>
              </a:pPr>
              <a:r>
                <a:rPr lang="ru-RU" sz="600" dirty="0" smtClean="0">
                  <a:solidFill>
                    <a:schemeClr val="bg1"/>
                  </a:solidFill>
                  <a:latin typeface="+mj-lt"/>
                </a:rPr>
                <a:t>Местоположение первого выбора</a:t>
              </a:r>
              <a:endParaRPr lang="ru-RU" sz="600" dirty="0">
                <a:solidFill>
                  <a:schemeClr val="bg1"/>
                </a:solidFill>
                <a:latin typeface="+mj-lt"/>
              </a:endParaRPr>
            </a:p>
          </p:txBody>
        </p:sp>
        <p:pic>
          <p:nvPicPr>
            <p:cNvPr id="255" name="Picture 59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33" t="84155" r="94450" b="12595"/>
            <a:stretch/>
          </p:blipFill>
          <p:spPr bwMode="auto">
            <a:xfrm>
              <a:off x="4707742" y="2765716"/>
              <a:ext cx="242381" cy="1421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0" name="Picture 59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5" t="87220" r="94525" b="9374"/>
            <a:stretch/>
          </p:blipFill>
          <p:spPr bwMode="auto">
            <a:xfrm>
              <a:off x="4720036" y="2976280"/>
              <a:ext cx="217791" cy="1490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1" name="Picture 59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01" t="90626" r="94565" b="5967"/>
            <a:stretch/>
          </p:blipFill>
          <p:spPr bwMode="auto">
            <a:xfrm>
              <a:off x="4725777" y="3193713"/>
              <a:ext cx="206309" cy="1490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2" name="TextBox 261"/>
            <p:cNvSpPr txBox="1"/>
            <p:nvPr/>
          </p:nvSpPr>
          <p:spPr>
            <a:xfrm>
              <a:off x="4981924" y="3407218"/>
              <a:ext cx="2011524" cy="31580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600" dirty="0" smtClean="0">
                  <a:solidFill>
                    <a:schemeClr val="bg1"/>
                  </a:solidFill>
                  <a:latin typeface="+mj-lt"/>
                </a:rPr>
                <a:t>Зона покрытия существующих торговых точек</a:t>
              </a:r>
              <a:endParaRPr lang="ru-RU" sz="600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6831250" y="4273102"/>
            <a:ext cx="1779348" cy="947632"/>
            <a:chOff x="6831252" y="4631279"/>
            <a:chExt cx="1779348" cy="947632"/>
          </a:xfrm>
        </p:grpSpPr>
        <p:pic>
          <p:nvPicPr>
            <p:cNvPr id="182" name="Picture 181"/>
            <p:cNvPicPr/>
            <p:nvPr/>
          </p:nvPicPr>
          <p:blipFill rotWithShape="1">
            <a:blip r:embed="rId12"/>
            <a:srcRect l="827" r="-1"/>
            <a:stretch/>
          </p:blipFill>
          <p:spPr bwMode="auto">
            <a:xfrm>
              <a:off x="6831252" y="4631517"/>
              <a:ext cx="1779348" cy="9473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/>
              </a:solidFill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237" name="Picture 236"/>
            <p:cNvPicPr/>
            <p:nvPr/>
          </p:nvPicPr>
          <p:blipFill rotWithShape="1"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harpenSoften amount="-36000"/>
                      </a14:imgEffect>
                    </a14:imgLayer>
                  </a14:imgProps>
                </a:ext>
              </a:extLst>
            </a:blip>
            <a:srcRect l="1765" r="84823" b="71794"/>
            <a:stretch/>
          </p:blipFill>
          <p:spPr bwMode="auto">
            <a:xfrm>
              <a:off x="6833278" y="4631279"/>
              <a:ext cx="253322" cy="264002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cxnSp>
        <p:nvCxnSpPr>
          <p:cNvPr id="180" name="Straight Connector 179"/>
          <p:cNvCxnSpPr/>
          <p:nvPr/>
        </p:nvCxnSpPr>
        <p:spPr>
          <a:xfrm flipH="1" flipV="1">
            <a:off x="7496175" y="3786188"/>
            <a:ext cx="684863" cy="704160"/>
          </a:xfrm>
          <a:prstGeom prst="line">
            <a:avLst/>
          </a:prstGeom>
          <a:ln w="6350">
            <a:solidFill>
              <a:schemeClr val="accent6"/>
            </a:solidFill>
            <a:prstDash val="dash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ListLeanHorizontalTextTopic0"/>
          <p:cNvSpPr txBox="1">
            <a:spLocks/>
          </p:cNvSpPr>
          <p:nvPr/>
        </p:nvSpPr>
        <p:spPr>
          <a:xfrm>
            <a:off x="5336054" y="1255890"/>
            <a:ext cx="1095871" cy="42934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ru-RU" sz="1000" i="1" dirty="0" smtClean="0">
                <a:solidFill>
                  <a:schemeClr val="bg1"/>
                </a:solidFill>
                <a:latin typeface="+mj-lt"/>
              </a:rPr>
              <a:t>Обзор направлений развития сети Х</a:t>
            </a:r>
            <a:endParaRPr lang="ru-RU" sz="1000" i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267" name="Picture 2"/>
          <p:cNvPicPr>
            <a:picLocks noChangeAspect="1" noChangeArrowheads="1"/>
          </p:cNvPicPr>
          <p:nvPr/>
        </p:nvPicPr>
        <p:blipFill rotWithShape="1"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22"/>
          <a:stretch/>
        </p:blipFill>
        <p:spPr bwMode="auto">
          <a:xfrm>
            <a:off x="4383388" y="1019857"/>
            <a:ext cx="879106" cy="758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8" name="Picture 2"/>
          <p:cNvPicPr>
            <a:picLocks noChangeAspect="1" noChangeArrowheads="1"/>
          </p:cNvPicPr>
          <p:nvPr/>
        </p:nvPicPr>
        <p:blipFill rotWithShape="1"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04" r="86797" b="56156"/>
          <a:stretch/>
        </p:blipFill>
        <p:spPr bwMode="auto">
          <a:xfrm>
            <a:off x="6505485" y="1019594"/>
            <a:ext cx="480025" cy="758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9" name="Rectangle 268"/>
          <p:cNvSpPr/>
          <p:nvPr/>
        </p:nvSpPr>
        <p:spPr bwMode="ltGray">
          <a:xfrm>
            <a:off x="7059069" y="1091230"/>
            <a:ext cx="1352588" cy="76944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ru-RU" sz="1000" i="1" dirty="0" smtClean="0">
                <a:solidFill>
                  <a:schemeClr val="bg1"/>
                </a:solidFill>
                <a:latin typeface="+mj-lt"/>
              </a:rPr>
              <a:t>Потенциал для открытия новых магазинов</a:t>
            </a:r>
            <a:r>
              <a:rPr dirty="0">
                <a:solidFill>
                  <a:schemeClr val="bg1"/>
                </a:solidFill>
                <a:latin typeface="+mj-lt"/>
              </a:rPr>
              <a:t/>
            </a:r>
            <a:br>
              <a:rPr dirty="0">
                <a:solidFill>
                  <a:schemeClr val="bg1"/>
                </a:solidFill>
                <a:latin typeface="+mj-lt"/>
              </a:rPr>
            </a:br>
            <a:r>
              <a:rPr lang="ru-RU" sz="1000" i="1" dirty="0" smtClean="0">
                <a:solidFill>
                  <a:schemeClr val="bg1"/>
                </a:solidFill>
                <a:latin typeface="+mj-lt"/>
              </a:rPr>
              <a:t>(максимальное число новых магазинов)</a:t>
            </a:r>
            <a:endParaRPr lang="ru-RU" sz="1000" i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70" name="TextBox 269"/>
          <p:cNvSpPr txBox="1"/>
          <p:nvPr/>
        </p:nvSpPr>
        <p:spPr>
          <a:xfrm>
            <a:off x="2084400" y="1261144"/>
            <a:ext cx="2114220" cy="3193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Модель функциональных возможностей</a:t>
            </a:r>
            <a:endParaRPr lang="ru-RU" sz="12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1" name="Rectangle 129"/>
          <p:cNvSpPr>
            <a:spLocks noChangeArrowheads="1"/>
          </p:cNvSpPr>
          <p:nvPr/>
        </p:nvSpPr>
        <p:spPr bwMode="auto">
          <a:xfrm>
            <a:off x="1472895" y="760984"/>
            <a:ext cx="530225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6600" i="1" dirty="0" smtClean="0">
                <a:solidFill>
                  <a:schemeClr val="bg1"/>
                </a:solidFill>
                <a:latin typeface="+mj-lt"/>
              </a:rPr>
              <a:t>1</a:t>
            </a:r>
            <a:endParaRPr lang="ru-RU" sz="6600" i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72" name="Rectangle 129"/>
          <p:cNvSpPr>
            <a:spLocks noChangeArrowheads="1"/>
          </p:cNvSpPr>
          <p:nvPr/>
        </p:nvSpPr>
        <p:spPr bwMode="auto">
          <a:xfrm>
            <a:off x="1501749" y="1621411"/>
            <a:ext cx="472885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6600" i="1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2</a:t>
            </a:r>
            <a:endParaRPr kumimoji="0" lang="ru-RU" sz="1200" i="1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73" name="Rectangle 272"/>
          <p:cNvSpPr/>
          <p:nvPr/>
        </p:nvSpPr>
        <p:spPr>
          <a:xfrm>
            <a:off x="6640700" y="3113047"/>
            <a:ext cx="3129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2</a:t>
            </a:r>
            <a:endParaRPr lang="ru-RU" sz="8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74" name="Rectangle 129"/>
          <p:cNvSpPr>
            <a:spLocks noChangeArrowheads="1"/>
          </p:cNvSpPr>
          <p:nvPr/>
        </p:nvSpPr>
        <p:spPr bwMode="auto">
          <a:xfrm>
            <a:off x="1472895" y="2855549"/>
            <a:ext cx="530225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6600" i="1" dirty="0" smtClean="0">
                <a:solidFill>
                  <a:schemeClr val="bg1"/>
                </a:solidFill>
                <a:latin typeface="+mj-lt"/>
              </a:rPr>
              <a:t>3</a:t>
            </a:r>
            <a:endParaRPr lang="ru-RU" sz="6600" i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2084400" y="3375218"/>
            <a:ext cx="1689492" cy="3193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Экономическое обоснование</a:t>
            </a:r>
            <a:endParaRPr lang="ru-RU" sz="12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6" name="Rectangle 275"/>
          <p:cNvSpPr/>
          <p:nvPr/>
        </p:nvSpPr>
        <p:spPr>
          <a:xfrm>
            <a:off x="1577788" y="5443153"/>
            <a:ext cx="7562221" cy="576293"/>
          </a:xfrm>
          <a:prstGeom prst="rect">
            <a:avLst/>
          </a:prstGeom>
          <a:solidFill>
            <a:srgbClr val="A7A49B"/>
          </a:solidFill>
          <a:ln>
            <a:noFill/>
          </a:ln>
        </p:spPr>
        <p:txBody>
          <a:bodyPr wrap="square" lIns="72000" tIns="72000" rIns="648000" bIns="72000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К настоящему времени мы оценили около 30 000 розничных торговых точек и банковских отделений в Центральной и Восточной Европе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2084400" y="3765700"/>
            <a:ext cx="2190237" cy="947870"/>
            <a:chOff x="1876636" y="5057386"/>
            <a:chExt cx="2190237" cy="947870"/>
          </a:xfrm>
        </p:grpSpPr>
        <p:pic>
          <p:nvPicPr>
            <p:cNvPr id="278" name="Picture 3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5490" y="5057386"/>
              <a:ext cx="1061383" cy="947870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279" name="Picture 2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76636" y="5057386"/>
              <a:ext cx="1062038" cy="947738"/>
            </a:xfrm>
            <a:prstGeom prst="rect">
              <a:avLst/>
            </a:prstGeom>
            <a:noFill/>
            <a:ln>
              <a:noFill/>
            </a:ln>
            <a:effectLst/>
          </p:spPr>
        </p:pic>
      </p:grpSp>
      <p:sp>
        <p:nvSpPr>
          <p:cNvPr id="64" name="Rectangle 63"/>
          <p:cNvSpPr/>
          <p:nvPr/>
        </p:nvSpPr>
        <p:spPr bwMode="ltGray">
          <a:xfrm>
            <a:off x="4576297" y="1946134"/>
            <a:ext cx="2708583" cy="430887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000" i="1" dirty="0" smtClean="0">
                <a:solidFill>
                  <a:schemeClr val="bg1"/>
                </a:solidFill>
                <a:latin typeface="+mj-lt"/>
              </a:rPr>
              <a:t>Пример анализа из нашего проектного опыта</a:t>
            </a:r>
            <a:r>
              <a:rPr lang="ru-RU" smtClean="0">
                <a:solidFill>
                  <a:schemeClr val="bg1"/>
                </a:solidFill>
                <a:latin typeface="+mj-lt"/>
              </a:rPr>
              <a:t> </a:t>
            </a:r>
            <a:endParaRPr lang="ru-RU" sz="1000" i="1" baseline="30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6" name="Rectangle 65"/>
          <p:cNvSpPr/>
          <p:nvPr/>
        </p:nvSpPr>
        <p:spPr bwMode="ltGray">
          <a:xfrm>
            <a:off x="7407855" y="1938253"/>
            <a:ext cx="1202743" cy="283271"/>
          </a:xfrm>
          <a:prstGeom prst="rect">
            <a:avLst/>
          </a:prstGeom>
          <a:solidFill>
            <a:srgbClr val="747066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</a:rPr>
              <a:t>Пример показателей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smtClean="0"/>
              <a:t>Определение наиболее привлекательного местоположения </a:t>
            </a:r>
            <a:r>
              <a:rPr b="0"/>
              <a:t/>
            </a:r>
            <a:br>
              <a:rPr b="0"/>
            </a:br>
            <a:endParaRPr lang="ru-RU" b="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907" y="2305033"/>
            <a:ext cx="400048" cy="44253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773" y="1776001"/>
            <a:ext cx="580316" cy="416992"/>
          </a:xfrm>
          <a:prstGeom prst="rect">
            <a:avLst/>
          </a:prstGeom>
        </p:spPr>
      </p:pic>
      <p:sp>
        <p:nvSpPr>
          <p:cNvPr id="61" name="Rectangle 17"/>
          <p:cNvSpPr>
            <a:spLocks/>
          </p:cNvSpPr>
          <p:nvPr/>
        </p:nvSpPr>
        <p:spPr bwMode="auto">
          <a:xfrm>
            <a:off x="142451" y="1210658"/>
            <a:ext cx="738960" cy="2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9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Геопространственный анализ</a:t>
            </a:r>
            <a:endParaRPr lang="ru-RU" sz="9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grpSp>
        <p:nvGrpSpPr>
          <p:cNvPr id="92" name="Group 91"/>
          <p:cNvGrpSpPr/>
          <p:nvPr/>
        </p:nvGrpSpPr>
        <p:grpSpPr>
          <a:xfrm>
            <a:off x="147993" y="4536826"/>
            <a:ext cx="727877" cy="542451"/>
            <a:chOff x="147993" y="4332403"/>
            <a:chExt cx="727877" cy="542451"/>
          </a:xfrm>
        </p:grpSpPr>
        <p:sp>
          <p:nvSpPr>
            <p:cNvPr id="93" name="Rectangle 17"/>
            <p:cNvSpPr>
              <a:spLocks/>
            </p:cNvSpPr>
            <p:nvPr/>
          </p:nvSpPr>
          <p:spPr bwMode="auto">
            <a:xfrm>
              <a:off x="147993" y="4628633"/>
              <a:ext cx="72787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Статистические бюро</a:t>
              </a:r>
            </a:p>
          </p:txBody>
        </p:sp>
        <p:grpSp>
          <p:nvGrpSpPr>
            <p:cNvPr id="94" name="Group 19"/>
            <p:cNvGrpSpPr>
              <a:grpSpLocks noChangeAspect="1"/>
            </p:cNvGrpSpPr>
            <p:nvPr/>
          </p:nvGrpSpPr>
          <p:grpSpPr bwMode="auto">
            <a:xfrm>
              <a:off x="382761" y="4332403"/>
              <a:ext cx="245626" cy="189402"/>
              <a:chOff x="-1698" y="1247"/>
              <a:chExt cx="2512" cy="1937"/>
            </a:xfrm>
            <a:solidFill>
              <a:schemeClr val="bg1"/>
            </a:solidFill>
          </p:grpSpPr>
          <p:sp>
            <p:nvSpPr>
              <p:cNvPr id="95" name="Freeform 21"/>
              <p:cNvSpPr>
                <a:spLocks/>
              </p:cNvSpPr>
              <p:nvPr/>
            </p:nvSpPr>
            <p:spPr bwMode="auto">
              <a:xfrm>
                <a:off x="-1698" y="1629"/>
                <a:ext cx="2512" cy="1555"/>
              </a:xfrm>
              <a:custGeom>
                <a:avLst/>
                <a:gdLst>
                  <a:gd name="T0" fmla="*/ 1567 w 5025"/>
                  <a:gd name="T1" fmla="*/ 0 h 3111"/>
                  <a:gd name="T2" fmla="*/ 687 w 5025"/>
                  <a:gd name="T3" fmla="*/ 329 h 3111"/>
                  <a:gd name="T4" fmla="*/ 4341 w 5025"/>
                  <a:gd name="T5" fmla="*/ 2522 h 3111"/>
                  <a:gd name="T6" fmla="*/ 4130 w 5025"/>
                  <a:gd name="T7" fmla="*/ 329 h 3111"/>
                  <a:gd name="T8" fmla="*/ 4479 w 5025"/>
                  <a:gd name="T9" fmla="*/ 0 h 3111"/>
                  <a:gd name="T10" fmla="*/ 4554 w 5025"/>
                  <a:gd name="T11" fmla="*/ 15 h 3111"/>
                  <a:gd name="T12" fmla="*/ 4614 w 5025"/>
                  <a:gd name="T13" fmla="*/ 55 h 3111"/>
                  <a:gd name="T14" fmla="*/ 4655 w 5025"/>
                  <a:gd name="T15" fmla="*/ 116 h 3111"/>
                  <a:gd name="T16" fmla="*/ 4670 w 5025"/>
                  <a:gd name="T17" fmla="*/ 189 h 3111"/>
                  <a:gd name="T18" fmla="*/ 4939 w 5025"/>
                  <a:gd name="T19" fmla="*/ 2651 h 3111"/>
                  <a:gd name="T20" fmla="*/ 4990 w 5025"/>
                  <a:gd name="T21" fmla="*/ 2668 h 3111"/>
                  <a:gd name="T22" fmla="*/ 5020 w 5025"/>
                  <a:gd name="T23" fmla="*/ 2711 h 3111"/>
                  <a:gd name="T24" fmla="*/ 5022 w 5025"/>
                  <a:gd name="T25" fmla="*/ 2793 h 3111"/>
                  <a:gd name="T26" fmla="*/ 4991 w 5025"/>
                  <a:gd name="T27" fmla="*/ 2894 h 3111"/>
                  <a:gd name="T28" fmla="*/ 4933 w 5025"/>
                  <a:gd name="T29" fmla="*/ 2983 h 3111"/>
                  <a:gd name="T30" fmla="*/ 4855 w 5025"/>
                  <a:gd name="T31" fmla="*/ 3050 h 3111"/>
                  <a:gd name="T32" fmla="*/ 4761 w 5025"/>
                  <a:gd name="T33" fmla="*/ 3094 h 3111"/>
                  <a:gd name="T34" fmla="*/ 4652 w 5025"/>
                  <a:gd name="T35" fmla="*/ 3111 h 3111"/>
                  <a:gd name="T36" fmla="*/ 3969 w 5025"/>
                  <a:gd name="T37" fmla="*/ 2949 h 3111"/>
                  <a:gd name="T38" fmla="*/ 3954 w 5025"/>
                  <a:gd name="T39" fmla="*/ 2897 h 3111"/>
                  <a:gd name="T40" fmla="*/ 3917 w 5025"/>
                  <a:gd name="T41" fmla="*/ 2859 h 3111"/>
                  <a:gd name="T42" fmla="*/ 3866 w 5025"/>
                  <a:gd name="T43" fmla="*/ 2845 h 3111"/>
                  <a:gd name="T44" fmla="*/ 3812 w 5025"/>
                  <a:gd name="T45" fmla="*/ 2859 h 3111"/>
                  <a:gd name="T46" fmla="*/ 3775 w 5025"/>
                  <a:gd name="T47" fmla="*/ 2897 h 3111"/>
                  <a:gd name="T48" fmla="*/ 3762 w 5025"/>
                  <a:gd name="T49" fmla="*/ 2949 h 3111"/>
                  <a:gd name="T50" fmla="*/ 3591 w 5025"/>
                  <a:gd name="T51" fmla="*/ 3111 h 3111"/>
                  <a:gd name="T52" fmla="*/ 3588 w 5025"/>
                  <a:gd name="T53" fmla="*/ 2922 h 3111"/>
                  <a:gd name="T54" fmla="*/ 3560 w 5025"/>
                  <a:gd name="T55" fmla="*/ 2876 h 3111"/>
                  <a:gd name="T56" fmla="*/ 3514 w 5025"/>
                  <a:gd name="T57" fmla="*/ 2850 h 3111"/>
                  <a:gd name="T58" fmla="*/ 3459 w 5025"/>
                  <a:gd name="T59" fmla="*/ 2850 h 3111"/>
                  <a:gd name="T60" fmla="*/ 3413 w 5025"/>
                  <a:gd name="T61" fmla="*/ 2876 h 3111"/>
                  <a:gd name="T62" fmla="*/ 3387 w 5025"/>
                  <a:gd name="T63" fmla="*/ 2922 h 3111"/>
                  <a:gd name="T64" fmla="*/ 3383 w 5025"/>
                  <a:gd name="T65" fmla="*/ 3111 h 3111"/>
                  <a:gd name="T66" fmla="*/ 318 w 5025"/>
                  <a:gd name="T67" fmla="*/ 3106 h 3111"/>
                  <a:gd name="T68" fmla="*/ 215 w 5025"/>
                  <a:gd name="T69" fmla="*/ 3076 h 3111"/>
                  <a:gd name="T70" fmla="*/ 128 w 5025"/>
                  <a:gd name="T71" fmla="*/ 3019 h 3111"/>
                  <a:gd name="T72" fmla="*/ 60 w 5025"/>
                  <a:gd name="T73" fmla="*/ 2940 h 3111"/>
                  <a:gd name="T74" fmla="*/ 15 w 5025"/>
                  <a:gd name="T75" fmla="*/ 2845 h 3111"/>
                  <a:gd name="T76" fmla="*/ 0 w 5025"/>
                  <a:gd name="T77" fmla="*/ 2738 h 3111"/>
                  <a:gd name="T78" fmla="*/ 17 w 5025"/>
                  <a:gd name="T79" fmla="*/ 2687 h 3111"/>
                  <a:gd name="T80" fmla="*/ 60 w 5025"/>
                  <a:gd name="T81" fmla="*/ 2656 h 3111"/>
                  <a:gd name="T82" fmla="*/ 357 w 5025"/>
                  <a:gd name="T83" fmla="*/ 2651 h 3111"/>
                  <a:gd name="T84" fmla="*/ 360 w 5025"/>
                  <a:gd name="T85" fmla="*/ 151 h 3111"/>
                  <a:gd name="T86" fmla="*/ 389 w 5025"/>
                  <a:gd name="T87" fmla="*/ 84 h 3111"/>
                  <a:gd name="T88" fmla="*/ 441 w 5025"/>
                  <a:gd name="T89" fmla="*/ 32 h 3111"/>
                  <a:gd name="T90" fmla="*/ 509 w 5025"/>
                  <a:gd name="T91" fmla="*/ 3 h 3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025" h="3111">
                    <a:moveTo>
                      <a:pt x="547" y="0"/>
                    </a:moveTo>
                    <a:lnTo>
                      <a:pt x="1567" y="0"/>
                    </a:lnTo>
                    <a:lnTo>
                      <a:pt x="1167" y="329"/>
                    </a:lnTo>
                    <a:lnTo>
                      <a:pt x="687" y="329"/>
                    </a:lnTo>
                    <a:lnTo>
                      <a:pt x="687" y="2522"/>
                    </a:lnTo>
                    <a:lnTo>
                      <a:pt x="4341" y="2522"/>
                    </a:lnTo>
                    <a:lnTo>
                      <a:pt x="4341" y="329"/>
                    </a:lnTo>
                    <a:lnTo>
                      <a:pt x="4130" y="329"/>
                    </a:lnTo>
                    <a:lnTo>
                      <a:pt x="4266" y="0"/>
                    </a:lnTo>
                    <a:lnTo>
                      <a:pt x="4479" y="0"/>
                    </a:lnTo>
                    <a:lnTo>
                      <a:pt x="4518" y="3"/>
                    </a:lnTo>
                    <a:lnTo>
                      <a:pt x="4554" y="15"/>
                    </a:lnTo>
                    <a:lnTo>
                      <a:pt x="4586" y="32"/>
                    </a:lnTo>
                    <a:lnTo>
                      <a:pt x="4614" y="55"/>
                    </a:lnTo>
                    <a:lnTo>
                      <a:pt x="4637" y="84"/>
                    </a:lnTo>
                    <a:lnTo>
                      <a:pt x="4655" y="116"/>
                    </a:lnTo>
                    <a:lnTo>
                      <a:pt x="4666" y="151"/>
                    </a:lnTo>
                    <a:lnTo>
                      <a:pt x="4670" y="189"/>
                    </a:lnTo>
                    <a:lnTo>
                      <a:pt x="4670" y="2651"/>
                    </a:lnTo>
                    <a:lnTo>
                      <a:pt x="4939" y="2651"/>
                    </a:lnTo>
                    <a:lnTo>
                      <a:pt x="4965" y="2656"/>
                    </a:lnTo>
                    <a:lnTo>
                      <a:pt x="4990" y="2668"/>
                    </a:lnTo>
                    <a:lnTo>
                      <a:pt x="5008" y="2687"/>
                    </a:lnTo>
                    <a:lnTo>
                      <a:pt x="5020" y="2711"/>
                    </a:lnTo>
                    <a:lnTo>
                      <a:pt x="5025" y="2738"/>
                    </a:lnTo>
                    <a:lnTo>
                      <a:pt x="5022" y="2793"/>
                    </a:lnTo>
                    <a:lnTo>
                      <a:pt x="5009" y="2845"/>
                    </a:lnTo>
                    <a:lnTo>
                      <a:pt x="4991" y="2894"/>
                    </a:lnTo>
                    <a:lnTo>
                      <a:pt x="4965" y="2940"/>
                    </a:lnTo>
                    <a:lnTo>
                      <a:pt x="4933" y="2983"/>
                    </a:lnTo>
                    <a:lnTo>
                      <a:pt x="4896" y="3019"/>
                    </a:lnTo>
                    <a:lnTo>
                      <a:pt x="4855" y="3050"/>
                    </a:lnTo>
                    <a:lnTo>
                      <a:pt x="4809" y="3076"/>
                    </a:lnTo>
                    <a:lnTo>
                      <a:pt x="4761" y="3094"/>
                    </a:lnTo>
                    <a:lnTo>
                      <a:pt x="4707" y="3106"/>
                    </a:lnTo>
                    <a:lnTo>
                      <a:pt x="4652" y="3111"/>
                    </a:lnTo>
                    <a:lnTo>
                      <a:pt x="3969" y="3111"/>
                    </a:lnTo>
                    <a:lnTo>
                      <a:pt x="3969" y="2949"/>
                    </a:lnTo>
                    <a:lnTo>
                      <a:pt x="3965" y="2922"/>
                    </a:lnTo>
                    <a:lnTo>
                      <a:pt x="3954" y="2897"/>
                    </a:lnTo>
                    <a:lnTo>
                      <a:pt x="3939" y="2876"/>
                    </a:lnTo>
                    <a:lnTo>
                      <a:pt x="3917" y="2859"/>
                    </a:lnTo>
                    <a:lnTo>
                      <a:pt x="3893" y="2850"/>
                    </a:lnTo>
                    <a:lnTo>
                      <a:pt x="3866" y="2845"/>
                    </a:lnTo>
                    <a:lnTo>
                      <a:pt x="3838" y="2850"/>
                    </a:lnTo>
                    <a:lnTo>
                      <a:pt x="3812" y="2859"/>
                    </a:lnTo>
                    <a:lnTo>
                      <a:pt x="3792" y="2876"/>
                    </a:lnTo>
                    <a:lnTo>
                      <a:pt x="3775" y="2897"/>
                    </a:lnTo>
                    <a:lnTo>
                      <a:pt x="3765" y="2922"/>
                    </a:lnTo>
                    <a:lnTo>
                      <a:pt x="3762" y="2949"/>
                    </a:lnTo>
                    <a:lnTo>
                      <a:pt x="3762" y="3111"/>
                    </a:lnTo>
                    <a:lnTo>
                      <a:pt x="3591" y="3111"/>
                    </a:lnTo>
                    <a:lnTo>
                      <a:pt x="3591" y="2949"/>
                    </a:lnTo>
                    <a:lnTo>
                      <a:pt x="3588" y="2922"/>
                    </a:lnTo>
                    <a:lnTo>
                      <a:pt x="3577" y="2897"/>
                    </a:lnTo>
                    <a:lnTo>
                      <a:pt x="3560" y="2876"/>
                    </a:lnTo>
                    <a:lnTo>
                      <a:pt x="3540" y="2859"/>
                    </a:lnTo>
                    <a:lnTo>
                      <a:pt x="3514" y="2850"/>
                    </a:lnTo>
                    <a:lnTo>
                      <a:pt x="3487" y="2845"/>
                    </a:lnTo>
                    <a:lnTo>
                      <a:pt x="3459" y="2850"/>
                    </a:lnTo>
                    <a:lnTo>
                      <a:pt x="3435" y="2859"/>
                    </a:lnTo>
                    <a:lnTo>
                      <a:pt x="3413" y="2876"/>
                    </a:lnTo>
                    <a:lnTo>
                      <a:pt x="3398" y="2897"/>
                    </a:lnTo>
                    <a:lnTo>
                      <a:pt x="3387" y="2922"/>
                    </a:lnTo>
                    <a:lnTo>
                      <a:pt x="3383" y="2949"/>
                    </a:lnTo>
                    <a:lnTo>
                      <a:pt x="3383" y="3111"/>
                    </a:lnTo>
                    <a:lnTo>
                      <a:pt x="373" y="3111"/>
                    </a:lnTo>
                    <a:lnTo>
                      <a:pt x="318" y="3106"/>
                    </a:lnTo>
                    <a:lnTo>
                      <a:pt x="266" y="3094"/>
                    </a:lnTo>
                    <a:lnTo>
                      <a:pt x="215" y="3076"/>
                    </a:lnTo>
                    <a:lnTo>
                      <a:pt x="170" y="3050"/>
                    </a:lnTo>
                    <a:lnTo>
                      <a:pt x="128" y="3019"/>
                    </a:lnTo>
                    <a:lnTo>
                      <a:pt x="92" y="2983"/>
                    </a:lnTo>
                    <a:lnTo>
                      <a:pt x="60" y="2940"/>
                    </a:lnTo>
                    <a:lnTo>
                      <a:pt x="35" y="2894"/>
                    </a:lnTo>
                    <a:lnTo>
                      <a:pt x="15" y="2845"/>
                    </a:lnTo>
                    <a:lnTo>
                      <a:pt x="5" y="2793"/>
                    </a:lnTo>
                    <a:lnTo>
                      <a:pt x="0" y="2738"/>
                    </a:lnTo>
                    <a:lnTo>
                      <a:pt x="5" y="2711"/>
                    </a:lnTo>
                    <a:lnTo>
                      <a:pt x="17" y="2687"/>
                    </a:lnTo>
                    <a:lnTo>
                      <a:pt x="35" y="2668"/>
                    </a:lnTo>
                    <a:lnTo>
                      <a:pt x="60" y="2656"/>
                    </a:lnTo>
                    <a:lnTo>
                      <a:pt x="87" y="2651"/>
                    </a:lnTo>
                    <a:lnTo>
                      <a:pt x="357" y="2651"/>
                    </a:lnTo>
                    <a:lnTo>
                      <a:pt x="357" y="189"/>
                    </a:lnTo>
                    <a:lnTo>
                      <a:pt x="360" y="151"/>
                    </a:lnTo>
                    <a:lnTo>
                      <a:pt x="373" y="116"/>
                    </a:lnTo>
                    <a:lnTo>
                      <a:pt x="389" y="84"/>
                    </a:lnTo>
                    <a:lnTo>
                      <a:pt x="412" y="55"/>
                    </a:lnTo>
                    <a:lnTo>
                      <a:pt x="441" y="32"/>
                    </a:lnTo>
                    <a:lnTo>
                      <a:pt x="473" y="15"/>
                    </a:lnTo>
                    <a:lnTo>
                      <a:pt x="509" y="3"/>
                    </a:lnTo>
                    <a:lnTo>
                      <a:pt x="54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6" name="Freeform 22"/>
              <p:cNvSpPr>
                <a:spLocks/>
              </p:cNvSpPr>
              <p:nvPr/>
            </p:nvSpPr>
            <p:spPr bwMode="auto">
              <a:xfrm>
                <a:off x="-1128" y="1247"/>
                <a:ext cx="1571" cy="825"/>
              </a:xfrm>
              <a:custGeom>
                <a:avLst/>
                <a:gdLst>
                  <a:gd name="T0" fmla="*/ 3101 w 3143"/>
                  <a:gd name="T1" fmla="*/ 0 h 1651"/>
                  <a:gd name="T2" fmla="*/ 3101 w 3143"/>
                  <a:gd name="T3" fmla="*/ 0 h 1651"/>
                  <a:gd name="T4" fmla="*/ 3113 w 3143"/>
                  <a:gd name="T5" fmla="*/ 2 h 1651"/>
                  <a:gd name="T6" fmla="*/ 3124 w 3143"/>
                  <a:gd name="T7" fmla="*/ 6 h 1651"/>
                  <a:gd name="T8" fmla="*/ 3134 w 3143"/>
                  <a:gd name="T9" fmla="*/ 15 h 1651"/>
                  <a:gd name="T10" fmla="*/ 3142 w 3143"/>
                  <a:gd name="T11" fmla="*/ 29 h 1651"/>
                  <a:gd name="T12" fmla="*/ 3143 w 3143"/>
                  <a:gd name="T13" fmla="*/ 44 h 1651"/>
                  <a:gd name="T14" fmla="*/ 3140 w 3143"/>
                  <a:gd name="T15" fmla="*/ 60 h 1651"/>
                  <a:gd name="T16" fmla="*/ 2752 w 3143"/>
                  <a:gd name="T17" fmla="*/ 1001 h 1651"/>
                  <a:gd name="T18" fmla="*/ 2745 w 3143"/>
                  <a:gd name="T19" fmla="*/ 1015 h 1651"/>
                  <a:gd name="T20" fmla="*/ 2733 w 3143"/>
                  <a:gd name="T21" fmla="*/ 1022 h 1651"/>
                  <a:gd name="T22" fmla="*/ 2719 w 3143"/>
                  <a:gd name="T23" fmla="*/ 1029 h 1651"/>
                  <a:gd name="T24" fmla="*/ 2713 w 3143"/>
                  <a:gd name="T25" fmla="*/ 1029 h 1651"/>
                  <a:gd name="T26" fmla="*/ 2701 w 3143"/>
                  <a:gd name="T27" fmla="*/ 1027 h 1651"/>
                  <a:gd name="T28" fmla="*/ 2688 w 3143"/>
                  <a:gd name="T29" fmla="*/ 1021 h 1651"/>
                  <a:gd name="T30" fmla="*/ 2679 w 3143"/>
                  <a:gd name="T31" fmla="*/ 1013 h 1651"/>
                  <a:gd name="T32" fmla="*/ 2484 w 3143"/>
                  <a:gd name="T33" fmla="*/ 775 h 1651"/>
                  <a:gd name="T34" fmla="*/ 1271 w 3143"/>
                  <a:gd name="T35" fmla="*/ 1596 h 1651"/>
                  <a:gd name="T36" fmla="*/ 1189 w 3143"/>
                  <a:gd name="T37" fmla="*/ 1651 h 1651"/>
                  <a:gd name="T38" fmla="*/ 1134 w 3143"/>
                  <a:gd name="T39" fmla="*/ 1584 h 1651"/>
                  <a:gd name="T40" fmla="*/ 677 w 3143"/>
                  <a:gd name="T41" fmla="*/ 1033 h 1651"/>
                  <a:gd name="T42" fmla="*/ 40 w 3143"/>
                  <a:gd name="T43" fmla="*/ 1492 h 1651"/>
                  <a:gd name="T44" fmla="*/ 37 w 3143"/>
                  <a:gd name="T45" fmla="*/ 1488 h 1651"/>
                  <a:gd name="T46" fmla="*/ 29 w 3143"/>
                  <a:gd name="T47" fmla="*/ 1480 h 1651"/>
                  <a:gd name="T48" fmla="*/ 20 w 3143"/>
                  <a:gd name="T49" fmla="*/ 1471 h 1651"/>
                  <a:gd name="T50" fmla="*/ 11 w 3143"/>
                  <a:gd name="T51" fmla="*/ 1460 h 1651"/>
                  <a:gd name="T52" fmla="*/ 5 w 3143"/>
                  <a:gd name="T53" fmla="*/ 1453 h 1651"/>
                  <a:gd name="T54" fmla="*/ 0 w 3143"/>
                  <a:gd name="T55" fmla="*/ 1448 h 1651"/>
                  <a:gd name="T56" fmla="*/ 652 w 3143"/>
                  <a:gd name="T57" fmla="*/ 911 h 1651"/>
                  <a:gd name="T58" fmla="*/ 689 w 3143"/>
                  <a:gd name="T59" fmla="*/ 879 h 1651"/>
                  <a:gd name="T60" fmla="*/ 729 w 3143"/>
                  <a:gd name="T61" fmla="*/ 917 h 1651"/>
                  <a:gd name="T62" fmla="*/ 1211 w 3143"/>
                  <a:gd name="T63" fmla="*/ 1379 h 1651"/>
                  <a:gd name="T64" fmla="*/ 2245 w 3143"/>
                  <a:gd name="T65" fmla="*/ 488 h 1651"/>
                  <a:gd name="T66" fmla="*/ 2067 w 3143"/>
                  <a:gd name="T67" fmla="*/ 273 h 1651"/>
                  <a:gd name="T68" fmla="*/ 2061 w 3143"/>
                  <a:gd name="T69" fmla="*/ 260 h 1651"/>
                  <a:gd name="T70" fmla="*/ 2058 w 3143"/>
                  <a:gd name="T71" fmla="*/ 246 h 1651"/>
                  <a:gd name="T72" fmla="*/ 2061 w 3143"/>
                  <a:gd name="T73" fmla="*/ 231 h 1651"/>
                  <a:gd name="T74" fmla="*/ 2067 w 3143"/>
                  <a:gd name="T75" fmla="*/ 218 h 1651"/>
                  <a:gd name="T76" fmla="*/ 2079 w 3143"/>
                  <a:gd name="T77" fmla="*/ 208 h 1651"/>
                  <a:gd name="T78" fmla="*/ 2093 w 3143"/>
                  <a:gd name="T79" fmla="*/ 203 h 1651"/>
                  <a:gd name="T80" fmla="*/ 3092 w 3143"/>
                  <a:gd name="T81" fmla="*/ 0 h 1651"/>
                  <a:gd name="T82" fmla="*/ 3101 w 3143"/>
                  <a:gd name="T83" fmla="*/ 0 h 1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143" h="1651">
                    <a:moveTo>
                      <a:pt x="3101" y="0"/>
                    </a:moveTo>
                    <a:lnTo>
                      <a:pt x="3101" y="0"/>
                    </a:lnTo>
                    <a:lnTo>
                      <a:pt x="3113" y="2"/>
                    </a:lnTo>
                    <a:lnTo>
                      <a:pt x="3124" y="6"/>
                    </a:lnTo>
                    <a:lnTo>
                      <a:pt x="3134" y="15"/>
                    </a:lnTo>
                    <a:lnTo>
                      <a:pt x="3142" y="29"/>
                    </a:lnTo>
                    <a:lnTo>
                      <a:pt x="3143" y="44"/>
                    </a:lnTo>
                    <a:lnTo>
                      <a:pt x="3140" y="60"/>
                    </a:lnTo>
                    <a:lnTo>
                      <a:pt x="2752" y="1001"/>
                    </a:lnTo>
                    <a:lnTo>
                      <a:pt x="2745" y="1015"/>
                    </a:lnTo>
                    <a:lnTo>
                      <a:pt x="2733" y="1022"/>
                    </a:lnTo>
                    <a:lnTo>
                      <a:pt x="2719" y="1029"/>
                    </a:lnTo>
                    <a:lnTo>
                      <a:pt x="2713" y="1029"/>
                    </a:lnTo>
                    <a:lnTo>
                      <a:pt x="2701" y="1027"/>
                    </a:lnTo>
                    <a:lnTo>
                      <a:pt x="2688" y="1021"/>
                    </a:lnTo>
                    <a:lnTo>
                      <a:pt x="2679" y="1013"/>
                    </a:lnTo>
                    <a:lnTo>
                      <a:pt x="2484" y="775"/>
                    </a:lnTo>
                    <a:lnTo>
                      <a:pt x="1271" y="1596"/>
                    </a:lnTo>
                    <a:lnTo>
                      <a:pt x="1189" y="1651"/>
                    </a:lnTo>
                    <a:lnTo>
                      <a:pt x="1134" y="1584"/>
                    </a:lnTo>
                    <a:lnTo>
                      <a:pt x="677" y="1033"/>
                    </a:lnTo>
                    <a:lnTo>
                      <a:pt x="40" y="1492"/>
                    </a:lnTo>
                    <a:lnTo>
                      <a:pt x="37" y="1488"/>
                    </a:lnTo>
                    <a:lnTo>
                      <a:pt x="29" y="1480"/>
                    </a:lnTo>
                    <a:lnTo>
                      <a:pt x="20" y="1471"/>
                    </a:lnTo>
                    <a:lnTo>
                      <a:pt x="11" y="1460"/>
                    </a:lnTo>
                    <a:lnTo>
                      <a:pt x="5" y="1453"/>
                    </a:lnTo>
                    <a:lnTo>
                      <a:pt x="0" y="1448"/>
                    </a:lnTo>
                    <a:lnTo>
                      <a:pt x="652" y="911"/>
                    </a:lnTo>
                    <a:lnTo>
                      <a:pt x="689" y="879"/>
                    </a:lnTo>
                    <a:lnTo>
                      <a:pt x="729" y="917"/>
                    </a:lnTo>
                    <a:lnTo>
                      <a:pt x="1211" y="1379"/>
                    </a:lnTo>
                    <a:lnTo>
                      <a:pt x="2245" y="488"/>
                    </a:lnTo>
                    <a:lnTo>
                      <a:pt x="2067" y="273"/>
                    </a:lnTo>
                    <a:lnTo>
                      <a:pt x="2061" y="260"/>
                    </a:lnTo>
                    <a:lnTo>
                      <a:pt x="2058" y="246"/>
                    </a:lnTo>
                    <a:lnTo>
                      <a:pt x="2061" y="231"/>
                    </a:lnTo>
                    <a:lnTo>
                      <a:pt x="2067" y="218"/>
                    </a:lnTo>
                    <a:lnTo>
                      <a:pt x="2079" y="208"/>
                    </a:lnTo>
                    <a:lnTo>
                      <a:pt x="2093" y="203"/>
                    </a:lnTo>
                    <a:lnTo>
                      <a:pt x="3092" y="0"/>
                    </a:lnTo>
                    <a:lnTo>
                      <a:pt x="310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7" name="Freeform 23"/>
              <p:cNvSpPr>
                <a:spLocks/>
              </p:cNvSpPr>
              <p:nvPr/>
            </p:nvSpPr>
            <p:spPr bwMode="auto">
              <a:xfrm>
                <a:off x="-394" y="2507"/>
                <a:ext cx="102" cy="270"/>
              </a:xfrm>
              <a:custGeom>
                <a:avLst/>
                <a:gdLst>
                  <a:gd name="T0" fmla="*/ 102 w 205"/>
                  <a:gd name="T1" fmla="*/ 0 h 540"/>
                  <a:gd name="T2" fmla="*/ 128 w 205"/>
                  <a:gd name="T3" fmla="*/ 3 h 540"/>
                  <a:gd name="T4" fmla="*/ 153 w 205"/>
                  <a:gd name="T5" fmla="*/ 14 h 540"/>
                  <a:gd name="T6" fmla="*/ 174 w 205"/>
                  <a:gd name="T7" fmla="*/ 29 h 540"/>
                  <a:gd name="T8" fmla="*/ 191 w 205"/>
                  <a:gd name="T9" fmla="*/ 50 h 540"/>
                  <a:gd name="T10" fmla="*/ 200 w 205"/>
                  <a:gd name="T11" fmla="*/ 75 h 540"/>
                  <a:gd name="T12" fmla="*/ 205 w 205"/>
                  <a:gd name="T13" fmla="*/ 102 h 540"/>
                  <a:gd name="T14" fmla="*/ 205 w 205"/>
                  <a:gd name="T15" fmla="*/ 438 h 540"/>
                  <a:gd name="T16" fmla="*/ 200 w 205"/>
                  <a:gd name="T17" fmla="*/ 465 h 540"/>
                  <a:gd name="T18" fmla="*/ 191 w 205"/>
                  <a:gd name="T19" fmla="*/ 490 h 540"/>
                  <a:gd name="T20" fmla="*/ 174 w 205"/>
                  <a:gd name="T21" fmla="*/ 511 h 540"/>
                  <a:gd name="T22" fmla="*/ 153 w 205"/>
                  <a:gd name="T23" fmla="*/ 526 h 540"/>
                  <a:gd name="T24" fmla="*/ 128 w 205"/>
                  <a:gd name="T25" fmla="*/ 537 h 540"/>
                  <a:gd name="T26" fmla="*/ 102 w 205"/>
                  <a:gd name="T27" fmla="*/ 540 h 540"/>
                  <a:gd name="T28" fmla="*/ 75 w 205"/>
                  <a:gd name="T29" fmla="*/ 537 h 540"/>
                  <a:gd name="T30" fmla="*/ 50 w 205"/>
                  <a:gd name="T31" fmla="*/ 526 h 540"/>
                  <a:gd name="T32" fmla="*/ 29 w 205"/>
                  <a:gd name="T33" fmla="*/ 511 h 540"/>
                  <a:gd name="T34" fmla="*/ 14 w 205"/>
                  <a:gd name="T35" fmla="*/ 490 h 540"/>
                  <a:gd name="T36" fmla="*/ 3 w 205"/>
                  <a:gd name="T37" fmla="*/ 465 h 540"/>
                  <a:gd name="T38" fmla="*/ 0 w 205"/>
                  <a:gd name="T39" fmla="*/ 438 h 540"/>
                  <a:gd name="T40" fmla="*/ 0 w 205"/>
                  <a:gd name="T41" fmla="*/ 102 h 540"/>
                  <a:gd name="T42" fmla="*/ 3 w 205"/>
                  <a:gd name="T43" fmla="*/ 75 h 540"/>
                  <a:gd name="T44" fmla="*/ 14 w 205"/>
                  <a:gd name="T45" fmla="*/ 50 h 540"/>
                  <a:gd name="T46" fmla="*/ 29 w 205"/>
                  <a:gd name="T47" fmla="*/ 29 h 540"/>
                  <a:gd name="T48" fmla="*/ 50 w 205"/>
                  <a:gd name="T49" fmla="*/ 14 h 540"/>
                  <a:gd name="T50" fmla="*/ 75 w 205"/>
                  <a:gd name="T51" fmla="*/ 3 h 540"/>
                  <a:gd name="T52" fmla="*/ 102 w 205"/>
                  <a:gd name="T53" fmla="*/ 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5" h="540">
                    <a:moveTo>
                      <a:pt x="102" y="0"/>
                    </a:moveTo>
                    <a:lnTo>
                      <a:pt x="128" y="3"/>
                    </a:lnTo>
                    <a:lnTo>
                      <a:pt x="153" y="14"/>
                    </a:lnTo>
                    <a:lnTo>
                      <a:pt x="174" y="29"/>
                    </a:lnTo>
                    <a:lnTo>
                      <a:pt x="191" y="50"/>
                    </a:lnTo>
                    <a:lnTo>
                      <a:pt x="200" y="75"/>
                    </a:lnTo>
                    <a:lnTo>
                      <a:pt x="205" y="102"/>
                    </a:lnTo>
                    <a:lnTo>
                      <a:pt x="205" y="438"/>
                    </a:lnTo>
                    <a:lnTo>
                      <a:pt x="200" y="465"/>
                    </a:lnTo>
                    <a:lnTo>
                      <a:pt x="191" y="490"/>
                    </a:lnTo>
                    <a:lnTo>
                      <a:pt x="174" y="511"/>
                    </a:lnTo>
                    <a:lnTo>
                      <a:pt x="153" y="526"/>
                    </a:lnTo>
                    <a:lnTo>
                      <a:pt x="128" y="537"/>
                    </a:lnTo>
                    <a:lnTo>
                      <a:pt x="102" y="540"/>
                    </a:lnTo>
                    <a:lnTo>
                      <a:pt x="75" y="537"/>
                    </a:lnTo>
                    <a:lnTo>
                      <a:pt x="50" y="526"/>
                    </a:lnTo>
                    <a:lnTo>
                      <a:pt x="29" y="511"/>
                    </a:lnTo>
                    <a:lnTo>
                      <a:pt x="14" y="490"/>
                    </a:lnTo>
                    <a:lnTo>
                      <a:pt x="3" y="465"/>
                    </a:lnTo>
                    <a:lnTo>
                      <a:pt x="0" y="438"/>
                    </a:lnTo>
                    <a:lnTo>
                      <a:pt x="0" y="102"/>
                    </a:lnTo>
                    <a:lnTo>
                      <a:pt x="3" y="75"/>
                    </a:lnTo>
                    <a:lnTo>
                      <a:pt x="14" y="50"/>
                    </a:lnTo>
                    <a:lnTo>
                      <a:pt x="29" y="29"/>
                    </a:lnTo>
                    <a:lnTo>
                      <a:pt x="50" y="14"/>
                    </a:lnTo>
                    <a:lnTo>
                      <a:pt x="75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8" name="Freeform 24"/>
              <p:cNvSpPr>
                <a:spLocks/>
              </p:cNvSpPr>
              <p:nvPr/>
            </p:nvSpPr>
            <p:spPr bwMode="auto">
              <a:xfrm>
                <a:off x="-587" y="2296"/>
                <a:ext cx="102" cy="481"/>
              </a:xfrm>
              <a:custGeom>
                <a:avLst/>
                <a:gdLst>
                  <a:gd name="T0" fmla="*/ 103 w 205"/>
                  <a:gd name="T1" fmla="*/ 0 h 963"/>
                  <a:gd name="T2" fmla="*/ 130 w 205"/>
                  <a:gd name="T3" fmla="*/ 3 h 963"/>
                  <a:gd name="T4" fmla="*/ 154 w 205"/>
                  <a:gd name="T5" fmla="*/ 14 h 963"/>
                  <a:gd name="T6" fmla="*/ 176 w 205"/>
                  <a:gd name="T7" fmla="*/ 31 h 963"/>
                  <a:gd name="T8" fmla="*/ 191 w 205"/>
                  <a:gd name="T9" fmla="*/ 51 h 963"/>
                  <a:gd name="T10" fmla="*/ 202 w 205"/>
                  <a:gd name="T11" fmla="*/ 75 h 963"/>
                  <a:gd name="T12" fmla="*/ 205 w 205"/>
                  <a:gd name="T13" fmla="*/ 102 h 963"/>
                  <a:gd name="T14" fmla="*/ 205 w 205"/>
                  <a:gd name="T15" fmla="*/ 861 h 963"/>
                  <a:gd name="T16" fmla="*/ 202 w 205"/>
                  <a:gd name="T17" fmla="*/ 888 h 963"/>
                  <a:gd name="T18" fmla="*/ 191 w 205"/>
                  <a:gd name="T19" fmla="*/ 913 h 963"/>
                  <a:gd name="T20" fmla="*/ 176 w 205"/>
                  <a:gd name="T21" fmla="*/ 934 h 963"/>
                  <a:gd name="T22" fmla="*/ 154 w 205"/>
                  <a:gd name="T23" fmla="*/ 949 h 963"/>
                  <a:gd name="T24" fmla="*/ 130 w 205"/>
                  <a:gd name="T25" fmla="*/ 960 h 963"/>
                  <a:gd name="T26" fmla="*/ 103 w 205"/>
                  <a:gd name="T27" fmla="*/ 963 h 963"/>
                  <a:gd name="T28" fmla="*/ 75 w 205"/>
                  <a:gd name="T29" fmla="*/ 960 h 963"/>
                  <a:gd name="T30" fmla="*/ 51 w 205"/>
                  <a:gd name="T31" fmla="*/ 949 h 963"/>
                  <a:gd name="T32" fmla="*/ 31 w 205"/>
                  <a:gd name="T33" fmla="*/ 934 h 963"/>
                  <a:gd name="T34" fmla="*/ 14 w 205"/>
                  <a:gd name="T35" fmla="*/ 913 h 963"/>
                  <a:gd name="T36" fmla="*/ 5 w 205"/>
                  <a:gd name="T37" fmla="*/ 888 h 963"/>
                  <a:gd name="T38" fmla="*/ 0 w 205"/>
                  <a:gd name="T39" fmla="*/ 861 h 963"/>
                  <a:gd name="T40" fmla="*/ 0 w 205"/>
                  <a:gd name="T41" fmla="*/ 102 h 963"/>
                  <a:gd name="T42" fmla="*/ 5 w 205"/>
                  <a:gd name="T43" fmla="*/ 75 h 963"/>
                  <a:gd name="T44" fmla="*/ 14 w 205"/>
                  <a:gd name="T45" fmla="*/ 51 h 963"/>
                  <a:gd name="T46" fmla="*/ 31 w 205"/>
                  <a:gd name="T47" fmla="*/ 31 h 963"/>
                  <a:gd name="T48" fmla="*/ 51 w 205"/>
                  <a:gd name="T49" fmla="*/ 14 h 963"/>
                  <a:gd name="T50" fmla="*/ 75 w 205"/>
                  <a:gd name="T51" fmla="*/ 3 h 963"/>
                  <a:gd name="T52" fmla="*/ 103 w 205"/>
                  <a:gd name="T53" fmla="*/ 0 h 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5" h="963">
                    <a:moveTo>
                      <a:pt x="103" y="0"/>
                    </a:moveTo>
                    <a:lnTo>
                      <a:pt x="130" y="3"/>
                    </a:lnTo>
                    <a:lnTo>
                      <a:pt x="154" y="14"/>
                    </a:lnTo>
                    <a:lnTo>
                      <a:pt x="176" y="31"/>
                    </a:lnTo>
                    <a:lnTo>
                      <a:pt x="191" y="51"/>
                    </a:lnTo>
                    <a:lnTo>
                      <a:pt x="202" y="75"/>
                    </a:lnTo>
                    <a:lnTo>
                      <a:pt x="205" y="102"/>
                    </a:lnTo>
                    <a:lnTo>
                      <a:pt x="205" y="861"/>
                    </a:lnTo>
                    <a:lnTo>
                      <a:pt x="202" y="888"/>
                    </a:lnTo>
                    <a:lnTo>
                      <a:pt x="191" y="913"/>
                    </a:lnTo>
                    <a:lnTo>
                      <a:pt x="176" y="934"/>
                    </a:lnTo>
                    <a:lnTo>
                      <a:pt x="154" y="949"/>
                    </a:lnTo>
                    <a:lnTo>
                      <a:pt x="130" y="960"/>
                    </a:lnTo>
                    <a:lnTo>
                      <a:pt x="103" y="963"/>
                    </a:lnTo>
                    <a:lnTo>
                      <a:pt x="75" y="960"/>
                    </a:lnTo>
                    <a:lnTo>
                      <a:pt x="51" y="949"/>
                    </a:lnTo>
                    <a:lnTo>
                      <a:pt x="31" y="934"/>
                    </a:lnTo>
                    <a:lnTo>
                      <a:pt x="14" y="913"/>
                    </a:lnTo>
                    <a:lnTo>
                      <a:pt x="5" y="888"/>
                    </a:lnTo>
                    <a:lnTo>
                      <a:pt x="0" y="861"/>
                    </a:lnTo>
                    <a:lnTo>
                      <a:pt x="0" y="102"/>
                    </a:lnTo>
                    <a:lnTo>
                      <a:pt x="5" y="75"/>
                    </a:lnTo>
                    <a:lnTo>
                      <a:pt x="14" y="51"/>
                    </a:lnTo>
                    <a:lnTo>
                      <a:pt x="31" y="31"/>
                    </a:lnTo>
                    <a:lnTo>
                      <a:pt x="51" y="14"/>
                    </a:lnTo>
                    <a:lnTo>
                      <a:pt x="75" y="3"/>
                    </a:lnTo>
                    <a:lnTo>
                      <a:pt x="1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9" name="Freeform 25"/>
              <p:cNvSpPr>
                <a:spLocks/>
              </p:cNvSpPr>
              <p:nvPr/>
            </p:nvSpPr>
            <p:spPr bwMode="auto">
              <a:xfrm>
                <a:off x="-779" y="2507"/>
                <a:ext cx="103" cy="270"/>
              </a:xfrm>
              <a:custGeom>
                <a:avLst/>
                <a:gdLst>
                  <a:gd name="T0" fmla="*/ 102 w 204"/>
                  <a:gd name="T1" fmla="*/ 0 h 540"/>
                  <a:gd name="T2" fmla="*/ 130 w 204"/>
                  <a:gd name="T3" fmla="*/ 3 h 540"/>
                  <a:gd name="T4" fmla="*/ 154 w 204"/>
                  <a:gd name="T5" fmla="*/ 14 h 540"/>
                  <a:gd name="T6" fmla="*/ 174 w 204"/>
                  <a:gd name="T7" fmla="*/ 29 h 540"/>
                  <a:gd name="T8" fmla="*/ 191 w 204"/>
                  <a:gd name="T9" fmla="*/ 50 h 540"/>
                  <a:gd name="T10" fmla="*/ 200 w 204"/>
                  <a:gd name="T11" fmla="*/ 75 h 540"/>
                  <a:gd name="T12" fmla="*/ 204 w 204"/>
                  <a:gd name="T13" fmla="*/ 102 h 540"/>
                  <a:gd name="T14" fmla="*/ 204 w 204"/>
                  <a:gd name="T15" fmla="*/ 438 h 540"/>
                  <a:gd name="T16" fmla="*/ 200 w 204"/>
                  <a:gd name="T17" fmla="*/ 465 h 540"/>
                  <a:gd name="T18" fmla="*/ 191 w 204"/>
                  <a:gd name="T19" fmla="*/ 490 h 540"/>
                  <a:gd name="T20" fmla="*/ 174 w 204"/>
                  <a:gd name="T21" fmla="*/ 511 h 540"/>
                  <a:gd name="T22" fmla="*/ 154 w 204"/>
                  <a:gd name="T23" fmla="*/ 526 h 540"/>
                  <a:gd name="T24" fmla="*/ 130 w 204"/>
                  <a:gd name="T25" fmla="*/ 537 h 540"/>
                  <a:gd name="T26" fmla="*/ 102 w 204"/>
                  <a:gd name="T27" fmla="*/ 540 h 540"/>
                  <a:gd name="T28" fmla="*/ 75 w 204"/>
                  <a:gd name="T29" fmla="*/ 537 h 540"/>
                  <a:gd name="T30" fmla="*/ 50 w 204"/>
                  <a:gd name="T31" fmla="*/ 526 h 540"/>
                  <a:gd name="T32" fmla="*/ 29 w 204"/>
                  <a:gd name="T33" fmla="*/ 511 h 540"/>
                  <a:gd name="T34" fmla="*/ 14 w 204"/>
                  <a:gd name="T35" fmla="*/ 490 h 540"/>
                  <a:gd name="T36" fmla="*/ 3 w 204"/>
                  <a:gd name="T37" fmla="*/ 465 h 540"/>
                  <a:gd name="T38" fmla="*/ 0 w 204"/>
                  <a:gd name="T39" fmla="*/ 438 h 540"/>
                  <a:gd name="T40" fmla="*/ 0 w 204"/>
                  <a:gd name="T41" fmla="*/ 102 h 540"/>
                  <a:gd name="T42" fmla="*/ 3 w 204"/>
                  <a:gd name="T43" fmla="*/ 75 h 540"/>
                  <a:gd name="T44" fmla="*/ 14 w 204"/>
                  <a:gd name="T45" fmla="*/ 50 h 540"/>
                  <a:gd name="T46" fmla="*/ 29 w 204"/>
                  <a:gd name="T47" fmla="*/ 29 h 540"/>
                  <a:gd name="T48" fmla="*/ 50 w 204"/>
                  <a:gd name="T49" fmla="*/ 14 h 540"/>
                  <a:gd name="T50" fmla="*/ 75 w 204"/>
                  <a:gd name="T51" fmla="*/ 3 h 540"/>
                  <a:gd name="T52" fmla="*/ 102 w 204"/>
                  <a:gd name="T53" fmla="*/ 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4" h="540">
                    <a:moveTo>
                      <a:pt x="102" y="0"/>
                    </a:moveTo>
                    <a:lnTo>
                      <a:pt x="130" y="3"/>
                    </a:lnTo>
                    <a:lnTo>
                      <a:pt x="154" y="14"/>
                    </a:lnTo>
                    <a:lnTo>
                      <a:pt x="174" y="29"/>
                    </a:lnTo>
                    <a:lnTo>
                      <a:pt x="191" y="50"/>
                    </a:lnTo>
                    <a:lnTo>
                      <a:pt x="200" y="75"/>
                    </a:lnTo>
                    <a:lnTo>
                      <a:pt x="204" y="102"/>
                    </a:lnTo>
                    <a:lnTo>
                      <a:pt x="204" y="438"/>
                    </a:lnTo>
                    <a:lnTo>
                      <a:pt x="200" y="465"/>
                    </a:lnTo>
                    <a:lnTo>
                      <a:pt x="191" y="490"/>
                    </a:lnTo>
                    <a:lnTo>
                      <a:pt x="174" y="511"/>
                    </a:lnTo>
                    <a:lnTo>
                      <a:pt x="154" y="526"/>
                    </a:lnTo>
                    <a:lnTo>
                      <a:pt x="130" y="537"/>
                    </a:lnTo>
                    <a:lnTo>
                      <a:pt x="102" y="540"/>
                    </a:lnTo>
                    <a:lnTo>
                      <a:pt x="75" y="537"/>
                    </a:lnTo>
                    <a:lnTo>
                      <a:pt x="50" y="526"/>
                    </a:lnTo>
                    <a:lnTo>
                      <a:pt x="29" y="511"/>
                    </a:lnTo>
                    <a:lnTo>
                      <a:pt x="14" y="490"/>
                    </a:lnTo>
                    <a:lnTo>
                      <a:pt x="3" y="465"/>
                    </a:lnTo>
                    <a:lnTo>
                      <a:pt x="0" y="438"/>
                    </a:lnTo>
                    <a:lnTo>
                      <a:pt x="0" y="102"/>
                    </a:lnTo>
                    <a:lnTo>
                      <a:pt x="3" y="75"/>
                    </a:lnTo>
                    <a:lnTo>
                      <a:pt x="14" y="50"/>
                    </a:lnTo>
                    <a:lnTo>
                      <a:pt x="29" y="29"/>
                    </a:lnTo>
                    <a:lnTo>
                      <a:pt x="50" y="14"/>
                    </a:lnTo>
                    <a:lnTo>
                      <a:pt x="75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0" name="Freeform 26"/>
              <p:cNvSpPr>
                <a:spLocks/>
              </p:cNvSpPr>
              <p:nvPr/>
            </p:nvSpPr>
            <p:spPr bwMode="auto">
              <a:xfrm>
                <a:off x="-971" y="2296"/>
                <a:ext cx="102" cy="481"/>
              </a:xfrm>
              <a:custGeom>
                <a:avLst/>
                <a:gdLst>
                  <a:gd name="T0" fmla="*/ 102 w 205"/>
                  <a:gd name="T1" fmla="*/ 0 h 963"/>
                  <a:gd name="T2" fmla="*/ 130 w 205"/>
                  <a:gd name="T3" fmla="*/ 3 h 963"/>
                  <a:gd name="T4" fmla="*/ 154 w 205"/>
                  <a:gd name="T5" fmla="*/ 14 h 963"/>
                  <a:gd name="T6" fmla="*/ 176 w 205"/>
                  <a:gd name="T7" fmla="*/ 31 h 963"/>
                  <a:gd name="T8" fmla="*/ 191 w 205"/>
                  <a:gd name="T9" fmla="*/ 51 h 963"/>
                  <a:gd name="T10" fmla="*/ 202 w 205"/>
                  <a:gd name="T11" fmla="*/ 75 h 963"/>
                  <a:gd name="T12" fmla="*/ 205 w 205"/>
                  <a:gd name="T13" fmla="*/ 102 h 963"/>
                  <a:gd name="T14" fmla="*/ 205 w 205"/>
                  <a:gd name="T15" fmla="*/ 861 h 963"/>
                  <a:gd name="T16" fmla="*/ 202 w 205"/>
                  <a:gd name="T17" fmla="*/ 888 h 963"/>
                  <a:gd name="T18" fmla="*/ 191 w 205"/>
                  <a:gd name="T19" fmla="*/ 913 h 963"/>
                  <a:gd name="T20" fmla="*/ 176 w 205"/>
                  <a:gd name="T21" fmla="*/ 934 h 963"/>
                  <a:gd name="T22" fmla="*/ 154 w 205"/>
                  <a:gd name="T23" fmla="*/ 949 h 963"/>
                  <a:gd name="T24" fmla="*/ 130 w 205"/>
                  <a:gd name="T25" fmla="*/ 960 h 963"/>
                  <a:gd name="T26" fmla="*/ 102 w 205"/>
                  <a:gd name="T27" fmla="*/ 963 h 963"/>
                  <a:gd name="T28" fmla="*/ 76 w 205"/>
                  <a:gd name="T29" fmla="*/ 960 h 963"/>
                  <a:gd name="T30" fmla="*/ 50 w 205"/>
                  <a:gd name="T31" fmla="*/ 949 h 963"/>
                  <a:gd name="T32" fmla="*/ 31 w 205"/>
                  <a:gd name="T33" fmla="*/ 934 h 963"/>
                  <a:gd name="T34" fmla="*/ 14 w 205"/>
                  <a:gd name="T35" fmla="*/ 913 h 963"/>
                  <a:gd name="T36" fmla="*/ 5 w 205"/>
                  <a:gd name="T37" fmla="*/ 888 h 963"/>
                  <a:gd name="T38" fmla="*/ 0 w 205"/>
                  <a:gd name="T39" fmla="*/ 861 h 963"/>
                  <a:gd name="T40" fmla="*/ 0 w 205"/>
                  <a:gd name="T41" fmla="*/ 102 h 963"/>
                  <a:gd name="T42" fmla="*/ 5 w 205"/>
                  <a:gd name="T43" fmla="*/ 75 h 963"/>
                  <a:gd name="T44" fmla="*/ 14 w 205"/>
                  <a:gd name="T45" fmla="*/ 51 h 963"/>
                  <a:gd name="T46" fmla="*/ 31 w 205"/>
                  <a:gd name="T47" fmla="*/ 31 h 963"/>
                  <a:gd name="T48" fmla="*/ 50 w 205"/>
                  <a:gd name="T49" fmla="*/ 14 h 963"/>
                  <a:gd name="T50" fmla="*/ 76 w 205"/>
                  <a:gd name="T51" fmla="*/ 3 h 963"/>
                  <a:gd name="T52" fmla="*/ 102 w 205"/>
                  <a:gd name="T53" fmla="*/ 0 h 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5" h="963">
                    <a:moveTo>
                      <a:pt x="102" y="0"/>
                    </a:moveTo>
                    <a:lnTo>
                      <a:pt x="130" y="3"/>
                    </a:lnTo>
                    <a:lnTo>
                      <a:pt x="154" y="14"/>
                    </a:lnTo>
                    <a:lnTo>
                      <a:pt x="176" y="31"/>
                    </a:lnTo>
                    <a:lnTo>
                      <a:pt x="191" y="51"/>
                    </a:lnTo>
                    <a:lnTo>
                      <a:pt x="202" y="75"/>
                    </a:lnTo>
                    <a:lnTo>
                      <a:pt x="205" y="102"/>
                    </a:lnTo>
                    <a:lnTo>
                      <a:pt x="205" y="861"/>
                    </a:lnTo>
                    <a:lnTo>
                      <a:pt x="202" y="888"/>
                    </a:lnTo>
                    <a:lnTo>
                      <a:pt x="191" y="913"/>
                    </a:lnTo>
                    <a:lnTo>
                      <a:pt x="176" y="934"/>
                    </a:lnTo>
                    <a:lnTo>
                      <a:pt x="154" y="949"/>
                    </a:lnTo>
                    <a:lnTo>
                      <a:pt x="130" y="960"/>
                    </a:lnTo>
                    <a:lnTo>
                      <a:pt x="102" y="963"/>
                    </a:lnTo>
                    <a:lnTo>
                      <a:pt x="76" y="960"/>
                    </a:lnTo>
                    <a:lnTo>
                      <a:pt x="50" y="949"/>
                    </a:lnTo>
                    <a:lnTo>
                      <a:pt x="31" y="934"/>
                    </a:lnTo>
                    <a:lnTo>
                      <a:pt x="14" y="913"/>
                    </a:lnTo>
                    <a:lnTo>
                      <a:pt x="5" y="888"/>
                    </a:lnTo>
                    <a:lnTo>
                      <a:pt x="0" y="861"/>
                    </a:lnTo>
                    <a:lnTo>
                      <a:pt x="0" y="102"/>
                    </a:lnTo>
                    <a:lnTo>
                      <a:pt x="5" y="75"/>
                    </a:lnTo>
                    <a:lnTo>
                      <a:pt x="14" y="51"/>
                    </a:lnTo>
                    <a:lnTo>
                      <a:pt x="31" y="31"/>
                    </a:lnTo>
                    <a:lnTo>
                      <a:pt x="50" y="14"/>
                    </a:lnTo>
                    <a:lnTo>
                      <a:pt x="76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1" name="Freeform 27"/>
              <p:cNvSpPr>
                <a:spLocks/>
              </p:cNvSpPr>
              <p:nvPr/>
            </p:nvSpPr>
            <p:spPr bwMode="auto">
              <a:xfrm>
                <a:off x="-1163" y="2161"/>
                <a:ext cx="103" cy="616"/>
              </a:xfrm>
              <a:custGeom>
                <a:avLst/>
                <a:gdLst>
                  <a:gd name="T0" fmla="*/ 102 w 204"/>
                  <a:gd name="T1" fmla="*/ 0 h 1231"/>
                  <a:gd name="T2" fmla="*/ 129 w 204"/>
                  <a:gd name="T3" fmla="*/ 3 h 1231"/>
                  <a:gd name="T4" fmla="*/ 154 w 204"/>
                  <a:gd name="T5" fmla="*/ 13 h 1231"/>
                  <a:gd name="T6" fmla="*/ 174 w 204"/>
                  <a:gd name="T7" fmla="*/ 30 h 1231"/>
                  <a:gd name="T8" fmla="*/ 191 w 204"/>
                  <a:gd name="T9" fmla="*/ 50 h 1231"/>
                  <a:gd name="T10" fmla="*/ 201 w 204"/>
                  <a:gd name="T11" fmla="*/ 74 h 1231"/>
                  <a:gd name="T12" fmla="*/ 204 w 204"/>
                  <a:gd name="T13" fmla="*/ 102 h 1231"/>
                  <a:gd name="T14" fmla="*/ 204 w 204"/>
                  <a:gd name="T15" fmla="*/ 1129 h 1231"/>
                  <a:gd name="T16" fmla="*/ 201 w 204"/>
                  <a:gd name="T17" fmla="*/ 1156 h 1231"/>
                  <a:gd name="T18" fmla="*/ 191 w 204"/>
                  <a:gd name="T19" fmla="*/ 1181 h 1231"/>
                  <a:gd name="T20" fmla="*/ 174 w 204"/>
                  <a:gd name="T21" fmla="*/ 1202 h 1231"/>
                  <a:gd name="T22" fmla="*/ 154 w 204"/>
                  <a:gd name="T23" fmla="*/ 1217 h 1231"/>
                  <a:gd name="T24" fmla="*/ 129 w 204"/>
                  <a:gd name="T25" fmla="*/ 1228 h 1231"/>
                  <a:gd name="T26" fmla="*/ 102 w 204"/>
                  <a:gd name="T27" fmla="*/ 1231 h 1231"/>
                  <a:gd name="T28" fmla="*/ 74 w 204"/>
                  <a:gd name="T29" fmla="*/ 1228 h 1231"/>
                  <a:gd name="T30" fmla="*/ 50 w 204"/>
                  <a:gd name="T31" fmla="*/ 1217 h 1231"/>
                  <a:gd name="T32" fmla="*/ 29 w 204"/>
                  <a:gd name="T33" fmla="*/ 1202 h 1231"/>
                  <a:gd name="T34" fmla="*/ 13 w 204"/>
                  <a:gd name="T35" fmla="*/ 1181 h 1231"/>
                  <a:gd name="T36" fmla="*/ 3 w 204"/>
                  <a:gd name="T37" fmla="*/ 1156 h 1231"/>
                  <a:gd name="T38" fmla="*/ 0 w 204"/>
                  <a:gd name="T39" fmla="*/ 1129 h 1231"/>
                  <a:gd name="T40" fmla="*/ 0 w 204"/>
                  <a:gd name="T41" fmla="*/ 102 h 1231"/>
                  <a:gd name="T42" fmla="*/ 3 w 204"/>
                  <a:gd name="T43" fmla="*/ 74 h 1231"/>
                  <a:gd name="T44" fmla="*/ 13 w 204"/>
                  <a:gd name="T45" fmla="*/ 51 h 1231"/>
                  <a:gd name="T46" fmla="*/ 29 w 204"/>
                  <a:gd name="T47" fmla="*/ 30 h 1231"/>
                  <a:gd name="T48" fmla="*/ 48 w 204"/>
                  <a:gd name="T49" fmla="*/ 15 h 1231"/>
                  <a:gd name="T50" fmla="*/ 74 w 204"/>
                  <a:gd name="T51" fmla="*/ 4 h 1231"/>
                  <a:gd name="T52" fmla="*/ 102 w 204"/>
                  <a:gd name="T53" fmla="*/ 0 h 1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4" h="1231">
                    <a:moveTo>
                      <a:pt x="102" y="0"/>
                    </a:moveTo>
                    <a:lnTo>
                      <a:pt x="129" y="3"/>
                    </a:lnTo>
                    <a:lnTo>
                      <a:pt x="154" y="13"/>
                    </a:lnTo>
                    <a:lnTo>
                      <a:pt x="174" y="30"/>
                    </a:lnTo>
                    <a:lnTo>
                      <a:pt x="191" y="50"/>
                    </a:lnTo>
                    <a:lnTo>
                      <a:pt x="201" y="74"/>
                    </a:lnTo>
                    <a:lnTo>
                      <a:pt x="204" y="102"/>
                    </a:lnTo>
                    <a:lnTo>
                      <a:pt x="204" y="1129"/>
                    </a:lnTo>
                    <a:lnTo>
                      <a:pt x="201" y="1156"/>
                    </a:lnTo>
                    <a:lnTo>
                      <a:pt x="191" y="1181"/>
                    </a:lnTo>
                    <a:lnTo>
                      <a:pt x="174" y="1202"/>
                    </a:lnTo>
                    <a:lnTo>
                      <a:pt x="154" y="1217"/>
                    </a:lnTo>
                    <a:lnTo>
                      <a:pt x="129" y="1228"/>
                    </a:lnTo>
                    <a:lnTo>
                      <a:pt x="102" y="1231"/>
                    </a:lnTo>
                    <a:lnTo>
                      <a:pt x="74" y="1228"/>
                    </a:lnTo>
                    <a:lnTo>
                      <a:pt x="50" y="1217"/>
                    </a:lnTo>
                    <a:lnTo>
                      <a:pt x="29" y="1202"/>
                    </a:lnTo>
                    <a:lnTo>
                      <a:pt x="13" y="1181"/>
                    </a:lnTo>
                    <a:lnTo>
                      <a:pt x="3" y="1156"/>
                    </a:lnTo>
                    <a:lnTo>
                      <a:pt x="0" y="1129"/>
                    </a:lnTo>
                    <a:lnTo>
                      <a:pt x="0" y="102"/>
                    </a:lnTo>
                    <a:lnTo>
                      <a:pt x="3" y="74"/>
                    </a:lnTo>
                    <a:lnTo>
                      <a:pt x="13" y="51"/>
                    </a:lnTo>
                    <a:lnTo>
                      <a:pt x="29" y="30"/>
                    </a:lnTo>
                    <a:lnTo>
                      <a:pt x="48" y="15"/>
                    </a:lnTo>
                    <a:lnTo>
                      <a:pt x="74" y="4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2" name="Freeform 28"/>
              <p:cNvSpPr>
                <a:spLocks/>
              </p:cNvSpPr>
              <p:nvPr/>
            </p:nvSpPr>
            <p:spPr bwMode="auto">
              <a:xfrm>
                <a:off x="21" y="2418"/>
                <a:ext cx="337" cy="103"/>
              </a:xfrm>
              <a:custGeom>
                <a:avLst/>
                <a:gdLst>
                  <a:gd name="T0" fmla="*/ 102 w 675"/>
                  <a:gd name="T1" fmla="*/ 0 h 204"/>
                  <a:gd name="T2" fmla="*/ 573 w 675"/>
                  <a:gd name="T3" fmla="*/ 0 h 204"/>
                  <a:gd name="T4" fmla="*/ 600 w 675"/>
                  <a:gd name="T5" fmla="*/ 3 h 204"/>
                  <a:gd name="T6" fmla="*/ 625 w 675"/>
                  <a:gd name="T7" fmla="*/ 14 h 204"/>
                  <a:gd name="T8" fmla="*/ 644 w 675"/>
                  <a:gd name="T9" fmla="*/ 29 h 204"/>
                  <a:gd name="T10" fmla="*/ 661 w 675"/>
                  <a:gd name="T11" fmla="*/ 50 h 204"/>
                  <a:gd name="T12" fmla="*/ 670 w 675"/>
                  <a:gd name="T13" fmla="*/ 75 h 204"/>
                  <a:gd name="T14" fmla="*/ 675 w 675"/>
                  <a:gd name="T15" fmla="*/ 102 h 204"/>
                  <a:gd name="T16" fmla="*/ 670 w 675"/>
                  <a:gd name="T17" fmla="*/ 128 h 204"/>
                  <a:gd name="T18" fmla="*/ 661 w 675"/>
                  <a:gd name="T19" fmla="*/ 152 h 204"/>
                  <a:gd name="T20" fmla="*/ 644 w 675"/>
                  <a:gd name="T21" fmla="*/ 174 h 204"/>
                  <a:gd name="T22" fmla="*/ 625 w 675"/>
                  <a:gd name="T23" fmla="*/ 191 h 204"/>
                  <a:gd name="T24" fmla="*/ 600 w 675"/>
                  <a:gd name="T25" fmla="*/ 200 h 204"/>
                  <a:gd name="T26" fmla="*/ 573 w 675"/>
                  <a:gd name="T27" fmla="*/ 204 h 204"/>
                  <a:gd name="T28" fmla="*/ 102 w 675"/>
                  <a:gd name="T29" fmla="*/ 204 h 204"/>
                  <a:gd name="T30" fmla="*/ 76 w 675"/>
                  <a:gd name="T31" fmla="*/ 200 h 204"/>
                  <a:gd name="T32" fmla="*/ 52 w 675"/>
                  <a:gd name="T33" fmla="*/ 191 h 204"/>
                  <a:gd name="T34" fmla="*/ 30 w 675"/>
                  <a:gd name="T35" fmla="*/ 174 h 204"/>
                  <a:gd name="T36" fmla="*/ 14 w 675"/>
                  <a:gd name="T37" fmla="*/ 152 h 204"/>
                  <a:gd name="T38" fmla="*/ 4 w 675"/>
                  <a:gd name="T39" fmla="*/ 128 h 204"/>
                  <a:gd name="T40" fmla="*/ 0 w 675"/>
                  <a:gd name="T41" fmla="*/ 102 h 204"/>
                  <a:gd name="T42" fmla="*/ 4 w 675"/>
                  <a:gd name="T43" fmla="*/ 75 h 204"/>
                  <a:gd name="T44" fmla="*/ 14 w 675"/>
                  <a:gd name="T45" fmla="*/ 50 h 204"/>
                  <a:gd name="T46" fmla="*/ 30 w 675"/>
                  <a:gd name="T47" fmla="*/ 29 h 204"/>
                  <a:gd name="T48" fmla="*/ 52 w 675"/>
                  <a:gd name="T49" fmla="*/ 14 h 204"/>
                  <a:gd name="T50" fmla="*/ 76 w 675"/>
                  <a:gd name="T51" fmla="*/ 3 h 204"/>
                  <a:gd name="T52" fmla="*/ 102 w 675"/>
                  <a:gd name="T53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75" h="204">
                    <a:moveTo>
                      <a:pt x="102" y="0"/>
                    </a:moveTo>
                    <a:lnTo>
                      <a:pt x="573" y="0"/>
                    </a:lnTo>
                    <a:lnTo>
                      <a:pt x="600" y="3"/>
                    </a:lnTo>
                    <a:lnTo>
                      <a:pt x="625" y="14"/>
                    </a:lnTo>
                    <a:lnTo>
                      <a:pt x="644" y="29"/>
                    </a:lnTo>
                    <a:lnTo>
                      <a:pt x="661" y="50"/>
                    </a:lnTo>
                    <a:lnTo>
                      <a:pt x="670" y="75"/>
                    </a:lnTo>
                    <a:lnTo>
                      <a:pt x="675" y="102"/>
                    </a:lnTo>
                    <a:lnTo>
                      <a:pt x="670" y="128"/>
                    </a:lnTo>
                    <a:lnTo>
                      <a:pt x="661" y="152"/>
                    </a:lnTo>
                    <a:lnTo>
                      <a:pt x="644" y="174"/>
                    </a:lnTo>
                    <a:lnTo>
                      <a:pt x="625" y="191"/>
                    </a:lnTo>
                    <a:lnTo>
                      <a:pt x="600" y="200"/>
                    </a:lnTo>
                    <a:lnTo>
                      <a:pt x="573" y="204"/>
                    </a:lnTo>
                    <a:lnTo>
                      <a:pt x="102" y="204"/>
                    </a:lnTo>
                    <a:lnTo>
                      <a:pt x="76" y="200"/>
                    </a:lnTo>
                    <a:lnTo>
                      <a:pt x="52" y="191"/>
                    </a:lnTo>
                    <a:lnTo>
                      <a:pt x="30" y="174"/>
                    </a:lnTo>
                    <a:lnTo>
                      <a:pt x="14" y="152"/>
                    </a:lnTo>
                    <a:lnTo>
                      <a:pt x="4" y="128"/>
                    </a:lnTo>
                    <a:lnTo>
                      <a:pt x="0" y="102"/>
                    </a:lnTo>
                    <a:lnTo>
                      <a:pt x="4" y="75"/>
                    </a:lnTo>
                    <a:lnTo>
                      <a:pt x="14" y="50"/>
                    </a:lnTo>
                    <a:lnTo>
                      <a:pt x="30" y="29"/>
                    </a:lnTo>
                    <a:lnTo>
                      <a:pt x="52" y="14"/>
                    </a:lnTo>
                    <a:lnTo>
                      <a:pt x="76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3" name="Freeform 29"/>
              <p:cNvSpPr>
                <a:spLocks/>
              </p:cNvSpPr>
              <p:nvPr/>
            </p:nvSpPr>
            <p:spPr bwMode="auto">
              <a:xfrm>
                <a:off x="21" y="2642"/>
                <a:ext cx="337" cy="102"/>
              </a:xfrm>
              <a:custGeom>
                <a:avLst/>
                <a:gdLst>
                  <a:gd name="T0" fmla="*/ 102 w 675"/>
                  <a:gd name="T1" fmla="*/ 0 h 204"/>
                  <a:gd name="T2" fmla="*/ 573 w 675"/>
                  <a:gd name="T3" fmla="*/ 0 h 204"/>
                  <a:gd name="T4" fmla="*/ 600 w 675"/>
                  <a:gd name="T5" fmla="*/ 3 h 204"/>
                  <a:gd name="T6" fmla="*/ 625 w 675"/>
                  <a:gd name="T7" fmla="*/ 14 h 204"/>
                  <a:gd name="T8" fmla="*/ 644 w 675"/>
                  <a:gd name="T9" fmla="*/ 30 h 204"/>
                  <a:gd name="T10" fmla="*/ 661 w 675"/>
                  <a:gd name="T11" fmla="*/ 50 h 204"/>
                  <a:gd name="T12" fmla="*/ 670 w 675"/>
                  <a:gd name="T13" fmla="*/ 75 h 204"/>
                  <a:gd name="T14" fmla="*/ 675 w 675"/>
                  <a:gd name="T15" fmla="*/ 102 h 204"/>
                  <a:gd name="T16" fmla="*/ 670 w 675"/>
                  <a:gd name="T17" fmla="*/ 130 h 204"/>
                  <a:gd name="T18" fmla="*/ 661 w 675"/>
                  <a:gd name="T19" fmla="*/ 154 h 204"/>
                  <a:gd name="T20" fmla="*/ 644 w 675"/>
                  <a:gd name="T21" fmla="*/ 174 h 204"/>
                  <a:gd name="T22" fmla="*/ 625 w 675"/>
                  <a:gd name="T23" fmla="*/ 191 h 204"/>
                  <a:gd name="T24" fmla="*/ 600 w 675"/>
                  <a:gd name="T25" fmla="*/ 201 h 204"/>
                  <a:gd name="T26" fmla="*/ 573 w 675"/>
                  <a:gd name="T27" fmla="*/ 204 h 204"/>
                  <a:gd name="T28" fmla="*/ 102 w 675"/>
                  <a:gd name="T29" fmla="*/ 204 h 204"/>
                  <a:gd name="T30" fmla="*/ 76 w 675"/>
                  <a:gd name="T31" fmla="*/ 201 h 204"/>
                  <a:gd name="T32" fmla="*/ 52 w 675"/>
                  <a:gd name="T33" fmla="*/ 191 h 204"/>
                  <a:gd name="T34" fmla="*/ 30 w 675"/>
                  <a:gd name="T35" fmla="*/ 174 h 204"/>
                  <a:gd name="T36" fmla="*/ 14 w 675"/>
                  <a:gd name="T37" fmla="*/ 154 h 204"/>
                  <a:gd name="T38" fmla="*/ 4 w 675"/>
                  <a:gd name="T39" fmla="*/ 130 h 204"/>
                  <a:gd name="T40" fmla="*/ 0 w 675"/>
                  <a:gd name="T41" fmla="*/ 102 h 204"/>
                  <a:gd name="T42" fmla="*/ 4 w 675"/>
                  <a:gd name="T43" fmla="*/ 75 h 204"/>
                  <a:gd name="T44" fmla="*/ 14 w 675"/>
                  <a:gd name="T45" fmla="*/ 50 h 204"/>
                  <a:gd name="T46" fmla="*/ 30 w 675"/>
                  <a:gd name="T47" fmla="*/ 30 h 204"/>
                  <a:gd name="T48" fmla="*/ 52 w 675"/>
                  <a:gd name="T49" fmla="*/ 14 h 204"/>
                  <a:gd name="T50" fmla="*/ 76 w 675"/>
                  <a:gd name="T51" fmla="*/ 3 h 204"/>
                  <a:gd name="T52" fmla="*/ 102 w 675"/>
                  <a:gd name="T53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75" h="204">
                    <a:moveTo>
                      <a:pt x="102" y="0"/>
                    </a:moveTo>
                    <a:lnTo>
                      <a:pt x="573" y="0"/>
                    </a:lnTo>
                    <a:lnTo>
                      <a:pt x="600" y="3"/>
                    </a:lnTo>
                    <a:lnTo>
                      <a:pt x="625" y="14"/>
                    </a:lnTo>
                    <a:lnTo>
                      <a:pt x="644" y="30"/>
                    </a:lnTo>
                    <a:lnTo>
                      <a:pt x="661" y="50"/>
                    </a:lnTo>
                    <a:lnTo>
                      <a:pt x="670" y="75"/>
                    </a:lnTo>
                    <a:lnTo>
                      <a:pt x="675" y="102"/>
                    </a:lnTo>
                    <a:lnTo>
                      <a:pt x="670" y="130"/>
                    </a:lnTo>
                    <a:lnTo>
                      <a:pt x="661" y="154"/>
                    </a:lnTo>
                    <a:lnTo>
                      <a:pt x="644" y="174"/>
                    </a:lnTo>
                    <a:lnTo>
                      <a:pt x="625" y="191"/>
                    </a:lnTo>
                    <a:lnTo>
                      <a:pt x="600" y="201"/>
                    </a:lnTo>
                    <a:lnTo>
                      <a:pt x="573" y="204"/>
                    </a:lnTo>
                    <a:lnTo>
                      <a:pt x="102" y="204"/>
                    </a:lnTo>
                    <a:lnTo>
                      <a:pt x="76" y="201"/>
                    </a:lnTo>
                    <a:lnTo>
                      <a:pt x="52" y="191"/>
                    </a:lnTo>
                    <a:lnTo>
                      <a:pt x="30" y="174"/>
                    </a:lnTo>
                    <a:lnTo>
                      <a:pt x="14" y="154"/>
                    </a:lnTo>
                    <a:lnTo>
                      <a:pt x="4" y="130"/>
                    </a:lnTo>
                    <a:lnTo>
                      <a:pt x="0" y="102"/>
                    </a:lnTo>
                    <a:lnTo>
                      <a:pt x="4" y="75"/>
                    </a:lnTo>
                    <a:lnTo>
                      <a:pt x="14" y="50"/>
                    </a:lnTo>
                    <a:lnTo>
                      <a:pt x="30" y="30"/>
                    </a:lnTo>
                    <a:lnTo>
                      <a:pt x="52" y="14"/>
                    </a:lnTo>
                    <a:lnTo>
                      <a:pt x="76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04" name="Group 103"/>
          <p:cNvGrpSpPr/>
          <p:nvPr/>
        </p:nvGrpSpPr>
        <p:grpSpPr>
          <a:xfrm>
            <a:off x="147993" y="5299348"/>
            <a:ext cx="727877" cy="559995"/>
            <a:chOff x="147993" y="5080087"/>
            <a:chExt cx="727877" cy="559995"/>
          </a:xfrm>
        </p:grpSpPr>
        <p:sp>
          <p:nvSpPr>
            <p:cNvPr id="105" name="Rectangle 17"/>
            <p:cNvSpPr>
              <a:spLocks/>
            </p:cNvSpPr>
            <p:nvPr/>
          </p:nvSpPr>
          <p:spPr bwMode="auto">
            <a:xfrm>
              <a:off x="147993" y="5270750"/>
              <a:ext cx="72787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Объекты инфраструктуры / карты</a:t>
              </a:r>
            </a:p>
          </p:txBody>
        </p:sp>
        <p:grpSp>
          <p:nvGrpSpPr>
            <p:cNvPr id="106" name="Group 105"/>
            <p:cNvGrpSpPr/>
            <p:nvPr/>
          </p:nvGrpSpPr>
          <p:grpSpPr>
            <a:xfrm>
              <a:off x="365905" y="5080087"/>
              <a:ext cx="233576" cy="214640"/>
              <a:chOff x="-1831145" y="1063685"/>
              <a:chExt cx="488634" cy="449020"/>
            </a:xfrm>
            <a:solidFill>
              <a:schemeClr val="bg1"/>
            </a:solidFill>
          </p:grpSpPr>
          <p:sp>
            <p:nvSpPr>
              <p:cNvPr id="107" name="Freeform 7"/>
              <p:cNvSpPr>
                <a:spLocks/>
              </p:cNvSpPr>
              <p:nvPr/>
            </p:nvSpPr>
            <p:spPr bwMode="auto">
              <a:xfrm>
                <a:off x="-1793165" y="1260323"/>
                <a:ext cx="210523" cy="127008"/>
              </a:xfrm>
              <a:custGeom>
                <a:avLst/>
                <a:gdLst>
                  <a:gd name="T0" fmla="*/ 396 w 2061"/>
                  <a:gd name="T1" fmla="*/ 0 h 1245"/>
                  <a:gd name="T2" fmla="*/ 1816 w 2061"/>
                  <a:gd name="T3" fmla="*/ 0 h 1245"/>
                  <a:gd name="T4" fmla="*/ 1869 w 2061"/>
                  <a:gd name="T5" fmla="*/ 137 h 1245"/>
                  <a:gd name="T6" fmla="*/ 1928 w 2061"/>
                  <a:gd name="T7" fmla="*/ 271 h 1245"/>
                  <a:gd name="T8" fmla="*/ 1993 w 2061"/>
                  <a:gd name="T9" fmla="*/ 402 h 1245"/>
                  <a:gd name="T10" fmla="*/ 2061 w 2061"/>
                  <a:gd name="T11" fmla="*/ 528 h 1245"/>
                  <a:gd name="T12" fmla="*/ 1912 w 2061"/>
                  <a:gd name="T13" fmla="*/ 1245 h 1245"/>
                  <a:gd name="T14" fmla="*/ 0 w 2061"/>
                  <a:gd name="T15" fmla="*/ 1037 h 1245"/>
                  <a:gd name="T16" fmla="*/ 272 w 2061"/>
                  <a:gd name="T17" fmla="*/ 93 h 1245"/>
                  <a:gd name="T18" fmla="*/ 284 w 2061"/>
                  <a:gd name="T19" fmla="*/ 67 h 1245"/>
                  <a:gd name="T20" fmla="*/ 299 w 2061"/>
                  <a:gd name="T21" fmla="*/ 45 h 1245"/>
                  <a:gd name="T22" fmla="*/ 319 w 2061"/>
                  <a:gd name="T23" fmla="*/ 26 h 1245"/>
                  <a:gd name="T24" fmla="*/ 342 w 2061"/>
                  <a:gd name="T25" fmla="*/ 13 h 1245"/>
                  <a:gd name="T26" fmla="*/ 368 w 2061"/>
                  <a:gd name="T27" fmla="*/ 5 h 1245"/>
                  <a:gd name="T28" fmla="*/ 396 w 2061"/>
                  <a:gd name="T29" fmla="*/ 0 h 1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61" h="1245">
                    <a:moveTo>
                      <a:pt x="396" y="0"/>
                    </a:moveTo>
                    <a:lnTo>
                      <a:pt x="1816" y="0"/>
                    </a:lnTo>
                    <a:lnTo>
                      <a:pt x="1869" y="137"/>
                    </a:lnTo>
                    <a:lnTo>
                      <a:pt x="1928" y="271"/>
                    </a:lnTo>
                    <a:lnTo>
                      <a:pt x="1993" y="402"/>
                    </a:lnTo>
                    <a:lnTo>
                      <a:pt x="2061" y="528"/>
                    </a:lnTo>
                    <a:lnTo>
                      <a:pt x="1912" y="1245"/>
                    </a:lnTo>
                    <a:lnTo>
                      <a:pt x="0" y="1037"/>
                    </a:lnTo>
                    <a:lnTo>
                      <a:pt x="272" y="93"/>
                    </a:lnTo>
                    <a:lnTo>
                      <a:pt x="284" y="67"/>
                    </a:lnTo>
                    <a:lnTo>
                      <a:pt x="299" y="45"/>
                    </a:lnTo>
                    <a:lnTo>
                      <a:pt x="319" y="26"/>
                    </a:lnTo>
                    <a:lnTo>
                      <a:pt x="342" y="13"/>
                    </a:lnTo>
                    <a:lnTo>
                      <a:pt x="368" y="5"/>
                    </a:lnTo>
                    <a:lnTo>
                      <a:pt x="3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8" name="Freeform 8"/>
              <p:cNvSpPr>
                <a:spLocks/>
              </p:cNvSpPr>
              <p:nvPr/>
            </p:nvSpPr>
            <p:spPr bwMode="auto">
              <a:xfrm>
                <a:off x="-1425618" y="1352209"/>
                <a:ext cx="58603" cy="60645"/>
              </a:xfrm>
              <a:custGeom>
                <a:avLst/>
                <a:gdLst>
                  <a:gd name="T0" fmla="*/ 403 w 575"/>
                  <a:gd name="T1" fmla="*/ 0 h 593"/>
                  <a:gd name="T2" fmla="*/ 575 w 575"/>
                  <a:gd name="T3" fmla="*/ 593 h 593"/>
                  <a:gd name="T4" fmla="*/ 0 w 575"/>
                  <a:gd name="T5" fmla="*/ 531 h 593"/>
                  <a:gd name="T6" fmla="*/ 63 w 575"/>
                  <a:gd name="T7" fmla="*/ 453 h 593"/>
                  <a:gd name="T8" fmla="*/ 128 w 575"/>
                  <a:gd name="T9" fmla="*/ 372 h 593"/>
                  <a:gd name="T10" fmla="*/ 197 w 575"/>
                  <a:gd name="T11" fmla="*/ 285 h 593"/>
                  <a:gd name="T12" fmla="*/ 265 w 575"/>
                  <a:gd name="T13" fmla="*/ 195 h 593"/>
                  <a:gd name="T14" fmla="*/ 335 w 575"/>
                  <a:gd name="T15" fmla="*/ 99 h 593"/>
                  <a:gd name="T16" fmla="*/ 403 w 575"/>
                  <a:gd name="T17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5" h="593">
                    <a:moveTo>
                      <a:pt x="403" y="0"/>
                    </a:moveTo>
                    <a:lnTo>
                      <a:pt x="575" y="593"/>
                    </a:lnTo>
                    <a:lnTo>
                      <a:pt x="0" y="531"/>
                    </a:lnTo>
                    <a:lnTo>
                      <a:pt x="63" y="453"/>
                    </a:lnTo>
                    <a:lnTo>
                      <a:pt x="128" y="372"/>
                    </a:lnTo>
                    <a:lnTo>
                      <a:pt x="197" y="285"/>
                    </a:lnTo>
                    <a:lnTo>
                      <a:pt x="265" y="195"/>
                    </a:lnTo>
                    <a:lnTo>
                      <a:pt x="335" y="99"/>
                    </a:lnTo>
                    <a:lnTo>
                      <a:pt x="4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9" name="Freeform 9"/>
              <p:cNvSpPr>
                <a:spLocks/>
              </p:cNvSpPr>
              <p:nvPr/>
            </p:nvSpPr>
            <p:spPr bwMode="auto">
              <a:xfrm>
                <a:off x="-1558956" y="1361602"/>
                <a:ext cx="31854" cy="33692"/>
              </a:xfrm>
              <a:custGeom>
                <a:avLst/>
                <a:gdLst>
                  <a:gd name="T0" fmla="*/ 63 w 311"/>
                  <a:gd name="T1" fmla="*/ 0 h 328"/>
                  <a:gd name="T2" fmla="*/ 67 w 311"/>
                  <a:gd name="T3" fmla="*/ 6 h 328"/>
                  <a:gd name="T4" fmla="*/ 150 w 311"/>
                  <a:gd name="T5" fmla="*/ 120 h 328"/>
                  <a:gd name="T6" fmla="*/ 231 w 311"/>
                  <a:gd name="T7" fmla="*/ 227 h 328"/>
                  <a:gd name="T8" fmla="*/ 311 w 311"/>
                  <a:gd name="T9" fmla="*/ 328 h 328"/>
                  <a:gd name="T10" fmla="*/ 0 w 311"/>
                  <a:gd name="T11" fmla="*/ 294 h 328"/>
                  <a:gd name="T12" fmla="*/ 63 w 311"/>
                  <a:gd name="T13" fmla="*/ 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1" h="328">
                    <a:moveTo>
                      <a:pt x="63" y="0"/>
                    </a:moveTo>
                    <a:lnTo>
                      <a:pt x="67" y="6"/>
                    </a:lnTo>
                    <a:lnTo>
                      <a:pt x="150" y="120"/>
                    </a:lnTo>
                    <a:lnTo>
                      <a:pt x="231" y="227"/>
                    </a:lnTo>
                    <a:lnTo>
                      <a:pt x="311" y="328"/>
                    </a:lnTo>
                    <a:lnTo>
                      <a:pt x="0" y="294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0" name="Freeform 10"/>
              <p:cNvSpPr>
                <a:spLocks/>
              </p:cNvSpPr>
              <p:nvPr/>
            </p:nvSpPr>
            <p:spPr bwMode="auto">
              <a:xfrm>
                <a:off x="-1831145" y="1404279"/>
                <a:ext cx="225021" cy="108426"/>
              </a:xfrm>
              <a:custGeom>
                <a:avLst/>
                <a:gdLst>
                  <a:gd name="T0" fmla="*/ 265 w 2204"/>
                  <a:gd name="T1" fmla="*/ 0 h 1062"/>
                  <a:gd name="T2" fmla="*/ 2204 w 2204"/>
                  <a:gd name="T3" fmla="*/ 213 h 1062"/>
                  <a:gd name="T4" fmla="*/ 2026 w 2204"/>
                  <a:gd name="T5" fmla="*/ 1062 h 1062"/>
                  <a:gd name="T6" fmla="*/ 128 w 2204"/>
                  <a:gd name="T7" fmla="*/ 1062 h 1062"/>
                  <a:gd name="T8" fmla="*/ 99 w 2204"/>
                  <a:gd name="T9" fmla="*/ 1059 h 1062"/>
                  <a:gd name="T10" fmla="*/ 71 w 2204"/>
                  <a:gd name="T11" fmla="*/ 1049 h 1062"/>
                  <a:gd name="T12" fmla="*/ 47 w 2204"/>
                  <a:gd name="T13" fmla="*/ 1033 h 1062"/>
                  <a:gd name="T14" fmla="*/ 26 w 2204"/>
                  <a:gd name="T15" fmla="*/ 1011 h 1062"/>
                  <a:gd name="T16" fmla="*/ 10 w 2204"/>
                  <a:gd name="T17" fmla="*/ 985 h 1062"/>
                  <a:gd name="T18" fmla="*/ 1 w 2204"/>
                  <a:gd name="T19" fmla="*/ 957 h 1062"/>
                  <a:gd name="T20" fmla="*/ 0 w 2204"/>
                  <a:gd name="T21" fmla="*/ 928 h 1062"/>
                  <a:gd name="T22" fmla="*/ 4 w 2204"/>
                  <a:gd name="T23" fmla="*/ 899 h 1062"/>
                  <a:gd name="T24" fmla="*/ 265 w 2204"/>
                  <a:gd name="T25" fmla="*/ 0 h 10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04" h="1062">
                    <a:moveTo>
                      <a:pt x="265" y="0"/>
                    </a:moveTo>
                    <a:lnTo>
                      <a:pt x="2204" y="213"/>
                    </a:lnTo>
                    <a:lnTo>
                      <a:pt x="2026" y="1062"/>
                    </a:lnTo>
                    <a:lnTo>
                      <a:pt x="128" y="1062"/>
                    </a:lnTo>
                    <a:lnTo>
                      <a:pt x="99" y="1059"/>
                    </a:lnTo>
                    <a:lnTo>
                      <a:pt x="71" y="1049"/>
                    </a:lnTo>
                    <a:lnTo>
                      <a:pt x="47" y="1033"/>
                    </a:lnTo>
                    <a:lnTo>
                      <a:pt x="26" y="1011"/>
                    </a:lnTo>
                    <a:lnTo>
                      <a:pt x="10" y="985"/>
                    </a:lnTo>
                    <a:lnTo>
                      <a:pt x="1" y="957"/>
                    </a:lnTo>
                    <a:lnTo>
                      <a:pt x="0" y="928"/>
                    </a:lnTo>
                    <a:lnTo>
                      <a:pt x="4" y="899"/>
                    </a:lnTo>
                    <a:lnTo>
                      <a:pt x="2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1" name="Freeform 11"/>
              <p:cNvSpPr>
                <a:spLocks/>
              </p:cNvSpPr>
              <p:nvPr/>
            </p:nvSpPr>
            <p:spPr bwMode="auto">
              <a:xfrm>
                <a:off x="-1584276" y="1430211"/>
                <a:ext cx="241765" cy="82494"/>
              </a:xfrm>
              <a:custGeom>
                <a:avLst/>
                <a:gdLst>
                  <a:gd name="T0" fmla="*/ 169 w 2368"/>
                  <a:gd name="T1" fmla="*/ 0 h 807"/>
                  <a:gd name="T2" fmla="*/ 2243 w 2368"/>
                  <a:gd name="T3" fmla="*/ 227 h 807"/>
                  <a:gd name="T4" fmla="*/ 2361 w 2368"/>
                  <a:gd name="T5" fmla="*/ 635 h 807"/>
                  <a:gd name="T6" fmla="*/ 2366 w 2368"/>
                  <a:gd name="T7" fmla="*/ 657 h 807"/>
                  <a:gd name="T8" fmla="*/ 2368 w 2368"/>
                  <a:gd name="T9" fmla="*/ 679 h 807"/>
                  <a:gd name="T10" fmla="*/ 2365 w 2368"/>
                  <a:gd name="T11" fmla="*/ 708 h 807"/>
                  <a:gd name="T12" fmla="*/ 2355 w 2368"/>
                  <a:gd name="T13" fmla="*/ 736 h 807"/>
                  <a:gd name="T14" fmla="*/ 2340 w 2368"/>
                  <a:gd name="T15" fmla="*/ 759 h 807"/>
                  <a:gd name="T16" fmla="*/ 2320 w 2368"/>
                  <a:gd name="T17" fmla="*/ 779 h 807"/>
                  <a:gd name="T18" fmla="*/ 2297 w 2368"/>
                  <a:gd name="T19" fmla="*/ 794 h 807"/>
                  <a:gd name="T20" fmla="*/ 2269 w 2368"/>
                  <a:gd name="T21" fmla="*/ 804 h 807"/>
                  <a:gd name="T22" fmla="*/ 2240 w 2368"/>
                  <a:gd name="T23" fmla="*/ 807 h 807"/>
                  <a:gd name="T24" fmla="*/ 0 w 2368"/>
                  <a:gd name="T25" fmla="*/ 807 h 807"/>
                  <a:gd name="T26" fmla="*/ 169 w 2368"/>
                  <a:gd name="T27" fmla="*/ 0 h 8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68" h="807">
                    <a:moveTo>
                      <a:pt x="169" y="0"/>
                    </a:moveTo>
                    <a:lnTo>
                      <a:pt x="2243" y="227"/>
                    </a:lnTo>
                    <a:lnTo>
                      <a:pt x="2361" y="635"/>
                    </a:lnTo>
                    <a:lnTo>
                      <a:pt x="2366" y="657"/>
                    </a:lnTo>
                    <a:lnTo>
                      <a:pt x="2368" y="679"/>
                    </a:lnTo>
                    <a:lnTo>
                      <a:pt x="2365" y="708"/>
                    </a:lnTo>
                    <a:lnTo>
                      <a:pt x="2355" y="736"/>
                    </a:lnTo>
                    <a:lnTo>
                      <a:pt x="2340" y="759"/>
                    </a:lnTo>
                    <a:lnTo>
                      <a:pt x="2320" y="779"/>
                    </a:lnTo>
                    <a:lnTo>
                      <a:pt x="2297" y="794"/>
                    </a:lnTo>
                    <a:lnTo>
                      <a:pt x="2269" y="804"/>
                    </a:lnTo>
                    <a:lnTo>
                      <a:pt x="2240" y="807"/>
                    </a:lnTo>
                    <a:lnTo>
                      <a:pt x="0" y="807"/>
                    </a:lnTo>
                    <a:lnTo>
                      <a:pt x="1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2" name="Freeform 12"/>
              <p:cNvSpPr>
                <a:spLocks noEditPoints="1"/>
              </p:cNvSpPr>
              <p:nvPr/>
            </p:nvSpPr>
            <p:spPr bwMode="auto">
              <a:xfrm>
                <a:off x="-1601224" y="1063685"/>
                <a:ext cx="258713" cy="361625"/>
              </a:xfrm>
              <a:custGeom>
                <a:avLst/>
                <a:gdLst>
                  <a:gd name="T0" fmla="*/ 1102 w 2535"/>
                  <a:gd name="T1" fmla="*/ 494 h 3540"/>
                  <a:gd name="T2" fmla="*/ 877 w 2535"/>
                  <a:gd name="T3" fmla="*/ 583 h 3540"/>
                  <a:gd name="T4" fmla="*/ 693 w 2535"/>
                  <a:gd name="T5" fmla="*/ 733 h 3540"/>
                  <a:gd name="T6" fmla="*/ 563 w 2535"/>
                  <a:gd name="T7" fmla="*/ 931 h 3540"/>
                  <a:gd name="T8" fmla="*/ 499 w 2535"/>
                  <a:gd name="T9" fmla="*/ 1166 h 3540"/>
                  <a:gd name="T10" fmla="*/ 512 w 2535"/>
                  <a:gd name="T11" fmla="*/ 1417 h 3540"/>
                  <a:gd name="T12" fmla="*/ 599 w 2535"/>
                  <a:gd name="T13" fmla="*/ 1641 h 3540"/>
                  <a:gd name="T14" fmla="*/ 749 w 2535"/>
                  <a:gd name="T15" fmla="*/ 1825 h 3540"/>
                  <a:gd name="T16" fmla="*/ 948 w 2535"/>
                  <a:gd name="T17" fmla="*/ 1956 h 3540"/>
                  <a:gd name="T18" fmla="*/ 1184 w 2535"/>
                  <a:gd name="T19" fmla="*/ 2020 h 3540"/>
                  <a:gd name="T20" fmla="*/ 1434 w 2535"/>
                  <a:gd name="T21" fmla="*/ 2007 h 3540"/>
                  <a:gd name="T22" fmla="*/ 1658 w 2535"/>
                  <a:gd name="T23" fmla="*/ 1920 h 3540"/>
                  <a:gd name="T24" fmla="*/ 1843 w 2535"/>
                  <a:gd name="T25" fmla="*/ 1769 h 3540"/>
                  <a:gd name="T26" fmla="*/ 1972 w 2535"/>
                  <a:gd name="T27" fmla="*/ 1571 h 3540"/>
                  <a:gd name="T28" fmla="*/ 2037 w 2535"/>
                  <a:gd name="T29" fmla="*/ 1335 h 3540"/>
                  <a:gd name="T30" fmla="*/ 2023 w 2535"/>
                  <a:gd name="T31" fmla="*/ 1085 h 3540"/>
                  <a:gd name="T32" fmla="*/ 1936 w 2535"/>
                  <a:gd name="T33" fmla="*/ 861 h 3540"/>
                  <a:gd name="T34" fmla="*/ 1786 w 2535"/>
                  <a:gd name="T35" fmla="*/ 676 h 3540"/>
                  <a:gd name="T36" fmla="*/ 1587 w 2535"/>
                  <a:gd name="T37" fmla="*/ 545 h 3540"/>
                  <a:gd name="T38" fmla="*/ 1351 w 2535"/>
                  <a:gd name="T39" fmla="*/ 481 h 3540"/>
                  <a:gd name="T40" fmla="*/ 1377 w 2535"/>
                  <a:gd name="T41" fmla="*/ 4 h 3540"/>
                  <a:gd name="T42" fmla="*/ 1687 w 2535"/>
                  <a:gd name="T43" fmla="*/ 71 h 3540"/>
                  <a:gd name="T44" fmla="*/ 1965 w 2535"/>
                  <a:gd name="T45" fmla="*/ 209 h 3540"/>
                  <a:gd name="T46" fmla="*/ 2199 w 2535"/>
                  <a:gd name="T47" fmla="*/ 409 h 3540"/>
                  <a:gd name="T48" fmla="*/ 2379 w 2535"/>
                  <a:gd name="T49" fmla="*/ 657 h 3540"/>
                  <a:gd name="T50" fmla="*/ 2494 w 2535"/>
                  <a:gd name="T51" fmla="*/ 948 h 3540"/>
                  <a:gd name="T52" fmla="*/ 2535 w 2535"/>
                  <a:gd name="T53" fmla="*/ 1267 h 3540"/>
                  <a:gd name="T54" fmla="*/ 2497 w 2535"/>
                  <a:gd name="T55" fmla="*/ 1594 h 3540"/>
                  <a:gd name="T56" fmla="*/ 2395 w 2535"/>
                  <a:gd name="T57" fmla="*/ 1924 h 3540"/>
                  <a:gd name="T58" fmla="*/ 2248 w 2535"/>
                  <a:gd name="T59" fmla="*/ 2246 h 3540"/>
                  <a:gd name="T60" fmla="*/ 2075 w 2535"/>
                  <a:gd name="T61" fmla="*/ 2545 h 3540"/>
                  <a:gd name="T62" fmla="*/ 1898 w 2535"/>
                  <a:gd name="T63" fmla="*/ 2812 h 3540"/>
                  <a:gd name="T64" fmla="*/ 1726 w 2535"/>
                  <a:gd name="T65" fmla="*/ 3041 h 3540"/>
                  <a:gd name="T66" fmla="*/ 1566 w 2535"/>
                  <a:gd name="T67" fmla="*/ 3241 h 3540"/>
                  <a:gd name="T68" fmla="*/ 1428 w 2535"/>
                  <a:gd name="T69" fmla="*/ 3401 h 3540"/>
                  <a:gd name="T70" fmla="*/ 1320 w 2535"/>
                  <a:gd name="T71" fmla="*/ 3517 h 3540"/>
                  <a:gd name="T72" fmla="*/ 1268 w 2535"/>
                  <a:gd name="T73" fmla="*/ 3540 h 3540"/>
                  <a:gd name="T74" fmla="*/ 1214 w 2535"/>
                  <a:gd name="T75" fmla="*/ 3517 h 3540"/>
                  <a:gd name="T76" fmla="*/ 1108 w 2535"/>
                  <a:gd name="T77" fmla="*/ 3401 h 3540"/>
                  <a:gd name="T78" fmla="*/ 968 w 2535"/>
                  <a:gd name="T79" fmla="*/ 3241 h 3540"/>
                  <a:gd name="T80" fmla="*/ 808 w 2535"/>
                  <a:gd name="T81" fmla="*/ 3043 h 3540"/>
                  <a:gd name="T82" fmla="*/ 638 w 2535"/>
                  <a:gd name="T83" fmla="*/ 2813 h 3540"/>
                  <a:gd name="T84" fmla="*/ 459 w 2535"/>
                  <a:gd name="T85" fmla="*/ 2547 h 3540"/>
                  <a:gd name="T86" fmla="*/ 288 w 2535"/>
                  <a:gd name="T87" fmla="*/ 2246 h 3540"/>
                  <a:gd name="T88" fmla="*/ 141 w 2535"/>
                  <a:gd name="T89" fmla="*/ 1924 h 3540"/>
                  <a:gd name="T90" fmla="*/ 37 w 2535"/>
                  <a:gd name="T91" fmla="*/ 1594 h 3540"/>
                  <a:gd name="T92" fmla="*/ 0 w 2535"/>
                  <a:gd name="T93" fmla="*/ 1267 h 3540"/>
                  <a:gd name="T94" fmla="*/ 40 w 2535"/>
                  <a:gd name="T95" fmla="*/ 948 h 3540"/>
                  <a:gd name="T96" fmla="*/ 155 w 2535"/>
                  <a:gd name="T97" fmla="*/ 657 h 3540"/>
                  <a:gd name="T98" fmla="*/ 336 w 2535"/>
                  <a:gd name="T99" fmla="*/ 409 h 3540"/>
                  <a:gd name="T100" fmla="*/ 570 w 2535"/>
                  <a:gd name="T101" fmla="*/ 209 h 3540"/>
                  <a:gd name="T102" fmla="*/ 848 w 2535"/>
                  <a:gd name="T103" fmla="*/ 71 h 3540"/>
                  <a:gd name="T104" fmla="*/ 1157 w 2535"/>
                  <a:gd name="T105" fmla="*/ 4 h 3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35" h="3540">
                    <a:moveTo>
                      <a:pt x="1268" y="477"/>
                    </a:moveTo>
                    <a:lnTo>
                      <a:pt x="1184" y="481"/>
                    </a:lnTo>
                    <a:lnTo>
                      <a:pt x="1102" y="494"/>
                    </a:lnTo>
                    <a:lnTo>
                      <a:pt x="1024" y="516"/>
                    </a:lnTo>
                    <a:lnTo>
                      <a:pt x="948" y="545"/>
                    </a:lnTo>
                    <a:lnTo>
                      <a:pt x="877" y="583"/>
                    </a:lnTo>
                    <a:lnTo>
                      <a:pt x="810" y="627"/>
                    </a:lnTo>
                    <a:lnTo>
                      <a:pt x="749" y="676"/>
                    </a:lnTo>
                    <a:lnTo>
                      <a:pt x="693" y="733"/>
                    </a:lnTo>
                    <a:lnTo>
                      <a:pt x="643" y="794"/>
                    </a:lnTo>
                    <a:lnTo>
                      <a:pt x="599" y="861"/>
                    </a:lnTo>
                    <a:lnTo>
                      <a:pt x="563" y="931"/>
                    </a:lnTo>
                    <a:lnTo>
                      <a:pt x="533" y="1006"/>
                    </a:lnTo>
                    <a:lnTo>
                      <a:pt x="512" y="1085"/>
                    </a:lnTo>
                    <a:lnTo>
                      <a:pt x="499" y="1166"/>
                    </a:lnTo>
                    <a:lnTo>
                      <a:pt x="493" y="1251"/>
                    </a:lnTo>
                    <a:lnTo>
                      <a:pt x="499" y="1335"/>
                    </a:lnTo>
                    <a:lnTo>
                      <a:pt x="512" y="1417"/>
                    </a:lnTo>
                    <a:lnTo>
                      <a:pt x="533" y="1495"/>
                    </a:lnTo>
                    <a:lnTo>
                      <a:pt x="563" y="1571"/>
                    </a:lnTo>
                    <a:lnTo>
                      <a:pt x="599" y="1641"/>
                    </a:lnTo>
                    <a:lnTo>
                      <a:pt x="643" y="1708"/>
                    </a:lnTo>
                    <a:lnTo>
                      <a:pt x="693" y="1769"/>
                    </a:lnTo>
                    <a:lnTo>
                      <a:pt x="749" y="1825"/>
                    </a:lnTo>
                    <a:lnTo>
                      <a:pt x="810" y="1875"/>
                    </a:lnTo>
                    <a:lnTo>
                      <a:pt x="877" y="1920"/>
                    </a:lnTo>
                    <a:lnTo>
                      <a:pt x="948" y="1956"/>
                    </a:lnTo>
                    <a:lnTo>
                      <a:pt x="1024" y="1985"/>
                    </a:lnTo>
                    <a:lnTo>
                      <a:pt x="1102" y="2007"/>
                    </a:lnTo>
                    <a:lnTo>
                      <a:pt x="1184" y="2020"/>
                    </a:lnTo>
                    <a:lnTo>
                      <a:pt x="1268" y="2025"/>
                    </a:lnTo>
                    <a:lnTo>
                      <a:pt x="1351" y="2020"/>
                    </a:lnTo>
                    <a:lnTo>
                      <a:pt x="1434" y="2007"/>
                    </a:lnTo>
                    <a:lnTo>
                      <a:pt x="1512" y="1985"/>
                    </a:lnTo>
                    <a:lnTo>
                      <a:pt x="1587" y="1956"/>
                    </a:lnTo>
                    <a:lnTo>
                      <a:pt x="1658" y="1920"/>
                    </a:lnTo>
                    <a:lnTo>
                      <a:pt x="1725" y="1875"/>
                    </a:lnTo>
                    <a:lnTo>
                      <a:pt x="1786" y="1825"/>
                    </a:lnTo>
                    <a:lnTo>
                      <a:pt x="1843" y="1769"/>
                    </a:lnTo>
                    <a:lnTo>
                      <a:pt x="1892" y="1708"/>
                    </a:lnTo>
                    <a:lnTo>
                      <a:pt x="1936" y="1641"/>
                    </a:lnTo>
                    <a:lnTo>
                      <a:pt x="1972" y="1571"/>
                    </a:lnTo>
                    <a:lnTo>
                      <a:pt x="2003" y="1495"/>
                    </a:lnTo>
                    <a:lnTo>
                      <a:pt x="2023" y="1417"/>
                    </a:lnTo>
                    <a:lnTo>
                      <a:pt x="2037" y="1335"/>
                    </a:lnTo>
                    <a:lnTo>
                      <a:pt x="2042" y="1251"/>
                    </a:lnTo>
                    <a:lnTo>
                      <a:pt x="2037" y="1166"/>
                    </a:lnTo>
                    <a:lnTo>
                      <a:pt x="2023" y="1085"/>
                    </a:lnTo>
                    <a:lnTo>
                      <a:pt x="2003" y="1006"/>
                    </a:lnTo>
                    <a:lnTo>
                      <a:pt x="1972" y="931"/>
                    </a:lnTo>
                    <a:lnTo>
                      <a:pt x="1936" y="861"/>
                    </a:lnTo>
                    <a:lnTo>
                      <a:pt x="1892" y="794"/>
                    </a:lnTo>
                    <a:lnTo>
                      <a:pt x="1843" y="733"/>
                    </a:lnTo>
                    <a:lnTo>
                      <a:pt x="1786" y="676"/>
                    </a:lnTo>
                    <a:lnTo>
                      <a:pt x="1725" y="627"/>
                    </a:lnTo>
                    <a:lnTo>
                      <a:pt x="1658" y="583"/>
                    </a:lnTo>
                    <a:lnTo>
                      <a:pt x="1587" y="545"/>
                    </a:lnTo>
                    <a:lnTo>
                      <a:pt x="1512" y="516"/>
                    </a:lnTo>
                    <a:lnTo>
                      <a:pt x="1434" y="494"/>
                    </a:lnTo>
                    <a:lnTo>
                      <a:pt x="1351" y="481"/>
                    </a:lnTo>
                    <a:lnTo>
                      <a:pt x="1268" y="477"/>
                    </a:lnTo>
                    <a:close/>
                    <a:moveTo>
                      <a:pt x="1268" y="0"/>
                    </a:moveTo>
                    <a:lnTo>
                      <a:pt x="1377" y="4"/>
                    </a:lnTo>
                    <a:lnTo>
                      <a:pt x="1483" y="17"/>
                    </a:lnTo>
                    <a:lnTo>
                      <a:pt x="1587" y="41"/>
                    </a:lnTo>
                    <a:lnTo>
                      <a:pt x="1687" y="71"/>
                    </a:lnTo>
                    <a:lnTo>
                      <a:pt x="1784" y="110"/>
                    </a:lnTo>
                    <a:lnTo>
                      <a:pt x="1877" y="156"/>
                    </a:lnTo>
                    <a:lnTo>
                      <a:pt x="1965" y="209"/>
                    </a:lnTo>
                    <a:lnTo>
                      <a:pt x="2049" y="269"/>
                    </a:lnTo>
                    <a:lnTo>
                      <a:pt x="2126" y="336"/>
                    </a:lnTo>
                    <a:lnTo>
                      <a:pt x="2199" y="409"/>
                    </a:lnTo>
                    <a:lnTo>
                      <a:pt x="2266" y="486"/>
                    </a:lnTo>
                    <a:lnTo>
                      <a:pt x="2325" y="570"/>
                    </a:lnTo>
                    <a:lnTo>
                      <a:pt x="2379" y="657"/>
                    </a:lnTo>
                    <a:lnTo>
                      <a:pt x="2424" y="750"/>
                    </a:lnTo>
                    <a:lnTo>
                      <a:pt x="2464" y="848"/>
                    </a:lnTo>
                    <a:lnTo>
                      <a:pt x="2494" y="948"/>
                    </a:lnTo>
                    <a:lnTo>
                      <a:pt x="2517" y="1052"/>
                    </a:lnTo>
                    <a:lnTo>
                      <a:pt x="2531" y="1158"/>
                    </a:lnTo>
                    <a:lnTo>
                      <a:pt x="2535" y="1267"/>
                    </a:lnTo>
                    <a:lnTo>
                      <a:pt x="2531" y="1376"/>
                    </a:lnTo>
                    <a:lnTo>
                      <a:pt x="2517" y="1485"/>
                    </a:lnTo>
                    <a:lnTo>
                      <a:pt x="2497" y="1594"/>
                    </a:lnTo>
                    <a:lnTo>
                      <a:pt x="2469" y="1705"/>
                    </a:lnTo>
                    <a:lnTo>
                      <a:pt x="2435" y="1815"/>
                    </a:lnTo>
                    <a:lnTo>
                      <a:pt x="2395" y="1924"/>
                    </a:lnTo>
                    <a:lnTo>
                      <a:pt x="2350" y="2033"/>
                    </a:lnTo>
                    <a:lnTo>
                      <a:pt x="2301" y="2140"/>
                    </a:lnTo>
                    <a:lnTo>
                      <a:pt x="2248" y="2246"/>
                    </a:lnTo>
                    <a:lnTo>
                      <a:pt x="2193" y="2349"/>
                    </a:lnTo>
                    <a:lnTo>
                      <a:pt x="2135" y="2448"/>
                    </a:lnTo>
                    <a:lnTo>
                      <a:pt x="2075" y="2545"/>
                    </a:lnTo>
                    <a:lnTo>
                      <a:pt x="2016" y="2638"/>
                    </a:lnTo>
                    <a:lnTo>
                      <a:pt x="1957" y="2727"/>
                    </a:lnTo>
                    <a:lnTo>
                      <a:pt x="1898" y="2812"/>
                    </a:lnTo>
                    <a:lnTo>
                      <a:pt x="1841" y="2892"/>
                    </a:lnTo>
                    <a:lnTo>
                      <a:pt x="1783" y="2969"/>
                    </a:lnTo>
                    <a:lnTo>
                      <a:pt x="1726" y="3041"/>
                    </a:lnTo>
                    <a:lnTo>
                      <a:pt x="1671" y="3111"/>
                    </a:lnTo>
                    <a:lnTo>
                      <a:pt x="1619" y="3178"/>
                    </a:lnTo>
                    <a:lnTo>
                      <a:pt x="1566" y="3241"/>
                    </a:lnTo>
                    <a:lnTo>
                      <a:pt x="1517" y="3297"/>
                    </a:lnTo>
                    <a:lnTo>
                      <a:pt x="1470" y="3351"/>
                    </a:lnTo>
                    <a:lnTo>
                      <a:pt x="1428" y="3401"/>
                    </a:lnTo>
                    <a:lnTo>
                      <a:pt x="1387" y="3444"/>
                    </a:lnTo>
                    <a:lnTo>
                      <a:pt x="1352" y="3484"/>
                    </a:lnTo>
                    <a:lnTo>
                      <a:pt x="1320" y="3517"/>
                    </a:lnTo>
                    <a:lnTo>
                      <a:pt x="1304" y="3530"/>
                    </a:lnTo>
                    <a:lnTo>
                      <a:pt x="1287" y="3537"/>
                    </a:lnTo>
                    <a:lnTo>
                      <a:pt x="1268" y="3540"/>
                    </a:lnTo>
                    <a:lnTo>
                      <a:pt x="1248" y="3537"/>
                    </a:lnTo>
                    <a:lnTo>
                      <a:pt x="1230" y="3530"/>
                    </a:lnTo>
                    <a:lnTo>
                      <a:pt x="1214" y="3517"/>
                    </a:lnTo>
                    <a:lnTo>
                      <a:pt x="1184" y="3484"/>
                    </a:lnTo>
                    <a:lnTo>
                      <a:pt x="1147" y="3444"/>
                    </a:lnTo>
                    <a:lnTo>
                      <a:pt x="1108" y="3401"/>
                    </a:lnTo>
                    <a:lnTo>
                      <a:pt x="1064" y="3353"/>
                    </a:lnTo>
                    <a:lnTo>
                      <a:pt x="1018" y="3299"/>
                    </a:lnTo>
                    <a:lnTo>
                      <a:pt x="968" y="3241"/>
                    </a:lnTo>
                    <a:lnTo>
                      <a:pt x="917" y="3178"/>
                    </a:lnTo>
                    <a:lnTo>
                      <a:pt x="864" y="3113"/>
                    </a:lnTo>
                    <a:lnTo>
                      <a:pt x="808" y="3043"/>
                    </a:lnTo>
                    <a:lnTo>
                      <a:pt x="752" y="2969"/>
                    </a:lnTo>
                    <a:lnTo>
                      <a:pt x="695" y="2893"/>
                    </a:lnTo>
                    <a:lnTo>
                      <a:pt x="638" y="2813"/>
                    </a:lnTo>
                    <a:lnTo>
                      <a:pt x="579" y="2729"/>
                    </a:lnTo>
                    <a:lnTo>
                      <a:pt x="519" y="2640"/>
                    </a:lnTo>
                    <a:lnTo>
                      <a:pt x="459" y="2547"/>
                    </a:lnTo>
                    <a:lnTo>
                      <a:pt x="401" y="2449"/>
                    </a:lnTo>
                    <a:lnTo>
                      <a:pt x="343" y="2349"/>
                    </a:lnTo>
                    <a:lnTo>
                      <a:pt x="288" y="2246"/>
                    </a:lnTo>
                    <a:lnTo>
                      <a:pt x="234" y="2141"/>
                    </a:lnTo>
                    <a:lnTo>
                      <a:pt x="186" y="2033"/>
                    </a:lnTo>
                    <a:lnTo>
                      <a:pt x="141" y="1924"/>
                    </a:lnTo>
                    <a:lnTo>
                      <a:pt x="100" y="1815"/>
                    </a:lnTo>
                    <a:lnTo>
                      <a:pt x="67" y="1705"/>
                    </a:lnTo>
                    <a:lnTo>
                      <a:pt x="37" y="1594"/>
                    </a:lnTo>
                    <a:lnTo>
                      <a:pt x="17" y="1485"/>
                    </a:lnTo>
                    <a:lnTo>
                      <a:pt x="4" y="1376"/>
                    </a:lnTo>
                    <a:lnTo>
                      <a:pt x="0" y="1267"/>
                    </a:lnTo>
                    <a:lnTo>
                      <a:pt x="4" y="1158"/>
                    </a:lnTo>
                    <a:lnTo>
                      <a:pt x="19" y="1052"/>
                    </a:lnTo>
                    <a:lnTo>
                      <a:pt x="40" y="948"/>
                    </a:lnTo>
                    <a:lnTo>
                      <a:pt x="71" y="848"/>
                    </a:lnTo>
                    <a:lnTo>
                      <a:pt x="110" y="750"/>
                    </a:lnTo>
                    <a:lnTo>
                      <a:pt x="155" y="657"/>
                    </a:lnTo>
                    <a:lnTo>
                      <a:pt x="209" y="570"/>
                    </a:lnTo>
                    <a:lnTo>
                      <a:pt x="269" y="486"/>
                    </a:lnTo>
                    <a:lnTo>
                      <a:pt x="336" y="409"/>
                    </a:lnTo>
                    <a:lnTo>
                      <a:pt x="408" y="336"/>
                    </a:lnTo>
                    <a:lnTo>
                      <a:pt x="487" y="269"/>
                    </a:lnTo>
                    <a:lnTo>
                      <a:pt x="570" y="209"/>
                    </a:lnTo>
                    <a:lnTo>
                      <a:pt x="659" y="156"/>
                    </a:lnTo>
                    <a:lnTo>
                      <a:pt x="750" y="110"/>
                    </a:lnTo>
                    <a:lnTo>
                      <a:pt x="848" y="71"/>
                    </a:lnTo>
                    <a:lnTo>
                      <a:pt x="948" y="41"/>
                    </a:lnTo>
                    <a:lnTo>
                      <a:pt x="1051" y="17"/>
                    </a:lnTo>
                    <a:lnTo>
                      <a:pt x="1157" y="4"/>
                    </a:lnTo>
                    <a:lnTo>
                      <a:pt x="12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13" name="Group 112"/>
          <p:cNvGrpSpPr/>
          <p:nvPr/>
        </p:nvGrpSpPr>
        <p:grpSpPr>
          <a:xfrm>
            <a:off x="147993" y="3614676"/>
            <a:ext cx="727877" cy="755941"/>
            <a:chOff x="147993" y="5867981"/>
            <a:chExt cx="727877" cy="755941"/>
          </a:xfrm>
        </p:grpSpPr>
        <p:sp>
          <p:nvSpPr>
            <p:cNvPr id="115" name="Rectangle 17"/>
            <p:cNvSpPr>
              <a:spLocks/>
            </p:cNvSpPr>
            <p:nvPr/>
          </p:nvSpPr>
          <p:spPr bwMode="auto">
            <a:xfrm>
              <a:off x="147993" y="6131479"/>
              <a:ext cx="727877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еб-ресурсы, продукт, датчики, приложения</a:t>
              </a:r>
            </a:p>
          </p:txBody>
        </p:sp>
        <p:grpSp>
          <p:nvGrpSpPr>
            <p:cNvPr id="116" name="Group 157"/>
            <p:cNvGrpSpPr>
              <a:grpSpLocks noChangeAspect="1"/>
            </p:cNvGrpSpPr>
            <p:nvPr/>
          </p:nvGrpSpPr>
          <p:grpSpPr bwMode="auto">
            <a:xfrm>
              <a:off x="384100" y="5867981"/>
              <a:ext cx="254721" cy="240654"/>
              <a:chOff x="3815" y="1810"/>
              <a:chExt cx="2354" cy="2224"/>
            </a:xfrm>
            <a:solidFill>
              <a:schemeClr val="bg1"/>
            </a:solidFill>
          </p:grpSpPr>
          <p:sp>
            <p:nvSpPr>
              <p:cNvPr id="117" name="Freeform 159"/>
              <p:cNvSpPr>
                <a:spLocks noEditPoints="1"/>
              </p:cNvSpPr>
              <p:nvPr/>
            </p:nvSpPr>
            <p:spPr bwMode="auto">
              <a:xfrm>
                <a:off x="3815" y="1810"/>
                <a:ext cx="2021" cy="1982"/>
              </a:xfrm>
              <a:custGeom>
                <a:avLst/>
                <a:gdLst>
                  <a:gd name="T0" fmla="*/ 3423 w 4043"/>
                  <a:gd name="T1" fmla="*/ 409 h 3965"/>
                  <a:gd name="T2" fmla="*/ 3363 w 4043"/>
                  <a:gd name="T3" fmla="*/ 435 h 3965"/>
                  <a:gd name="T4" fmla="*/ 3317 w 4043"/>
                  <a:gd name="T5" fmla="*/ 481 h 3965"/>
                  <a:gd name="T6" fmla="*/ 3291 w 4043"/>
                  <a:gd name="T7" fmla="*/ 542 h 3965"/>
                  <a:gd name="T8" fmla="*/ 3291 w 4043"/>
                  <a:gd name="T9" fmla="*/ 611 h 3965"/>
                  <a:gd name="T10" fmla="*/ 3317 w 4043"/>
                  <a:gd name="T11" fmla="*/ 671 h 3965"/>
                  <a:gd name="T12" fmla="*/ 3363 w 4043"/>
                  <a:gd name="T13" fmla="*/ 716 h 3965"/>
                  <a:gd name="T14" fmla="*/ 3423 w 4043"/>
                  <a:gd name="T15" fmla="*/ 742 h 3965"/>
                  <a:gd name="T16" fmla="*/ 3491 w 4043"/>
                  <a:gd name="T17" fmla="*/ 742 h 3965"/>
                  <a:gd name="T18" fmla="*/ 3553 w 4043"/>
                  <a:gd name="T19" fmla="*/ 716 h 3965"/>
                  <a:gd name="T20" fmla="*/ 3598 w 4043"/>
                  <a:gd name="T21" fmla="*/ 671 h 3965"/>
                  <a:gd name="T22" fmla="*/ 3624 w 4043"/>
                  <a:gd name="T23" fmla="*/ 611 h 3965"/>
                  <a:gd name="T24" fmla="*/ 3624 w 4043"/>
                  <a:gd name="T25" fmla="*/ 542 h 3965"/>
                  <a:gd name="T26" fmla="*/ 3598 w 4043"/>
                  <a:gd name="T27" fmla="*/ 481 h 3965"/>
                  <a:gd name="T28" fmla="*/ 3553 w 4043"/>
                  <a:gd name="T29" fmla="*/ 435 h 3965"/>
                  <a:gd name="T30" fmla="*/ 3491 w 4043"/>
                  <a:gd name="T31" fmla="*/ 409 h 3965"/>
                  <a:gd name="T32" fmla="*/ 2924 w 4043"/>
                  <a:gd name="T33" fmla="*/ 406 h 3965"/>
                  <a:gd name="T34" fmla="*/ 2858 w 4043"/>
                  <a:gd name="T35" fmla="*/ 419 h 3965"/>
                  <a:gd name="T36" fmla="*/ 2804 w 4043"/>
                  <a:gd name="T37" fmla="*/ 456 h 3965"/>
                  <a:gd name="T38" fmla="*/ 2768 w 4043"/>
                  <a:gd name="T39" fmla="*/ 511 h 3965"/>
                  <a:gd name="T40" fmla="*/ 2755 w 4043"/>
                  <a:gd name="T41" fmla="*/ 576 h 3965"/>
                  <a:gd name="T42" fmla="*/ 2768 w 4043"/>
                  <a:gd name="T43" fmla="*/ 642 h 3965"/>
                  <a:gd name="T44" fmla="*/ 2804 w 4043"/>
                  <a:gd name="T45" fmla="*/ 696 h 3965"/>
                  <a:gd name="T46" fmla="*/ 2858 w 4043"/>
                  <a:gd name="T47" fmla="*/ 732 h 3965"/>
                  <a:gd name="T48" fmla="*/ 2924 w 4043"/>
                  <a:gd name="T49" fmla="*/ 746 h 3965"/>
                  <a:gd name="T50" fmla="*/ 2991 w 4043"/>
                  <a:gd name="T51" fmla="*/ 732 h 3965"/>
                  <a:gd name="T52" fmla="*/ 3045 w 4043"/>
                  <a:gd name="T53" fmla="*/ 696 h 3965"/>
                  <a:gd name="T54" fmla="*/ 3081 w 4043"/>
                  <a:gd name="T55" fmla="*/ 642 h 3965"/>
                  <a:gd name="T56" fmla="*/ 3094 w 4043"/>
                  <a:gd name="T57" fmla="*/ 576 h 3965"/>
                  <a:gd name="T58" fmla="*/ 3081 w 4043"/>
                  <a:gd name="T59" fmla="*/ 511 h 3965"/>
                  <a:gd name="T60" fmla="*/ 3045 w 4043"/>
                  <a:gd name="T61" fmla="*/ 456 h 3965"/>
                  <a:gd name="T62" fmla="*/ 2991 w 4043"/>
                  <a:gd name="T63" fmla="*/ 419 h 3965"/>
                  <a:gd name="T64" fmla="*/ 2924 w 4043"/>
                  <a:gd name="T65" fmla="*/ 406 h 3965"/>
                  <a:gd name="T66" fmla="*/ 3924 w 4043"/>
                  <a:gd name="T67" fmla="*/ 0 h 3965"/>
                  <a:gd name="T68" fmla="*/ 3984 w 4043"/>
                  <a:gd name="T69" fmla="*/ 18 h 3965"/>
                  <a:gd name="T70" fmla="*/ 4027 w 4043"/>
                  <a:gd name="T71" fmla="*/ 60 h 3965"/>
                  <a:gd name="T72" fmla="*/ 4043 w 4043"/>
                  <a:gd name="T73" fmla="*/ 120 h 3965"/>
                  <a:gd name="T74" fmla="*/ 4026 w 4043"/>
                  <a:gd name="T75" fmla="*/ 1778 h 3965"/>
                  <a:gd name="T76" fmla="*/ 3943 w 4043"/>
                  <a:gd name="T77" fmla="*/ 1795 h 3965"/>
                  <a:gd name="T78" fmla="*/ 3874 w 4043"/>
                  <a:gd name="T79" fmla="*/ 1841 h 3965"/>
                  <a:gd name="T80" fmla="*/ 3809 w 4043"/>
                  <a:gd name="T81" fmla="*/ 1868 h 3965"/>
                  <a:gd name="T82" fmla="*/ 3744 w 4043"/>
                  <a:gd name="T83" fmla="*/ 1878 h 3965"/>
                  <a:gd name="T84" fmla="*/ 3686 w 4043"/>
                  <a:gd name="T85" fmla="*/ 1908 h 3965"/>
                  <a:gd name="T86" fmla="*/ 357 w 4043"/>
                  <a:gd name="T87" fmla="*/ 1095 h 3965"/>
                  <a:gd name="T88" fmla="*/ 2587 w 4043"/>
                  <a:gd name="T89" fmla="*/ 3608 h 3965"/>
                  <a:gd name="T90" fmla="*/ 2585 w 4043"/>
                  <a:gd name="T91" fmla="*/ 3839 h 3965"/>
                  <a:gd name="T92" fmla="*/ 2602 w 4043"/>
                  <a:gd name="T93" fmla="*/ 3926 h 3965"/>
                  <a:gd name="T94" fmla="*/ 119 w 4043"/>
                  <a:gd name="T95" fmla="*/ 3965 h 3965"/>
                  <a:gd name="T96" fmla="*/ 59 w 4043"/>
                  <a:gd name="T97" fmla="*/ 3949 h 3965"/>
                  <a:gd name="T98" fmla="*/ 16 w 4043"/>
                  <a:gd name="T99" fmla="*/ 3906 h 3965"/>
                  <a:gd name="T100" fmla="*/ 0 w 4043"/>
                  <a:gd name="T101" fmla="*/ 3846 h 3965"/>
                  <a:gd name="T102" fmla="*/ 4 w 4043"/>
                  <a:gd name="T103" fmla="*/ 88 h 3965"/>
                  <a:gd name="T104" fmla="*/ 34 w 4043"/>
                  <a:gd name="T105" fmla="*/ 36 h 3965"/>
                  <a:gd name="T106" fmla="*/ 87 w 4043"/>
                  <a:gd name="T107" fmla="*/ 5 h 3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43" h="3965">
                    <a:moveTo>
                      <a:pt x="3457" y="406"/>
                    </a:moveTo>
                    <a:lnTo>
                      <a:pt x="3423" y="409"/>
                    </a:lnTo>
                    <a:lnTo>
                      <a:pt x="3391" y="419"/>
                    </a:lnTo>
                    <a:lnTo>
                      <a:pt x="3363" y="435"/>
                    </a:lnTo>
                    <a:lnTo>
                      <a:pt x="3337" y="456"/>
                    </a:lnTo>
                    <a:lnTo>
                      <a:pt x="3317" y="481"/>
                    </a:lnTo>
                    <a:lnTo>
                      <a:pt x="3301" y="511"/>
                    </a:lnTo>
                    <a:lnTo>
                      <a:pt x="3291" y="542"/>
                    </a:lnTo>
                    <a:lnTo>
                      <a:pt x="3287" y="576"/>
                    </a:lnTo>
                    <a:lnTo>
                      <a:pt x="3291" y="611"/>
                    </a:lnTo>
                    <a:lnTo>
                      <a:pt x="3301" y="642"/>
                    </a:lnTo>
                    <a:lnTo>
                      <a:pt x="3317" y="671"/>
                    </a:lnTo>
                    <a:lnTo>
                      <a:pt x="3337" y="696"/>
                    </a:lnTo>
                    <a:lnTo>
                      <a:pt x="3363" y="716"/>
                    </a:lnTo>
                    <a:lnTo>
                      <a:pt x="3391" y="732"/>
                    </a:lnTo>
                    <a:lnTo>
                      <a:pt x="3423" y="742"/>
                    </a:lnTo>
                    <a:lnTo>
                      <a:pt x="3457" y="746"/>
                    </a:lnTo>
                    <a:lnTo>
                      <a:pt x="3491" y="742"/>
                    </a:lnTo>
                    <a:lnTo>
                      <a:pt x="3524" y="732"/>
                    </a:lnTo>
                    <a:lnTo>
                      <a:pt x="3553" y="716"/>
                    </a:lnTo>
                    <a:lnTo>
                      <a:pt x="3577" y="696"/>
                    </a:lnTo>
                    <a:lnTo>
                      <a:pt x="3598" y="671"/>
                    </a:lnTo>
                    <a:lnTo>
                      <a:pt x="3614" y="642"/>
                    </a:lnTo>
                    <a:lnTo>
                      <a:pt x="3624" y="611"/>
                    </a:lnTo>
                    <a:lnTo>
                      <a:pt x="3627" y="576"/>
                    </a:lnTo>
                    <a:lnTo>
                      <a:pt x="3624" y="542"/>
                    </a:lnTo>
                    <a:lnTo>
                      <a:pt x="3614" y="511"/>
                    </a:lnTo>
                    <a:lnTo>
                      <a:pt x="3598" y="481"/>
                    </a:lnTo>
                    <a:lnTo>
                      <a:pt x="3577" y="456"/>
                    </a:lnTo>
                    <a:lnTo>
                      <a:pt x="3553" y="435"/>
                    </a:lnTo>
                    <a:lnTo>
                      <a:pt x="3524" y="419"/>
                    </a:lnTo>
                    <a:lnTo>
                      <a:pt x="3491" y="409"/>
                    </a:lnTo>
                    <a:lnTo>
                      <a:pt x="3457" y="406"/>
                    </a:lnTo>
                    <a:close/>
                    <a:moveTo>
                      <a:pt x="2924" y="406"/>
                    </a:moveTo>
                    <a:lnTo>
                      <a:pt x="2890" y="409"/>
                    </a:lnTo>
                    <a:lnTo>
                      <a:pt x="2858" y="419"/>
                    </a:lnTo>
                    <a:lnTo>
                      <a:pt x="2830" y="435"/>
                    </a:lnTo>
                    <a:lnTo>
                      <a:pt x="2804" y="456"/>
                    </a:lnTo>
                    <a:lnTo>
                      <a:pt x="2784" y="481"/>
                    </a:lnTo>
                    <a:lnTo>
                      <a:pt x="2768" y="511"/>
                    </a:lnTo>
                    <a:lnTo>
                      <a:pt x="2758" y="542"/>
                    </a:lnTo>
                    <a:lnTo>
                      <a:pt x="2755" y="576"/>
                    </a:lnTo>
                    <a:lnTo>
                      <a:pt x="2758" y="611"/>
                    </a:lnTo>
                    <a:lnTo>
                      <a:pt x="2768" y="642"/>
                    </a:lnTo>
                    <a:lnTo>
                      <a:pt x="2784" y="671"/>
                    </a:lnTo>
                    <a:lnTo>
                      <a:pt x="2804" y="696"/>
                    </a:lnTo>
                    <a:lnTo>
                      <a:pt x="2830" y="716"/>
                    </a:lnTo>
                    <a:lnTo>
                      <a:pt x="2858" y="732"/>
                    </a:lnTo>
                    <a:lnTo>
                      <a:pt x="2890" y="742"/>
                    </a:lnTo>
                    <a:lnTo>
                      <a:pt x="2924" y="746"/>
                    </a:lnTo>
                    <a:lnTo>
                      <a:pt x="2958" y="742"/>
                    </a:lnTo>
                    <a:lnTo>
                      <a:pt x="2991" y="732"/>
                    </a:lnTo>
                    <a:lnTo>
                      <a:pt x="3020" y="716"/>
                    </a:lnTo>
                    <a:lnTo>
                      <a:pt x="3045" y="696"/>
                    </a:lnTo>
                    <a:lnTo>
                      <a:pt x="3065" y="671"/>
                    </a:lnTo>
                    <a:lnTo>
                      <a:pt x="3081" y="642"/>
                    </a:lnTo>
                    <a:lnTo>
                      <a:pt x="3091" y="611"/>
                    </a:lnTo>
                    <a:lnTo>
                      <a:pt x="3094" y="576"/>
                    </a:lnTo>
                    <a:lnTo>
                      <a:pt x="3091" y="542"/>
                    </a:lnTo>
                    <a:lnTo>
                      <a:pt x="3081" y="511"/>
                    </a:lnTo>
                    <a:lnTo>
                      <a:pt x="3065" y="481"/>
                    </a:lnTo>
                    <a:lnTo>
                      <a:pt x="3045" y="456"/>
                    </a:lnTo>
                    <a:lnTo>
                      <a:pt x="3020" y="435"/>
                    </a:lnTo>
                    <a:lnTo>
                      <a:pt x="2991" y="419"/>
                    </a:lnTo>
                    <a:lnTo>
                      <a:pt x="2958" y="409"/>
                    </a:lnTo>
                    <a:lnTo>
                      <a:pt x="2924" y="406"/>
                    </a:lnTo>
                    <a:close/>
                    <a:moveTo>
                      <a:pt x="119" y="0"/>
                    </a:moveTo>
                    <a:lnTo>
                      <a:pt x="3924" y="0"/>
                    </a:lnTo>
                    <a:lnTo>
                      <a:pt x="3956" y="5"/>
                    </a:lnTo>
                    <a:lnTo>
                      <a:pt x="3984" y="18"/>
                    </a:lnTo>
                    <a:lnTo>
                      <a:pt x="4009" y="36"/>
                    </a:lnTo>
                    <a:lnTo>
                      <a:pt x="4027" y="60"/>
                    </a:lnTo>
                    <a:lnTo>
                      <a:pt x="4039" y="88"/>
                    </a:lnTo>
                    <a:lnTo>
                      <a:pt x="4043" y="120"/>
                    </a:lnTo>
                    <a:lnTo>
                      <a:pt x="4043" y="1778"/>
                    </a:lnTo>
                    <a:lnTo>
                      <a:pt x="4026" y="1778"/>
                    </a:lnTo>
                    <a:lnTo>
                      <a:pt x="3983" y="1783"/>
                    </a:lnTo>
                    <a:lnTo>
                      <a:pt x="3943" y="1795"/>
                    </a:lnTo>
                    <a:lnTo>
                      <a:pt x="3907" y="1815"/>
                    </a:lnTo>
                    <a:lnTo>
                      <a:pt x="3874" y="1841"/>
                    </a:lnTo>
                    <a:lnTo>
                      <a:pt x="3849" y="1873"/>
                    </a:lnTo>
                    <a:lnTo>
                      <a:pt x="3809" y="1868"/>
                    </a:lnTo>
                    <a:lnTo>
                      <a:pt x="3776" y="1871"/>
                    </a:lnTo>
                    <a:lnTo>
                      <a:pt x="3744" y="1878"/>
                    </a:lnTo>
                    <a:lnTo>
                      <a:pt x="3713" y="1891"/>
                    </a:lnTo>
                    <a:lnTo>
                      <a:pt x="3686" y="1908"/>
                    </a:lnTo>
                    <a:lnTo>
                      <a:pt x="3686" y="1095"/>
                    </a:lnTo>
                    <a:lnTo>
                      <a:pt x="357" y="1095"/>
                    </a:lnTo>
                    <a:lnTo>
                      <a:pt x="357" y="3608"/>
                    </a:lnTo>
                    <a:lnTo>
                      <a:pt x="2587" y="3608"/>
                    </a:lnTo>
                    <a:lnTo>
                      <a:pt x="2585" y="3640"/>
                    </a:lnTo>
                    <a:lnTo>
                      <a:pt x="2585" y="3839"/>
                    </a:lnTo>
                    <a:lnTo>
                      <a:pt x="2590" y="3885"/>
                    </a:lnTo>
                    <a:lnTo>
                      <a:pt x="2602" y="3926"/>
                    </a:lnTo>
                    <a:lnTo>
                      <a:pt x="2622" y="3965"/>
                    </a:lnTo>
                    <a:lnTo>
                      <a:pt x="119" y="3965"/>
                    </a:lnTo>
                    <a:lnTo>
                      <a:pt x="87" y="3961"/>
                    </a:lnTo>
                    <a:lnTo>
                      <a:pt x="59" y="3949"/>
                    </a:lnTo>
                    <a:lnTo>
                      <a:pt x="34" y="3931"/>
                    </a:lnTo>
                    <a:lnTo>
                      <a:pt x="16" y="3906"/>
                    </a:lnTo>
                    <a:lnTo>
                      <a:pt x="4" y="3878"/>
                    </a:lnTo>
                    <a:lnTo>
                      <a:pt x="0" y="3846"/>
                    </a:lnTo>
                    <a:lnTo>
                      <a:pt x="0" y="120"/>
                    </a:lnTo>
                    <a:lnTo>
                      <a:pt x="4" y="88"/>
                    </a:lnTo>
                    <a:lnTo>
                      <a:pt x="16" y="60"/>
                    </a:lnTo>
                    <a:lnTo>
                      <a:pt x="34" y="36"/>
                    </a:lnTo>
                    <a:lnTo>
                      <a:pt x="59" y="18"/>
                    </a:lnTo>
                    <a:lnTo>
                      <a:pt x="87" y="5"/>
                    </a:lnTo>
                    <a:lnTo>
                      <a:pt x="1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8" name="Freeform 160"/>
              <p:cNvSpPr>
                <a:spLocks noEditPoints="1"/>
              </p:cNvSpPr>
              <p:nvPr/>
            </p:nvSpPr>
            <p:spPr bwMode="auto">
              <a:xfrm>
                <a:off x="4491" y="2507"/>
                <a:ext cx="895" cy="895"/>
              </a:xfrm>
              <a:custGeom>
                <a:avLst/>
                <a:gdLst>
                  <a:gd name="T0" fmla="*/ 727 w 1791"/>
                  <a:gd name="T1" fmla="*/ 498 h 1790"/>
                  <a:gd name="T2" fmla="*/ 554 w 1791"/>
                  <a:gd name="T3" fmla="*/ 632 h 1790"/>
                  <a:gd name="T4" fmla="*/ 469 w 1791"/>
                  <a:gd name="T5" fmla="*/ 836 h 1790"/>
                  <a:gd name="T6" fmla="*/ 499 w 1791"/>
                  <a:gd name="T7" fmla="*/ 1062 h 1790"/>
                  <a:gd name="T8" fmla="*/ 632 w 1791"/>
                  <a:gd name="T9" fmla="*/ 1236 h 1790"/>
                  <a:gd name="T10" fmla="*/ 837 w 1791"/>
                  <a:gd name="T11" fmla="*/ 1322 h 1790"/>
                  <a:gd name="T12" fmla="*/ 1063 w 1791"/>
                  <a:gd name="T13" fmla="*/ 1292 h 1790"/>
                  <a:gd name="T14" fmla="*/ 1236 w 1791"/>
                  <a:gd name="T15" fmla="*/ 1158 h 1790"/>
                  <a:gd name="T16" fmla="*/ 1323 w 1791"/>
                  <a:gd name="T17" fmla="*/ 953 h 1790"/>
                  <a:gd name="T18" fmla="*/ 1293 w 1791"/>
                  <a:gd name="T19" fmla="*/ 728 h 1790"/>
                  <a:gd name="T20" fmla="*/ 1159 w 1791"/>
                  <a:gd name="T21" fmla="*/ 553 h 1790"/>
                  <a:gd name="T22" fmla="*/ 955 w 1791"/>
                  <a:gd name="T23" fmla="*/ 468 h 1790"/>
                  <a:gd name="T24" fmla="*/ 1052 w 1791"/>
                  <a:gd name="T25" fmla="*/ 3 h 1790"/>
                  <a:gd name="T26" fmla="*/ 1139 w 1791"/>
                  <a:gd name="T27" fmla="*/ 73 h 1790"/>
                  <a:gd name="T28" fmla="*/ 1192 w 1791"/>
                  <a:gd name="T29" fmla="*/ 180 h 1790"/>
                  <a:gd name="T30" fmla="*/ 1303 w 1791"/>
                  <a:gd name="T31" fmla="*/ 142 h 1790"/>
                  <a:gd name="T32" fmla="*/ 1416 w 1791"/>
                  <a:gd name="T33" fmla="*/ 155 h 1790"/>
                  <a:gd name="T34" fmla="*/ 1649 w 1791"/>
                  <a:gd name="T35" fmla="*/ 402 h 1790"/>
                  <a:gd name="T36" fmla="*/ 1636 w 1791"/>
                  <a:gd name="T37" fmla="*/ 513 h 1790"/>
                  <a:gd name="T38" fmla="*/ 1625 w 1791"/>
                  <a:gd name="T39" fmla="*/ 638 h 1790"/>
                  <a:gd name="T40" fmla="*/ 1741 w 1791"/>
                  <a:gd name="T41" fmla="*/ 666 h 1790"/>
                  <a:gd name="T42" fmla="*/ 1791 w 1791"/>
                  <a:gd name="T43" fmla="*/ 769 h 1790"/>
                  <a:gd name="T44" fmla="*/ 1762 w 1791"/>
                  <a:gd name="T45" fmla="*/ 1104 h 1790"/>
                  <a:gd name="T46" fmla="*/ 1659 w 1791"/>
                  <a:gd name="T47" fmla="*/ 1152 h 1790"/>
                  <a:gd name="T48" fmla="*/ 1618 w 1791"/>
                  <a:gd name="T49" fmla="*/ 1252 h 1790"/>
                  <a:gd name="T50" fmla="*/ 1655 w 1791"/>
                  <a:gd name="T51" fmla="*/ 1361 h 1790"/>
                  <a:gd name="T52" fmla="*/ 1439 w 1791"/>
                  <a:gd name="T53" fmla="*/ 1617 h 1790"/>
                  <a:gd name="T54" fmla="*/ 1332 w 1791"/>
                  <a:gd name="T55" fmla="*/ 1655 h 1790"/>
                  <a:gd name="T56" fmla="*/ 1229 w 1791"/>
                  <a:gd name="T57" fmla="*/ 1592 h 1790"/>
                  <a:gd name="T58" fmla="*/ 1149 w 1791"/>
                  <a:gd name="T59" fmla="*/ 1688 h 1790"/>
                  <a:gd name="T60" fmla="*/ 1079 w 1791"/>
                  <a:gd name="T61" fmla="*/ 1777 h 1790"/>
                  <a:gd name="T62" fmla="*/ 740 w 1791"/>
                  <a:gd name="T63" fmla="*/ 1787 h 1790"/>
                  <a:gd name="T64" fmla="*/ 652 w 1791"/>
                  <a:gd name="T65" fmla="*/ 1717 h 1790"/>
                  <a:gd name="T66" fmla="*/ 600 w 1791"/>
                  <a:gd name="T67" fmla="*/ 1609 h 1790"/>
                  <a:gd name="T68" fmla="*/ 487 w 1791"/>
                  <a:gd name="T69" fmla="*/ 1648 h 1790"/>
                  <a:gd name="T70" fmla="*/ 374 w 1791"/>
                  <a:gd name="T71" fmla="*/ 1635 h 1790"/>
                  <a:gd name="T72" fmla="*/ 141 w 1791"/>
                  <a:gd name="T73" fmla="*/ 1389 h 1790"/>
                  <a:gd name="T74" fmla="*/ 154 w 1791"/>
                  <a:gd name="T75" fmla="*/ 1276 h 1790"/>
                  <a:gd name="T76" fmla="*/ 167 w 1791"/>
                  <a:gd name="T77" fmla="*/ 1152 h 1790"/>
                  <a:gd name="T78" fmla="*/ 50 w 1791"/>
                  <a:gd name="T79" fmla="*/ 1124 h 1790"/>
                  <a:gd name="T80" fmla="*/ 0 w 1791"/>
                  <a:gd name="T81" fmla="*/ 1021 h 1790"/>
                  <a:gd name="T82" fmla="*/ 29 w 1791"/>
                  <a:gd name="T83" fmla="*/ 686 h 1790"/>
                  <a:gd name="T84" fmla="*/ 133 w 1791"/>
                  <a:gd name="T85" fmla="*/ 638 h 1790"/>
                  <a:gd name="T86" fmla="*/ 174 w 1791"/>
                  <a:gd name="T87" fmla="*/ 538 h 1790"/>
                  <a:gd name="T88" fmla="*/ 136 w 1791"/>
                  <a:gd name="T89" fmla="*/ 429 h 1790"/>
                  <a:gd name="T90" fmla="*/ 351 w 1791"/>
                  <a:gd name="T91" fmla="*/ 173 h 1790"/>
                  <a:gd name="T92" fmla="*/ 459 w 1791"/>
                  <a:gd name="T93" fmla="*/ 135 h 1790"/>
                  <a:gd name="T94" fmla="*/ 562 w 1791"/>
                  <a:gd name="T95" fmla="*/ 197 h 1790"/>
                  <a:gd name="T96" fmla="*/ 642 w 1791"/>
                  <a:gd name="T97" fmla="*/ 102 h 1790"/>
                  <a:gd name="T98" fmla="*/ 712 w 1791"/>
                  <a:gd name="T99" fmla="*/ 13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91" h="1790">
                    <a:moveTo>
                      <a:pt x="896" y="463"/>
                    </a:moveTo>
                    <a:lnTo>
                      <a:pt x="837" y="468"/>
                    </a:lnTo>
                    <a:lnTo>
                      <a:pt x="780" y="479"/>
                    </a:lnTo>
                    <a:lnTo>
                      <a:pt x="727" y="498"/>
                    </a:lnTo>
                    <a:lnTo>
                      <a:pt x="677" y="523"/>
                    </a:lnTo>
                    <a:lnTo>
                      <a:pt x="632" y="553"/>
                    </a:lnTo>
                    <a:lnTo>
                      <a:pt x="590" y="590"/>
                    </a:lnTo>
                    <a:lnTo>
                      <a:pt x="554" y="632"/>
                    </a:lnTo>
                    <a:lnTo>
                      <a:pt x="523" y="678"/>
                    </a:lnTo>
                    <a:lnTo>
                      <a:pt x="499" y="728"/>
                    </a:lnTo>
                    <a:lnTo>
                      <a:pt x="480" y="781"/>
                    </a:lnTo>
                    <a:lnTo>
                      <a:pt x="469" y="836"/>
                    </a:lnTo>
                    <a:lnTo>
                      <a:pt x="464" y="895"/>
                    </a:lnTo>
                    <a:lnTo>
                      <a:pt x="469" y="953"/>
                    </a:lnTo>
                    <a:lnTo>
                      <a:pt x="480" y="1009"/>
                    </a:lnTo>
                    <a:lnTo>
                      <a:pt x="499" y="1062"/>
                    </a:lnTo>
                    <a:lnTo>
                      <a:pt x="523" y="1112"/>
                    </a:lnTo>
                    <a:lnTo>
                      <a:pt x="554" y="1158"/>
                    </a:lnTo>
                    <a:lnTo>
                      <a:pt x="590" y="1199"/>
                    </a:lnTo>
                    <a:lnTo>
                      <a:pt x="632" y="1236"/>
                    </a:lnTo>
                    <a:lnTo>
                      <a:pt x="677" y="1268"/>
                    </a:lnTo>
                    <a:lnTo>
                      <a:pt x="727" y="1292"/>
                    </a:lnTo>
                    <a:lnTo>
                      <a:pt x="780" y="1311"/>
                    </a:lnTo>
                    <a:lnTo>
                      <a:pt x="837" y="1322"/>
                    </a:lnTo>
                    <a:lnTo>
                      <a:pt x="896" y="1326"/>
                    </a:lnTo>
                    <a:lnTo>
                      <a:pt x="955" y="1322"/>
                    </a:lnTo>
                    <a:lnTo>
                      <a:pt x="1010" y="1311"/>
                    </a:lnTo>
                    <a:lnTo>
                      <a:pt x="1063" y="1292"/>
                    </a:lnTo>
                    <a:lnTo>
                      <a:pt x="1113" y="1268"/>
                    </a:lnTo>
                    <a:lnTo>
                      <a:pt x="1159" y="1236"/>
                    </a:lnTo>
                    <a:lnTo>
                      <a:pt x="1200" y="1199"/>
                    </a:lnTo>
                    <a:lnTo>
                      <a:pt x="1236" y="1158"/>
                    </a:lnTo>
                    <a:lnTo>
                      <a:pt x="1268" y="1112"/>
                    </a:lnTo>
                    <a:lnTo>
                      <a:pt x="1293" y="1062"/>
                    </a:lnTo>
                    <a:lnTo>
                      <a:pt x="1310" y="1009"/>
                    </a:lnTo>
                    <a:lnTo>
                      <a:pt x="1323" y="953"/>
                    </a:lnTo>
                    <a:lnTo>
                      <a:pt x="1326" y="895"/>
                    </a:lnTo>
                    <a:lnTo>
                      <a:pt x="1323" y="836"/>
                    </a:lnTo>
                    <a:lnTo>
                      <a:pt x="1310" y="781"/>
                    </a:lnTo>
                    <a:lnTo>
                      <a:pt x="1293" y="728"/>
                    </a:lnTo>
                    <a:lnTo>
                      <a:pt x="1268" y="678"/>
                    </a:lnTo>
                    <a:lnTo>
                      <a:pt x="1236" y="632"/>
                    </a:lnTo>
                    <a:lnTo>
                      <a:pt x="1200" y="590"/>
                    </a:lnTo>
                    <a:lnTo>
                      <a:pt x="1159" y="553"/>
                    </a:lnTo>
                    <a:lnTo>
                      <a:pt x="1113" y="523"/>
                    </a:lnTo>
                    <a:lnTo>
                      <a:pt x="1063" y="498"/>
                    </a:lnTo>
                    <a:lnTo>
                      <a:pt x="1010" y="479"/>
                    </a:lnTo>
                    <a:lnTo>
                      <a:pt x="955" y="468"/>
                    </a:lnTo>
                    <a:lnTo>
                      <a:pt x="896" y="463"/>
                    </a:lnTo>
                    <a:close/>
                    <a:moveTo>
                      <a:pt x="770" y="0"/>
                    </a:moveTo>
                    <a:lnTo>
                      <a:pt x="1020" y="0"/>
                    </a:lnTo>
                    <a:lnTo>
                      <a:pt x="1052" y="3"/>
                    </a:lnTo>
                    <a:lnTo>
                      <a:pt x="1079" y="13"/>
                    </a:lnTo>
                    <a:lnTo>
                      <a:pt x="1103" y="29"/>
                    </a:lnTo>
                    <a:lnTo>
                      <a:pt x="1125" y="49"/>
                    </a:lnTo>
                    <a:lnTo>
                      <a:pt x="1139" y="73"/>
                    </a:lnTo>
                    <a:lnTo>
                      <a:pt x="1149" y="102"/>
                    </a:lnTo>
                    <a:lnTo>
                      <a:pt x="1153" y="132"/>
                    </a:lnTo>
                    <a:lnTo>
                      <a:pt x="1153" y="166"/>
                    </a:lnTo>
                    <a:lnTo>
                      <a:pt x="1192" y="180"/>
                    </a:lnTo>
                    <a:lnTo>
                      <a:pt x="1229" y="197"/>
                    </a:lnTo>
                    <a:lnTo>
                      <a:pt x="1253" y="173"/>
                    </a:lnTo>
                    <a:lnTo>
                      <a:pt x="1276" y="155"/>
                    </a:lnTo>
                    <a:lnTo>
                      <a:pt x="1303" y="142"/>
                    </a:lnTo>
                    <a:lnTo>
                      <a:pt x="1332" y="135"/>
                    </a:lnTo>
                    <a:lnTo>
                      <a:pt x="1360" y="135"/>
                    </a:lnTo>
                    <a:lnTo>
                      <a:pt x="1389" y="142"/>
                    </a:lnTo>
                    <a:lnTo>
                      <a:pt x="1416" y="155"/>
                    </a:lnTo>
                    <a:lnTo>
                      <a:pt x="1439" y="173"/>
                    </a:lnTo>
                    <a:lnTo>
                      <a:pt x="1618" y="350"/>
                    </a:lnTo>
                    <a:lnTo>
                      <a:pt x="1636" y="375"/>
                    </a:lnTo>
                    <a:lnTo>
                      <a:pt x="1649" y="402"/>
                    </a:lnTo>
                    <a:lnTo>
                      <a:pt x="1655" y="429"/>
                    </a:lnTo>
                    <a:lnTo>
                      <a:pt x="1655" y="459"/>
                    </a:lnTo>
                    <a:lnTo>
                      <a:pt x="1649" y="488"/>
                    </a:lnTo>
                    <a:lnTo>
                      <a:pt x="1636" y="513"/>
                    </a:lnTo>
                    <a:lnTo>
                      <a:pt x="1618" y="538"/>
                    </a:lnTo>
                    <a:lnTo>
                      <a:pt x="1593" y="562"/>
                    </a:lnTo>
                    <a:lnTo>
                      <a:pt x="1609" y="599"/>
                    </a:lnTo>
                    <a:lnTo>
                      <a:pt x="1625" y="638"/>
                    </a:lnTo>
                    <a:lnTo>
                      <a:pt x="1659" y="638"/>
                    </a:lnTo>
                    <a:lnTo>
                      <a:pt x="1689" y="640"/>
                    </a:lnTo>
                    <a:lnTo>
                      <a:pt x="1716" y="651"/>
                    </a:lnTo>
                    <a:lnTo>
                      <a:pt x="1741" y="666"/>
                    </a:lnTo>
                    <a:lnTo>
                      <a:pt x="1762" y="686"/>
                    </a:lnTo>
                    <a:lnTo>
                      <a:pt x="1778" y="712"/>
                    </a:lnTo>
                    <a:lnTo>
                      <a:pt x="1788" y="739"/>
                    </a:lnTo>
                    <a:lnTo>
                      <a:pt x="1791" y="769"/>
                    </a:lnTo>
                    <a:lnTo>
                      <a:pt x="1791" y="1021"/>
                    </a:lnTo>
                    <a:lnTo>
                      <a:pt x="1788" y="1051"/>
                    </a:lnTo>
                    <a:lnTo>
                      <a:pt x="1778" y="1079"/>
                    </a:lnTo>
                    <a:lnTo>
                      <a:pt x="1762" y="1104"/>
                    </a:lnTo>
                    <a:lnTo>
                      <a:pt x="1741" y="1124"/>
                    </a:lnTo>
                    <a:lnTo>
                      <a:pt x="1716" y="1139"/>
                    </a:lnTo>
                    <a:lnTo>
                      <a:pt x="1689" y="1149"/>
                    </a:lnTo>
                    <a:lnTo>
                      <a:pt x="1659" y="1152"/>
                    </a:lnTo>
                    <a:lnTo>
                      <a:pt x="1625" y="1152"/>
                    </a:lnTo>
                    <a:lnTo>
                      <a:pt x="1609" y="1191"/>
                    </a:lnTo>
                    <a:lnTo>
                      <a:pt x="1593" y="1228"/>
                    </a:lnTo>
                    <a:lnTo>
                      <a:pt x="1618" y="1252"/>
                    </a:lnTo>
                    <a:lnTo>
                      <a:pt x="1636" y="1276"/>
                    </a:lnTo>
                    <a:lnTo>
                      <a:pt x="1649" y="1304"/>
                    </a:lnTo>
                    <a:lnTo>
                      <a:pt x="1655" y="1331"/>
                    </a:lnTo>
                    <a:lnTo>
                      <a:pt x="1655" y="1361"/>
                    </a:lnTo>
                    <a:lnTo>
                      <a:pt x="1649" y="1389"/>
                    </a:lnTo>
                    <a:lnTo>
                      <a:pt x="1636" y="1415"/>
                    </a:lnTo>
                    <a:lnTo>
                      <a:pt x="1618" y="1439"/>
                    </a:lnTo>
                    <a:lnTo>
                      <a:pt x="1439" y="1617"/>
                    </a:lnTo>
                    <a:lnTo>
                      <a:pt x="1416" y="1635"/>
                    </a:lnTo>
                    <a:lnTo>
                      <a:pt x="1389" y="1648"/>
                    </a:lnTo>
                    <a:lnTo>
                      <a:pt x="1360" y="1655"/>
                    </a:lnTo>
                    <a:lnTo>
                      <a:pt x="1332" y="1655"/>
                    </a:lnTo>
                    <a:lnTo>
                      <a:pt x="1303" y="1648"/>
                    </a:lnTo>
                    <a:lnTo>
                      <a:pt x="1276" y="1635"/>
                    </a:lnTo>
                    <a:lnTo>
                      <a:pt x="1253" y="1617"/>
                    </a:lnTo>
                    <a:lnTo>
                      <a:pt x="1229" y="1592"/>
                    </a:lnTo>
                    <a:lnTo>
                      <a:pt x="1192" y="1609"/>
                    </a:lnTo>
                    <a:lnTo>
                      <a:pt x="1153" y="1624"/>
                    </a:lnTo>
                    <a:lnTo>
                      <a:pt x="1153" y="1658"/>
                    </a:lnTo>
                    <a:lnTo>
                      <a:pt x="1149" y="1688"/>
                    </a:lnTo>
                    <a:lnTo>
                      <a:pt x="1139" y="1717"/>
                    </a:lnTo>
                    <a:lnTo>
                      <a:pt x="1125" y="1741"/>
                    </a:lnTo>
                    <a:lnTo>
                      <a:pt x="1103" y="1761"/>
                    </a:lnTo>
                    <a:lnTo>
                      <a:pt x="1079" y="1777"/>
                    </a:lnTo>
                    <a:lnTo>
                      <a:pt x="1052" y="1787"/>
                    </a:lnTo>
                    <a:lnTo>
                      <a:pt x="1020" y="1790"/>
                    </a:lnTo>
                    <a:lnTo>
                      <a:pt x="770" y="1790"/>
                    </a:lnTo>
                    <a:lnTo>
                      <a:pt x="740" y="1787"/>
                    </a:lnTo>
                    <a:lnTo>
                      <a:pt x="712" y="1777"/>
                    </a:lnTo>
                    <a:lnTo>
                      <a:pt x="687" y="1761"/>
                    </a:lnTo>
                    <a:lnTo>
                      <a:pt x="667" y="1741"/>
                    </a:lnTo>
                    <a:lnTo>
                      <a:pt x="652" y="1717"/>
                    </a:lnTo>
                    <a:lnTo>
                      <a:pt x="642" y="1688"/>
                    </a:lnTo>
                    <a:lnTo>
                      <a:pt x="637" y="1658"/>
                    </a:lnTo>
                    <a:lnTo>
                      <a:pt x="637" y="1624"/>
                    </a:lnTo>
                    <a:lnTo>
                      <a:pt x="600" y="1609"/>
                    </a:lnTo>
                    <a:lnTo>
                      <a:pt x="562" y="1592"/>
                    </a:lnTo>
                    <a:lnTo>
                      <a:pt x="537" y="1617"/>
                    </a:lnTo>
                    <a:lnTo>
                      <a:pt x="514" y="1635"/>
                    </a:lnTo>
                    <a:lnTo>
                      <a:pt x="487" y="1648"/>
                    </a:lnTo>
                    <a:lnTo>
                      <a:pt x="459" y="1655"/>
                    </a:lnTo>
                    <a:lnTo>
                      <a:pt x="430" y="1655"/>
                    </a:lnTo>
                    <a:lnTo>
                      <a:pt x="401" y="1648"/>
                    </a:lnTo>
                    <a:lnTo>
                      <a:pt x="374" y="1635"/>
                    </a:lnTo>
                    <a:lnTo>
                      <a:pt x="351" y="1617"/>
                    </a:lnTo>
                    <a:lnTo>
                      <a:pt x="174" y="1439"/>
                    </a:lnTo>
                    <a:lnTo>
                      <a:pt x="154" y="1415"/>
                    </a:lnTo>
                    <a:lnTo>
                      <a:pt x="141" y="1389"/>
                    </a:lnTo>
                    <a:lnTo>
                      <a:pt x="136" y="1361"/>
                    </a:lnTo>
                    <a:lnTo>
                      <a:pt x="136" y="1331"/>
                    </a:lnTo>
                    <a:lnTo>
                      <a:pt x="141" y="1304"/>
                    </a:lnTo>
                    <a:lnTo>
                      <a:pt x="154" y="1276"/>
                    </a:lnTo>
                    <a:lnTo>
                      <a:pt x="174" y="1252"/>
                    </a:lnTo>
                    <a:lnTo>
                      <a:pt x="199" y="1228"/>
                    </a:lnTo>
                    <a:lnTo>
                      <a:pt x="181" y="1191"/>
                    </a:lnTo>
                    <a:lnTo>
                      <a:pt x="167" y="1152"/>
                    </a:lnTo>
                    <a:lnTo>
                      <a:pt x="133" y="1152"/>
                    </a:lnTo>
                    <a:lnTo>
                      <a:pt x="101" y="1149"/>
                    </a:lnTo>
                    <a:lnTo>
                      <a:pt x="74" y="1139"/>
                    </a:lnTo>
                    <a:lnTo>
                      <a:pt x="50" y="1124"/>
                    </a:lnTo>
                    <a:lnTo>
                      <a:pt x="29" y="1104"/>
                    </a:lnTo>
                    <a:lnTo>
                      <a:pt x="14" y="1079"/>
                    </a:lnTo>
                    <a:lnTo>
                      <a:pt x="4" y="1051"/>
                    </a:lnTo>
                    <a:lnTo>
                      <a:pt x="0" y="1021"/>
                    </a:lnTo>
                    <a:lnTo>
                      <a:pt x="0" y="769"/>
                    </a:lnTo>
                    <a:lnTo>
                      <a:pt x="4" y="739"/>
                    </a:lnTo>
                    <a:lnTo>
                      <a:pt x="14" y="712"/>
                    </a:lnTo>
                    <a:lnTo>
                      <a:pt x="29" y="686"/>
                    </a:lnTo>
                    <a:lnTo>
                      <a:pt x="50" y="666"/>
                    </a:lnTo>
                    <a:lnTo>
                      <a:pt x="74" y="651"/>
                    </a:lnTo>
                    <a:lnTo>
                      <a:pt x="101" y="640"/>
                    </a:lnTo>
                    <a:lnTo>
                      <a:pt x="133" y="638"/>
                    </a:lnTo>
                    <a:lnTo>
                      <a:pt x="167" y="638"/>
                    </a:lnTo>
                    <a:lnTo>
                      <a:pt x="181" y="599"/>
                    </a:lnTo>
                    <a:lnTo>
                      <a:pt x="199" y="562"/>
                    </a:lnTo>
                    <a:lnTo>
                      <a:pt x="174" y="538"/>
                    </a:lnTo>
                    <a:lnTo>
                      <a:pt x="154" y="513"/>
                    </a:lnTo>
                    <a:lnTo>
                      <a:pt x="141" y="488"/>
                    </a:lnTo>
                    <a:lnTo>
                      <a:pt x="136" y="459"/>
                    </a:lnTo>
                    <a:lnTo>
                      <a:pt x="136" y="429"/>
                    </a:lnTo>
                    <a:lnTo>
                      <a:pt x="141" y="402"/>
                    </a:lnTo>
                    <a:lnTo>
                      <a:pt x="154" y="375"/>
                    </a:lnTo>
                    <a:lnTo>
                      <a:pt x="174" y="350"/>
                    </a:lnTo>
                    <a:lnTo>
                      <a:pt x="351" y="173"/>
                    </a:lnTo>
                    <a:lnTo>
                      <a:pt x="376" y="155"/>
                    </a:lnTo>
                    <a:lnTo>
                      <a:pt x="401" y="142"/>
                    </a:lnTo>
                    <a:lnTo>
                      <a:pt x="430" y="135"/>
                    </a:lnTo>
                    <a:lnTo>
                      <a:pt x="459" y="135"/>
                    </a:lnTo>
                    <a:lnTo>
                      <a:pt x="487" y="142"/>
                    </a:lnTo>
                    <a:lnTo>
                      <a:pt x="514" y="155"/>
                    </a:lnTo>
                    <a:lnTo>
                      <a:pt x="537" y="173"/>
                    </a:lnTo>
                    <a:lnTo>
                      <a:pt x="562" y="197"/>
                    </a:lnTo>
                    <a:lnTo>
                      <a:pt x="600" y="180"/>
                    </a:lnTo>
                    <a:lnTo>
                      <a:pt x="637" y="166"/>
                    </a:lnTo>
                    <a:lnTo>
                      <a:pt x="637" y="132"/>
                    </a:lnTo>
                    <a:lnTo>
                      <a:pt x="642" y="102"/>
                    </a:lnTo>
                    <a:lnTo>
                      <a:pt x="652" y="73"/>
                    </a:lnTo>
                    <a:lnTo>
                      <a:pt x="667" y="49"/>
                    </a:lnTo>
                    <a:lnTo>
                      <a:pt x="687" y="29"/>
                    </a:lnTo>
                    <a:lnTo>
                      <a:pt x="712" y="13"/>
                    </a:lnTo>
                    <a:lnTo>
                      <a:pt x="740" y="3"/>
                    </a:lnTo>
                    <a:lnTo>
                      <a:pt x="7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9" name="Freeform 161"/>
              <p:cNvSpPr>
                <a:spLocks noEditPoints="1"/>
              </p:cNvSpPr>
              <p:nvPr/>
            </p:nvSpPr>
            <p:spPr bwMode="auto">
              <a:xfrm>
                <a:off x="5171" y="3325"/>
                <a:ext cx="710" cy="709"/>
              </a:xfrm>
              <a:custGeom>
                <a:avLst/>
                <a:gdLst>
                  <a:gd name="T0" fmla="*/ 602 w 1421"/>
                  <a:gd name="T1" fmla="*/ 385 h 1419"/>
                  <a:gd name="T2" fmla="*/ 469 w 1421"/>
                  <a:gd name="T3" fmla="*/ 467 h 1419"/>
                  <a:gd name="T4" fmla="*/ 386 w 1421"/>
                  <a:gd name="T5" fmla="*/ 602 h 1419"/>
                  <a:gd name="T6" fmla="*/ 373 w 1421"/>
                  <a:gd name="T7" fmla="*/ 765 h 1419"/>
                  <a:gd name="T8" fmla="*/ 435 w 1421"/>
                  <a:gd name="T9" fmla="*/ 912 h 1419"/>
                  <a:gd name="T10" fmla="*/ 553 w 1421"/>
                  <a:gd name="T11" fmla="*/ 1013 h 1419"/>
                  <a:gd name="T12" fmla="*/ 711 w 1421"/>
                  <a:gd name="T13" fmla="*/ 1051 h 1419"/>
                  <a:gd name="T14" fmla="*/ 868 w 1421"/>
                  <a:gd name="T15" fmla="*/ 1013 h 1419"/>
                  <a:gd name="T16" fmla="*/ 986 w 1421"/>
                  <a:gd name="T17" fmla="*/ 912 h 1419"/>
                  <a:gd name="T18" fmla="*/ 1048 w 1421"/>
                  <a:gd name="T19" fmla="*/ 765 h 1419"/>
                  <a:gd name="T20" fmla="*/ 1035 w 1421"/>
                  <a:gd name="T21" fmla="*/ 602 h 1419"/>
                  <a:gd name="T22" fmla="*/ 952 w 1421"/>
                  <a:gd name="T23" fmla="*/ 467 h 1419"/>
                  <a:gd name="T24" fmla="*/ 819 w 1421"/>
                  <a:gd name="T25" fmla="*/ 385 h 1419"/>
                  <a:gd name="T26" fmla="*/ 611 w 1421"/>
                  <a:gd name="T27" fmla="*/ 0 h 1419"/>
                  <a:gd name="T28" fmla="*/ 864 w 1421"/>
                  <a:gd name="T29" fmla="*/ 14 h 1419"/>
                  <a:gd name="T30" fmla="*/ 911 w 1421"/>
                  <a:gd name="T31" fmla="*/ 76 h 1419"/>
                  <a:gd name="T32" fmla="*/ 975 w 1421"/>
                  <a:gd name="T33" fmla="*/ 156 h 1419"/>
                  <a:gd name="T34" fmla="*/ 1032 w 1421"/>
                  <a:gd name="T35" fmla="*/ 113 h 1419"/>
                  <a:gd name="T36" fmla="*/ 1085 w 1421"/>
                  <a:gd name="T37" fmla="*/ 107 h 1419"/>
                  <a:gd name="T38" fmla="*/ 1142 w 1421"/>
                  <a:gd name="T39" fmla="*/ 137 h 1419"/>
                  <a:gd name="T40" fmla="*/ 1311 w 1421"/>
                  <a:gd name="T41" fmla="*/ 326 h 1419"/>
                  <a:gd name="T42" fmla="*/ 1299 w 1421"/>
                  <a:gd name="T43" fmla="*/ 403 h 1419"/>
                  <a:gd name="T44" fmla="*/ 1288 w 1421"/>
                  <a:gd name="T45" fmla="*/ 505 h 1419"/>
                  <a:gd name="T46" fmla="*/ 1368 w 1421"/>
                  <a:gd name="T47" fmla="*/ 519 h 1419"/>
                  <a:gd name="T48" fmla="*/ 1417 w 1421"/>
                  <a:gd name="T49" fmla="*/ 582 h 1419"/>
                  <a:gd name="T50" fmla="*/ 1417 w 1421"/>
                  <a:gd name="T51" fmla="*/ 836 h 1419"/>
                  <a:gd name="T52" fmla="*/ 1368 w 1421"/>
                  <a:gd name="T53" fmla="*/ 899 h 1419"/>
                  <a:gd name="T54" fmla="*/ 1288 w 1421"/>
                  <a:gd name="T55" fmla="*/ 913 h 1419"/>
                  <a:gd name="T56" fmla="*/ 1299 w 1421"/>
                  <a:gd name="T57" fmla="*/ 1015 h 1419"/>
                  <a:gd name="T58" fmla="*/ 1311 w 1421"/>
                  <a:gd name="T59" fmla="*/ 1093 h 1419"/>
                  <a:gd name="T60" fmla="*/ 1142 w 1421"/>
                  <a:gd name="T61" fmla="*/ 1282 h 1419"/>
                  <a:gd name="T62" fmla="*/ 1068 w 1421"/>
                  <a:gd name="T63" fmla="*/ 1312 h 1419"/>
                  <a:gd name="T64" fmla="*/ 994 w 1421"/>
                  <a:gd name="T65" fmla="*/ 1282 h 1419"/>
                  <a:gd name="T66" fmla="*/ 915 w 1421"/>
                  <a:gd name="T67" fmla="*/ 1315 h 1419"/>
                  <a:gd name="T68" fmla="*/ 884 w 1421"/>
                  <a:gd name="T69" fmla="*/ 1388 h 1419"/>
                  <a:gd name="T70" fmla="*/ 811 w 1421"/>
                  <a:gd name="T71" fmla="*/ 1419 h 1419"/>
                  <a:gd name="T72" fmla="*/ 558 w 1421"/>
                  <a:gd name="T73" fmla="*/ 1405 h 1419"/>
                  <a:gd name="T74" fmla="*/ 511 w 1421"/>
                  <a:gd name="T75" fmla="*/ 1342 h 1419"/>
                  <a:gd name="T76" fmla="*/ 446 w 1421"/>
                  <a:gd name="T77" fmla="*/ 1262 h 1419"/>
                  <a:gd name="T78" fmla="*/ 379 w 1421"/>
                  <a:gd name="T79" fmla="*/ 1309 h 1419"/>
                  <a:gd name="T80" fmla="*/ 302 w 1421"/>
                  <a:gd name="T81" fmla="*/ 1299 h 1419"/>
                  <a:gd name="T82" fmla="*/ 122 w 1421"/>
                  <a:gd name="T83" fmla="*/ 1119 h 1419"/>
                  <a:gd name="T84" fmla="*/ 110 w 1421"/>
                  <a:gd name="T85" fmla="*/ 1041 h 1419"/>
                  <a:gd name="T86" fmla="*/ 158 w 1421"/>
                  <a:gd name="T87" fmla="*/ 973 h 1419"/>
                  <a:gd name="T88" fmla="*/ 78 w 1421"/>
                  <a:gd name="T89" fmla="*/ 911 h 1419"/>
                  <a:gd name="T90" fmla="*/ 15 w 1421"/>
                  <a:gd name="T91" fmla="*/ 862 h 1419"/>
                  <a:gd name="T92" fmla="*/ 0 w 1421"/>
                  <a:gd name="T93" fmla="*/ 610 h 1419"/>
                  <a:gd name="T94" fmla="*/ 32 w 1421"/>
                  <a:gd name="T95" fmla="*/ 536 h 1419"/>
                  <a:gd name="T96" fmla="*/ 106 w 1421"/>
                  <a:gd name="T97" fmla="*/ 505 h 1419"/>
                  <a:gd name="T98" fmla="*/ 139 w 1421"/>
                  <a:gd name="T99" fmla="*/ 426 h 1419"/>
                  <a:gd name="T100" fmla="*/ 108 w 1421"/>
                  <a:gd name="T101" fmla="*/ 352 h 1419"/>
                  <a:gd name="T102" fmla="*/ 139 w 1421"/>
                  <a:gd name="T103" fmla="*/ 277 h 1419"/>
                  <a:gd name="T104" fmla="*/ 326 w 1421"/>
                  <a:gd name="T105" fmla="*/ 110 h 1419"/>
                  <a:gd name="T106" fmla="*/ 405 w 1421"/>
                  <a:gd name="T107" fmla="*/ 120 h 1419"/>
                  <a:gd name="T108" fmla="*/ 506 w 1421"/>
                  <a:gd name="T109" fmla="*/ 132 h 1419"/>
                  <a:gd name="T110" fmla="*/ 521 w 1421"/>
                  <a:gd name="T111" fmla="*/ 52 h 1419"/>
                  <a:gd name="T112" fmla="*/ 583 w 1421"/>
                  <a:gd name="T113" fmla="*/ 3 h 1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21" h="1419">
                    <a:moveTo>
                      <a:pt x="711" y="367"/>
                    </a:moveTo>
                    <a:lnTo>
                      <a:pt x="655" y="372"/>
                    </a:lnTo>
                    <a:lnTo>
                      <a:pt x="602" y="385"/>
                    </a:lnTo>
                    <a:lnTo>
                      <a:pt x="553" y="406"/>
                    </a:lnTo>
                    <a:lnTo>
                      <a:pt x="509" y="433"/>
                    </a:lnTo>
                    <a:lnTo>
                      <a:pt x="469" y="467"/>
                    </a:lnTo>
                    <a:lnTo>
                      <a:pt x="435" y="508"/>
                    </a:lnTo>
                    <a:lnTo>
                      <a:pt x="406" y="552"/>
                    </a:lnTo>
                    <a:lnTo>
                      <a:pt x="386" y="602"/>
                    </a:lnTo>
                    <a:lnTo>
                      <a:pt x="373" y="653"/>
                    </a:lnTo>
                    <a:lnTo>
                      <a:pt x="369" y="709"/>
                    </a:lnTo>
                    <a:lnTo>
                      <a:pt x="373" y="765"/>
                    </a:lnTo>
                    <a:lnTo>
                      <a:pt x="386" y="818"/>
                    </a:lnTo>
                    <a:lnTo>
                      <a:pt x="406" y="866"/>
                    </a:lnTo>
                    <a:lnTo>
                      <a:pt x="435" y="912"/>
                    </a:lnTo>
                    <a:lnTo>
                      <a:pt x="469" y="951"/>
                    </a:lnTo>
                    <a:lnTo>
                      <a:pt x="509" y="985"/>
                    </a:lnTo>
                    <a:lnTo>
                      <a:pt x="553" y="1013"/>
                    </a:lnTo>
                    <a:lnTo>
                      <a:pt x="602" y="1033"/>
                    </a:lnTo>
                    <a:lnTo>
                      <a:pt x="655" y="1046"/>
                    </a:lnTo>
                    <a:lnTo>
                      <a:pt x="711" y="1051"/>
                    </a:lnTo>
                    <a:lnTo>
                      <a:pt x="766" y="1046"/>
                    </a:lnTo>
                    <a:lnTo>
                      <a:pt x="819" y="1033"/>
                    </a:lnTo>
                    <a:lnTo>
                      <a:pt x="868" y="1013"/>
                    </a:lnTo>
                    <a:lnTo>
                      <a:pt x="912" y="985"/>
                    </a:lnTo>
                    <a:lnTo>
                      <a:pt x="952" y="951"/>
                    </a:lnTo>
                    <a:lnTo>
                      <a:pt x="986" y="912"/>
                    </a:lnTo>
                    <a:lnTo>
                      <a:pt x="1014" y="866"/>
                    </a:lnTo>
                    <a:lnTo>
                      <a:pt x="1035" y="818"/>
                    </a:lnTo>
                    <a:lnTo>
                      <a:pt x="1048" y="765"/>
                    </a:lnTo>
                    <a:lnTo>
                      <a:pt x="1052" y="709"/>
                    </a:lnTo>
                    <a:lnTo>
                      <a:pt x="1048" y="653"/>
                    </a:lnTo>
                    <a:lnTo>
                      <a:pt x="1035" y="602"/>
                    </a:lnTo>
                    <a:lnTo>
                      <a:pt x="1014" y="552"/>
                    </a:lnTo>
                    <a:lnTo>
                      <a:pt x="986" y="508"/>
                    </a:lnTo>
                    <a:lnTo>
                      <a:pt x="952" y="467"/>
                    </a:lnTo>
                    <a:lnTo>
                      <a:pt x="912" y="433"/>
                    </a:lnTo>
                    <a:lnTo>
                      <a:pt x="868" y="406"/>
                    </a:lnTo>
                    <a:lnTo>
                      <a:pt x="819" y="385"/>
                    </a:lnTo>
                    <a:lnTo>
                      <a:pt x="766" y="372"/>
                    </a:lnTo>
                    <a:lnTo>
                      <a:pt x="711" y="367"/>
                    </a:lnTo>
                    <a:close/>
                    <a:moveTo>
                      <a:pt x="611" y="0"/>
                    </a:moveTo>
                    <a:lnTo>
                      <a:pt x="811" y="0"/>
                    </a:lnTo>
                    <a:lnTo>
                      <a:pt x="838" y="3"/>
                    </a:lnTo>
                    <a:lnTo>
                      <a:pt x="864" y="14"/>
                    </a:lnTo>
                    <a:lnTo>
                      <a:pt x="884" y="30"/>
                    </a:lnTo>
                    <a:lnTo>
                      <a:pt x="901" y="52"/>
                    </a:lnTo>
                    <a:lnTo>
                      <a:pt x="911" y="76"/>
                    </a:lnTo>
                    <a:lnTo>
                      <a:pt x="915" y="104"/>
                    </a:lnTo>
                    <a:lnTo>
                      <a:pt x="915" y="132"/>
                    </a:lnTo>
                    <a:lnTo>
                      <a:pt x="975" y="156"/>
                    </a:lnTo>
                    <a:lnTo>
                      <a:pt x="994" y="137"/>
                    </a:lnTo>
                    <a:lnTo>
                      <a:pt x="1014" y="122"/>
                    </a:lnTo>
                    <a:lnTo>
                      <a:pt x="1032" y="113"/>
                    </a:lnTo>
                    <a:lnTo>
                      <a:pt x="1052" y="107"/>
                    </a:lnTo>
                    <a:lnTo>
                      <a:pt x="1069" y="107"/>
                    </a:lnTo>
                    <a:lnTo>
                      <a:pt x="1085" y="107"/>
                    </a:lnTo>
                    <a:lnTo>
                      <a:pt x="1095" y="110"/>
                    </a:lnTo>
                    <a:lnTo>
                      <a:pt x="1121" y="120"/>
                    </a:lnTo>
                    <a:lnTo>
                      <a:pt x="1142" y="137"/>
                    </a:lnTo>
                    <a:lnTo>
                      <a:pt x="1282" y="277"/>
                    </a:lnTo>
                    <a:lnTo>
                      <a:pt x="1299" y="300"/>
                    </a:lnTo>
                    <a:lnTo>
                      <a:pt x="1311" y="326"/>
                    </a:lnTo>
                    <a:lnTo>
                      <a:pt x="1314" y="352"/>
                    </a:lnTo>
                    <a:lnTo>
                      <a:pt x="1311" y="379"/>
                    </a:lnTo>
                    <a:lnTo>
                      <a:pt x="1299" y="403"/>
                    </a:lnTo>
                    <a:lnTo>
                      <a:pt x="1282" y="426"/>
                    </a:lnTo>
                    <a:lnTo>
                      <a:pt x="1264" y="445"/>
                    </a:lnTo>
                    <a:lnTo>
                      <a:pt x="1288" y="505"/>
                    </a:lnTo>
                    <a:lnTo>
                      <a:pt x="1315" y="505"/>
                    </a:lnTo>
                    <a:lnTo>
                      <a:pt x="1344" y="509"/>
                    </a:lnTo>
                    <a:lnTo>
                      <a:pt x="1368" y="519"/>
                    </a:lnTo>
                    <a:lnTo>
                      <a:pt x="1389" y="536"/>
                    </a:lnTo>
                    <a:lnTo>
                      <a:pt x="1407" y="558"/>
                    </a:lnTo>
                    <a:lnTo>
                      <a:pt x="1417" y="582"/>
                    </a:lnTo>
                    <a:lnTo>
                      <a:pt x="1421" y="610"/>
                    </a:lnTo>
                    <a:lnTo>
                      <a:pt x="1421" y="809"/>
                    </a:lnTo>
                    <a:lnTo>
                      <a:pt x="1417" y="836"/>
                    </a:lnTo>
                    <a:lnTo>
                      <a:pt x="1407" y="862"/>
                    </a:lnTo>
                    <a:lnTo>
                      <a:pt x="1389" y="883"/>
                    </a:lnTo>
                    <a:lnTo>
                      <a:pt x="1368" y="899"/>
                    </a:lnTo>
                    <a:lnTo>
                      <a:pt x="1344" y="911"/>
                    </a:lnTo>
                    <a:lnTo>
                      <a:pt x="1315" y="913"/>
                    </a:lnTo>
                    <a:lnTo>
                      <a:pt x="1288" y="913"/>
                    </a:lnTo>
                    <a:lnTo>
                      <a:pt x="1264" y="973"/>
                    </a:lnTo>
                    <a:lnTo>
                      <a:pt x="1282" y="993"/>
                    </a:lnTo>
                    <a:lnTo>
                      <a:pt x="1299" y="1015"/>
                    </a:lnTo>
                    <a:lnTo>
                      <a:pt x="1311" y="1041"/>
                    </a:lnTo>
                    <a:lnTo>
                      <a:pt x="1314" y="1066"/>
                    </a:lnTo>
                    <a:lnTo>
                      <a:pt x="1311" y="1093"/>
                    </a:lnTo>
                    <a:lnTo>
                      <a:pt x="1299" y="1119"/>
                    </a:lnTo>
                    <a:lnTo>
                      <a:pt x="1282" y="1141"/>
                    </a:lnTo>
                    <a:lnTo>
                      <a:pt x="1142" y="1282"/>
                    </a:lnTo>
                    <a:lnTo>
                      <a:pt x="1119" y="1299"/>
                    </a:lnTo>
                    <a:lnTo>
                      <a:pt x="1095" y="1309"/>
                    </a:lnTo>
                    <a:lnTo>
                      <a:pt x="1068" y="1312"/>
                    </a:lnTo>
                    <a:lnTo>
                      <a:pt x="1042" y="1309"/>
                    </a:lnTo>
                    <a:lnTo>
                      <a:pt x="1016" y="1299"/>
                    </a:lnTo>
                    <a:lnTo>
                      <a:pt x="994" y="1282"/>
                    </a:lnTo>
                    <a:lnTo>
                      <a:pt x="975" y="1262"/>
                    </a:lnTo>
                    <a:lnTo>
                      <a:pt x="915" y="1288"/>
                    </a:lnTo>
                    <a:lnTo>
                      <a:pt x="915" y="1315"/>
                    </a:lnTo>
                    <a:lnTo>
                      <a:pt x="911" y="1342"/>
                    </a:lnTo>
                    <a:lnTo>
                      <a:pt x="901" y="1368"/>
                    </a:lnTo>
                    <a:lnTo>
                      <a:pt x="884" y="1388"/>
                    </a:lnTo>
                    <a:lnTo>
                      <a:pt x="864" y="1405"/>
                    </a:lnTo>
                    <a:lnTo>
                      <a:pt x="838" y="1415"/>
                    </a:lnTo>
                    <a:lnTo>
                      <a:pt x="811" y="1419"/>
                    </a:lnTo>
                    <a:lnTo>
                      <a:pt x="611" y="1419"/>
                    </a:lnTo>
                    <a:lnTo>
                      <a:pt x="583" y="1415"/>
                    </a:lnTo>
                    <a:lnTo>
                      <a:pt x="558" y="1405"/>
                    </a:lnTo>
                    <a:lnTo>
                      <a:pt x="538" y="1388"/>
                    </a:lnTo>
                    <a:lnTo>
                      <a:pt x="521" y="1368"/>
                    </a:lnTo>
                    <a:lnTo>
                      <a:pt x="511" y="1342"/>
                    </a:lnTo>
                    <a:lnTo>
                      <a:pt x="506" y="1315"/>
                    </a:lnTo>
                    <a:lnTo>
                      <a:pt x="506" y="1288"/>
                    </a:lnTo>
                    <a:lnTo>
                      <a:pt x="446" y="1262"/>
                    </a:lnTo>
                    <a:lnTo>
                      <a:pt x="428" y="1282"/>
                    </a:lnTo>
                    <a:lnTo>
                      <a:pt x="405" y="1299"/>
                    </a:lnTo>
                    <a:lnTo>
                      <a:pt x="379" y="1309"/>
                    </a:lnTo>
                    <a:lnTo>
                      <a:pt x="353" y="1312"/>
                    </a:lnTo>
                    <a:lnTo>
                      <a:pt x="326" y="1309"/>
                    </a:lnTo>
                    <a:lnTo>
                      <a:pt x="302" y="1299"/>
                    </a:lnTo>
                    <a:lnTo>
                      <a:pt x="279" y="1282"/>
                    </a:lnTo>
                    <a:lnTo>
                      <a:pt x="139" y="1141"/>
                    </a:lnTo>
                    <a:lnTo>
                      <a:pt x="122" y="1119"/>
                    </a:lnTo>
                    <a:lnTo>
                      <a:pt x="110" y="1093"/>
                    </a:lnTo>
                    <a:lnTo>
                      <a:pt x="108" y="1066"/>
                    </a:lnTo>
                    <a:lnTo>
                      <a:pt x="110" y="1041"/>
                    </a:lnTo>
                    <a:lnTo>
                      <a:pt x="122" y="1015"/>
                    </a:lnTo>
                    <a:lnTo>
                      <a:pt x="139" y="993"/>
                    </a:lnTo>
                    <a:lnTo>
                      <a:pt x="158" y="973"/>
                    </a:lnTo>
                    <a:lnTo>
                      <a:pt x="133" y="913"/>
                    </a:lnTo>
                    <a:lnTo>
                      <a:pt x="106" y="913"/>
                    </a:lnTo>
                    <a:lnTo>
                      <a:pt x="78" y="911"/>
                    </a:lnTo>
                    <a:lnTo>
                      <a:pt x="53" y="899"/>
                    </a:lnTo>
                    <a:lnTo>
                      <a:pt x="32" y="883"/>
                    </a:lnTo>
                    <a:lnTo>
                      <a:pt x="15" y="862"/>
                    </a:lnTo>
                    <a:lnTo>
                      <a:pt x="5" y="836"/>
                    </a:lnTo>
                    <a:lnTo>
                      <a:pt x="0" y="809"/>
                    </a:lnTo>
                    <a:lnTo>
                      <a:pt x="0" y="610"/>
                    </a:lnTo>
                    <a:lnTo>
                      <a:pt x="5" y="582"/>
                    </a:lnTo>
                    <a:lnTo>
                      <a:pt x="15" y="558"/>
                    </a:lnTo>
                    <a:lnTo>
                      <a:pt x="32" y="536"/>
                    </a:lnTo>
                    <a:lnTo>
                      <a:pt x="53" y="519"/>
                    </a:lnTo>
                    <a:lnTo>
                      <a:pt x="78" y="509"/>
                    </a:lnTo>
                    <a:lnTo>
                      <a:pt x="106" y="505"/>
                    </a:lnTo>
                    <a:lnTo>
                      <a:pt x="133" y="505"/>
                    </a:lnTo>
                    <a:lnTo>
                      <a:pt x="158" y="445"/>
                    </a:lnTo>
                    <a:lnTo>
                      <a:pt x="139" y="426"/>
                    </a:lnTo>
                    <a:lnTo>
                      <a:pt x="122" y="403"/>
                    </a:lnTo>
                    <a:lnTo>
                      <a:pt x="110" y="379"/>
                    </a:lnTo>
                    <a:lnTo>
                      <a:pt x="108" y="352"/>
                    </a:lnTo>
                    <a:lnTo>
                      <a:pt x="110" y="326"/>
                    </a:lnTo>
                    <a:lnTo>
                      <a:pt x="122" y="300"/>
                    </a:lnTo>
                    <a:lnTo>
                      <a:pt x="139" y="277"/>
                    </a:lnTo>
                    <a:lnTo>
                      <a:pt x="279" y="137"/>
                    </a:lnTo>
                    <a:lnTo>
                      <a:pt x="302" y="120"/>
                    </a:lnTo>
                    <a:lnTo>
                      <a:pt x="326" y="110"/>
                    </a:lnTo>
                    <a:lnTo>
                      <a:pt x="353" y="106"/>
                    </a:lnTo>
                    <a:lnTo>
                      <a:pt x="379" y="110"/>
                    </a:lnTo>
                    <a:lnTo>
                      <a:pt x="405" y="120"/>
                    </a:lnTo>
                    <a:lnTo>
                      <a:pt x="428" y="137"/>
                    </a:lnTo>
                    <a:lnTo>
                      <a:pt x="446" y="156"/>
                    </a:lnTo>
                    <a:lnTo>
                      <a:pt x="506" y="132"/>
                    </a:lnTo>
                    <a:lnTo>
                      <a:pt x="506" y="104"/>
                    </a:lnTo>
                    <a:lnTo>
                      <a:pt x="511" y="76"/>
                    </a:lnTo>
                    <a:lnTo>
                      <a:pt x="521" y="52"/>
                    </a:lnTo>
                    <a:lnTo>
                      <a:pt x="538" y="30"/>
                    </a:lnTo>
                    <a:lnTo>
                      <a:pt x="558" y="14"/>
                    </a:lnTo>
                    <a:lnTo>
                      <a:pt x="583" y="3"/>
                    </a:lnTo>
                    <a:lnTo>
                      <a:pt x="6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0" name="Freeform 162"/>
              <p:cNvSpPr>
                <a:spLocks noEditPoints="1"/>
              </p:cNvSpPr>
              <p:nvPr/>
            </p:nvSpPr>
            <p:spPr bwMode="auto">
              <a:xfrm>
                <a:off x="5571" y="2763"/>
                <a:ext cx="598" cy="598"/>
              </a:xfrm>
              <a:custGeom>
                <a:avLst/>
                <a:gdLst>
                  <a:gd name="T0" fmla="*/ 506 w 1194"/>
                  <a:gd name="T1" fmla="*/ 324 h 1196"/>
                  <a:gd name="T2" fmla="*/ 393 w 1194"/>
                  <a:gd name="T3" fmla="*/ 394 h 1196"/>
                  <a:gd name="T4" fmla="*/ 324 w 1194"/>
                  <a:gd name="T5" fmla="*/ 507 h 1196"/>
                  <a:gd name="T6" fmla="*/ 313 w 1194"/>
                  <a:gd name="T7" fmla="*/ 644 h 1196"/>
                  <a:gd name="T8" fmla="*/ 364 w 1194"/>
                  <a:gd name="T9" fmla="*/ 767 h 1196"/>
                  <a:gd name="T10" fmla="*/ 464 w 1194"/>
                  <a:gd name="T11" fmla="*/ 853 h 1196"/>
                  <a:gd name="T12" fmla="*/ 597 w 1194"/>
                  <a:gd name="T13" fmla="*/ 886 h 1196"/>
                  <a:gd name="T14" fmla="*/ 729 w 1194"/>
                  <a:gd name="T15" fmla="*/ 853 h 1196"/>
                  <a:gd name="T16" fmla="*/ 829 w 1194"/>
                  <a:gd name="T17" fmla="*/ 767 h 1196"/>
                  <a:gd name="T18" fmla="*/ 881 w 1194"/>
                  <a:gd name="T19" fmla="*/ 644 h 1196"/>
                  <a:gd name="T20" fmla="*/ 870 w 1194"/>
                  <a:gd name="T21" fmla="*/ 507 h 1196"/>
                  <a:gd name="T22" fmla="*/ 800 w 1194"/>
                  <a:gd name="T23" fmla="*/ 394 h 1196"/>
                  <a:gd name="T24" fmla="*/ 689 w 1194"/>
                  <a:gd name="T25" fmla="*/ 324 h 1196"/>
                  <a:gd name="T26" fmla="*/ 513 w 1194"/>
                  <a:gd name="T27" fmla="*/ 0 h 1196"/>
                  <a:gd name="T28" fmla="*/ 726 w 1194"/>
                  <a:gd name="T29" fmla="*/ 11 h 1196"/>
                  <a:gd name="T30" fmla="*/ 766 w 1194"/>
                  <a:gd name="T31" fmla="*/ 64 h 1196"/>
                  <a:gd name="T32" fmla="*/ 820 w 1194"/>
                  <a:gd name="T33" fmla="*/ 131 h 1196"/>
                  <a:gd name="T34" fmla="*/ 876 w 1194"/>
                  <a:gd name="T35" fmla="*/ 93 h 1196"/>
                  <a:gd name="T36" fmla="*/ 941 w 1194"/>
                  <a:gd name="T37" fmla="*/ 101 h 1196"/>
                  <a:gd name="T38" fmla="*/ 1093 w 1194"/>
                  <a:gd name="T39" fmla="*/ 253 h 1196"/>
                  <a:gd name="T40" fmla="*/ 1102 w 1194"/>
                  <a:gd name="T41" fmla="*/ 319 h 1196"/>
                  <a:gd name="T42" fmla="*/ 1063 w 1194"/>
                  <a:gd name="T43" fmla="*/ 376 h 1196"/>
                  <a:gd name="T44" fmla="*/ 1130 w 1194"/>
                  <a:gd name="T45" fmla="*/ 429 h 1196"/>
                  <a:gd name="T46" fmla="*/ 1183 w 1194"/>
                  <a:gd name="T47" fmla="*/ 469 h 1196"/>
                  <a:gd name="T48" fmla="*/ 1194 w 1194"/>
                  <a:gd name="T49" fmla="*/ 682 h 1196"/>
                  <a:gd name="T50" fmla="*/ 1169 w 1194"/>
                  <a:gd name="T51" fmla="*/ 743 h 1196"/>
                  <a:gd name="T52" fmla="*/ 1106 w 1194"/>
                  <a:gd name="T53" fmla="*/ 770 h 1196"/>
                  <a:gd name="T54" fmla="*/ 1079 w 1194"/>
                  <a:gd name="T55" fmla="*/ 836 h 1196"/>
                  <a:gd name="T56" fmla="*/ 1104 w 1194"/>
                  <a:gd name="T57" fmla="*/ 899 h 1196"/>
                  <a:gd name="T58" fmla="*/ 1079 w 1194"/>
                  <a:gd name="T59" fmla="*/ 962 h 1196"/>
                  <a:gd name="T60" fmla="*/ 920 w 1194"/>
                  <a:gd name="T61" fmla="*/ 1103 h 1196"/>
                  <a:gd name="T62" fmla="*/ 854 w 1194"/>
                  <a:gd name="T63" fmla="*/ 1095 h 1196"/>
                  <a:gd name="T64" fmla="*/ 769 w 1194"/>
                  <a:gd name="T65" fmla="*/ 1085 h 1196"/>
                  <a:gd name="T66" fmla="*/ 757 w 1194"/>
                  <a:gd name="T67" fmla="*/ 1152 h 1196"/>
                  <a:gd name="T68" fmla="*/ 704 w 1194"/>
                  <a:gd name="T69" fmla="*/ 1192 h 1196"/>
                  <a:gd name="T70" fmla="*/ 490 w 1194"/>
                  <a:gd name="T71" fmla="*/ 1192 h 1196"/>
                  <a:gd name="T72" fmla="*/ 437 w 1194"/>
                  <a:gd name="T73" fmla="*/ 1152 h 1196"/>
                  <a:gd name="T74" fmla="*/ 426 w 1194"/>
                  <a:gd name="T75" fmla="*/ 1085 h 1196"/>
                  <a:gd name="T76" fmla="*/ 340 w 1194"/>
                  <a:gd name="T77" fmla="*/ 1095 h 1196"/>
                  <a:gd name="T78" fmla="*/ 274 w 1194"/>
                  <a:gd name="T79" fmla="*/ 1103 h 1196"/>
                  <a:gd name="T80" fmla="*/ 115 w 1194"/>
                  <a:gd name="T81" fmla="*/ 962 h 1196"/>
                  <a:gd name="T82" fmla="*/ 90 w 1194"/>
                  <a:gd name="T83" fmla="*/ 899 h 1196"/>
                  <a:gd name="T84" fmla="*/ 115 w 1194"/>
                  <a:gd name="T85" fmla="*/ 836 h 1196"/>
                  <a:gd name="T86" fmla="*/ 87 w 1194"/>
                  <a:gd name="T87" fmla="*/ 770 h 1196"/>
                  <a:gd name="T88" fmla="*/ 25 w 1194"/>
                  <a:gd name="T89" fmla="*/ 743 h 1196"/>
                  <a:gd name="T90" fmla="*/ 0 w 1194"/>
                  <a:gd name="T91" fmla="*/ 682 h 1196"/>
                  <a:gd name="T92" fmla="*/ 11 w 1194"/>
                  <a:gd name="T93" fmla="*/ 469 h 1196"/>
                  <a:gd name="T94" fmla="*/ 64 w 1194"/>
                  <a:gd name="T95" fmla="*/ 429 h 1196"/>
                  <a:gd name="T96" fmla="*/ 131 w 1194"/>
                  <a:gd name="T97" fmla="*/ 376 h 1196"/>
                  <a:gd name="T98" fmla="*/ 93 w 1194"/>
                  <a:gd name="T99" fmla="*/ 319 h 1196"/>
                  <a:gd name="T100" fmla="*/ 101 w 1194"/>
                  <a:gd name="T101" fmla="*/ 253 h 1196"/>
                  <a:gd name="T102" fmla="*/ 253 w 1194"/>
                  <a:gd name="T103" fmla="*/ 101 h 1196"/>
                  <a:gd name="T104" fmla="*/ 318 w 1194"/>
                  <a:gd name="T105" fmla="*/ 93 h 1196"/>
                  <a:gd name="T106" fmla="*/ 374 w 1194"/>
                  <a:gd name="T107" fmla="*/ 131 h 1196"/>
                  <a:gd name="T108" fmla="*/ 428 w 1194"/>
                  <a:gd name="T109" fmla="*/ 64 h 1196"/>
                  <a:gd name="T110" fmla="*/ 468 w 1194"/>
                  <a:gd name="T111" fmla="*/ 11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94" h="1196">
                    <a:moveTo>
                      <a:pt x="597" y="310"/>
                    </a:moveTo>
                    <a:lnTo>
                      <a:pt x="550" y="313"/>
                    </a:lnTo>
                    <a:lnTo>
                      <a:pt x="506" y="324"/>
                    </a:lnTo>
                    <a:lnTo>
                      <a:pt x="464" y="341"/>
                    </a:lnTo>
                    <a:lnTo>
                      <a:pt x="427" y="366"/>
                    </a:lnTo>
                    <a:lnTo>
                      <a:pt x="393" y="394"/>
                    </a:lnTo>
                    <a:lnTo>
                      <a:pt x="364" y="427"/>
                    </a:lnTo>
                    <a:lnTo>
                      <a:pt x="341" y="466"/>
                    </a:lnTo>
                    <a:lnTo>
                      <a:pt x="324" y="507"/>
                    </a:lnTo>
                    <a:lnTo>
                      <a:pt x="313" y="552"/>
                    </a:lnTo>
                    <a:lnTo>
                      <a:pt x="308" y="597"/>
                    </a:lnTo>
                    <a:lnTo>
                      <a:pt x="313" y="644"/>
                    </a:lnTo>
                    <a:lnTo>
                      <a:pt x="324" y="689"/>
                    </a:lnTo>
                    <a:lnTo>
                      <a:pt x="341" y="730"/>
                    </a:lnTo>
                    <a:lnTo>
                      <a:pt x="364" y="767"/>
                    </a:lnTo>
                    <a:lnTo>
                      <a:pt x="393" y="802"/>
                    </a:lnTo>
                    <a:lnTo>
                      <a:pt x="427" y="830"/>
                    </a:lnTo>
                    <a:lnTo>
                      <a:pt x="464" y="853"/>
                    </a:lnTo>
                    <a:lnTo>
                      <a:pt x="506" y="870"/>
                    </a:lnTo>
                    <a:lnTo>
                      <a:pt x="550" y="882"/>
                    </a:lnTo>
                    <a:lnTo>
                      <a:pt x="597" y="886"/>
                    </a:lnTo>
                    <a:lnTo>
                      <a:pt x="644" y="882"/>
                    </a:lnTo>
                    <a:lnTo>
                      <a:pt x="689" y="870"/>
                    </a:lnTo>
                    <a:lnTo>
                      <a:pt x="729" y="853"/>
                    </a:lnTo>
                    <a:lnTo>
                      <a:pt x="767" y="830"/>
                    </a:lnTo>
                    <a:lnTo>
                      <a:pt x="800" y="802"/>
                    </a:lnTo>
                    <a:lnTo>
                      <a:pt x="829" y="767"/>
                    </a:lnTo>
                    <a:lnTo>
                      <a:pt x="853" y="730"/>
                    </a:lnTo>
                    <a:lnTo>
                      <a:pt x="870" y="689"/>
                    </a:lnTo>
                    <a:lnTo>
                      <a:pt x="881" y="644"/>
                    </a:lnTo>
                    <a:lnTo>
                      <a:pt x="884" y="597"/>
                    </a:lnTo>
                    <a:lnTo>
                      <a:pt x="881" y="552"/>
                    </a:lnTo>
                    <a:lnTo>
                      <a:pt x="870" y="507"/>
                    </a:lnTo>
                    <a:lnTo>
                      <a:pt x="853" y="466"/>
                    </a:lnTo>
                    <a:lnTo>
                      <a:pt x="829" y="427"/>
                    </a:lnTo>
                    <a:lnTo>
                      <a:pt x="800" y="394"/>
                    </a:lnTo>
                    <a:lnTo>
                      <a:pt x="767" y="366"/>
                    </a:lnTo>
                    <a:lnTo>
                      <a:pt x="729" y="341"/>
                    </a:lnTo>
                    <a:lnTo>
                      <a:pt x="689" y="324"/>
                    </a:lnTo>
                    <a:lnTo>
                      <a:pt x="644" y="313"/>
                    </a:lnTo>
                    <a:lnTo>
                      <a:pt x="597" y="310"/>
                    </a:lnTo>
                    <a:close/>
                    <a:moveTo>
                      <a:pt x="513" y="0"/>
                    </a:moveTo>
                    <a:lnTo>
                      <a:pt x="681" y="0"/>
                    </a:lnTo>
                    <a:lnTo>
                      <a:pt x="704" y="3"/>
                    </a:lnTo>
                    <a:lnTo>
                      <a:pt x="726" y="11"/>
                    </a:lnTo>
                    <a:lnTo>
                      <a:pt x="743" y="26"/>
                    </a:lnTo>
                    <a:lnTo>
                      <a:pt x="757" y="43"/>
                    </a:lnTo>
                    <a:lnTo>
                      <a:pt x="766" y="64"/>
                    </a:lnTo>
                    <a:lnTo>
                      <a:pt x="769" y="88"/>
                    </a:lnTo>
                    <a:lnTo>
                      <a:pt x="769" y="111"/>
                    </a:lnTo>
                    <a:lnTo>
                      <a:pt x="820" y="131"/>
                    </a:lnTo>
                    <a:lnTo>
                      <a:pt x="836" y="116"/>
                    </a:lnTo>
                    <a:lnTo>
                      <a:pt x="854" y="101"/>
                    </a:lnTo>
                    <a:lnTo>
                      <a:pt x="876" y="93"/>
                    </a:lnTo>
                    <a:lnTo>
                      <a:pt x="899" y="90"/>
                    </a:lnTo>
                    <a:lnTo>
                      <a:pt x="920" y="93"/>
                    </a:lnTo>
                    <a:lnTo>
                      <a:pt x="941" y="101"/>
                    </a:lnTo>
                    <a:lnTo>
                      <a:pt x="960" y="116"/>
                    </a:lnTo>
                    <a:lnTo>
                      <a:pt x="1079" y="234"/>
                    </a:lnTo>
                    <a:lnTo>
                      <a:pt x="1093" y="253"/>
                    </a:lnTo>
                    <a:lnTo>
                      <a:pt x="1102" y="274"/>
                    </a:lnTo>
                    <a:lnTo>
                      <a:pt x="1104" y="297"/>
                    </a:lnTo>
                    <a:lnTo>
                      <a:pt x="1102" y="319"/>
                    </a:lnTo>
                    <a:lnTo>
                      <a:pt x="1093" y="340"/>
                    </a:lnTo>
                    <a:lnTo>
                      <a:pt x="1079" y="359"/>
                    </a:lnTo>
                    <a:lnTo>
                      <a:pt x="1063" y="376"/>
                    </a:lnTo>
                    <a:lnTo>
                      <a:pt x="1083" y="426"/>
                    </a:lnTo>
                    <a:lnTo>
                      <a:pt x="1106" y="426"/>
                    </a:lnTo>
                    <a:lnTo>
                      <a:pt x="1130" y="429"/>
                    </a:lnTo>
                    <a:lnTo>
                      <a:pt x="1152" y="437"/>
                    </a:lnTo>
                    <a:lnTo>
                      <a:pt x="1169" y="451"/>
                    </a:lnTo>
                    <a:lnTo>
                      <a:pt x="1183" y="469"/>
                    </a:lnTo>
                    <a:lnTo>
                      <a:pt x="1192" y="490"/>
                    </a:lnTo>
                    <a:lnTo>
                      <a:pt x="1194" y="514"/>
                    </a:lnTo>
                    <a:lnTo>
                      <a:pt x="1194" y="682"/>
                    </a:lnTo>
                    <a:lnTo>
                      <a:pt x="1192" y="704"/>
                    </a:lnTo>
                    <a:lnTo>
                      <a:pt x="1183" y="726"/>
                    </a:lnTo>
                    <a:lnTo>
                      <a:pt x="1169" y="743"/>
                    </a:lnTo>
                    <a:lnTo>
                      <a:pt x="1152" y="757"/>
                    </a:lnTo>
                    <a:lnTo>
                      <a:pt x="1130" y="766"/>
                    </a:lnTo>
                    <a:lnTo>
                      <a:pt x="1106" y="770"/>
                    </a:lnTo>
                    <a:lnTo>
                      <a:pt x="1083" y="770"/>
                    </a:lnTo>
                    <a:lnTo>
                      <a:pt x="1063" y="820"/>
                    </a:lnTo>
                    <a:lnTo>
                      <a:pt x="1079" y="836"/>
                    </a:lnTo>
                    <a:lnTo>
                      <a:pt x="1093" y="854"/>
                    </a:lnTo>
                    <a:lnTo>
                      <a:pt x="1102" y="876"/>
                    </a:lnTo>
                    <a:lnTo>
                      <a:pt x="1104" y="899"/>
                    </a:lnTo>
                    <a:lnTo>
                      <a:pt x="1102" y="922"/>
                    </a:lnTo>
                    <a:lnTo>
                      <a:pt x="1093" y="942"/>
                    </a:lnTo>
                    <a:lnTo>
                      <a:pt x="1079" y="962"/>
                    </a:lnTo>
                    <a:lnTo>
                      <a:pt x="960" y="1079"/>
                    </a:lnTo>
                    <a:lnTo>
                      <a:pt x="941" y="1095"/>
                    </a:lnTo>
                    <a:lnTo>
                      <a:pt x="920" y="1103"/>
                    </a:lnTo>
                    <a:lnTo>
                      <a:pt x="899" y="1106"/>
                    </a:lnTo>
                    <a:lnTo>
                      <a:pt x="876" y="1103"/>
                    </a:lnTo>
                    <a:lnTo>
                      <a:pt x="854" y="1095"/>
                    </a:lnTo>
                    <a:lnTo>
                      <a:pt x="836" y="1079"/>
                    </a:lnTo>
                    <a:lnTo>
                      <a:pt x="820" y="1063"/>
                    </a:lnTo>
                    <a:lnTo>
                      <a:pt x="769" y="1085"/>
                    </a:lnTo>
                    <a:lnTo>
                      <a:pt x="769" y="1107"/>
                    </a:lnTo>
                    <a:lnTo>
                      <a:pt x="766" y="1130"/>
                    </a:lnTo>
                    <a:lnTo>
                      <a:pt x="757" y="1152"/>
                    </a:lnTo>
                    <a:lnTo>
                      <a:pt x="743" y="1169"/>
                    </a:lnTo>
                    <a:lnTo>
                      <a:pt x="726" y="1183"/>
                    </a:lnTo>
                    <a:lnTo>
                      <a:pt x="704" y="1192"/>
                    </a:lnTo>
                    <a:lnTo>
                      <a:pt x="681" y="1196"/>
                    </a:lnTo>
                    <a:lnTo>
                      <a:pt x="513" y="1196"/>
                    </a:lnTo>
                    <a:lnTo>
                      <a:pt x="490" y="1192"/>
                    </a:lnTo>
                    <a:lnTo>
                      <a:pt x="468" y="1183"/>
                    </a:lnTo>
                    <a:lnTo>
                      <a:pt x="451" y="1169"/>
                    </a:lnTo>
                    <a:lnTo>
                      <a:pt x="437" y="1152"/>
                    </a:lnTo>
                    <a:lnTo>
                      <a:pt x="428" y="1130"/>
                    </a:lnTo>
                    <a:lnTo>
                      <a:pt x="426" y="1107"/>
                    </a:lnTo>
                    <a:lnTo>
                      <a:pt x="426" y="1085"/>
                    </a:lnTo>
                    <a:lnTo>
                      <a:pt x="374" y="1063"/>
                    </a:lnTo>
                    <a:lnTo>
                      <a:pt x="358" y="1079"/>
                    </a:lnTo>
                    <a:lnTo>
                      <a:pt x="340" y="1095"/>
                    </a:lnTo>
                    <a:lnTo>
                      <a:pt x="318" y="1103"/>
                    </a:lnTo>
                    <a:lnTo>
                      <a:pt x="296" y="1106"/>
                    </a:lnTo>
                    <a:lnTo>
                      <a:pt x="274" y="1103"/>
                    </a:lnTo>
                    <a:lnTo>
                      <a:pt x="253" y="1095"/>
                    </a:lnTo>
                    <a:lnTo>
                      <a:pt x="234" y="1079"/>
                    </a:lnTo>
                    <a:lnTo>
                      <a:pt x="115" y="962"/>
                    </a:lnTo>
                    <a:lnTo>
                      <a:pt x="101" y="942"/>
                    </a:lnTo>
                    <a:lnTo>
                      <a:pt x="93" y="922"/>
                    </a:lnTo>
                    <a:lnTo>
                      <a:pt x="90" y="899"/>
                    </a:lnTo>
                    <a:lnTo>
                      <a:pt x="93" y="876"/>
                    </a:lnTo>
                    <a:lnTo>
                      <a:pt x="101" y="854"/>
                    </a:lnTo>
                    <a:lnTo>
                      <a:pt x="115" y="836"/>
                    </a:lnTo>
                    <a:lnTo>
                      <a:pt x="131" y="820"/>
                    </a:lnTo>
                    <a:lnTo>
                      <a:pt x="110" y="770"/>
                    </a:lnTo>
                    <a:lnTo>
                      <a:pt x="87" y="770"/>
                    </a:lnTo>
                    <a:lnTo>
                      <a:pt x="64" y="766"/>
                    </a:lnTo>
                    <a:lnTo>
                      <a:pt x="43" y="757"/>
                    </a:lnTo>
                    <a:lnTo>
                      <a:pt x="25" y="743"/>
                    </a:lnTo>
                    <a:lnTo>
                      <a:pt x="11" y="726"/>
                    </a:lnTo>
                    <a:lnTo>
                      <a:pt x="3" y="704"/>
                    </a:lnTo>
                    <a:lnTo>
                      <a:pt x="0" y="682"/>
                    </a:lnTo>
                    <a:lnTo>
                      <a:pt x="0" y="514"/>
                    </a:lnTo>
                    <a:lnTo>
                      <a:pt x="3" y="490"/>
                    </a:lnTo>
                    <a:lnTo>
                      <a:pt x="11" y="469"/>
                    </a:lnTo>
                    <a:lnTo>
                      <a:pt x="25" y="451"/>
                    </a:lnTo>
                    <a:lnTo>
                      <a:pt x="43" y="437"/>
                    </a:lnTo>
                    <a:lnTo>
                      <a:pt x="64" y="429"/>
                    </a:lnTo>
                    <a:lnTo>
                      <a:pt x="87" y="426"/>
                    </a:lnTo>
                    <a:lnTo>
                      <a:pt x="110" y="426"/>
                    </a:lnTo>
                    <a:lnTo>
                      <a:pt x="131" y="376"/>
                    </a:lnTo>
                    <a:lnTo>
                      <a:pt x="115" y="359"/>
                    </a:lnTo>
                    <a:lnTo>
                      <a:pt x="101" y="340"/>
                    </a:lnTo>
                    <a:lnTo>
                      <a:pt x="93" y="319"/>
                    </a:lnTo>
                    <a:lnTo>
                      <a:pt x="90" y="297"/>
                    </a:lnTo>
                    <a:lnTo>
                      <a:pt x="93" y="274"/>
                    </a:lnTo>
                    <a:lnTo>
                      <a:pt x="101" y="253"/>
                    </a:lnTo>
                    <a:lnTo>
                      <a:pt x="115" y="234"/>
                    </a:lnTo>
                    <a:lnTo>
                      <a:pt x="234" y="116"/>
                    </a:lnTo>
                    <a:lnTo>
                      <a:pt x="253" y="101"/>
                    </a:lnTo>
                    <a:lnTo>
                      <a:pt x="274" y="93"/>
                    </a:lnTo>
                    <a:lnTo>
                      <a:pt x="296" y="90"/>
                    </a:lnTo>
                    <a:lnTo>
                      <a:pt x="318" y="93"/>
                    </a:lnTo>
                    <a:lnTo>
                      <a:pt x="340" y="101"/>
                    </a:lnTo>
                    <a:lnTo>
                      <a:pt x="358" y="116"/>
                    </a:lnTo>
                    <a:lnTo>
                      <a:pt x="374" y="131"/>
                    </a:lnTo>
                    <a:lnTo>
                      <a:pt x="426" y="111"/>
                    </a:lnTo>
                    <a:lnTo>
                      <a:pt x="426" y="88"/>
                    </a:lnTo>
                    <a:lnTo>
                      <a:pt x="428" y="64"/>
                    </a:lnTo>
                    <a:lnTo>
                      <a:pt x="437" y="43"/>
                    </a:lnTo>
                    <a:lnTo>
                      <a:pt x="451" y="26"/>
                    </a:lnTo>
                    <a:lnTo>
                      <a:pt x="468" y="11"/>
                    </a:lnTo>
                    <a:lnTo>
                      <a:pt x="490" y="3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21" name="Group 120"/>
          <p:cNvGrpSpPr/>
          <p:nvPr/>
        </p:nvGrpSpPr>
        <p:grpSpPr>
          <a:xfrm>
            <a:off x="147993" y="5948609"/>
            <a:ext cx="727877" cy="579853"/>
            <a:chOff x="147993" y="5948609"/>
            <a:chExt cx="727877" cy="579853"/>
          </a:xfrm>
        </p:grpSpPr>
        <p:sp>
          <p:nvSpPr>
            <p:cNvPr id="122" name="Rectangle 17"/>
            <p:cNvSpPr>
              <a:spLocks/>
            </p:cNvSpPr>
            <p:nvPr/>
          </p:nvSpPr>
          <p:spPr bwMode="auto">
            <a:xfrm>
              <a:off x="147993" y="6282241"/>
              <a:ext cx="72787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нешние данные</a:t>
              </a:r>
            </a:p>
          </p:txBody>
        </p:sp>
        <p:grpSp>
          <p:nvGrpSpPr>
            <p:cNvPr id="123" name="Group 201"/>
            <p:cNvGrpSpPr>
              <a:grpSpLocks noChangeAspect="1"/>
            </p:cNvGrpSpPr>
            <p:nvPr/>
          </p:nvGrpSpPr>
          <p:grpSpPr bwMode="auto">
            <a:xfrm>
              <a:off x="417906" y="5948609"/>
              <a:ext cx="202275" cy="226804"/>
              <a:chOff x="4176" y="3243"/>
              <a:chExt cx="602" cy="675"/>
            </a:xfrm>
            <a:solidFill>
              <a:schemeClr val="bg1"/>
            </a:solidFill>
          </p:grpSpPr>
          <p:sp>
            <p:nvSpPr>
              <p:cNvPr id="124" name="Freeform 203"/>
              <p:cNvSpPr>
                <a:spLocks/>
              </p:cNvSpPr>
              <p:nvPr/>
            </p:nvSpPr>
            <p:spPr bwMode="auto">
              <a:xfrm>
                <a:off x="4184" y="3243"/>
                <a:ext cx="594" cy="675"/>
              </a:xfrm>
              <a:custGeom>
                <a:avLst/>
                <a:gdLst>
                  <a:gd name="T0" fmla="*/ 2818 w 2971"/>
                  <a:gd name="T1" fmla="*/ 0 h 3374"/>
                  <a:gd name="T2" fmla="*/ 2877 w 2971"/>
                  <a:gd name="T3" fmla="*/ 12 h 3374"/>
                  <a:gd name="T4" fmla="*/ 2926 w 2971"/>
                  <a:gd name="T5" fmla="*/ 45 h 3374"/>
                  <a:gd name="T6" fmla="*/ 2958 w 2971"/>
                  <a:gd name="T7" fmla="*/ 93 h 3374"/>
                  <a:gd name="T8" fmla="*/ 2971 w 2971"/>
                  <a:gd name="T9" fmla="*/ 154 h 3374"/>
                  <a:gd name="T10" fmla="*/ 2960 w 2971"/>
                  <a:gd name="T11" fmla="*/ 207 h 3374"/>
                  <a:gd name="T12" fmla="*/ 2934 w 2971"/>
                  <a:gd name="T13" fmla="*/ 252 h 3374"/>
                  <a:gd name="T14" fmla="*/ 2894 w 2971"/>
                  <a:gd name="T15" fmla="*/ 285 h 3374"/>
                  <a:gd name="T16" fmla="*/ 2892 w 2971"/>
                  <a:gd name="T17" fmla="*/ 2091 h 3374"/>
                  <a:gd name="T18" fmla="*/ 2872 w 2971"/>
                  <a:gd name="T19" fmla="*/ 2124 h 3374"/>
                  <a:gd name="T20" fmla="*/ 2838 w 2971"/>
                  <a:gd name="T21" fmla="*/ 2145 h 3374"/>
                  <a:gd name="T22" fmla="*/ 2197 w 2971"/>
                  <a:gd name="T23" fmla="*/ 2147 h 3374"/>
                  <a:gd name="T24" fmla="*/ 2475 w 2971"/>
                  <a:gd name="T25" fmla="*/ 3208 h 3374"/>
                  <a:gd name="T26" fmla="*/ 2469 w 2971"/>
                  <a:gd name="T27" fmla="*/ 3261 h 3374"/>
                  <a:gd name="T28" fmla="*/ 2448 w 2971"/>
                  <a:gd name="T29" fmla="*/ 3309 h 3374"/>
                  <a:gd name="T30" fmla="*/ 2411 w 2971"/>
                  <a:gd name="T31" fmla="*/ 3346 h 3374"/>
                  <a:gd name="T32" fmla="*/ 2362 w 2971"/>
                  <a:gd name="T33" fmla="*/ 3370 h 3374"/>
                  <a:gd name="T34" fmla="*/ 2323 w 2971"/>
                  <a:gd name="T35" fmla="*/ 3374 h 3374"/>
                  <a:gd name="T36" fmla="*/ 2267 w 2971"/>
                  <a:gd name="T37" fmla="*/ 3363 h 3374"/>
                  <a:gd name="T38" fmla="*/ 2220 w 2971"/>
                  <a:gd name="T39" fmla="*/ 3334 h 3374"/>
                  <a:gd name="T40" fmla="*/ 2186 w 2971"/>
                  <a:gd name="T41" fmla="*/ 3288 h 3374"/>
                  <a:gd name="T42" fmla="*/ 1902 w 2971"/>
                  <a:gd name="T43" fmla="*/ 2224 h 3374"/>
                  <a:gd name="T44" fmla="*/ 794 w 2971"/>
                  <a:gd name="T45" fmla="*/ 3260 h 3374"/>
                  <a:gd name="T46" fmla="*/ 771 w 2971"/>
                  <a:gd name="T47" fmla="*/ 3309 h 3374"/>
                  <a:gd name="T48" fmla="*/ 734 w 2971"/>
                  <a:gd name="T49" fmla="*/ 3346 h 3374"/>
                  <a:gd name="T50" fmla="*/ 687 w 2971"/>
                  <a:gd name="T51" fmla="*/ 3369 h 3374"/>
                  <a:gd name="T52" fmla="*/ 635 w 2971"/>
                  <a:gd name="T53" fmla="*/ 3374 h 3374"/>
                  <a:gd name="T54" fmla="*/ 581 w 2971"/>
                  <a:gd name="T55" fmla="*/ 3360 h 3374"/>
                  <a:gd name="T56" fmla="*/ 538 w 2971"/>
                  <a:gd name="T57" fmla="*/ 3329 h 3374"/>
                  <a:gd name="T58" fmla="*/ 509 w 2971"/>
                  <a:gd name="T59" fmla="*/ 3286 h 3374"/>
                  <a:gd name="T60" fmla="*/ 495 w 2971"/>
                  <a:gd name="T61" fmla="*/ 3236 h 3374"/>
                  <a:gd name="T62" fmla="*/ 500 w 2971"/>
                  <a:gd name="T63" fmla="*/ 3181 h 3374"/>
                  <a:gd name="T64" fmla="*/ 639 w 2971"/>
                  <a:gd name="T65" fmla="*/ 2147 h 3374"/>
                  <a:gd name="T66" fmla="*/ 729 w 2971"/>
                  <a:gd name="T67" fmla="*/ 2048 h 3374"/>
                  <a:gd name="T68" fmla="*/ 2742 w 2971"/>
                  <a:gd name="T69" fmla="*/ 1994 h 3374"/>
                  <a:gd name="T70" fmla="*/ 227 w 2971"/>
                  <a:gd name="T71" fmla="*/ 307 h 3374"/>
                  <a:gd name="T72" fmla="*/ 184 w 2971"/>
                  <a:gd name="T73" fmla="*/ 1953 h 3374"/>
                  <a:gd name="T74" fmla="*/ 108 w 2971"/>
                  <a:gd name="T75" fmla="*/ 2023 h 3374"/>
                  <a:gd name="T76" fmla="*/ 76 w 2971"/>
                  <a:gd name="T77" fmla="*/ 285 h 3374"/>
                  <a:gd name="T78" fmla="*/ 36 w 2971"/>
                  <a:gd name="T79" fmla="*/ 252 h 3374"/>
                  <a:gd name="T80" fmla="*/ 9 w 2971"/>
                  <a:gd name="T81" fmla="*/ 207 h 3374"/>
                  <a:gd name="T82" fmla="*/ 0 w 2971"/>
                  <a:gd name="T83" fmla="*/ 154 h 3374"/>
                  <a:gd name="T84" fmla="*/ 12 w 2971"/>
                  <a:gd name="T85" fmla="*/ 93 h 3374"/>
                  <a:gd name="T86" fmla="*/ 44 w 2971"/>
                  <a:gd name="T87" fmla="*/ 45 h 3374"/>
                  <a:gd name="T88" fmla="*/ 93 w 2971"/>
                  <a:gd name="T89" fmla="*/ 12 h 3374"/>
                  <a:gd name="T90" fmla="*/ 152 w 2971"/>
                  <a:gd name="T91" fmla="*/ 0 h 3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1" h="3374">
                    <a:moveTo>
                      <a:pt x="152" y="0"/>
                    </a:moveTo>
                    <a:lnTo>
                      <a:pt x="2818" y="0"/>
                    </a:lnTo>
                    <a:lnTo>
                      <a:pt x="2849" y="3"/>
                    </a:lnTo>
                    <a:lnTo>
                      <a:pt x="2877" y="12"/>
                    </a:lnTo>
                    <a:lnTo>
                      <a:pt x="2904" y="27"/>
                    </a:lnTo>
                    <a:lnTo>
                      <a:pt x="2926" y="45"/>
                    </a:lnTo>
                    <a:lnTo>
                      <a:pt x="2945" y="68"/>
                    </a:lnTo>
                    <a:lnTo>
                      <a:pt x="2958" y="93"/>
                    </a:lnTo>
                    <a:lnTo>
                      <a:pt x="2968" y="123"/>
                    </a:lnTo>
                    <a:lnTo>
                      <a:pt x="2971" y="154"/>
                    </a:lnTo>
                    <a:lnTo>
                      <a:pt x="2968" y="181"/>
                    </a:lnTo>
                    <a:lnTo>
                      <a:pt x="2960" y="207"/>
                    </a:lnTo>
                    <a:lnTo>
                      <a:pt x="2950" y="231"/>
                    </a:lnTo>
                    <a:lnTo>
                      <a:pt x="2934" y="252"/>
                    </a:lnTo>
                    <a:lnTo>
                      <a:pt x="2916" y="271"/>
                    </a:lnTo>
                    <a:lnTo>
                      <a:pt x="2894" y="285"/>
                    </a:lnTo>
                    <a:lnTo>
                      <a:pt x="2894" y="2070"/>
                    </a:lnTo>
                    <a:lnTo>
                      <a:pt x="2892" y="2091"/>
                    </a:lnTo>
                    <a:lnTo>
                      <a:pt x="2883" y="2110"/>
                    </a:lnTo>
                    <a:lnTo>
                      <a:pt x="2872" y="2124"/>
                    </a:lnTo>
                    <a:lnTo>
                      <a:pt x="2856" y="2137"/>
                    </a:lnTo>
                    <a:lnTo>
                      <a:pt x="2838" y="2145"/>
                    </a:lnTo>
                    <a:lnTo>
                      <a:pt x="2818" y="2147"/>
                    </a:lnTo>
                    <a:lnTo>
                      <a:pt x="2197" y="2147"/>
                    </a:lnTo>
                    <a:lnTo>
                      <a:pt x="2470" y="3181"/>
                    </a:lnTo>
                    <a:lnTo>
                      <a:pt x="2475" y="3208"/>
                    </a:lnTo>
                    <a:lnTo>
                      <a:pt x="2475" y="3235"/>
                    </a:lnTo>
                    <a:lnTo>
                      <a:pt x="2469" y="3261"/>
                    </a:lnTo>
                    <a:lnTo>
                      <a:pt x="2461" y="3286"/>
                    </a:lnTo>
                    <a:lnTo>
                      <a:pt x="2448" y="3309"/>
                    </a:lnTo>
                    <a:lnTo>
                      <a:pt x="2432" y="3329"/>
                    </a:lnTo>
                    <a:lnTo>
                      <a:pt x="2411" y="3346"/>
                    </a:lnTo>
                    <a:lnTo>
                      <a:pt x="2388" y="3360"/>
                    </a:lnTo>
                    <a:lnTo>
                      <a:pt x="2362" y="3370"/>
                    </a:lnTo>
                    <a:lnTo>
                      <a:pt x="2343" y="3373"/>
                    </a:lnTo>
                    <a:lnTo>
                      <a:pt x="2323" y="3374"/>
                    </a:lnTo>
                    <a:lnTo>
                      <a:pt x="2295" y="3372"/>
                    </a:lnTo>
                    <a:lnTo>
                      <a:pt x="2267" y="3363"/>
                    </a:lnTo>
                    <a:lnTo>
                      <a:pt x="2243" y="3351"/>
                    </a:lnTo>
                    <a:lnTo>
                      <a:pt x="2220" y="3334"/>
                    </a:lnTo>
                    <a:lnTo>
                      <a:pt x="2201" y="3313"/>
                    </a:lnTo>
                    <a:lnTo>
                      <a:pt x="2186" y="3288"/>
                    </a:lnTo>
                    <a:lnTo>
                      <a:pt x="2176" y="3260"/>
                    </a:lnTo>
                    <a:lnTo>
                      <a:pt x="1902" y="2224"/>
                    </a:lnTo>
                    <a:lnTo>
                      <a:pt x="1069" y="2224"/>
                    </a:lnTo>
                    <a:lnTo>
                      <a:pt x="794" y="3260"/>
                    </a:lnTo>
                    <a:lnTo>
                      <a:pt x="785" y="3287"/>
                    </a:lnTo>
                    <a:lnTo>
                      <a:pt x="771" y="3309"/>
                    </a:lnTo>
                    <a:lnTo>
                      <a:pt x="754" y="3329"/>
                    </a:lnTo>
                    <a:lnTo>
                      <a:pt x="734" y="3346"/>
                    </a:lnTo>
                    <a:lnTo>
                      <a:pt x="712" y="3360"/>
                    </a:lnTo>
                    <a:lnTo>
                      <a:pt x="687" y="3369"/>
                    </a:lnTo>
                    <a:lnTo>
                      <a:pt x="662" y="3374"/>
                    </a:lnTo>
                    <a:lnTo>
                      <a:pt x="635" y="3374"/>
                    </a:lnTo>
                    <a:lnTo>
                      <a:pt x="608" y="3370"/>
                    </a:lnTo>
                    <a:lnTo>
                      <a:pt x="581" y="3360"/>
                    </a:lnTo>
                    <a:lnTo>
                      <a:pt x="558" y="3346"/>
                    </a:lnTo>
                    <a:lnTo>
                      <a:pt x="538" y="3329"/>
                    </a:lnTo>
                    <a:lnTo>
                      <a:pt x="522" y="3309"/>
                    </a:lnTo>
                    <a:lnTo>
                      <a:pt x="509" y="3286"/>
                    </a:lnTo>
                    <a:lnTo>
                      <a:pt x="500" y="3261"/>
                    </a:lnTo>
                    <a:lnTo>
                      <a:pt x="495" y="3236"/>
                    </a:lnTo>
                    <a:lnTo>
                      <a:pt x="495" y="3208"/>
                    </a:lnTo>
                    <a:lnTo>
                      <a:pt x="500" y="3181"/>
                    </a:lnTo>
                    <a:lnTo>
                      <a:pt x="773" y="2147"/>
                    </a:lnTo>
                    <a:lnTo>
                      <a:pt x="639" y="2147"/>
                    </a:lnTo>
                    <a:lnTo>
                      <a:pt x="683" y="2099"/>
                    </a:lnTo>
                    <a:lnTo>
                      <a:pt x="729" y="2048"/>
                    </a:lnTo>
                    <a:lnTo>
                      <a:pt x="778" y="1994"/>
                    </a:lnTo>
                    <a:lnTo>
                      <a:pt x="2742" y="1994"/>
                    </a:lnTo>
                    <a:lnTo>
                      <a:pt x="2742" y="307"/>
                    </a:lnTo>
                    <a:lnTo>
                      <a:pt x="227" y="307"/>
                    </a:lnTo>
                    <a:lnTo>
                      <a:pt x="227" y="1912"/>
                    </a:lnTo>
                    <a:lnTo>
                      <a:pt x="184" y="1953"/>
                    </a:lnTo>
                    <a:lnTo>
                      <a:pt x="144" y="1989"/>
                    </a:lnTo>
                    <a:lnTo>
                      <a:pt x="108" y="2023"/>
                    </a:lnTo>
                    <a:lnTo>
                      <a:pt x="76" y="2052"/>
                    </a:lnTo>
                    <a:lnTo>
                      <a:pt x="76" y="285"/>
                    </a:lnTo>
                    <a:lnTo>
                      <a:pt x="55" y="271"/>
                    </a:lnTo>
                    <a:lnTo>
                      <a:pt x="36" y="252"/>
                    </a:lnTo>
                    <a:lnTo>
                      <a:pt x="21" y="231"/>
                    </a:lnTo>
                    <a:lnTo>
                      <a:pt x="9" y="207"/>
                    </a:lnTo>
                    <a:lnTo>
                      <a:pt x="2" y="181"/>
                    </a:lnTo>
                    <a:lnTo>
                      <a:pt x="0" y="154"/>
                    </a:lnTo>
                    <a:lnTo>
                      <a:pt x="3" y="123"/>
                    </a:lnTo>
                    <a:lnTo>
                      <a:pt x="12" y="93"/>
                    </a:lnTo>
                    <a:lnTo>
                      <a:pt x="25" y="68"/>
                    </a:lnTo>
                    <a:lnTo>
                      <a:pt x="44" y="45"/>
                    </a:lnTo>
                    <a:lnTo>
                      <a:pt x="66" y="27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5" name="Freeform 204"/>
              <p:cNvSpPr>
                <a:spLocks/>
              </p:cNvSpPr>
              <p:nvPr/>
            </p:nvSpPr>
            <p:spPr bwMode="auto">
              <a:xfrm>
                <a:off x="4443" y="3439"/>
                <a:ext cx="60" cy="176"/>
              </a:xfrm>
              <a:custGeom>
                <a:avLst/>
                <a:gdLst>
                  <a:gd name="T0" fmla="*/ 153 w 304"/>
                  <a:gd name="T1" fmla="*/ 0 h 881"/>
                  <a:gd name="T2" fmla="*/ 183 w 304"/>
                  <a:gd name="T3" fmla="*/ 3 h 881"/>
                  <a:gd name="T4" fmla="*/ 211 w 304"/>
                  <a:gd name="T5" fmla="*/ 12 h 881"/>
                  <a:gd name="T6" fmla="*/ 237 w 304"/>
                  <a:gd name="T7" fmla="*/ 25 h 881"/>
                  <a:gd name="T8" fmla="*/ 260 w 304"/>
                  <a:gd name="T9" fmla="*/ 44 h 881"/>
                  <a:gd name="T10" fmla="*/ 278 w 304"/>
                  <a:gd name="T11" fmla="*/ 68 h 881"/>
                  <a:gd name="T12" fmla="*/ 293 w 304"/>
                  <a:gd name="T13" fmla="*/ 93 h 881"/>
                  <a:gd name="T14" fmla="*/ 301 w 304"/>
                  <a:gd name="T15" fmla="*/ 122 h 881"/>
                  <a:gd name="T16" fmla="*/ 304 w 304"/>
                  <a:gd name="T17" fmla="*/ 154 h 881"/>
                  <a:gd name="T18" fmla="*/ 304 w 304"/>
                  <a:gd name="T19" fmla="*/ 729 h 881"/>
                  <a:gd name="T20" fmla="*/ 301 w 304"/>
                  <a:gd name="T21" fmla="*/ 759 h 881"/>
                  <a:gd name="T22" fmla="*/ 293 w 304"/>
                  <a:gd name="T23" fmla="*/ 788 h 881"/>
                  <a:gd name="T24" fmla="*/ 278 w 304"/>
                  <a:gd name="T25" fmla="*/ 814 h 881"/>
                  <a:gd name="T26" fmla="*/ 260 w 304"/>
                  <a:gd name="T27" fmla="*/ 837 h 881"/>
                  <a:gd name="T28" fmla="*/ 237 w 304"/>
                  <a:gd name="T29" fmla="*/ 856 h 881"/>
                  <a:gd name="T30" fmla="*/ 211 w 304"/>
                  <a:gd name="T31" fmla="*/ 870 h 881"/>
                  <a:gd name="T32" fmla="*/ 183 w 304"/>
                  <a:gd name="T33" fmla="*/ 878 h 881"/>
                  <a:gd name="T34" fmla="*/ 153 w 304"/>
                  <a:gd name="T35" fmla="*/ 881 h 881"/>
                  <a:gd name="T36" fmla="*/ 121 w 304"/>
                  <a:gd name="T37" fmla="*/ 878 h 881"/>
                  <a:gd name="T38" fmla="*/ 92 w 304"/>
                  <a:gd name="T39" fmla="*/ 870 h 881"/>
                  <a:gd name="T40" fmla="*/ 67 w 304"/>
                  <a:gd name="T41" fmla="*/ 856 h 881"/>
                  <a:gd name="T42" fmla="*/ 44 w 304"/>
                  <a:gd name="T43" fmla="*/ 837 h 881"/>
                  <a:gd name="T44" fmla="*/ 26 w 304"/>
                  <a:gd name="T45" fmla="*/ 814 h 881"/>
                  <a:gd name="T46" fmla="*/ 11 w 304"/>
                  <a:gd name="T47" fmla="*/ 788 h 881"/>
                  <a:gd name="T48" fmla="*/ 3 w 304"/>
                  <a:gd name="T49" fmla="*/ 759 h 881"/>
                  <a:gd name="T50" fmla="*/ 0 w 304"/>
                  <a:gd name="T51" fmla="*/ 729 h 881"/>
                  <a:gd name="T52" fmla="*/ 0 w 304"/>
                  <a:gd name="T53" fmla="*/ 154 h 881"/>
                  <a:gd name="T54" fmla="*/ 3 w 304"/>
                  <a:gd name="T55" fmla="*/ 122 h 881"/>
                  <a:gd name="T56" fmla="*/ 11 w 304"/>
                  <a:gd name="T57" fmla="*/ 93 h 881"/>
                  <a:gd name="T58" fmla="*/ 26 w 304"/>
                  <a:gd name="T59" fmla="*/ 68 h 881"/>
                  <a:gd name="T60" fmla="*/ 44 w 304"/>
                  <a:gd name="T61" fmla="*/ 44 h 881"/>
                  <a:gd name="T62" fmla="*/ 67 w 304"/>
                  <a:gd name="T63" fmla="*/ 25 h 881"/>
                  <a:gd name="T64" fmla="*/ 92 w 304"/>
                  <a:gd name="T65" fmla="*/ 12 h 881"/>
                  <a:gd name="T66" fmla="*/ 121 w 304"/>
                  <a:gd name="T67" fmla="*/ 3 h 881"/>
                  <a:gd name="T68" fmla="*/ 153 w 304"/>
                  <a:gd name="T69" fmla="*/ 0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881">
                    <a:moveTo>
                      <a:pt x="153" y="0"/>
                    </a:moveTo>
                    <a:lnTo>
                      <a:pt x="183" y="3"/>
                    </a:lnTo>
                    <a:lnTo>
                      <a:pt x="211" y="12"/>
                    </a:lnTo>
                    <a:lnTo>
                      <a:pt x="237" y="25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4" y="154"/>
                    </a:lnTo>
                    <a:lnTo>
                      <a:pt x="304" y="729"/>
                    </a:lnTo>
                    <a:lnTo>
                      <a:pt x="301" y="759"/>
                    </a:lnTo>
                    <a:lnTo>
                      <a:pt x="293" y="788"/>
                    </a:lnTo>
                    <a:lnTo>
                      <a:pt x="278" y="814"/>
                    </a:lnTo>
                    <a:lnTo>
                      <a:pt x="260" y="837"/>
                    </a:lnTo>
                    <a:lnTo>
                      <a:pt x="237" y="856"/>
                    </a:lnTo>
                    <a:lnTo>
                      <a:pt x="211" y="870"/>
                    </a:lnTo>
                    <a:lnTo>
                      <a:pt x="183" y="878"/>
                    </a:lnTo>
                    <a:lnTo>
                      <a:pt x="153" y="881"/>
                    </a:lnTo>
                    <a:lnTo>
                      <a:pt x="121" y="878"/>
                    </a:lnTo>
                    <a:lnTo>
                      <a:pt x="92" y="870"/>
                    </a:lnTo>
                    <a:lnTo>
                      <a:pt x="67" y="856"/>
                    </a:lnTo>
                    <a:lnTo>
                      <a:pt x="44" y="837"/>
                    </a:lnTo>
                    <a:lnTo>
                      <a:pt x="26" y="814"/>
                    </a:lnTo>
                    <a:lnTo>
                      <a:pt x="11" y="788"/>
                    </a:lnTo>
                    <a:lnTo>
                      <a:pt x="3" y="759"/>
                    </a:lnTo>
                    <a:lnTo>
                      <a:pt x="0" y="729"/>
                    </a:lnTo>
                    <a:lnTo>
                      <a:pt x="0" y="154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5"/>
                    </a:lnTo>
                    <a:lnTo>
                      <a:pt x="92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6" name="Freeform 205"/>
              <p:cNvSpPr>
                <a:spLocks/>
              </p:cNvSpPr>
              <p:nvPr/>
            </p:nvSpPr>
            <p:spPr bwMode="auto">
              <a:xfrm>
                <a:off x="4542" y="3331"/>
                <a:ext cx="60" cy="284"/>
              </a:xfrm>
              <a:custGeom>
                <a:avLst/>
                <a:gdLst>
                  <a:gd name="T0" fmla="*/ 153 w 304"/>
                  <a:gd name="T1" fmla="*/ 0 h 1418"/>
                  <a:gd name="T2" fmla="*/ 183 w 304"/>
                  <a:gd name="T3" fmla="*/ 3 h 1418"/>
                  <a:gd name="T4" fmla="*/ 212 w 304"/>
                  <a:gd name="T5" fmla="*/ 12 h 1418"/>
                  <a:gd name="T6" fmla="*/ 237 w 304"/>
                  <a:gd name="T7" fmla="*/ 26 h 1418"/>
                  <a:gd name="T8" fmla="*/ 260 w 304"/>
                  <a:gd name="T9" fmla="*/ 45 h 1418"/>
                  <a:gd name="T10" fmla="*/ 278 w 304"/>
                  <a:gd name="T11" fmla="*/ 67 h 1418"/>
                  <a:gd name="T12" fmla="*/ 293 w 304"/>
                  <a:gd name="T13" fmla="*/ 94 h 1418"/>
                  <a:gd name="T14" fmla="*/ 301 w 304"/>
                  <a:gd name="T15" fmla="*/ 122 h 1418"/>
                  <a:gd name="T16" fmla="*/ 304 w 304"/>
                  <a:gd name="T17" fmla="*/ 153 h 1418"/>
                  <a:gd name="T18" fmla="*/ 304 w 304"/>
                  <a:gd name="T19" fmla="*/ 1266 h 1418"/>
                  <a:gd name="T20" fmla="*/ 301 w 304"/>
                  <a:gd name="T21" fmla="*/ 1296 h 1418"/>
                  <a:gd name="T22" fmla="*/ 293 w 304"/>
                  <a:gd name="T23" fmla="*/ 1325 h 1418"/>
                  <a:gd name="T24" fmla="*/ 278 w 304"/>
                  <a:gd name="T25" fmla="*/ 1351 h 1418"/>
                  <a:gd name="T26" fmla="*/ 260 w 304"/>
                  <a:gd name="T27" fmla="*/ 1374 h 1418"/>
                  <a:gd name="T28" fmla="*/ 237 w 304"/>
                  <a:gd name="T29" fmla="*/ 1393 h 1418"/>
                  <a:gd name="T30" fmla="*/ 212 w 304"/>
                  <a:gd name="T31" fmla="*/ 1407 h 1418"/>
                  <a:gd name="T32" fmla="*/ 183 w 304"/>
                  <a:gd name="T33" fmla="*/ 1415 h 1418"/>
                  <a:gd name="T34" fmla="*/ 153 w 304"/>
                  <a:gd name="T35" fmla="*/ 1418 h 1418"/>
                  <a:gd name="T36" fmla="*/ 121 w 304"/>
                  <a:gd name="T37" fmla="*/ 1415 h 1418"/>
                  <a:gd name="T38" fmla="*/ 93 w 304"/>
                  <a:gd name="T39" fmla="*/ 1407 h 1418"/>
                  <a:gd name="T40" fmla="*/ 67 w 304"/>
                  <a:gd name="T41" fmla="*/ 1393 h 1418"/>
                  <a:gd name="T42" fmla="*/ 44 w 304"/>
                  <a:gd name="T43" fmla="*/ 1374 h 1418"/>
                  <a:gd name="T44" fmla="*/ 26 w 304"/>
                  <a:gd name="T45" fmla="*/ 1351 h 1418"/>
                  <a:gd name="T46" fmla="*/ 11 w 304"/>
                  <a:gd name="T47" fmla="*/ 1325 h 1418"/>
                  <a:gd name="T48" fmla="*/ 3 w 304"/>
                  <a:gd name="T49" fmla="*/ 1296 h 1418"/>
                  <a:gd name="T50" fmla="*/ 0 w 304"/>
                  <a:gd name="T51" fmla="*/ 1266 h 1418"/>
                  <a:gd name="T52" fmla="*/ 0 w 304"/>
                  <a:gd name="T53" fmla="*/ 153 h 1418"/>
                  <a:gd name="T54" fmla="*/ 3 w 304"/>
                  <a:gd name="T55" fmla="*/ 122 h 1418"/>
                  <a:gd name="T56" fmla="*/ 11 w 304"/>
                  <a:gd name="T57" fmla="*/ 94 h 1418"/>
                  <a:gd name="T58" fmla="*/ 26 w 304"/>
                  <a:gd name="T59" fmla="*/ 67 h 1418"/>
                  <a:gd name="T60" fmla="*/ 44 w 304"/>
                  <a:gd name="T61" fmla="*/ 45 h 1418"/>
                  <a:gd name="T62" fmla="*/ 67 w 304"/>
                  <a:gd name="T63" fmla="*/ 26 h 1418"/>
                  <a:gd name="T64" fmla="*/ 93 w 304"/>
                  <a:gd name="T65" fmla="*/ 12 h 1418"/>
                  <a:gd name="T66" fmla="*/ 121 w 304"/>
                  <a:gd name="T67" fmla="*/ 3 h 1418"/>
                  <a:gd name="T68" fmla="*/ 153 w 304"/>
                  <a:gd name="T69" fmla="*/ 0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1418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2"/>
                    </a:lnTo>
                    <a:lnTo>
                      <a:pt x="237" y="26"/>
                    </a:lnTo>
                    <a:lnTo>
                      <a:pt x="260" y="45"/>
                    </a:lnTo>
                    <a:lnTo>
                      <a:pt x="278" y="67"/>
                    </a:lnTo>
                    <a:lnTo>
                      <a:pt x="293" y="94"/>
                    </a:lnTo>
                    <a:lnTo>
                      <a:pt x="301" y="122"/>
                    </a:lnTo>
                    <a:lnTo>
                      <a:pt x="304" y="153"/>
                    </a:lnTo>
                    <a:lnTo>
                      <a:pt x="304" y="1266"/>
                    </a:lnTo>
                    <a:lnTo>
                      <a:pt x="301" y="1296"/>
                    </a:lnTo>
                    <a:lnTo>
                      <a:pt x="293" y="1325"/>
                    </a:lnTo>
                    <a:lnTo>
                      <a:pt x="278" y="1351"/>
                    </a:lnTo>
                    <a:lnTo>
                      <a:pt x="260" y="1374"/>
                    </a:lnTo>
                    <a:lnTo>
                      <a:pt x="237" y="1393"/>
                    </a:lnTo>
                    <a:lnTo>
                      <a:pt x="212" y="1407"/>
                    </a:lnTo>
                    <a:lnTo>
                      <a:pt x="183" y="1415"/>
                    </a:lnTo>
                    <a:lnTo>
                      <a:pt x="153" y="1418"/>
                    </a:lnTo>
                    <a:lnTo>
                      <a:pt x="121" y="1415"/>
                    </a:lnTo>
                    <a:lnTo>
                      <a:pt x="93" y="1407"/>
                    </a:lnTo>
                    <a:lnTo>
                      <a:pt x="67" y="1393"/>
                    </a:lnTo>
                    <a:lnTo>
                      <a:pt x="44" y="1374"/>
                    </a:lnTo>
                    <a:lnTo>
                      <a:pt x="26" y="1351"/>
                    </a:lnTo>
                    <a:lnTo>
                      <a:pt x="11" y="1325"/>
                    </a:lnTo>
                    <a:lnTo>
                      <a:pt x="3" y="1296"/>
                    </a:lnTo>
                    <a:lnTo>
                      <a:pt x="0" y="1266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4"/>
                    </a:lnTo>
                    <a:lnTo>
                      <a:pt x="26" y="67"/>
                    </a:lnTo>
                    <a:lnTo>
                      <a:pt x="44" y="45"/>
                    </a:lnTo>
                    <a:lnTo>
                      <a:pt x="67" y="26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7" name="Freeform 206"/>
              <p:cNvSpPr>
                <a:spLocks/>
              </p:cNvSpPr>
              <p:nvPr/>
            </p:nvSpPr>
            <p:spPr bwMode="auto">
              <a:xfrm>
                <a:off x="4641" y="3393"/>
                <a:ext cx="61" cy="222"/>
              </a:xfrm>
              <a:custGeom>
                <a:avLst/>
                <a:gdLst>
                  <a:gd name="T0" fmla="*/ 153 w 305"/>
                  <a:gd name="T1" fmla="*/ 0 h 1111"/>
                  <a:gd name="T2" fmla="*/ 183 w 305"/>
                  <a:gd name="T3" fmla="*/ 3 h 1111"/>
                  <a:gd name="T4" fmla="*/ 212 w 305"/>
                  <a:gd name="T5" fmla="*/ 11 h 1111"/>
                  <a:gd name="T6" fmla="*/ 237 w 305"/>
                  <a:gd name="T7" fmla="*/ 26 h 1111"/>
                  <a:gd name="T8" fmla="*/ 260 w 305"/>
                  <a:gd name="T9" fmla="*/ 44 h 1111"/>
                  <a:gd name="T10" fmla="*/ 278 w 305"/>
                  <a:gd name="T11" fmla="*/ 68 h 1111"/>
                  <a:gd name="T12" fmla="*/ 293 w 305"/>
                  <a:gd name="T13" fmla="*/ 93 h 1111"/>
                  <a:gd name="T14" fmla="*/ 301 w 305"/>
                  <a:gd name="T15" fmla="*/ 122 h 1111"/>
                  <a:gd name="T16" fmla="*/ 305 w 305"/>
                  <a:gd name="T17" fmla="*/ 153 h 1111"/>
                  <a:gd name="T18" fmla="*/ 305 w 305"/>
                  <a:gd name="T19" fmla="*/ 959 h 1111"/>
                  <a:gd name="T20" fmla="*/ 301 w 305"/>
                  <a:gd name="T21" fmla="*/ 989 h 1111"/>
                  <a:gd name="T22" fmla="*/ 293 w 305"/>
                  <a:gd name="T23" fmla="*/ 1018 h 1111"/>
                  <a:gd name="T24" fmla="*/ 278 w 305"/>
                  <a:gd name="T25" fmla="*/ 1044 h 1111"/>
                  <a:gd name="T26" fmla="*/ 260 w 305"/>
                  <a:gd name="T27" fmla="*/ 1067 h 1111"/>
                  <a:gd name="T28" fmla="*/ 237 w 305"/>
                  <a:gd name="T29" fmla="*/ 1086 h 1111"/>
                  <a:gd name="T30" fmla="*/ 212 w 305"/>
                  <a:gd name="T31" fmla="*/ 1100 h 1111"/>
                  <a:gd name="T32" fmla="*/ 183 w 305"/>
                  <a:gd name="T33" fmla="*/ 1108 h 1111"/>
                  <a:gd name="T34" fmla="*/ 153 w 305"/>
                  <a:gd name="T35" fmla="*/ 1111 h 1111"/>
                  <a:gd name="T36" fmla="*/ 121 w 305"/>
                  <a:gd name="T37" fmla="*/ 1108 h 1111"/>
                  <a:gd name="T38" fmla="*/ 93 w 305"/>
                  <a:gd name="T39" fmla="*/ 1100 h 1111"/>
                  <a:gd name="T40" fmla="*/ 67 w 305"/>
                  <a:gd name="T41" fmla="*/ 1086 h 1111"/>
                  <a:gd name="T42" fmla="*/ 44 w 305"/>
                  <a:gd name="T43" fmla="*/ 1067 h 1111"/>
                  <a:gd name="T44" fmla="*/ 26 w 305"/>
                  <a:gd name="T45" fmla="*/ 1044 h 1111"/>
                  <a:gd name="T46" fmla="*/ 12 w 305"/>
                  <a:gd name="T47" fmla="*/ 1018 h 1111"/>
                  <a:gd name="T48" fmla="*/ 3 w 305"/>
                  <a:gd name="T49" fmla="*/ 989 h 1111"/>
                  <a:gd name="T50" fmla="*/ 0 w 305"/>
                  <a:gd name="T51" fmla="*/ 959 h 1111"/>
                  <a:gd name="T52" fmla="*/ 0 w 305"/>
                  <a:gd name="T53" fmla="*/ 153 h 1111"/>
                  <a:gd name="T54" fmla="*/ 3 w 305"/>
                  <a:gd name="T55" fmla="*/ 122 h 1111"/>
                  <a:gd name="T56" fmla="*/ 12 w 305"/>
                  <a:gd name="T57" fmla="*/ 93 h 1111"/>
                  <a:gd name="T58" fmla="*/ 26 w 305"/>
                  <a:gd name="T59" fmla="*/ 68 h 1111"/>
                  <a:gd name="T60" fmla="*/ 44 w 305"/>
                  <a:gd name="T61" fmla="*/ 44 h 1111"/>
                  <a:gd name="T62" fmla="*/ 67 w 305"/>
                  <a:gd name="T63" fmla="*/ 26 h 1111"/>
                  <a:gd name="T64" fmla="*/ 93 w 305"/>
                  <a:gd name="T65" fmla="*/ 11 h 1111"/>
                  <a:gd name="T66" fmla="*/ 121 w 305"/>
                  <a:gd name="T67" fmla="*/ 3 h 1111"/>
                  <a:gd name="T68" fmla="*/ 153 w 305"/>
                  <a:gd name="T69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5" h="1111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1"/>
                    </a:lnTo>
                    <a:lnTo>
                      <a:pt x="237" y="26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5" y="153"/>
                    </a:lnTo>
                    <a:lnTo>
                      <a:pt x="305" y="959"/>
                    </a:lnTo>
                    <a:lnTo>
                      <a:pt x="301" y="989"/>
                    </a:lnTo>
                    <a:lnTo>
                      <a:pt x="293" y="1018"/>
                    </a:lnTo>
                    <a:lnTo>
                      <a:pt x="278" y="1044"/>
                    </a:lnTo>
                    <a:lnTo>
                      <a:pt x="260" y="1067"/>
                    </a:lnTo>
                    <a:lnTo>
                      <a:pt x="237" y="1086"/>
                    </a:lnTo>
                    <a:lnTo>
                      <a:pt x="212" y="1100"/>
                    </a:lnTo>
                    <a:lnTo>
                      <a:pt x="183" y="1108"/>
                    </a:lnTo>
                    <a:lnTo>
                      <a:pt x="153" y="1111"/>
                    </a:lnTo>
                    <a:lnTo>
                      <a:pt x="121" y="1108"/>
                    </a:lnTo>
                    <a:lnTo>
                      <a:pt x="93" y="1100"/>
                    </a:lnTo>
                    <a:lnTo>
                      <a:pt x="67" y="1086"/>
                    </a:lnTo>
                    <a:lnTo>
                      <a:pt x="44" y="1067"/>
                    </a:lnTo>
                    <a:lnTo>
                      <a:pt x="26" y="1044"/>
                    </a:lnTo>
                    <a:lnTo>
                      <a:pt x="12" y="1018"/>
                    </a:lnTo>
                    <a:lnTo>
                      <a:pt x="3" y="989"/>
                    </a:lnTo>
                    <a:lnTo>
                      <a:pt x="0" y="959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2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6"/>
                    </a:lnTo>
                    <a:lnTo>
                      <a:pt x="93" y="11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8" name="Freeform 207"/>
              <p:cNvSpPr>
                <a:spLocks/>
              </p:cNvSpPr>
              <p:nvPr/>
            </p:nvSpPr>
            <p:spPr bwMode="auto">
              <a:xfrm>
                <a:off x="4176" y="3520"/>
                <a:ext cx="223" cy="225"/>
              </a:xfrm>
              <a:custGeom>
                <a:avLst/>
                <a:gdLst>
                  <a:gd name="T0" fmla="*/ 1085 w 1117"/>
                  <a:gd name="T1" fmla="*/ 0 h 1123"/>
                  <a:gd name="T2" fmla="*/ 1106 w 1117"/>
                  <a:gd name="T3" fmla="*/ 10 h 1123"/>
                  <a:gd name="T4" fmla="*/ 1117 w 1117"/>
                  <a:gd name="T5" fmla="*/ 31 h 1123"/>
                  <a:gd name="T6" fmla="*/ 1113 w 1117"/>
                  <a:gd name="T7" fmla="*/ 53 h 1123"/>
                  <a:gd name="T8" fmla="*/ 1104 w 1117"/>
                  <a:gd name="T9" fmla="*/ 66 h 1123"/>
                  <a:gd name="T10" fmla="*/ 1089 w 1117"/>
                  <a:gd name="T11" fmla="*/ 82 h 1123"/>
                  <a:gd name="T12" fmla="*/ 1062 w 1117"/>
                  <a:gd name="T13" fmla="*/ 112 h 1123"/>
                  <a:gd name="T14" fmla="*/ 1023 w 1117"/>
                  <a:gd name="T15" fmla="*/ 155 h 1123"/>
                  <a:gd name="T16" fmla="*/ 973 w 1117"/>
                  <a:gd name="T17" fmla="*/ 209 h 1123"/>
                  <a:gd name="T18" fmla="*/ 917 w 1117"/>
                  <a:gd name="T19" fmla="*/ 272 h 1123"/>
                  <a:gd name="T20" fmla="*/ 853 w 1117"/>
                  <a:gd name="T21" fmla="*/ 342 h 1123"/>
                  <a:gd name="T22" fmla="*/ 785 w 1117"/>
                  <a:gd name="T23" fmla="*/ 417 h 1123"/>
                  <a:gd name="T24" fmla="*/ 712 w 1117"/>
                  <a:gd name="T25" fmla="*/ 497 h 1123"/>
                  <a:gd name="T26" fmla="*/ 640 w 1117"/>
                  <a:gd name="T27" fmla="*/ 577 h 1123"/>
                  <a:gd name="T28" fmla="*/ 566 w 1117"/>
                  <a:gd name="T29" fmla="*/ 658 h 1123"/>
                  <a:gd name="T30" fmla="*/ 494 w 1117"/>
                  <a:gd name="T31" fmla="*/ 737 h 1123"/>
                  <a:gd name="T32" fmla="*/ 425 w 1117"/>
                  <a:gd name="T33" fmla="*/ 813 h 1123"/>
                  <a:gd name="T34" fmla="*/ 361 w 1117"/>
                  <a:gd name="T35" fmla="*/ 884 h 1123"/>
                  <a:gd name="T36" fmla="*/ 303 w 1117"/>
                  <a:gd name="T37" fmla="*/ 946 h 1123"/>
                  <a:gd name="T38" fmla="*/ 254 w 1117"/>
                  <a:gd name="T39" fmla="*/ 1001 h 1123"/>
                  <a:gd name="T40" fmla="*/ 215 w 1117"/>
                  <a:gd name="T41" fmla="*/ 1045 h 1123"/>
                  <a:gd name="T42" fmla="*/ 186 w 1117"/>
                  <a:gd name="T43" fmla="*/ 1076 h 1123"/>
                  <a:gd name="T44" fmla="*/ 171 w 1117"/>
                  <a:gd name="T45" fmla="*/ 1093 h 1123"/>
                  <a:gd name="T46" fmla="*/ 151 w 1117"/>
                  <a:gd name="T47" fmla="*/ 1110 h 1123"/>
                  <a:gd name="T48" fmla="*/ 110 w 1117"/>
                  <a:gd name="T49" fmla="*/ 1123 h 1123"/>
                  <a:gd name="T50" fmla="*/ 66 w 1117"/>
                  <a:gd name="T51" fmla="*/ 1119 h 1123"/>
                  <a:gd name="T52" fmla="*/ 28 w 1117"/>
                  <a:gd name="T53" fmla="*/ 1095 h 1123"/>
                  <a:gd name="T54" fmla="*/ 5 w 1117"/>
                  <a:gd name="T55" fmla="*/ 1057 h 1123"/>
                  <a:gd name="T56" fmla="*/ 0 w 1117"/>
                  <a:gd name="T57" fmla="*/ 1013 h 1123"/>
                  <a:gd name="T58" fmla="*/ 14 w 1117"/>
                  <a:gd name="T59" fmla="*/ 972 h 1123"/>
                  <a:gd name="T60" fmla="*/ 31 w 1117"/>
                  <a:gd name="T61" fmla="*/ 952 h 1123"/>
                  <a:gd name="T62" fmla="*/ 47 w 1117"/>
                  <a:gd name="T63" fmla="*/ 936 h 1123"/>
                  <a:gd name="T64" fmla="*/ 78 w 1117"/>
                  <a:gd name="T65" fmla="*/ 908 h 1123"/>
                  <a:gd name="T66" fmla="*/ 122 w 1117"/>
                  <a:gd name="T67" fmla="*/ 868 h 1123"/>
                  <a:gd name="T68" fmla="*/ 176 w 1117"/>
                  <a:gd name="T69" fmla="*/ 818 h 1123"/>
                  <a:gd name="T70" fmla="*/ 238 w 1117"/>
                  <a:gd name="T71" fmla="*/ 761 h 1123"/>
                  <a:gd name="T72" fmla="*/ 309 w 1117"/>
                  <a:gd name="T73" fmla="*/ 696 h 1123"/>
                  <a:gd name="T74" fmla="*/ 383 w 1117"/>
                  <a:gd name="T75" fmla="*/ 627 h 1123"/>
                  <a:gd name="T76" fmla="*/ 463 w 1117"/>
                  <a:gd name="T77" fmla="*/ 554 h 1123"/>
                  <a:gd name="T78" fmla="*/ 543 w 1117"/>
                  <a:gd name="T79" fmla="*/ 481 h 1123"/>
                  <a:gd name="T80" fmla="*/ 623 w 1117"/>
                  <a:gd name="T81" fmla="*/ 406 h 1123"/>
                  <a:gd name="T82" fmla="*/ 702 w 1117"/>
                  <a:gd name="T83" fmla="*/ 334 h 1123"/>
                  <a:gd name="T84" fmla="*/ 776 w 1117"/>
                  <a:gd name="T85" fmla="*/ 265 h 1123"/>
                  <a:gd name="T86" fmla="*/ 846 w 1117"/>
                  <a:gd name="T87" fmla="*/ 201 h 1123"/>
                  <a:gd name="T88" fmla="*/ 908 w 1117"/>
                  <a:gd name="T89" fmla="*/ 143 h 1123"/>
                  <a:gd name="T90" fmla="*/ 962 w 1117"/>
                  <a:gd name="T91" fmla="*/ 95 h 1123"/>
                  <a:gd name="T92" fmla="*/ 1005 w 1117"/>
                  <a:gd name="T93" fmla="*/ 54 h 1123"/>
                  <a:gd name="T94" fmla="*/ 1036 w 1117"/>
                  <a:gd name="T95" fmla="*/ 27 h 1123"/>
                  <a:gd name="T96" fmla="*/ 1051 w 1117"/>
                  <a:gd name="T97" fmla="*/ 12 h 1123"/>
                  <a:gd name="T98" fmla="*/ 1063 w 1117"/>
                  <a:gd name="T99" fmla="*/ 3 h 1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17" h="1123">
                    <a:moveTo>
                      <a:pt x="1074" y="0"/>
                    </a:moveTo>
                    <a:lnTo>
                      <a:pt x="1085" y="0"/>
                    </a:lnTo>
                    <a:lnTo>
                      <a:pt x="1096" y="3"/>
                    </a:lnTo>
                    <a:lnTo>
                      <a:pt x="1106" y="10"/>
                    </a:lnTo>
                    <a:lnTo>
                      <a:pt x="1113" y="20"/>
                    </a:lnTo>
                    <a:lnTo>
                      <a:pt x="1117" y="31"/>
                    </a:lnTo>
                    <a:lnTo>
                      <a:pt x="1117" y="43"/>
                    </a:lnTo>
                    <a:lnTo>
                      <a:pt x="1113" y="53"/>
                    </a:lnTo>
                    <a:lnTo>
                      <a:pt x="1106" y="64"/>
                    </a:lnTo>
                    <a:lnTo>
                      <a:pt x="1104" y="66"/>
                    </a:lnTo>
                    <a:lnTo>
                      <a:pt x="1099" y="71"/>
                    </a:lnTo>
                    <a:lnTo>
                      <a:pt x="1089" y="82"/>
                    </a:lnTo>
                    <a:lnTo>
                      <a:pt x="1077" y="96"/>
                    </a:lnTo>
                    <a:lnTo>
                      <a:pt x="1062" y="112"/>
                    </a:lnTo>
                    <a:lnTo>
                      <a:pt x="1043" y="132"/>
                    </a:lnTo>
                    <a:lnTo>
                      <a:pt x="1023" y="155"/>
                    </a:lnTo>
                    <a:lnTo>
                      <a:pt x="999" y="181"/>
                    </a:lnTo>
                    <a:lnTo>
                      <a:pt x="973" y="209"/>
                    </a:lnTo>
                    <a:lnTo>
                      <a:pt x="946" y="240"/>
                    </a:lnTo>
                    <a:lnTo>
                      <a:pt x="917" y="272"/>
                    </a:lnTo>
                    <a:lnTo>
                      <a:pt x="885" y="306"/>
                    </a:lnTo>
                    <a:lnTo>
                      <a:pt x="853" y="342"/>
                    </a:lnTo>
                    <a:lnTo>
                      <a:pt x="820" y="379"/>
                    </a:lnTo>
                    <a:lnTo>
                      <a:pt x="785" y="417"/>
                    </a:lnTo>
                    <a:lnTo>
                      <a:pt x="749" y="456"/>
                    </a:lnTo>
                    <a:lnTo>
                      <a:pt x="712" y="497"/>
                    </a:lnTo>
                    <a:lnTo>
                      <a:pt x="676" y="537"/>
                    </a:lnTo>
                    <a:lnTo>
                      <a:pt x="640" y="577"/>
                    </a:lnTo>
                    <a:lnTo>
                      <a:pt x="603" y="617"/>
                    </a:lnTo>
                    <a:lnTo>
                      <a:pt x="566" y="658"/>
                    </a:lnTo>
                    <a:lnTo>
                      <a:pt x="529" y="698"/>
                    </a:lnTo>
                    <a:lnTo>
                      <a:pt x="494" y="737"/>
                    </a:lnTo>
                    <a:lnTo>
                      <a:pt x="458" y="776"/>
                    </a:lnTo>
                    <a:lnTo>
                      <a:pt x="425" y="813"/>
                    </a:lnTo>
                    <a:lnTo>
                      <a:pt x="392" y="849"/>
                    </a:lnTo>
                    <a:lnTo>
                      <a:pt x="361" y="884"/>
                    </a:lnTo>
                    <a:lnTo>
                      <a:pt x="332" y="917"/>
                    </a:lnTo>
                    <a:lnTo>
                      <a:pt x="303" y="946"/>
                    </a:lnTo>
                    <a:lnTo>
                      <a:pt x="278" y="975"/>
                    </a:lnTo>
                    <a:lnTo>
                      <a:pt x="254" y="1001"/>
                    </a:lnTo>
                    <a:lnTo>
                      <a:pt x="233" y="1024"/>
                    </a:lnTo>
                    <a:lnTo>
                      <a:pt x="215" y="1045"/>
                    </a:lnTo>
                    <a:lnTo>
                      <a:pt x="199" y="1062"/>
                    </a:lnTo>
                    <a:lnTo>
                      <a:pt x="186" y="1076"/>
                    </a:lnTo>
                    <a:lnTo>
                      <a:pt x="177" y="1086"/>
                    </a:lnTo>
                    <a:lnTo>
                      <a:pt x="171" y="1093"/>
                    </a:lnTo>
                    <a:lnTo>
                      <a:pt x="169" y="1095"/>
                    </a:lnTo>
                    <a:lnTo>
                      <a:pt x="151" y="1110"/>
                    </a:lnTo>
                    <a:lnTo>
                      <a:pt x="131" y="1119"/>
                    </a:lnTo>
                    <a:lnTo>
                      <a:pt x="110" y="1123"/>
                    </a:lnTo>
                    <a:lnTo>
                      <a:pt x="87" y="1123"/>
                    </a:lnTo>
                    <a:lnTo>
                      <a:pt x="66" y="1119"/>
                    </a:lnTo>
                    <a:lnTo>
                      <a:pt x="46" y="1110"/>
                    </a:lnTo>
                    <a:lnTo>
                      <a:pt x="28" y="1095"/>
                    </a:lnTo>
                    <a:lnTo>
                      <a:pt x="14" y="1077"/>
                    </a:lnTo>
                    <a:lnTo>
                      <a:pt x="5" y="1057"/>
                    </a:lnTo>
                    <a:lnTo>
                      <a:pt x="0" y="1035"/>
                    </a:lnTo>
                    <a:lnTo>
                      <a:pt x="0" y="1013"/>
                    </a:lnTo>
                    <a:lnTo>
                      <a:pt x="5" y="992"/>
                    </a:lnTo>
                    <a:lnTo>
                      <a:pt x="14" y="972"/>
                    </a:lnTo>
                    <a:lnTo>
                      <a:pt x="28" y="954"/>
                    </a:lnTo>
                    <a:lnTo>
                      <a:pt x="31" y="952"/>
                    </a:lnTo>
                    <a:lnTo>
                      <a:pt x="37" y="945"/>
                    </a:lnTo>
                    <a:lnTo>
                      <a:pt x="47" y="936"/>
                    </a:lnTo>
                    <a:lnTo>
                      <a:pt x="61" y="924"/>
                    </a:lnTo>
                    <a:lnTo>
                      <a:pt x="78" y="908"/>
                    </a:lnTo>
                    <a:lnTo>
                      <a:pt x="99" y="889"/>
                    </a:lnTo>
                    <a:lnTo>
                      <a:pt x="122" y="868"/>
                    </a:lnTo>
                    <a:lnTo>
                      <a:pt x="147" y="844"/>
                    </a:lnTo>
                    <a:lnTo>
                      <a:pt x="176" y="818"/>
                    </a:lnTo>
                    <a:lnTo>
                      <a:pt x="206" y="790"/>
                    </a:lnTo>
                    <a:lnTo>
                      <a:pt x="238" y="761"/>
                    </a:lnTo>
                    <a:lnTo>
                      <a:pt x="273" y="729"/>
                    </a:lnTo>
                    <a:lnTo>
                      <a:pt x="309" y="696"/>
                    </a:lnTo>
                    <a:lnTo>
                      <a:pt x="346" y="662"/>
                    </a:lnTo>
                    <a:lnTo>
                      <a:pt x="383" y="627"/>
                    </a:lnTo>
                    <a:lnTo>
                      <a:pt x="422" y="591"/>
                    </a:lnTo>
                    <a:lnTo>
                      <a:pt x="463" y="554"/>
                    </a:lnTo>
                    <a:lnTo>
                      <a:pt x="503" y="518"/>
                    </a:lnTo>
                    <a:lnTo>
                      <a:pt x="543" y="481"/>
                    </a:lnTo>
                    <a:lnTo>
                      <a:pt x="583" y="444"/>
                    </a:lnTo>
                    <a:lnTo>
                      <a:pt x="623" y="406"/>
                    </a:lnTo>
                    <a:lnTo>
                      <a:pt x="663" y="369"/>
                    </a:lnTo>
                    <a:lnTo>
                      <a:pt x="702" y="334"/>
                    </a:lnTo>
                    <a:lnTo>
                      <a:pt x="740" y="299"/>
                    </a:lnTo>
                    <a:lnTo>
                      <a:pt x="776" y="265"/>
                    </a:lnTo>
                    <a:lnTo>
                      <a:pt x="812" y="232"/>
                    </a:lnTo>
                    <a:lnTo>
                      <a:pt x="846" y="201"/>
                    </a:lnTo>
                    <a:lnTo>
                      <a:pt x="879" y="171"/>
                    </a:lnTo>
                    <a:lnTo>
                      <a:pt x="908" y="143"/>
                    </a:lnTo>
                    <a:lnTo>
                      <a:pt x="937" y="118"/>
                    </a:lnTo>
                    <a:lnTo>
                      <a:pt x="962" y="95"/>
                    </a:lnTo>
                    <a:lnTo>
                      <a:pt x="985" y="73"/>
                    </a:lnTo>
                    <a:lnTo>
                      <a:pt x="1005" y="54"/>
                    </a:lnTo>
                    <a:lnTo>
                      <a:pt x="1022" y="39"/>
                    </a:lnTo>
                    <a:lnTo>
                      <a:pt x="1036" y="27"/>
                    </a:lnTo>
                    <a:lnTo>
                      <a:pt x="1045" y="18"/>
                    </a:lnTo>
                    <a:lnTo>
                      <a:pt x="1051" y="12"/>
                    </a:lnTo>
                    <a:lnTo>
                      <a:pt x="1054" y="10"/>
                    </a:lnTo>
                    <a:lnTo>
                      <a:pt x="1063" y="3"/>
                    </a:lnTo>
                    <a:lnTo>
                      <a:pt x="107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85" name="Rectangle 84"/>
          <p:cNvSpPr/>
          <p:nvPr/>
        </p:nvSpPr>
        <p:spPr bwMode="ltGray">
          <a:xfrm>
            <a:off x="6174395" y="-1"/>
            <a:ext cx="2969606" cy="38075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900" dirty="0" smtClean="0">
                <a:solidFill>
                  <a:schemeClr val="bg1"/>
                </a:solidFill>
                <a:latin typeface="+mj-lt"/>
              </a:rPr>
              <a:t>Банковские услуги, телекоммуникации, розничные сети</a:t>
            </a:r>
            <a:endParaRPr lang="ru-RU" sz="9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33862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645315"/>
            <a:ext cx="738960" cy="2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Машинное обучение</a:t>
            </a:r>
            <a:endParaRPr lang="ru-RU" sz="8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0" name="Rectangle 17"/>
          <p:cNvSpPr>
            <a:spLocks/>
          </p:cNvSpPr>
          <p:nvPr/>
        </p:nvSpPr>
        <p:spPr bwMode="auto">
          <a:xfrm>
            <a:off x="188170" y="3265347"/>
            <a:ext cx="5964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Данные</a:t>
            </a:r>
            <a:endParaRPr lang="ru-RU" sz="1050" b="1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472603" y="466383"/>
            <a:ext cx="7137706" cy="508267"/>
          </a:xfrm>
        </p:spPr>
        <p:txBody>
          <a:bodyPr/>
          <a:lstStyle/>
          <a:p>
            <a:r>
              <a:rPr lang="ru-RU" dirty="0" smtClean="0"/>
              <a:t>Монетизация данных коммерческой компании</a:t>
            </a:r>
            <a:endParaRPr lang="ru-RU" dirty="0"/>
          </a:p>
        </p:txBody>
      </p:sp>
      <p:sp>
        <p:nvSpPr>
          <p:cNvPr id="61" name="Rectangle 17"/>
          <p:cNvSpPr>
            <a:spLocks/>
          </p:cNvSpPr>
          <p:nvPr/>
        </p:nvSpPr>
        <p:spPr bwMode="auto">
          <a:xfrm>
            <a:off x="142451" y="1210658"/>
            <a:ext cx="738960" cy="2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Анонимизация данных</a:t>
            </a:r>
            <a:endParaRPr lang="ru-RU" sz="800" i="1" dirty="0" smtClean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grpSp>
        <p:nvGrpSpPr>
          <p:cNvPr id="92" name="Group 91"/>
          <p:cNvGrpSpPr/>
          <p:nvPr/>
        </p:nvGrpSpPr>
        <p:grpSpPr>
          <a:xfrm>
            <a:off x="147993" y="4536826"/>
            <a:ext cx="727877" cy="557840"/>
            <a:chOff x="147993" y="4332403"/>
            <a:chExt cx="727877" cy="557840"/>
          </a:xfrm>
        </p:grpSpPr>
        <p:sp>
          <p:nvSpPr>
            <p:cNvPr id="93" name="Rectangle 17"/>
            <p:cNvSpPr>
              <a:spLocks/>
            </p:cNvSpPr>
            <p:nvPr/>
          </p:nvSpPr>
          <p:spPr bwMode="auto">
            <a:xfrm>
              <a:off x="147993" y="4613244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Тенденции и поведение</a:t>
              </a:r>
              <a:endParaRPr lang="ru-RU" sz="900" i="1" dirty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grpSp>
          <p:nvGrpSpPr>
            <p:cNvPr id="94" name="Group 19"/>
            <p:cNvGrpSpPr>
              <a:grpSpLocks noChangeAspect="1"/>
            </p:cNvGrpSpPr>
            <p:nvPr/>
          </p:nvGrpSpPr>
          <p:grpSpPr bwMode="auto">
            <a:xfrm>
              <a:off x="382761" y="4332403"/>
              <a:ext cx="245626" cy="189402"/>
              <a:chOff x="-1698" y="1247"/>
              <a:chExt cx="2512" cy="1937"/>
            </a:xfrm>
            <a:solidFill>
              <a:schemeClr val="bg1"/>
            </a:solidFill>
          </p:grpSpPr>
          <p:sp>
            <p:nvSpPr>
              <p:cNvPr id="95" name="Freeform 21"/>
              <p:cNvSpPr>
                <a:spLocks/>
              </p:cNvSpPr>
              <p:nvPr/>
            </p:nvSpPr>
            <p:spPr bwMode="auto">
              <a:xfrm>
                <a:off x="-1698" y="1629"/>
                <a:ext cx="2512" cy="1555"/>
              </a:xfrm>
              <a:custGeom>
                <a:avLst/>
                <a:gdLst>
                  <a:gd name="T0" fmla="*/ 1567 w 5025"/>
                  <a:gd name="T1" fmla="*/ 0 h 3111"/>
                  <a:gd name="T2" fmla="*/ 687 w 5025"/>
                  <a:gd name="T3" fmla="*/ 329 h 3111"/>
                  <a:gd name="T4" fmla="*/ 4341 w 5025"/>
                  <a:gd name="T5" fmla="*/ 2522 h 3111"/>
                  <a:gd name="T6" fmla="*/ 4130 w 5025"/>
                  <a:gd name="T7" fmla="*/ 329 h 3111"/>
                  <a:gd name="T8" fmla="*/ 4479 w 5025"/>
                  <a:gd name="T9" fmla="*/ 0 h 3111"/>
                  <a:gd name="T10" fmla="*/ 4554 w 5025"/>
                  <a:gd name="T11" fmla="*/ 15 h 3111"/>
                  <a:gd name="T12" fmla="*/ 4614 w 5025"/>
                  <a:gd name="T13" fmla="*/ 55 h 3111"/>
                  <a:gd name="T14" fmla="*/ 4655 w 5025"/>
                  <a:gd name="T15" fmla="*/ 116 h 3111"/>
                  <a:gd name="T16" fmla="*/ 4670 w 5025"/>
                  <a:gd name="T17" fmla="*/ 189 h 3111"/>
                  <a:gd name="T18" fmla="*/ 4939 w 5025"/>
                  <a:gd name="T19" fmla="*/ 2651 h 3111"/>
                  <a:gd name="T20" fmla="*/ 4990 w 5025"/>
                  <a:gd name="T21" fmla="*/ 2668 h 3111"/>
                  <a:gd name="T22" fmla="*/ 5020 w 5025"/>
                  <a:gd name="T23" fmla="*/ 2711 h 3111"/>
                  <a:gd name="T24" fmla="*/ 5022 w 5025"/>
                  <a:gd name="T25" fmla="*/ 2793 h 3111"/>
                  <a:gd name="T26" fmla="*/ 4991 w 5025"/>
                  <a:gd name="T27" fmla="*/ 2894 h 3111"/>
                  <a:gd name="T28" fmla="*/ 4933 w 5025"/>
                  <a:gd name="T29" fmla="*/ 2983 h 3111"/>
                  <a:gd name="T30" fmla="*/ 4855 w 5025"/>
                  <a:gd name="T31" fmla="*/ 3050 h 3111"/>
                  <a:gd name="T32" fmla="*/ 4761 w 5025"/>
                  <a:gd name="T33" fmla="*/ 3094 h 3111"/>
                  <a:gd name="T34" fmla="*/ 4652 w 5025"/>
                  <a:gd name="T35" fmla="*/ 3111 h 3111"/>
                  <a:gd name="T36" fmla="*/ 3969 w 5025"/>
                  <a:gd name="T37" fmla="*/ 2949 h 3111"/>
                  <a:gd name="T38" fmla="*/ 3954 w 5025"/>
                  <a:gd name="T39" fmla="*/ 2897 h 3111"/>
                  <a:gd name="T40" fmla="*/ 3917 w 5025"/>
                  <a:gd name="T41" fmla="*/ 2859 h 3111"/>
                  <a:gd name="T42" fmla="*/ 3866 w 5025"/>
                  <a:gd name="T43" fmla="*/ 2845 h 3111"/>
                  <a:gd name="T44" fmla="*/ 3812 w 5025"/>
                  <a:gd name="T45" fmla="*/ 2859 h 3111"/>
                  <a:gd name="T46" fmla="*/ 3775 w 5025"/>
                  <a:gd name="T47" fmla="*/ 2897 h 3111"/>
                  <a:gd name="T48" fmla="*/ 3762 w 5025"/>
                  <a:gd name="T49" fmla="*/ 2949 h 3111"/>
                  <a:gd name="T50" fmla="*/ 3591 w 5025"/>
                  <a:gd name="T51" fmla="*/ 3111 h 3111"/>
                  <a:gd name="T52" fmla="*/ 3588 w 5025"/>
                  <a:gd name="T53" fmla="*/ 2922 h 3111"/>
                  <a:gd name="T54" fmla="*/ 3560 w 5025"/>
                  <a:gd name="T55" fmla="*/ 2876 h 3111"/>
                  <a:gd name="T56" fmla="*/ 3514 w 5025"/>
                  <a:gd name="T57" fmla="*/ 2850 h 3111"/>
                  <a:gd name="T58" fmla="*/ 3459 w 5025"/>
                  <a:gd name="T59" fmla="*/ 2850 h 3111"/>
                  <a:gd name="T60" fmla="*/ 3413 w 5025"/>
                  <a:gd name="T61" fmla="*/ 2876 h 3111"/>
                  <a:gd name="T62" fmla="*/ 3387 w 5025"/>
                  <a:gd name="T63" fmla="*/ 2922 h 3111"/>
                  <a:gd name="T64" fmla="*/ 3383 w 5025"/>
                  <a:gd name="T65" fmla="*/ 3111 h 3111"/>
                  <a:gd name="T66" fmla="*/ 318 w 5025"/>
                  <a:gd name="T67" fmla="*/ 3106 h 3111"/>
                  <a:gd name="T68" fmla="*/ 215 w 5025"/>
                  <a:gd name="T69" fmla="*/ 3076 h 3111"/>
                  <a:gd name="T70" fmla="*/ 128 w 5025"/>
                  <a:gd name="T71" fmla="*/ 3019 h 3111"/>
                  <a:gd name="T72" fmla="*/ 60 w 5025"/>
                  <a:gd name="T73" fmla="*/ 2940 h 3111"/>
                  <a:gd name="T74" fmla="*/ 15 w 5025"/>
                  <a:gd name="T75" fmla="*/ 2845 h 3111"/>
                  <a:gd name="T76" fmla="*/ 0 w 5025"/>
                  <a:gd name="T77" fmla="*/ 2738 h 3111"/>
                  <a:gd name="T78" fmla="*/ 17 w 5025"/>
                  <a:gd name="T79" fmla="*/ 2687 h 3111"/>
                  <a:gd name="T80" fmla="*/ 60 w 5025"/>
                  <a:gd name="T81" fmla="*/ 2656 h 3111"/>
                  <a:gd name="T82" fmla="*/ 357 w 5025"/>
                  <a:gd name="T83" fmla="*/ 2651 h 3111"/>
                  <a:gd name="T84" fmla="*/ 360 w 5025"/>
                  <a:gd name="T85" fmla="*/ 151 h 3111"/>
                  <a:gd name="T86" fmla="*/ 389 w 5025"/>
                  <a:gd name="T87" fmla="*/ 84 h 3111"/>
                  <a:gd name="T88" fmla="*/ 441 w 5025"/>
                  <a:gd name="T89" fmla="*/ 32 h 3111"/>
                  <a:gd name="T90" fmla="*/ 509 w 5025"/>
                  <a:gd name="T91" fmla="*/ 3 h 3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025" h="3111">
                    <a:moveTo>
                      <a:pt x="547" y="0"/>
                    </a:moveTo>
                    <a:lnTo>
                      <a:pt x="1567" y="0"/>
                    </a:lnTo>
                    <a:lnTo>
                      <a:pt x="1167" y="329"/>
                    </a:lnTo>
                    <a:lnTo>
                      <a:pt x="687" y="329"/>
                    </a:lnTo>
                    <a:lnTo>
                      <a:pt x="687" y="2522"/>
                    </a:lnTo>
                    <a:lnTo>
                      <a:pt x="4341" y="2522"/>
                    </a:lnTo>
                    <a:lnTo>
                      <a:pt x="4341" y="329"/>
                    </a:lnTo>
                    <a:lnTo>
                      <a:pt x="4130" y="329"/>
                    </a:lnTo>
                    <a:lnTo>
                      <a:pt x="4266" y="0"/>
                    </a:lnTo>
                    <a:lnTo>
                      <a:pt x="4479" y="0"/>
                    </a:lnTo>
                    <a:lnTo>
                      <a:pt x="4518" y="3"/>
                    </a:lnTo>
                    <a:lnTo>
                      <a:pt x="4554" y="15"/>
                    </a:lnTo>
                    <a:lnTo>
                      <a:pt x="4586" y="32"/>
                    </a:lnTo>
                    <a:lnTo>
                      <a:pt x="4614" y="55"/>
                    </a:lnTo>
                    <a:lnTo>
                      <a:pt x="4637" y="84"/>
                    </a:lnTo>
                    <a:lnTo>
                      <a:pt x="4655" y="116"/>
                    </a:lnTo>
                    <a:lnTo>
                      <a:pt x="4666" y="151"/>
                    </a:lnTo>
                    <a:lnTo>
                      <a:pt x="4670" y="189"/>
                    </a:lnTo>
                    <a:lnTo>
                      <a:pt x="4670" y="2651"/>
                    </a:lnTo>
                    <a:lnTo>
                      <a:pt x="4939" y="2651"/>
                    </a:lnTo>
                    <a:lnTo>
                      <a:pt x="4965" y="2656"/>
                    </a:lnTo>
                    <a:lnTo>
                      <a:pt x="4990" y="2668"/>
                    </a:lnTo>
                    <a:lnTo>
                      <a:pt x="5008" y="2687"/>
                    </a:lnTo>
                    <a:lnTo>
                      <a:pt x="5020" y="2711"/>
                    </a:lnTo>
                    <a:lnTo>
                      <a:pt x="5025" y="2738"/>
                    </a:lnTo>
                    <a:lnTo>
                      <a:pt x="5022" y="2793"/>
                    </a:lnTo>
                    <a:lnTo>
                      <a:pt x="5009" y="2845"/>
                    </a:lnTo>
                    <a:lnTo>
                      <a:pt x="4991" y="2894"/>
                    </a:lnTo>
                    <a:lnTo>
                      <a:pt x="4965" y="2940"/>
                    </a:lnTo>
                    <a:lnTo>
                      <a:pt x="4933" y="2983"/>
                    </a:lnTo>
                    <a:lnTo>
                      <a:pt x="4896" y="3019"/>
                    </a:lnTo>
                    <a:lnTo>
                      <a:pt x="4855" y="3050"/>
                    </a:lnTo>
                    <a:lnTo>
                      <a:pt x="4809" y="3076"/>
                    </a:lnTo>
                    <a:lnTo>
                      <a:pt x="4761" y="3094"/>
                    </a:lnTo>
                    <a:lnTo>
                      <a:pt x="4707" y="3106"/>
                    </a:lnTo>
                    <a:lnTo>
                      <a:pt x="4652" y="3111"/>
                    </a:lnTo>
                    <a:lnTo>
                      <a:pt x="3969" y="3111"/>
                    </a:lnTo>
                    <a:lnTo>
                      <a:pt x="3969" y="2949"/>
                    </a:lnTo>
                    <a:lnTo>
                      <a:pt x="3965" y="2922"/>
                    </a:lnTo>
                    <a:lnTo>
                      <a:pt x="3954" y="2897"/>
                    </a:lnTo>
                    <a:lnTo>
                      <a:pt x="3939" y="2876"/>
                    </a:lnTo>
                    <a:lnTo>
                      <a:pt x="3917" y="2859"/>
                    </a:lnTo>
                    <a:lnTo>
                      <a:pt x="3893" y="2850"/>
                    </a:lnTo>
                    <a:lnTo>
                      <a:pt x="3866" y="2845"/>
                    </a:lnTo>
                    <a:lnTo>
                      <a:pt x="3838" y="2850"/>
                    </a:lnTo>
                    <a:lnTo>
                      <a:pt x="3812" y="2859"/>
                    </a:lnTo>
                    <a:lnTo>
                      <a:pt x="3792" y="2876"/>
                    </a:lnTo>
                    <a:lnTo>
                      <a:pt x="3775" y="2897"/>
                    </a:lnTo>
                    <a:lnTo>
                      <a:pt x="3765" y="2922"/>
                    </a:lnTo>
                    <a:lnTo>
                      <a:pt x="3762" y="2949"/>
                    </a:lnTo>
                    <a:lnTo>
                      <a:pt x="3762" y="3111"/>
                    </a:lnTo>
                    <a:lnTo>
                      <a:pt x="3591" y="3111"/>
                    </a:lnTo>
                    <a:lnTo>
                      <a:pt x="3591" y="2949"/>
                    </a:lnTo>
                    <a:lnTo>
                      <a:pt x="3588" y="2922"/>
                    </a:lnTo>
                    <a:lnTo>
                      <a:pt x="3577" y="2897"/>
                    </a:lnTo>
                    <a:lnTo>
                      <a:pt x="3560" y="2876"/>
                    </a:lnTo>
                    <a:lnTo>
                      <a:pt x="3540" y="2859"/>
                    </a:lnTo>
                    <a:lnTo>
                      <a:pt x="3514" y="2850"/>
                    </a:lnTo>
                    <a:lnTo>
                      <a:pt x="3487" y="2845"/>
                    </a:lnTo>
                    <a:lnTo>
                      <a:pt x="3459" y="2850"/>
                    </a:lnTo>
                    <a:lnTo>
                      <a:pt x="3435" y="2859"/>
                    </a:lnTo>
                    <a:lnTo>
                      <a:pt x="3413" y="2876"/>
                    </a:lnTo>
                    <a:lnTo>
                      <a:pt x="3398" y="2897"/>
                    </a:lnTo>
                    <a:lnTo>
                      <a:pt x="3387" y="2922"/>
                    </a:lnTo>
                    <a:lnTo>
                      <a:pt x="3383" y="2949"/>
                    </a:lnTo>
                    <a:lnTo>
                      <a:pt x="3383" y="3111"/>
                    </a:lnTo>
                    <a:lnTo>
                      <a:pt x="373" y="3111"/>
                    </a:lnTo>
                    <a:lnTo>
                      <a:pt x="318" y="3106"/>
                    </a:lnTo>
                    <a:lnTo>
                      <a:pt x="266" y="3094"/>
                    </a:lnTo>
                    <a:lnTo>
                      <a:pt x="215" y="3076"/>
                    </a:lnTo>
                    <a:lnTo>
                      <a:pt x="170" y="3050"/>
                    </a:lnTo>
                    <a:lnTo>
                      <a:pt x="128" y="3019"/>
                    </a:lnTo>
                    <a:lnTo>
                      <a:pt x="92" y="2983"/>
                    </a:lnTo>
                    <a:lnTo>
                      <a:pt x="60" y="2940"/>
                    </a:lnTo>
                    <a:lnTo>
                      <a:pt x="35" y="2894"/>
                    </a:lnTo>
                    <a:lnTo>
                      <a:pt x="15" y="2845"/>
                    </a:lnTo>
                    <a:lnTo>
                      <a:pt x="5" y="2793"/>
                    </a:lnTo>
                    <a:lnTo>
                      <a:pt x="0" y="2738"/>
                    </a:lnTo>
                    <a:lnTo>
                      <a:pt x="5" y="2711"/>
                    </a:lnTo>
                    <a:lnTo>
                      <a:pt x="17" y="2687"/>
                    </a:lnTo>
                    <a:lnTo>
                      <a:pt x="35" y="2668"/>
                    </a:lnTo>
                    <a:lnTo>
                      <a:pt x="60" y="2656"/>
                    </a:lnTo>
                    <a:lnTo>
                      <a:pt x="87" y="2651"/>
                    </a:lnTo>
                    <a:lnTo>
                      <a:pt x="357" y="2651"/>
                    </a:lnTo>
                    <a:lnTo>
                      <a:pt x="357" y="189"/>
                    </a:lnTo>
                    <a:lnTo>
                      <a:pt x="360" y="151"/>
                    </a:lnTo>
                    <a:lnTo>
                      <a:pt x="373" y="116"/>
                    </a:lnTo>
                    <a:lnTo>
                      <a:pt x="389" y="84"/>
                    </a:lnTo>
                    <a:lnTo>
                      <a:pt x="412" y="55"/>
                    </a:lnTo>
                    <a:lnTo>
                      <a:pt x="441" y="32"/>
                    </a:lnTo>
                    <a:lnTo>
                      <a:pt x="473" y="15"/>
                    </a:lnTo>
                    <a:lnTo>
                      <a:pt x="509" y="3"/>
                    </a:lnTo>
                    <a:lnTo>
                      <a:pt x="54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6" name="Freeform 22"/>
              <p:cNvSpPr>
                <a:spLocks/>
              </p:cNvSpPr>
              <p:nvPr/>
            </p:nvSpPr>
            <p:spPr bwMode="auto">
              <a:xfrm>
                <a:off x="-1128" y="1247"/>
                <a:ext cx="1571" cy="825"/>
              </a:xfrm>
              <a:custGeom>
                <a:avLst/>
                <a:gdLst>
                  <a:gd name="T0" fmla="*/ 3101 w 3143"/>
                  <a:gd name="T1" fmla="*/ 0 h 1651"/>
                  <a:gd name="T2" fmla="*/ 3101 w 3143"/>
                  <a:gd name="T3" fmla="*/ 0 h 1651"/>
                  <a:gd name="T4" fmla="*/ 3113 w 3143"/>
                  <a:gd name="T5" fmla="*/ 2 h 1651"/>
                  <a:gd name="T6" fmla="*/ 3124 w 3143"/>
                  <a:gd name="T7" fmla="*/ 6 h 1651"/>
                  <a:gd name="T8" fmla="*/ 3134 w 3143"/>
                  <a:gd name="T9" fmla="*/ 15 h 1651"/>
                  <a:gd name="T10" fmla="*/ 3142 w 3143"/>
                  <a:gd name="T11" fmla="*/ 29 h 1651"/>
                  <a:gd name="T12" fmla="*/ 3143 w 3143"/>
                  <a:gd name="T13" fmla="*/ 44 h 1651"/>
                  <a:gd name="T14" fmla="*/ 3140 w 3143"/>
                  <a:gd name="T15" fmla="*/ 60 h 1651"/>
                  <a:gd name="T16" fmla="*/ 2752 w 3143"/>
                  <a:gd name="T17" fmla="*/ 1001 h 1651"/>
                  <a:gd name="T18" fmla="*/ 2745 w 3143"/>
                  <a:gd name="T19" fmla="*/ 1015 h 1651"/>
                  <a:gd name="T20" fmla="*/ 2733 w 3143"/>
                  <a:gd name="T21" fmla="*/ 1022 h 1651"/>
                  <a:gd name="T22" fmla="*/ 2719 w 3143"/>
                  <a:gd name="T23" fmla="*/ 1029 h 1651"/>
                  <a:gd name="T24" fmla="*/ 2713 w 3143"/>
                  <a:gd name="T25" fmla="*/ 1029 h 1651"/>
                  <a:gd name="T26" fmla="*/ 2701 w 3143"/>
                  <a:gd name="T27" fmla="*/ 1027 h 1651"/>
                  <a:gd name="T28" fmla="*/ 2688 w 3143"/>
                  <a:gd name="T29" fmla="*/ 1021 h 1651"/>
                  <a:gd name="T30" fmla="*/ 2679 w 3143"/>
                  <a:gd name="T31" fmla="*/ 1013 h 1651"/>
                  <a:gd name="T32" fmla="*/ 2484 w 3143"/>
                  <a:gd name="T33" fmla="*/ 775 h 1651"/>
                  <a:gd name="T34" fmla="*/ 1271 w 3143"/>
                  <a:gd name="T35" fmla="*/ 1596 h 1651"/>
                  <a:gd name="T36" fmla="*/ 1189 w 3143"/>
                  <a:gd name="T37" fmla="*/ 1651 h 1651"/>
                  <a:gd name="T38" fmla="*/ 1134 w 3143"/>
                  <a:gd name="T39" fmla="*/ 1584 h 1651"/>
                  <a:gd name="T40" fmla="*/ 677 w 3143"/>
                  <a:gd name="T41" fmla="*/ 1033 h 1651"/>
                  <a:gd name="T42" fmla="*/ 40 w 3143"/>
                  <a:gd name="T43" fmla="*/ 1492 h 1651"/>
                  <a:gd name="T44" fmla="*/ 37 w 3143"/>
                  <a:gd name="T45" fmla="*/ 1488 h 1651"/>
                  <a:gd name="T46" fmla="*/ 29 w 3143"/>
                  <a:gd name="T47" fmla="*/ 1480 h 1651"/>
                  <a:gd name="T48" fmla="*/ 20 w 3143"/>
                  <a:gd name="T49" fmla="*/ 1471 h 1651"/>
                  <a:gd name="T50" fmla="*/ 11 w 3143"/>
                  <a:gd name="T51" fmla="*/ 1460 h 1651"/>
                  <a:gd name="T52" fmla="*/ 5 w 3143"/>
                  <a:gd name="T53" fmla="*/ 1453 h 1651"/>
                  <a:gd name="T54" fmla="*/ 0 w 3143"/>
                  <a:gd name="T55" fmla="*/ 1448 h 1651"/>
                  <a:gd name="T56" fmla="*/ 652 w 3143"/>
                  <a:gd name="T57" fmla="*/ 911 h 1651"/>
                  <a:gd name="T58" fmla="*/ 689 w 3143"/>
                  <a:gd name="T59" fmla="*/ 879 h 1651"/>
                  <a:gd name="T60" fmla="*/ 729 w 3143"/>
                  <a:gd name="T61" fmla="*/ 917 h 1651"/>
                  <a:gd name="T62" fmla="*/ 1211 w 3143"/>
                  <a:gd name="T63" fmla="*/ 1379 h 1651"/>
                  <a:gd name="T64" fmla="*/ 2245 w 3143"/>
                  <a:gd name="T65" fmla="*/ 488 h 1651"/>
                  <a:gd name="T66" fmla="*/ 2067 w 3143"/>
                  <a:gd name="T67" fmla="*/ 273 h 1651"/>
                  <a:gd name="T68" fmla="*/ 2061 w 3143"/>
                  <a:gd name="T69" fmla="*/ 260 h 1651"/>
                  <a:gd name="T70" fmla="*/ 2058 w 3143"/>
                  <a:gd name="T71" fmla="*/ 246 h 1651"/>
                  <a:gd name="T72" fmla="*/ 2061 w 3143"/>
                  <a:gd name="T73" fmla="*/ 231 h 1651"/>
                  <a:gd name="T74" fmla="*/ 2067 w 3143"/>
                  <a:gd name="T75" fmla="*/ 218 h 1651"/>
                  <a:gd name="T76" fmla="*/ 2079 w 3143"/>
                  <a:gd name="T77" fmla="*/ 208 h 1651"/>
                  <a:gd name="T78" fmla="*/ 2093 w 3143"/>
                  <a:gd name="T79" fmla="*/ 203 h 1651"/>
                  <a:gd name="T80" fmla="*/ 3092 w 3143"/>
                  <a:gd name="T81" fmla="*/ 0 h 1651"/>
                  <a:gd name="T82" fmla="*/ 3101 w 3143"/>
                  <a:gd name="T83" fmla="*/ 0 h 1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143" h="1651">
                    <a:moveTo>
                      <a:pt x="3101" y="0"/>
                    </a:moveTo>
                    <a:lnTo>
                      <a:pt x="3101" y="0"/>
                    </a:lnTo>
                    <a:lnTo>
                      <a:pt x="3113" y="2"/>
                    </a:lnTo>
                    <a:lnTo>
                      <a:pt x="3124" y="6"/>
                    </a:lnTo>
                    <a:lnTo>
                      <a:pt x="3134" y="15"/>
                    </a:lnTo>
                    <a:lnTo>
                      <a:pt x="3142" y="29"/>
                    </a:lnTo>
                    <a:lnTo>
                      <a:pt x="3143" y="44"/>
                    </a:lnTo>
                    <a:lnTo>
                      <a:pt x="3140" y="60"/>
                    </a:lnTo>
                    <a:lnTo>
                      <a:pt x="2752" y="1001"/>
                    </a:lnTo>
                    <a:lnTo>
                      <a:pt x="2745" y="1015"/>
                    </a:lnTo>
                    <a:lnTo>
                      <a:pt x="2733" y="1022"/>
                    </a:lnTo>
                    <a:lnTo>
                      <a:pt x="2719" y="1029"/>
                    </a:lnTo>
                    <a:lnTo>
                      <a:pt x="2713" y="1029"/>
                    </a:lnTo>
                    <a:lnTo>
                      <a:pt x="2701" y="1027"/>
                    </a:lnTo>
                    <a:lnTo>
                      <a:pt x="2688" y="1021"/>
                    </a:lnTo>
                    <a:lnTo>
                      <a:pt x="2679" y="1013"/>
                    </a:lnTo>
                    <a:lnTo>
                      <a:pt x="2484" y="775"/>
                    </a:lnTo>
                    <a:lnTo>
                      <a:pt x="1271" y="1596"/>
                    </a:lnTo>
                    <a:lnTo>
                      <a:pt x="1189" y="1651"/>
                    </a:lnTo>
                    <a:lnTo>
                      <a:pt x="1134" y="1584"/>
                    </a:lnTo>
                    <a:lnTo>
                      <a:pt x="677" y="1033"/>
                    </a:lnTo>
                    <a:lnTo>
                      <a:pt x="40" y="1492"/>
                    </a:lnTo>
                    <a:lnTo>
                      <a:pt x="37" y="1488"/>
                    </a:lnTo>
                    <a:lnTo>
                      <a:pt x="29" y="1480"/>
                    </a:lnTo>
                    <a:lnTo>
                      <a:pt x="20" y="1471"/>
                    </a:lnTo>
                    <a:lnTo>
                      <a:pt x="11" y="1460"/>
                    </a:lnTo>
                    <a:lnTo>
                      <a:pt x="5" y="1453"/>
                    </a:lnTo>
                    <a:lnTo>
                      <a:pt x="0" y="1448"/>
                    </a:lnTo>
                    <a:lnTo>
                      <a:pt x="652" y="911"/>
                    </a:lnTo>
                    <a:lnTo>
                      <a:pt x="689" y="879"/>
                    </a:lnTo>
                    <a:lnTo>
                      <a:pt x="729" y="917"/>
                    </a:lnTo>
                    <a:lnTo>
                      <a:pt x="1211" y="1379"/>
                    </a:lnTo>
                    <a:lnTo>
                      <a:pt x="2245" y="488"/>
                    </a:lnTo>
                    <a:lnTo>
                      <a:pt x="2067" y="273"/>
                    </a:lnTo>
                    <a:lnTo>
                      <a:pt x="2061" y="260"/>
                    </a:lnTo>
                    <a:lnTo>
                      <a:pt x="2058" y="246"/>
                    </a:lnTo>
                    <a:lnTo>
                      <a:pt x="2061" y="231"/>
                    </a:lnTo>
                    <a:lnTo>
                      <a:pt x="2067" y="218"/>
                    </a:lnTo>
                    <a:lnTo>
                      <a:pt x="2079" y="208"/>
                    </a:lnTo>
                    <a:lnTo>
                      <a:pt x="2093" y="203"/>
                    </a:lnTo>
                    <a:lnTo>
                      <a:pt x="3092" y="0"/>
                    </a:lnTo>
                    <a:lnTo>
                      <a:pt x="310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7" name="Freeform 23"/>
              <p:cNvSpPr>
                <a:spLocks/>
              </p:cNvSpPr>
              <p:nvPr/>
            </p:nvSpPr>
            <p:spPr bwMode="auto">
              <a:xfrm>
                <a:off x="-394" y="2507"/>
                <a:ext cx="102" cy="270"/>
              </a:xfrm>
              <a:custGeom>
                <a:avLst/>
                <a:gdLst>
                  <a:gd name="T0" fmla="*/ 102 w 205"/>
                  <a:gd name="T1" fmla="*/ 0 h 540"/>
                  <a:gd name="T2" fmla="*/ 128 w 205"/>
                  <a:gd name="T3" fmla="*/ 3 h 540"/>
                  <a:gd name="T4" fmla="*/ 153 w 205"/>
                  <a:gd name="T5" fmla="*/ 14 h 540"/>
                  <a:gd name="T6" fmla="*/ 174 w 205"/>
                  <a:gd name="T7" fmla="*/ 29 h 540"/>
                  <a:gd name="T8" fmla="*/ 191 w 205"/>
                  <a:gd name="T9" fmla="*/ 50 h 540"/>
                  <a:gd name="T10" fmla="*/ 200 w 205"/>
                  <a:gd name="T11" fmla="*/ 75 h 540"/>
                  <a:gd name="T12" fmla="*/ 205 w 205"/>
                  <a:gd name="T13" fmla="*/ 102 h 540"/>
                  <a:gd name="T14" fmla="*/ 205 w 205"/>
                  <a:gd name="T15" fmla="*/ 438 h 540"/>
                  <a:gd name="T16" fmla="*/ 200 w 205"/>
                  <a:gd name="T17" fmla="*/ 465 h 540"/>
                  <a:gd name="T18" fmla="*/ 191 w 205"/>
                  <a:gd name="T19" fmla="*/ 490 h 540"/>
                  <a:gd name="T20" fmla="*/ 174 w 205"/>
                  <a:gd name="T21" fmla="*/ 511 h 540"/>
                  <a:gd name="T22" fmla="*/ 153 w 205"/>
                  <a:gd name="T23" fmla="*/ 526 h 540"/>
                  <a:gd name="T24" fmla="*/ 128 w 205"/>
                  <a:gd name="T25" fmla="*/ 537 h 540"/>
                  <a:gd name="T26" fmla="*/ 102 w 205"/>
                  <a:gd name="T27" fmla="*/ 540 h 540"/>
                  <a:gd name="T28" fmla="*/ 75 w 205"/>
                  <a:gd name="T29" fmla="*/ 537 h 540"/>
                  <a:gd name="T30" fmla="*/ 50 w 205"/>
                  <a:gd name="T31" fmla="*/ 526 h 540"/>
                  <a:gd name="T32" fmla="*/ 29 w 205"/>
                  <a:gd name="T33" fmla="*/ 511 h 540"/>
                  <a:gd name="T34" fmla="*/ 14 w 205"/>
                  <a:gd name="T35" fmla="*/ 490 h 540"/>
                  <a:gd name="T36" fmla="*/ 3 w 205"/>
                  <a:gd name="T37" fmla="*/ 465 h 540"/>
                  <a:gd name="T38" fmla="*/ 0 w 205"/>
                  <a:gd name="T39" fmla="*/ 438 h 540"/>
                  <a:gd name="T40" fmla="*/ 0 w 205"/>
                  <a:gd name="T41" fmla="*/ 102 h 540"/>
                  <a:gd name="T42" fmla="*/ 3 w 205"/>
                  <a:gd name="T43" fmla="*/ 75 h 540"/>
                  <a:gd name="T44" fmla="*/ 14 w 205"/>
                  <a:gd name="T45" fmla="*/ 50 h 540"/>
                  <a:gd name="T46" fmla="*/ 29 w 205"/>
                  <a:gd name="T47" fmla="*/ 29 h 540"/>
                  <a:gd name="T48" fmla="*/ 50 w 205"/>
                  <a:gd name="T49" fmla="*/ 14 h 540"/>
                  <a:gd name="T50" fmla="*/ 75 w 205"/>
                  <a:gd name="T51" fmla="*/ 3 h 540"/>
                  <a:gd name="T52" fmla="*/ 102 w 205"/>
                  <a:gd name="T53" fmla="*/ 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5" h="540">
                    <a:moveTo>
                      <a:pt x="102" y="0"/>
                    </a:moveTo>
                    <a:lnTo>
                      <a:pt x="128" y="3"/>
                    </a:lnTo>
                    <a:lnTo>
                      <a:pt x="153" y="14"/>
                    </a:lnTo>
                    <a:lnTo>
                      <a:pt x="174" y="29"/>
                    </a:lnTo>
                    <a:lnTo>
                      <a:pt x="191" y="50"/>
                    </a:lnTo>
                    <a:lnTo>
                      <a:pt x="200" y="75"/>
                    </a:lnTo>
                    <a:lnTo>
                      <a:pt x="205" y="102"/>
                    </a:lnTo>
                    <a:lnTo>
                      <a:pt x="205" y="438"/>
                    </a:lnTo>
                    <a:lnTo>
                      <a:pt x="200" y="465"/>
                    </a:lnTo>
                    <a:lnTo>
                      <a:pt x="191" y="490"/>
                    </a:lnTo>
                    <a:lnTo>
                      <a:pt x="174" y="511"/>
                    </a:lnTo>
                    <a:lnTo>
                      <a:pt x="153" y="526"/>
                    </a:lnTo>
                    <a:lnTo>
                      <a:pt x="128" y="537"/>
                    </a:lnTo>
                    <a:lnTo>
                      <a:pt x="102" y="540"/>
                    </a:lnTo>
                    <a:lnTo>
                      <a:pt x="75" y="537"/>
                    </a:lnTo>
                    <a:lnTo>
                      <a:pt x="50" y="526"/>
                    </a:lnTo>
                    <a:lnTo>
                      <a:pt x="29" y="511"/>
                    </a:lnTo>
                    <a:lnTo>
                      <a:pt x="14" y="490"/>
                    </a:lnTo>
                    <a:lnTo>
                      <a:pt x="3" y="465"/>
                    </a:lnTo>
                    <a:lnTo>
                      <a:pt x="0" y="438"/>
                    </a:lnTo>
                    <a:lnTo>
                      <a:pt x="0" y="102"/>
                    </a:lnTo>
                    <a:lnTo>
                      <a:pt x="3" y="75"/>
                    </a:lnTo>
                    <a:lnTo>
                      <a:pt x="14" y="50"/>
                    </a:lnTo>
                    <a:lnTo>
                      <a:pt x="29" y="29"/>
                    </a:lnTo>
                    <a:lnTo>
                      <a:pt x="50" y="14"/>
                    </a:lnTo>
                    <a:lnTo>
                      <a:pt x="75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8" name="Freeform 24"/>
              <p:cNvSpPr>
                <a:spLocks/>
              </p:cNvSpPr>
              <p:nvPr/>
            </p:nvSpPr>
            <p:spPr bwMode="auto">
              <a:xfrm>
                <a:off x="-587" y="2296"/>
                <a:ext cx="102" cy="481"/>
              </a:xfrm>
              <a:custGeom>
                <a:avLst/>
                <a:gdLst>
                  <a:gd name="T0" fmla="*/ 103 w 205"/>
                  <a:gd name="T1" fmla="*/ 0 h 963"/>
                  <a:gd name="T2" fmla="*/ 130 w 205"/>
                  <a:gd name="T3" fmla="*/ 3 h 963"/>
                  <a:gd name="T4" fmla="*/ 154 w 205"/>
                  <a:gd name="T5" fmla="*/ 14 h 963"/>
                  <a:gd name="T6" fmla="*/ 176 w 205"/>
                  <a:gd name="T7" fmla="*/ 31 h 963"/>
                  <a:gd name="T8" fmla="*/ 191 w 205"/>
                  <a:gd name="T9" fmla="*/ 51 h 963"/>
                  <a:gd name="T10" fmla="*/ 202 w 205"/>
                  <a:gd name="T11" fmla="*/ 75 h 963"/>
                  <a:gd name="T12" fmla="*/ 205 w 205"/>
                  <a:gd name="T13" fmla="*/ 102 h 963"/>
                  <a:gd name="T14" fmla="*/ 205 w 205"/>
                  <a:gd name="T15" fmla="*/ 861 h 963"/>
                  <a:gd name="T16" fmla="*/ 202 w 205"/>
                  <a:gd name="T17" fmla="*/ 888 h 963"/>
                  <a:gd name="T18" fmla="*/ 191 w 205"/>
                  <a:gd name="T19" fmla="*/ 913 h 963"/>
                  <a:gd name="T20" fmla="*/ 176 w 205"/>
                  <a:gd name="T21" fmla="*/ 934 h 963"/>
                  <a:gd name="T22" fmla="*/ 154 w 205"/>
                  <a:gd name="T23" fmla="*/ 949 h 963"/>
                  <a:gd name="T24" fmla="*/ 130 w 205"/>
                  <a:gd name="T25" fmla="*/ 960 h 963"/>
                  <a:gd name="T26" fmla="*/ 103 w 205"/>
                  <a:gd name="T27" fmla="*/ 963 h 963"/>
                  <a:gd name="T28" fmla="*/ 75 w 205"/>
                  <a:gd name="T29" fmla="*/ 960 h 963"/>
                  <a:gd name="T30" fmla="*/ 51 w 205"/>
                  <a:gd name="T31" fmla="*/ 949 h 963"/>
                  <a:gd name="T32" fmla="*/ 31 w 205"/>
                  <a:gd name="T33" fmla="*/ 934 h 963"/>
                  <a:gd name="T34" fmla="*/ 14 w 205"/>
                  <a:gd name="T35" fmla="*/ 913 h 963"/>
                  <a:gd name="T36" fmla="*/ 5 w 205"/>
                  <a:gd name="T37" fmla="*/ 888 h 963"/>
                  <a:gd name="T38" fmla="*/ 0 w 205"/>
                  <a:gd name="T39" fmla="*/ 861 h 963"/>
                  <a:gd name="T40" fmla="*/ 0 w 205"/>
                  <a:gd name="T41" fmla="*/ 102 h 963"/>
                  <a:gd name="T42" fmla="*/ 5 w 205"/>
                  <a:gd name="T43" fmla="*/ 75 h 963"/>
                  <a:gd name="T44" fmla="*/ 14 w 205"/>
                  <a:gd name="T45" fmla="*/ 51 h 963"/>
                  <a:gd name="T46" fmla="*/ 31 w 205"/>
                  <a:gd name="T47" fmla="*/ 31 h 963"/>
                  <a:gd name="T48" fmla="*/ 51 w 205"/>
                  <a:gd name="T49" fmla="*/ 14 h 963"/>
                  <a:gd name="T50" fmla="*/ 75 w 205"/>
                  <a:gd name="T51" fmla="*/ 3 h 963"/>
                  <a:gd name="T52" fmla="*/ 103 w 205"/>
                  <a:gd name="T53" fmla="*/ 0 h 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5" h="963">
                    <a:moveTo>
                      <a:pt x="103" y="0"/>
                    </a:moveTo>
                    <a:lnTo>
                      <a:pt x="130" y="3"/>
                    </a:lnTo>
                    <a:lnTo>
                      <a:pt x="154" y="14"/>
                    </a:lnTo>
                    <a:lnTo>
                      <a:pt x="176" y="31"/>
                    </a:lnTo>
                    <a:lnTo>
                      <a:pt x="191" y="51"/>
                    </a:lnTo>
                    <a:lnTo>
                      <a:pt x="202" y="75"/>
                    </a:lnTo>
                    <a:lnTo>
                      <a:pt x="205" y="102"/>
                    </a:lnTo>
                    <a:lnTo>
                      <a:pt x="205" y="861"/>
                    </a:lnTo>
                    <a:lnTo>
                      <a:pt x="202" y="888"/>
                    </a:lnTo>
                    <a:lnTo>
                      <a:pt x="191" y="913"/>
                    </a:lnTo>
                    <a:lnTo>
                      <a:pt x="176" y="934"/>
                    </a:lnTo>
                    <a:lnTo>
                      <a:pt x="154" y="949"/>
                    </a:lnTo>
                    <a:lnTo>
                      <a:pt x="130" y="960"/>
                    </a:lnTo>
                    <a:lnTo>
                      <a:pt x="103" y="963"/>
                    </a:lnTo>
                    <a:lnTo>
                      <a:pt x="75" y="960"/>
                    </a:lnTo>
                    <a:lnTo>
                      <a:pt x="51" y="949"/>
                    </a:lnTo>
                    <a:lnTo>
                      <a:pt x="31" y="934"/>
                    </a:lnTo>
                    <a:lnTo>
                      <a:pt x="14" y="913"/>
                    </a:lnTo>
                    <a:lnTo>
                      <a:pt x="5" y="888"/>
                    </a:lnTo>
                    <a:lnTo>
                      <a:pt x="0" y="861"/>
                    </a:lnTo>
                    <a:lnTo>
                      <a:pt x="0" y="102"/>
                    </a:lnTo>
                    <a:lnTo>
                      <a:pt x="5" y="75"/>
                    </a:lnTo>
                    <a:lnTo>
                      <a:pt x="14" y="51"/>
                    </a:lnTo>
                    <a:lnTo>
                      <a:pt x="31" y="31"/>
                    </a:lnTo>
                    <a:lnTo>
                      <a:pt x="51" y="14"/>
                    </a:lnTo>
                    <a:lnTo>
                      <a:pt x="75" y="3"/>
                    </a:lnTo>
                    <a:lnTo>
                      <a:pt x="1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9" name="Freeform 25"/>
              <p:cNvSpPr>
                <a:spLocks/>
              </p:cNvSpPr>
              <p:nvPr/>
            </p:nvSpPr>
            <p:spPr bwMode="auto">
              <a:xfrm>
                <a:off x="-779" y="2507"/>
                <a:ext cx="103" cy="270"/>
              </a:xfrm>
              <a:custGeom>
                <a:avLst/>
                <a:gdLst>
                  <a:gd name="T0" fmla="*/ 102 w 204"/>
                  <a:gd name="T1" fmla="*/ 0 h 540"/>
                  <a:gd name="T2" fmla="*/ 130 w 204"/>
                  <a:gd name="T3" fmla="*/ 3 h 540"/>
                  <a:gd name="T4" fmla="*/ 154 w 204"/>
                  <a:gd name="T5" fmla="*/ 14 h 540"/>
                  <a:gd name="T6" fmla="*/ 174 w 204"/>
                  <a:gd name="T7" fmla="*/ 29 h 540"/>
                  <a:gd name="T8" fmla="*/ 191 w 204"/>
                  <a:gd name="T9" fmla="*/ 50 h 540"/>
                  <a:gd name="T10" fmla="*/ 200 w 204"/>
                  <a:gd name="T11" fmla="*/ 75 h 540"/>
                  <a:gd name="T12" fmla="*/ 204 w 204"/>
                  <a:gd name="T13" fmla="*/ 102 h 540"/>
                  <a:gd name="T14" fmla="*/ 204 w 204"/>
                  <a:gd name="T15" fmla="*/ 438 h 540"/>
                  <a:gd name="T16" fmla="*/ 200 w 204"/>
                  <a:gd name="T17" fmla="*/ 465 h 540"/>
                  <a:gd name="T18" fmla="*/ 191 w 204"/>
                  <a:gd name="T19" fmla="*/ 490 h 540"/>
                  <a:gd name="T20" fmla="*/ 174 w 204"/>
                  <a:gd name="T21" fmla="*/ 511 h 540"/>
                  <a:gd name="T22" fmla="*/ 154 w 204"/>
                  <a:gd name="T23" fmla="*/ 526 h 540"/>
                  <a:gd name="T24" fmla="*/ 130 w 204"/>
                  <a:gd name="T25" fmla="*/ 537 h 540"/>
                  <a:gd name="T26" fmla="*/ 102 w 204"/>
                  <a:gd name="T27" fmla="*/ 540 h 540"/>
                  <a:gd name="T28" fmla="*/ 75 w 204"/>
                  <a:gd name="T29" fmla="*/ 537 h 540"/>
                  <a:gd name="T30" fmla="*/ 50 w 204"/>
                  <a:gd name="T31" fmla="*/ 526 h 540"/>
                  <a:gd name="T32" fmla="*/ 29 w 204"/>
                  <a:gd name="T33" fmla="*/ 511 h 540"/>
                  <a:gd name="T34" fmla="*/ 14 w 204"/>
                  <a:gd name="T35" fmla="*/ 490 h 540"/>
                  <a:gd name="T36" fmla="*/ 3 w 204"/>
                  <a:gd name="T37" fmla="*/ 465 h 540"/>
                  <a:gd name="T38" fmla="*/ 0 w 204"/>
                  <a:gd name="T39" fmla="*/ 438 h 540"/>
                  <a:gd name="T40" fmla="*/ 0 w 204"/>
                  <a:gd name="T41" fmla="*/ 102 h 540"/>
                  <a:gd name="T42" fmla="*/ 3 w 204"/>
                  <a:gd name="T43" fmla="*/ 75 h 540"/>
                  <a:gd name="T44" fmla="*/ 14 w 204"/>
                  <a:gd name="T45" fmla="*/ 50 h 540"/>
                  <a:gd name="T46" fmla="*/ 29 w 204"/>
                  <a:gd name="T47" fmla="*/ 29 h 540"/>
                  <a:gd name="T48" fmla="*/ 50 w 204"/>
                  <a:gd name="T49" fmla="*/ 14 h 540"/>
                  <a:gd name="T50" fmla="*/ 75 w 204"/>
                  <a:gd name="T51" fmla="*/ 3 h 540"/>
                  <a:gd name="T52" fmla="*/ 102 w 204"/>
                  <a:gd name="T53" fmla="*/ 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4" h="540">
                    <a:moveTo>
                      <a:pt x="102" y="0"/>
                    </a:moveTo>
                    <a:lnTo>
                      <a:pt x="130" y="3"/>
                    </a:lnTo>
                    <a:lnTo>
                      <a:pt x="154" y="14"/>
                    </a:lnTo>
                    <a:lnTo>
                      <a:pt x="174" y="29"/>
                    </a:lnTo>
                    <a:lnTo>
                      <a:pt x="191" y="50"/>
                    </a:lnTo>
                    <a:lnTo>
                      <a:pt x="200" y="75"/>
                    </a:lnTo>
                    <a:lnTo>
                      <a:pt x="204" y="102"/>
                    </a:lnTo>
                    <a:lnTo>
                      <a:pt x="204" y="438"/>
                    </a:lnTo>
                    <a:lnTo>
                      <a:pt x="200" y="465"/>
                    </a:lnTo>
                    <a:lnTo>
                      <a:pt x="191" y="490"/>
                    </a:lnTo>
                    <a:lnTo>
                      <a:pt x="174" y="511"/>
                    </a:lnTo>
                    <a:lnTo>
                      <a:pt x="154" y="526"/>
                    </a:lnTo>
                    <a:lnTo>
                      <a:pt x="130" y="537"/>
                    </a:lnTo>
                    <a:lnTo>
                      <a:pt x="102" y="540"/>
                    </a:lnTo>
                    <a:lnTo>
                      <a:pt x="75" y="537"/>
                    </a:lnTo>
                    <a:lnTo>
                      <a:pt x="50" y="526"/>
                    </a:lnTo>
                    <a:lnTo>
                      <a:pt x="29" y="511"/>
                    </a:lnTo>
                    <a:lnTo>
                      <a:pt x="14" y="490"/>
                    </a:lnTo>
                    <a:lnTo>
                      <a:pt x="3" y="465"/>
                    </a:lnTo>
                    <a:lnTo>
                      <a:pt x="0" y="438"/>
                    </a:lnTo>
                    <a:lnTo>
                      <a:pt x="0" y="102"/>
                    </a:lnTo>
                    <a:lnTo>
                      <a:pt x="3" y="75"/>
                    </a:lnTo>
                    <a:lnTo>
                      <a:pt x="14" y="50"/>
                    </a:lnTo>
                    <a:lnTo>
                      <a:pt x="29" y="29"/>
                    </a:lnTo>
                    <a:lnTo>
                      <a:pt x="50" y="14"/>
                    </a:lnTo>
                    <a:lnTo>
                      <a:pt x="75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0" name="Freeform 26"/>
              <p:cNvSpPr>
                <a:spLocks/>
              </p:cNvSpPr>
              <p:nvPr/>
            </p:nvSpPr>
            <p:spPr bwMode="auto">
              <a:xfrm>
                <a:off x="-971" y="2296"/>
                <a:ext cx="102" cy="481"/>
              </a:xfrm>
              <a:custGeom>
                <a:avLst/>
                <a:gdLst>
                  <a:gd name="T0" fmla="*/ 102 w 205"/>
                  <a:gd name="T1" fmla="*/ 0 h 963"/>
                  <a:gd name="T2" fmla="*/ 130 w 205"/>
                  <a:gd name="T3" fmla="*/ 3 h 963"/>
                  <a:gd name="T4" fmla="*/ 154 w 205"/>
                  <a:gd name="T5" fmla="*/ 14 h 963"/>
                  <a:gd name="T6" fmla="*/ 176 w 205"/>
                  <a:gd name="T7" fmla="*/ 31 h 963"/>
                  <a:gd name="T8" fmla="*/ 191 w 205"/>
                  <a:gd name="T9" fmla="*/ 51 h 963"/>
                  <a:gd name="T10" fmla="*/ 202 w 205"/>
                  <a:gd name="T11" fmla="*/ 75 h 963"/>
                  <a:gd name="T12" fmla="*/ 205 w 205"/>
                  <a:gd name="T13" fmla="*/ 102 h 963"/>
                  <a:gd name="T14" fmla="*/ 205 w 205"/>
                  <a:gd name="T15" fmla="*/ 861 h 963"/>
                  <a:gd name="T16" fmla="*/ 202 w 205"/>
                  <a:gd name="T17" fmla="*/ 888 h 963"/>
                  <a:gd name="T18" fmla="*/ 191 w 205"/>
                  <a:gd name="T19" fmla="*/ 913 h 963"/>
                  <a:gd name="T20" fmla="*/ 176 w 205"/>
                  <a:gd name="T21" fmla="*/ 934 h 963"/>
                  <a:gd name="T22" fmla="*/ 154 w 205"/>
                  <a:gd name="T23" fmla="*/ 949 h 963"/>
                  <a:gd name="T24" fmla="*/ 130 w 205"/>
                  <a:gd name="T25" fmla="*/ 960 h 963"/>
                  <a:gd name="T26" fmla="*/ 102 w 205"/>
                  <a:gd name="T27" fmla="*/ 963 h 963"/>
                  <a:gd name="T28" fmla="*/ 76 w 205"/>
                  <a:gd name="T29" fmla="*/ 960 h 963"/>
                  <a:gd name="T30" fmla="*/ 50 w 205"/>
                  <a:gd name="T31" fmla="*/ 949 h 963"/>
                  <a:gd name="T32" fmla="*/ 31 w 205"/>
                  <a:gd name="T33" fmla="*/ 934 h 963"/>
                  <a:gd name="T34" fmla="*/ 14 w 205"/>
                  <a:gd name="T35" fmla="*/ 913 h 963"/>
                  <a:gd name="T36" fmla="*/ 5 w 205"/>
                  <a:gd name="T37" fmla="*/ 888 h 963"/>
                  <a:gd name="T38" fmla="*/ 0 w 205"/>
                  <a:gd name="T39" fmla="*/ 861 h 963"/>
                  <a:gd name="T40" fmla="*/ 0 w 205"/>
                  <a:gd name="T41" fmla="*/ 102 h 963"/>
                  <a:gd name="T42" fmla="*/ 5 w 205"/>
                  <a:gd name="T43" fmla="*/ 75 h 963"/>
                  <a:gd name="T44" fmla="*/ 14 w 205"/>
                  <a:gd name="T45" fmla="*/ 51 h 963"/>
                  <a:gd name="T46" fmla="*/ 31 w 205"/>
                  <a:gd name="T47" fmla="*/ 31 h 963"/>
                  <a:gd name="T48" fmla="*/ 50 w 205"/>
                  <a:gd name="T49" fmla="*/ 14 h 963"/>
                  <a:gd name="T50" fmla="*/ 76 w 205"/>
                  <a:gd name="T51" fmla="*/ 3 h 963"/>
                  <a:gd name="T52" fmla="*/ 102 w 205"/>
                  <a:gd name="T53" fmla="*/ 0 h 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5" h="963">
                    <a:moveTo>
                      <a:pt x="102" y="0"/>
                    </a:moveTo>
                    <a:lnTo>
                      <a:pt x="130" y="3"/>
                    </a:lnTo>
                    <a:lnTo>
                      <a:pt x="154" y="14"/>
                    </a:lnTo>
                    <a:lnTo>
                      <a:pt x="176" y="31"/>
                    </a:lnTo>
                    <a:lnTo>
                      <a:pt x="191" y="51"/>
                    </a:lnTo>
                    <a:lnTo>
                      <a:pt x="202" y="75"/>
                    </a:lnTo>
                    <a:lnTo>
                      <a:pt x="205" y="102"/>
                    </a:lnTo>
                    <a:lnTo>
                      <a:pt x="205" y="861"/>
                    </a:lnTo>
                    <a:lnTo>
                      <a:pt x="202" y="888"/>
                    </a:lnTo>
                    <a:lnTo>
                      <a:pt x="191" y="913"/>
                    </a:lnTo>
                    <a:lnTo>
                      <a:pt x="176" y="934"/>
                    </a:lnTo>
                    <a:lnTo>
                      <a:pt x="154" y="949"/>
                    </a:lnTo>
                    <a:lnTo>
                      <a:pt x="130" y="960"/>
                    </a:lnTo>
                    <a:lnTo>
                      <a:pt x="102" y="963"/>
                    </a:lnTo>
                    <a:lnTo>
                      <a:pt x="76" y="960"/>
                    </a:lnTo>
                    <a:lnTo>
                      <a:pt x="50" y="949"/>
                    </a:lnTo>
                    <a:lnTo>
                      <a:pt x="31" y="934"/>
                    </a:lnTo>
                    <a:lnTo>
                      <a:pt x="14" y="913"/>
                    </a:lnTo>
                    <a:lnTo>
                      <a:pt x="5" y="888"/>
                    </a:lnTo>
                    <a:lnTo>
                      <a:pt x="0" y="861"/>
                    </a:lnTo>
                    <a:lnTo>
                      <a:pt x="0" y="102"/>
                    </a:lnTo>
                    <a:lnTo>
                      <a:pt x="5" y="75"/>
                    </a:lnTo>
                    <a:lnTo>
                      <a:pt x="14" y="51"/>
                    </a:lnTo>
                    <a:lnTo>
                      <a:pt x="31" y="31"/>
                    </a:lnTo>
                    <a:lnTo>
                      <a:pt x="50" y="14"/>
                    </a:lnTo>
                    <a:lnTo>
                      <a:pt x="76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1" name="Freeform 27"/>
              <p:cNvSpPr>
                <a:spLocks/>
              </p:cNvSpPr>
              <p:nvPr/>
            </p:nvSpPr>
            <p:spPr bwMode="auto">
              <a:xfrm>
                <a:off x="-1163" y="2161"/>
                <a:ext cx="103" cy="616"/>
              </a:xfrm>
              <a:custGeom>
                <a:avLst/>
                <a:gdLst>
                  <a:gd name="T0" fmla="*/ 102 w 204"/>
                  <a:gd name="T1" fmla="*/ 0 h 1231"/>
                  <a:gd name="T2" fmla="*/ 129 w 204"/>
                  <a:gd name="T3" fmla="*/ 3 h 1231"/>
                  <a:gd name="T4" fmla="*/ 154 w 204"/>
                  <a:gd name="T5" fmla="*/ 13 h 1231"/>
                  <a:gd name="T6" fmla="*/ 174 w 204"/>
                  <a:gd name="T7" fmla="*/ 30 h 1231"/>
                  <a:gd name="T8" fmla="*/ 191 w 204"/>
                  <a:gd name="T9" fmla="*/ 50 h 1231"/>
                  <a:gd name="T10" fmla="*/ 201 w 204"/>
                  <a:gd name="T11" fmla="*/ 74 h 1231"/>
                  <a:gd name="T12" fmla="*/ 204 w 204"/>
                  <a:gd name="T13" fmla="*/ 102 h 1231"/>
                  <a:gd name="T14" fmla="*/ 204 w 204"/>
                  <a:gd name="T15" fmla="*/ 1129 h 1231"/>
                  <a:gd name="T16" fmla="*/ 201 w 204"/>
                  <a:gd name="T17" fmla="*/ 1156 h 1231"/>
                  <a:gd name="T18" fmla="*/ 191 w 204"/>
                  <a:gd name="T19" fmla="*/ 1181 h 1231"/>
                  <a:gd name="T20" fmla="*/ 174 w 204"/>
                  <a:gd name="T21" fmla="*/ 1202 h 1231"/>
                  <a:gd name="T22" fmla="*/ 154 w 204"/>
                  <a:gd name="T23" fmla="*/ 1217 h 1231"/>
                  <a:gd name="T24" fmla="*/ 129 w 204"/>
                  <a:gd name="T25" fmla="*/ 1228 h 1231"/>
                  <a:gd name="T26" fmla="*/ 102 w 204"/>
                  <a:gd name="T27" fmla="*/ 1231 h 1231"/>
                  <a:gd name="T28" fmla="*/ 74 w 204"/>
                  <a:gd name="T29" fmla="*/ 1228 h 1231"/>
                  <a:gd name="T30" fmla="*/ 50 w 204"/>
                  <a:gd name="T31" fmla="*/ 1217 h 1231"/>
                  <a:gd name="T32" fmla="*/ 29 w 204"/>
                  <a:gd name="T33" fmla="*/ 1202 h 1231"/>
                  <a:gd name="T34" fmla="*/ 13 w 204"/>
                  <a:gd name="T35" fmla="*/ 1181 h 1231"/>
                  <a:gd name="T36" fmla="*/ 3 w 204"/>
                  <a:gd name="T37" fmla="*/ 1156 h 1231"/>
                  <a:gd name="T38" fmla="*/ 0 w 204"/>
                  <a:gd name="T39" fmla="*/ 1129 h 1231"/>
                  <a:gd name="T40" fmla="*/ 0 w 204"/>
                  <a:gd name="T41" fmla="*/ 102 h 1231"/>
                  <a:gd name="T42" fmla="*/ 3 w 204"/>
                  <a:gd name="T43" fmla="*/ 74 h 1231"/>
                  <a:gd name="T44" fmla="*/ 13 w 204"/>
                  <a:gd name="T45" fmla="*/ 51 h 1231"/>
                  <a:gd name="T46" fmla="*/ 29 w 204"/>
                  <a:gd name="T47" fmla="*/ 30 h 1231"/>
                  <a:gd name="T48" fmla="*/ 48 w 204"/>
                  <a:gd name="T49" fmla="*/ 15 h 1231"/>
                  <a:gd name="T50" fmla="*/ 74 w 204"/>
                  <a:gd name="T51" fmla="*/ 4 h 1231"/>
                  <a:gd name="T52" fmla="*/ 102 w 204"/>
                  <a:gd name="T53" fmla="*/ 0 h 1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4" h="1231">
                    <a:moveTo>
                      <a:pt x="102" y="0"/>
                    </a:moveTo>
                    <a:lnTo>
                      <a:pt x="129" y="3"/>
                    </a:lnTo>
                    <a:lnTo>
                      <a:pt x="154" y="13"/>
                    </a:lnTo>
                    <a:lnTo>
                      <a:pt x="174" y="30"/>
                    </a:lnTo>
                    <a:lnTo>
                      <a:pt x="191" y="50"/>
                    </a:lnTo>
                    <a:lnTo>
                      <a:pt x="201" y="74"/>
                    </a:lnTo>
                    <a:lnTo>
                      <a:pt x="204" y="102"/>
                    </a:lnTo>
                    <a:lnTo>
                      <a:pt x="204" y="1129"/>
                    </a:lnTo>
                    <a:lnTo>
                      <a:pt x="201" y="1156"/>
                    </a:lnTo>
                    <a:lnTo>
                      <a:pt x="191" y="1181"/>
                    </a:lnTo>
                    <a:lnTo>
                      <a:pt x="174" y="1202"/>
                    </a:lnTo>
                    <a:lnTo>
                      <a:pt x="154" y="1217"/>
                    </a:lnTo>
                    <a:lnTo>
                      <a:pt x="129" y="1228"/>
                    </a:lnTo>
                    <a:lnTo>
                      <a:pt x="102" y="1231"/>
                    </a:lnTo>
                    <a:lnTo>
                      <a:pt x="74" y="1228"/>
                    </a:lnTo>
                    <a:lnTo>
                      <a:pt x="50" y="1217"/>
                    </a:lnTo>
                    <a:lnTo>
                      <a:pt x="29" y="1202"/>
                    </a:lnTo>
                    <a:lnTo>
                      <a:pt x="13" y="1181"/>
                    </a:lnTo>
                    <a:lnTo>
                      <a:pt x="3" y="1156"/>
                    </a:lnTo>
                    <a:lnTo>
                      <a:pt x="0" y="1129"/>
                    </a:lnTo>
                    <a:lnTo>
                      <a:pt x="0" y="102"/>
                    </a:lnTo>
                    <a:lnTo>
                      <a:pt x="3" y="74"/>
                    </a:lnTo>
                    <a:lnTo>
                      <a:pt x="13" y="51"/>
                    </a:lnTo>
                    <a:lnTo>
                      <a:pt x="29" y="30"/>
                    </a:lnTo>
                    <a:lnTo>
                      <a:pt x="48" y="15"/>
                    </a:lnTo>
                    <a:lnTo>
                      <a:pt x="74" y="4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2" name="Freeform 28"/>
              <p:cNvSpPr>
                <a:spLocks/>
              </p:cNvSpPr>
              <p:nvPr/>
            </p:nvSpPr>
            <p:spPr bwMode="auto">
              <a:xfrm>
                <a:off x="21" y="2418"/>
                <a:ext cx="337" cy="103"/>
              </a:xfrm>
              <a:custGeom>
                <a:avLst/>
                <a:gdLst>
                  <a:gd name="T0" fmla="*/ 102 w 675"/>
                  <a:gd name="T1" fmla="*/ 0 h 204"/>
                  <a:gd name="T2" fmla="*/ 573 w 675"/>
                  <a:gd name="T3" fmla="*/ 0 h 204"/>
                  <a:gd name="T4" fmla="*/ 600 w 675"/>
                  <a:gd name="T5" fmla="*/ 3 h 204"/>
                  <a:gd name="T6" fmla="*/ 625 w 675"/>
                  <a:gd name="T7" fmla="*/ 14 h 204"/>
                  <a:gd name="T8" fmla="*/ 644 w 675"/>
                  <a:gd name="T9" fmla="*/ 29 h 204"/>
                  <a:gd name="T10" fmla="*/ 661 w 675"/>
                  <a:gd name="T11" fmla="*/ 50 h 204"/>
                  <a:gd name="T12" fmla="*/ 670 w 675"/>
                  <a:gd name="T13" fmla="*/ 75 h 204"/>
                  <a:gd name="T14" fmla="*/ 675 w 675"/>
                  <a:gd name="T15" fmla="*/ 102 h 204"/>
                  <a:gd name="T16" fmla="*/ 670 w 675"/>
                  <a:gd name="T17" fmla="*/ 128 h 204"/>
                  <a:gd name="T18" fmla="*/ 661 w 675"/>
                  <a:gd name="T19" fmla="*/ 152 h 204"/>
                  <a:gd name="T20" fmla="*/ 644 w 675"/>
                  <a:gd name="T21" fmla="*/ 174 h 204"/>
                  <a:gd name="T22" fmla="*/ 625 w 675"/>
                  <a:gd name="T23" fmla="*/ 191 h 204"/>
                  <a:gd name="T24" fmla="*/ 600 w 675"/>
                  <a:gd name="T25" fmla="*/ 200 h 204"/>
                  <a:gd name="T26" fmla="*/ 573 w 675"/>
                  <a:gd name="T27" fmla="*/ 204 h 204"/>
                  <a:gd name="T28" fmla="*/ 102 w 675"/>
                  <a:gd name="T29" fmla="*/ 204 h 204"/>
                  <a:gd name="T30" fmla="*/ 76 w 675"/>
                  <a:gd name="T31" fmla="*/ 200 h 204"/>
                  <a:gd name="T32" fmla="*/ 52 w 675"/>
                  <a:gd name="T33" fmla="*/ 191 h 204"/>
                  <a:gd name="T34" fmla="*/ 30 w 675"/>
                  <a:gd name="T35" fmla="*/ 174 h 204"/>
                  <a:gd name="T36" fmla="*/ 14 w 675"/>
                  <a:gd name="T37" fmla="*/ 152 h 204"/>
                  <a:gd name="T38" fmla="*/ 4 w 675"/>
                  <a:gd name="T39" fmla="*/ 128 h 204"/>
                  <a:gd name="T40" fmla="*/ 0 w 675"/>
                  <a:gd name="T41" fmla="*/ 102 h 204"/>
                  <a:gd name="T42" fmla="*/ 4 w 675"/>
                  <a:gd name="T43" fmla="*/ 75 h 204"/>
                  <a:gd name="T44" fmla="*/ 14 w 675"/>
                  <a:gd name="T45" fmla="*/ 50 h 204"/>
                  <a:gd name="T46" fmla="*/ 30 w 675"/>
                  <a:gd name="T47" fmla="*/ 29 h 204"/>
                  <a:gd name="T48" fmla="*/ 52 w 675"/>
                  <a:gd name="T49" fmla="*/ 14 h 204"/>
                  <a:gd name="T50" fmla="*/ 76 w 675"/>
                  <a:gd name="T51" fmla="*/ 3 h 204"/>
                  <a:gd name="T52" fmla="*/ 102 w 675"/>
                  <a:gd name="T53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75" h="204">
                    <a:moveTo>
                      <a:pt x="102" y="0"/>
                    </a:moveTo>
                    <a:lnTo>
                      <a:pt x="573" y="0"/>
                    </a:lnTo>
                    <a:lnTo>
                      <a:pt x="600" y="3"/>
                    </a:lnTo>
                    <a:lnTo>
                      <a:pt x="625" y="14"/>
                    </a:lnTo>
                    <a:lnTo>
                      <a:pt x="644" y="29"/>
                    </a:lnTo>
                    <a:lnTo>
                      <a:pt x="661" y="50"/>
                    </a:lnTo>
                    <a:lnTo>
                      <a:pt x="670" y="75"/>
                    </a:lnTo>
                    <a:lnTo>
                      <a:pt x="675" y="102"/>
                    </a:lnTo>
                    <a:lnTo>
                      <a:pt x="670" y="128"/>
                    </a:lnTo>
                    <a:lnTo>
                      <a:pt x="661" y="152"/>
                    </a:lnTo>
                    <a:lnTo>
                      <a:pt x="644" y="174"/>
                    </a:lnTo>
                    <a:lnTo>
                      <a:pt x="625" y="191"/>
                    </a:lnTo>
                    <a:lnTo>
                      <a:pt x="600" y="200"/>
                    </a:lnTo>
                    <a:lnTo>
                      <a:pt x="573" y="204"/>
                    </a:lnTo>
                    <a:lnTo>
                      <a:pt x="102" y="204"/>
                    </a:lnTo>
                    <a:lnTo>
                      <a:pt x="76" y="200"/>
                    </a:lnTo>
                    <a:lnTo>
                      <a:pt x="52" y="191"/>
                    </a:lnTo>
                    <a:lnTo>
                      <a:pt x="30" y="174"/>
                    </a:lnTo>
                    <a:lnTo>
                      <a:pt x="14" y="152"/>
                    </a:lnTo>
                    <a:lnTo>
                      <a:pt x="4" y="128"/>
                    </a:lnTo>
                    <a:lnTo>
                      <a:pt x="0" y="102"/>
                    </a:lnTo>
                    <a:lnTo>
                      <a:pt x="4" y="75"/>
                    </a:lnTo>
                    <a:lnTo>
                      <a:pt x="14" y="50"/>
                    </a:lnTo>
                    <a:lnTo>
                      <a:pt x="30" y="29"/>
                    </a:lnTo>
                    <a:lnTo>
                      <a:pt x="52" y="14"/>
                    </a:lnTo>
                    <a:lnTo>
                      <a:pt x="76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3" name="Freeform 29"/>
              <p:cNvSpPr>
                <a:spLocks/>
              </p:cNvSpPr>
              <p:nvPr/>
            </p:nvSpPr>
            <p:spPr bwMode="auto">
              <a:xfrm>
                <a:off x="21" y="2642"/>
                <a:ext cx="337" cy="102"/>
              </a:xfrm>
              <a:custGeom>
                <a:avLst/>
                <a:gdLst>
                  <a:gd name="T0" fmla="*/ 102 w 675"/>
                  <a:gd name="T1" fmla="*/ 0 h 204"/>
                  <a:gd name="T2" fmla="*/ 573 w 675"/>
                  <a:gd name="T3" fmla="*/ 0 h 204"/>
                  <a:gd name="T4" fmla="*/ 600 w 675"/>
                  <a:gd name="T5" fmla="*/ 3 h 204"/>
                  <a:gd name="T6" fmla="*/ 625 w 675"/>
                  <a:gd name="T7" fmla="*/ 14 h 204"/>
                  <a:gd name="T8" fmla="*/ 644 w 675"/>
                  <a:gd name="T9" fmla="*/ 30 h 204"/>
                  <a:gd name="T10" fmla="*/ 661 w 675"/>
                  <a:gd name="T11" fmla="*/ 50 h 204"/>
                  <a:gd name="T12" fmla="*/ 670 w 675"/>
                  <a:gd name="T13" fmla="*/ 75 h 204"/>
                  <a:gd name="T14" fmla="*/ 675 w 675"/>
                  <a:gd name="T15" fmla="*/ 102 h 204"/>
                  <a:gd name="T16" fmla="*/ 670 w 675"/>
                  <a:gd name="T17" fmla="*/ 130 h 204"/>
                  <a:gd name="T18" fmla="*/ 661 w 675"/>
                  <a:gd name="T19" fmla="*/ 154 h 204"/>
                  <a:gd name="T20" fmla="*/ 644 w 675"/>
                  <a:gd name="T21" fmla="*/ 174 h 204"/>
                  <a:gd name="T22" fmla="*/ 625 w 675"/>
                  <a:gd name="T23" fmla="*/ 191 h 204"/>
                  <a:gd name="T24" fmla="*/ 600 w 675"/>
                  <a:gd name="T25" fmla="*/ 201 h 204"/>
                  <a:gd name="T26" fmla="*/ 573 w 675"/>
                  <a:gd name="T27" fmla="*/ 204 h 204"/>
                  <a:gd name="T28" fmla="*/ 102 w 675"/>
                  <a:gd name="T29" fmla="*/ 204 h 204"/>
                  <a:gd name="T30" fmla="*/ 76 w 675"/>
                  <a:gd name="T31" fmla="*/ 201 h 204"/>
                  <a:gd name="T32" fmla="*/ 52 w 675"/>
                  <a:gd name="T33" fmla="*/ 191 h 204"/>
                  <a:gd name="T34" fmla="*/ 30 w 675"/>
                  <a:gd name="T35" fmla="*/ 174 h 204"/>
                  <a:gd name="T36" fmla="*/ 14 w 675"/>
                  <a:gd name="T37" fmla="*/ 154 h 204"/>
                  <a:gd name="T38" fmla="*/ 4 w 675"/>
                  <a:gd name="T39" fmla="*/ 130 h 204"/>
                  <a:gd name="T40" fmla="*/ 0 w 675"/>
                  <a:gd name="T41" fmla="*/ 102 h 204"/>
                  <a:gd name="T42" fmla="*/ 4 w 675"/>
                  <a:gd name="T43" fmla="*/ 75 h 204"/>
                  <a:gd name="T44" fmla="*/ 14 w 675"/>
                  <a:gd name="T45" fmla="*/ 50 h 204"/>
                  <a:gd name="T46" fmla="*/ 30 w 675"/>
                  <a:gd name="T47" fmla="*/ 30 h 204"/>
                  <a:gd name="T48" fmla="*/ 52 w 675"/>
                  <a:gd name="T49" fmla="*/ 14 h 204"/>
                  <a:gd name="T50" fmla="*/ 76 w 675"/>
                  <a:gd name="T51" fmla="*/ 3 h 204"/>
                  <a:gd name="T52" fmla="*/ 102 w 675"/>
                  <a:gd name="T53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75" h="204">
                    <a:moveTo>
                      <a:pt x="102" y="0"/>
                    </a:moveTo>
                    <a:lnTo>
                      <a:pt x="573" y="0"/>
                    </a:lnTo>
                    <a:lnTo>
                      <a:pt x="600" y="3"/>
                    </a:lnTo>
                    <a:lnTo>
                      <a:pt x="625" y="14"/>
                    </a:lnTo>
                    <a:lnTo>
                      <a:pt x="644" y="30"/>
                    </a:lnTo>
                    <a:lnTo>
                      <a:pt x="661" y="50"/>
                    </a:lnTo>
                    <a:lnTo>
                      <a:pt x="670" y="75"/>
                    </a:lnTo>
                    <a:lnTo>
                      <a:pt x="675" y="102"/>
                    </a:lnTo>
                    <a:lnTo>
                      <a:pt x="670" y="130"/>
                    </a:lnTo>
                    <a:lnTo>
                      <a:pt x="661" y="154"/>
                    </a:lnTo>
                    <a:lnTo>
                      <a:pt x="644" y="174"/>
                    </a:lnTo>
                    <a:lnTo>
                      <a:pt x="625" y="191"/>
                    </a:lnTo>
                    <a:lnTo>
                      <a:pt x="600" y="201"/>
                    </a:lnTo>
                    <a:lnTo>
                      <a:pt x="573" y="204"/>
                    </a:lnTo>
                    <a:lnTo>
                      <a:pt x="102" y="204"/>
                    </a:lnTo>
                    <a:lnTo>
                      <a:pt x="76" y="201"/>
                    </a:lnTo>
                    <a:lnTo>
                      <a:pt x="52" y="191"/>
                    </a:lnTo>
                    <a:lnTo>
                      <a:pt x="30" y="174"/>
                    </a:lnTo>
                    <a:lnTo>
                      <a:pt x="14" y="154"/>
                    </a:lnTo>
                    <a:lnTo>
                      <a:pt x="4" y="130"/>
                    </a:lnTo>
                    <a:lnTo>
                      <a:pt x="0" y="102"/>
                    </a:lnTo>
                    <a:lnTo>
                      <a:pt x="4" y="75"/>
                    </a:lnTo>
                    <a:lnTo>
                      <a:pt x="14" y="50"/>
                    </a:lnTo>
                    <a:lnTo>
                      <a:pt x="30" y="30"/>
                    </a:lnTo>
                    <a:lnTo>
                      <a:pt x="52" y="14"/>
                    </a:lnTo>
                    <a:lnTo>
                      <a:pt x="76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04" name="Group 103"/>
          <p:cNvGrpSpPr/>
          <p:nvPr/>
        </p:nvGrpSpPr>
        <p:grpSpPr>
          <a:xfrm>
            <a:off x="147993" y="5299348"/>
            <a:ext cx="727877" cy="444578"/>
            <a:chOff x="147993" y="5080087"/>
            <a:chExt cx="727877" cy="444578"/>
          </a:xfrm>
        </p:grpSpPr>
        <p:sp>
          <p:nvSpPr>
            <p:cNvPr id="105" name="Rectangle 17"/>
            <p:cNvSpPr>
              <a:spLocks/>
            </p:cNvSpPr>
            <p:nvPr/>
          </p:nvSpPr>
          <p:spPr bwMode="auto">
            <a:xfrm>
              <a:off x="147993" y="5386166"/>
              <a:ext cx="727877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Геолокация</a:t>
              </a:r>
              <a:endParaRPr lang="ru-RU" sz="900" i="1" dirty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grpSp>
          <p:nvGrpSpPr>
            <p:cNvPr id="106" name="Group 105"/>
            <p:cNvGrpSpPr/>
            <p:nvPr/>
          </p:nvGrpSpPr>
          <p:grpSpPr>
            <a:xfrm>
              <a:off x="365905" y="5080087"/>
              <a:ext cx="233576" cy="214640"/>
              <a:chOff x="-1831145" y="1063685"/>
              <a:chExt cx="488634" cy="449020"/>
            </a:xfrm>
            <a:solidFill>
              <a:schemeClr val="bg1"/>
            </a:solidFill>
          </p:grpSpPr>
          <p:sp>
            <p:nvSpPr>
              <p:cNvPr id="107" name="Freeform 7"/>
              <p:cNvSpPr>
                <a:spLocks/>
              </p:cNvSpPr>
              <p:nvPr/>
            </p:nvSpPr>
            <p:spPr bwMode="auto">
              <a:xfrm>
                <a:off x="-1793165" y="1260323"/>
                <a:ext cx="210523" cy="127008"/>
              </a:xfrm>
              <a:custGeom>
                <a:avLst/>
                <a:gdLst>
                  <a:gd name="T0" fmla="*/ 396 w 2061"/>
                  <a:gd name="T1" fmla="*/ 0 h 1245"/>
                  <a:gd name="T2" fmla="*/ 1816 w 2061"/>
                  <a:gd name="T3" fmla="*/ 0 h 1245"/>
                  <a:gd name="T4" fmla="*/ 1869 w 2061"/>
                  <a:gd name="T5" fmla="*/ 137 h 1245"/>
                  <a:gd name="T6" fmla="*/ 1928 w 2061"/>
                  <a:gd name="T7" fmla="*/ 271 h 1245"/>
                  <a:gd name="T8" fmla="*/ 1993 w 2061"/>
                  <a:gd name="T9" fmla="*/ 402 h 1245"/>
                  <a:gd name="T10" fmla="*/ 2061 w 2061"/>
                  <a:gd name="T11" fmla="*/ 528 h 1245"/>
                  <a:gd name="T12" fmla="*/ 1912 w 2061"/>
                  <a:gd name="T13" fmla="*/ 1245 h 1245"/>
                  <a:gd name="T14" fmla="*/ 0 w 2061"/>
                  <a:gd name="T15" fmla="*/ 1037 h 1245"/>
                  <a:gd name="T16" fmla="*/ 272 w 2061"/>
                  <a:gd name="T17" fmla="*/ 93 h 1245"/>
                  <a:gd name="T18" fmla="*/ 284 w 2061"/>
                  <a:gd name="T19" fmla="*/ 67 h 1245"/>
                  <a:gd name="T20" fmla="*/ 299 w 2061"/>
                  <a:gd name="T21" fmla="*/ 45 h 1245"/>
                  <a:gd name="T22" fmla="*/ 319 w 2061"/>
                  <a:gd name="T23" fmla="*/ 26 h 1245"/>
                  <a:gd name="T24" fmla="*/ 342 w 2061"/>
                  <a:gd name="T25" fmla="*/ 13 h 1245"/>
                  <a:gd name="T26" fmla="*/ 368 w 2061"/>
                  <a:gd name="T27" fmla="*/ 5 h 1245"/>
                  <a:gd name="T28" fmla="*/ 396 w 2061"/>
                  <a:gd name="T29" fmla="*/ 0 h 1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61" h="1245">
                    <a:moveTo>
                      <a:pt x="396" y="0"/>
                    </a:moveTo>
                    <a:lnTo>
                      <a:pt x="1816" y="0"/>
                    </a:lnTo>
                    <a:lnTo>
                      <a:pt x="1869" y="137"/>
                    </a:lnTo>
                    <a:lnTo>
                      <a:pt x="1928" y="271"/>
                    </a:lnTo>
                    <a:lnTo>
                      <a:pt x="1993" y="402"/>
                    </a:lnTo>
                    <a:lnTo>
                      <a:pt x="2061" y="528"/>
                    </a:lnTo>
                    <a:lnTo>
                      <a:pt x="1912" y="1245"/>
                    </a:lnTo>
                    <a:lnTo>
                      <a:pt x="0" y="1037"/>
                    </a:lnTo>
                    <a:lnTo>
                      <a:pt x="272" y="93"/>
                    </a:lnTo>
                    <a:lnTo>
                      <a:pt x="284" y="67"/>
                    </a:lnTo>
                    <a:lnTo>
                      <a:pt x="299" y="45"/>
                    </a:lnTo>
                    <a:lnTo>
                      <a:pt x="319" y="26"/>
                    </a:lnTo>
                    <a:lnTo>
                      <a:pt x="342" y="13"/>
                    </a:lnTo>
                    <a:lnTo>
                      <a:pt x="368" y="5"/>
                    </a:lnTo>
                    <a:lnTo>
                      <a:pt x="3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8" name="Freeform 8"/>
              <p:cNvSpPr>
                <a:spLocks/>
              </p:cNvSpPr>
              <p:nvPr/>
            </p:nvSpPr>
            <p:spPr bwMode="auto">
              <a:xfrm>
                <a:off x="-1425618" y="1352209"/>
                <a:ext cx="58603" cy="60645"/>
              </a:xfrm>
              <a:custGeom>
                <a:avLst/>
                <a:gdLst>
                  <a:gd name="T0" fmla="*/ 403 w 575"/>
                  <a:gd name="T1" fmla="*/ 0 h 593"/>
                  <a:gd name="T2" fmla="*/ 575 w 575"/>
                  <a:gd name="T3" fmla="*/ 593 h 593"/>
                  <a:gd name="T4" fmla="*/ 0 w 575"/>
                  <a:gd name="T5" fmla="*/ 531 h 593"/>
                  <a:gd name="T6" fmla="*/ 63 w 575"/>
                  <a:gd name="T7" fmla="*/ 453 h 593"/>
                  <a:gd name="T8" fmla="*/ 128 w 575"/>
                  <a:gd name="T9" fmla="*/ 372 h 593"/>
                  <a:gd name="T10" fmla="*/ 197 w 575"/>
                  <a:gd name="T11" fmla="*/ 285 h 593"/>
                  <a:gd name="T12" fmla="*/ 265 w 575"/>
                  <a:gd name="T13" fmla="*/ 195 h 593"/>
                  <a:gd name="T14" fmla="*/ 335 w 575"/>
                  <a:gd name="T15" fmla="*/ 99 h 593"/>
                  <a:gd name="T16" fmla="*/ 403 w 575"/>
                  <a:gd name="T17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5" h="593">
                    <a:moveTo>
                      <a:pt x="403" y="0"/>
                    </a:moveTo>
                    <a:lnTo>
                      <a:pt x="575" y="593"/>
                    </a:lnTo>
                    <a:lnTo>
                      <a:pt x="0" y="531"/>
                    </a:lnTo>
                    <a:lnTo>
                      <a:pt x="63" y="453"/>
                    </a:lnTo>
                    <a:lnTo>
                      <a:pt x="128" y="372"/>
                    </a:lnTo>
                    <a:lnTo>
                      <a:pt x="197" y="285"/>
                    </a:lnTo>
                    <a:lnTo>
                      <a:pt x="265" y="195"/>
                    </a:lnTo>
                    <a:lnTo>
                      <a:pt x="335" y="99"/>
                    </a:lnTo>
                    <a:lnTo>
                      <a:pt x="4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9" name="Freeform 9"/>
              <p:cNvSpPr>
                <a:spLocks/>
              </p:cNvSpPr>
              <p:nvPr/>
            </p:nvSpPr>
            <p:spPr bwMode="auto">
              <a:xfrm>
                <a:off x="-1558956" y="1361602"/>
                <a:ext cx="31854" cy="33692"/>
              </a:xfrm>
              <a:custGeom>
                <a:avLst/>
                <a:gdLst>
                  <a:gd name="T0" fmla="*/ 63 w 311"/>
                  <a:gd name="T1" fmla="*/ 0 h 328"/>
                  <a:gd name="T2" fmla="*/ 67 w 311"/>
                  <a:gd name="T3" fmla="*/ 6 h 328"/>
                  <a:gd name="T4" fmla="*/ 150 w 311"/>
                  <a:gd name="T5" fmla="*/ 120 h 328"/>
                  <a:gd name="T6" fmla="*/ 231 w 311"/>
                  <a:gd name="T7" fmla="*/ 227 h 328"/>
                  <a:gd name="T8" fmla="*/ 311 w 311"/>
                  <a:gd name="T9" fmla="*/ 328 h 328"/>
                  <a:gd name="T10" fmla="*/ 0 w 311"/>
                  <a:gd name="T11" fmla="*/ 294 h 328"/>
                  <a:gd name="T12" fmla="*/ 63 w 311"/>
                  <a:gd name="T13" fmla="*/ 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1" h="328">
                    <a:moveTo>
                      <a:pt x="63" y="0"/>
                    </a:moveTo>
                    <a:lnTo>
                      <a:pt x="67" y="6"/>
                    </a:lnTo>
                    <a:lnTo>
                      <a:pt x="150" y="120"/>
                    </a:lnTo>
                    <a:lnTo>
                      <a:pt x="231" y="227"/>
                    </a:lnTo>
                    <a:lnTo>
                      <a:pt x="311" y="328"/>
                    </a:lnTo>
                    <a:lnTo>
                      <a:pt x="0" y="294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0" name="Freeform 10"/>
              <p:cNvSpPr>
                <a:spLocks/>
              </p:cNvSpPr>
              <p:nvPr/>
            </p:nvSpPr>
            <p:spPr bwMode="auto">
              <a:xfrm>
                <a:off x="-1831145" y="1404279"/>
                <a:ext cx="225021" cy="108426"/>
              </a:xfrm>
              <a:custGeom>
                <a:avLst/>
                <a:gdLst>
                  <a:gd name="T0" fmla="*/ 265 w 2204"/>
                  <a:gd name="T1" fmla="*/ 0 h 1062"/>
                  <a:gd name="T2" fmla="*/ 2204 w 2204"/>
                  <a:gd name="T3" fmla="*/ 213 h 1062"/>
                  <a:gd name="T4" fmla="*/ 2026 w 2204"/>
                  <a:gd name="T5" fmla="*/ 1062 h 1062"/>
                  <a:gd name="T6" fmla="*/ 128 w 2204"/>
                  <a:gd name="T7" fmla="*/ 1062 h 1062"/>
                  <a:gd name="T8" fmla="*/ 99 w 2204"/>
                  <a:gd name="T9" fmla="*/ 1059 h 1062"/>
                  <a:gd name="T10" fmla="*/ 71 w 2204"/>
                  <a:gd name="T11" fmla="*/ 1049 h 1062"/>
                  <a:gd name="T12" fmla="*/ 47 w 2204"/>
                  <a:gd name="T13" fmla="*/ 1033 h 1062"/>
                  <a:gd name="T14" fmla="*/ 26 w 2204"/>
                  <a:gd name="T15" fmla="*/ 1011 h 1062"/>
                  <a:gd name="T16" fmla="*/ 10 w 2204"/>
                  <a:gd name="T17" fmla="*/ 985 h 1062"/>
                  <a:gd name="T18" fmla="*/ 1 w 2204"/>
                  <a:gd name="T19" fmla="*/ 957 h 1062"/>
                  <a:gd name="T20" fmla="*/ 0 w 2204"/>
                  <a:gd name="T21" fmla="*/ 928 h 1062"/>
                  <a:gd name="T22" fmla="*/ 4 w 2204"/>
                  <a:gd name="T23" fmla="*/ 899 h 1062"/>
                  <a:gd name="T24" fmla="*/ 265 w 2204"/>
                  <a:gd name="T25" fmla="*/ 0 h 10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04" h="1062">
                    <a:moveTo>
                      <a:pt x="265" y="0"/>
                    </a:moveTo>
                    <a:lnTo>
                      <a:pt x="2204" y="213"/>
                    </a:lnTo>
                    <a:lnTo>
                      <a:pt x="2026" y="1062"/>
                    </a:lnTo>
                    <a:lnTo>
                      <a:pt x="128" y="1062"/>
                    </a:lnTo>
                    <a:lnTo>
                      <a:pt x="99" y="1059"/>
                    </a:lnTo>
                    <a:lnTo>
                      <a:pt x="71" y="1049"/>
                    </a:lnTo>
                    <a:lnTo>
                      <a:pt x="47" y="1033"/>
                    </a:lnTo>
                    <a:lnTo>
                      <a:pt x="26" y="1011"/>
                    </a:lnTo>
                    <a:lnTo>
                      <a:pt x="10" y="985"/>
                    </a:lnTo>
                    <a:lnTo>
                      <a:pt x="1" y="957"/>
                    </a:lnTo>
                    <a:lnTo>
                      <a:pt x="0" y="928"/>
                    </a:lnTo>
                    <a:lnTo>
                      <a:pt x="4" y="899"/>
                    </a:lnTo>
                    <a:lnTo>
                      <a:pt x="2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1" name="Freeform 11"/>
              <p:cNvSpPr>
                <a:spLocks/>
              </p:cNvSpPr>
              <p:nvPr/>
            </p:nvSpPr>
            <p:spPr bwMode="auto">
              <a:xfrm>
                <a:off x="-1584276" y="1430211"/>
                <a:ext cx="241765" cy="82494"/>
              </a:xfrm>
              <a:custGeom>
                <a:avLst/>
                <a:gdLst>
                  <a:gd name="T0" fmla="*/ 169 w 2368"/>
                  <a:gd name="T1" fmla="*/ 0 h 807"/>
                  <a:gd name="T2" fmla="*/ 2243 w 2368"/>
                  <a:gd name="T3" fmla="*/ 227 h 807"/>
                  <a:gd name="T4" fmla="*/ 2361 w 2368"/>
                  <a:gd name="T5" fmla="*/ 635 h 807"/>
                  <a:gd name="T6" fmla="*/ 2366 w 2368"/>
                  <a:gd name="T7" fmla="*/ 657 h 807"/>
                  <a:gd name="T8" fmla="*/ 2368 w 2368"/>
                  <a:gd name="T9" fmla="*/ 679 h 807"/>
                  <a:gd name="T10" fmla="*/ 2365 w 2368"/>
                  <a:gd name="T11" fmla="*/ 708 h 807"/>
                  <a:gd name="T12" fmla="*/ 2355 w 2368"/>
                  <a:gd name="T13" fmla="*/ 736 h 807"/>
                  <a:gd name="T14" fmla="*/ 2340 w 2368"/>
                  <a:gd name="T15" fmla="*/ 759 h 807"/>
                  <a:gd name="T16" fmla="*/ 2320 w 2368"/>
                  <a:gd name="T17" fmla="*/ 779 h 807"/>
                  <a:gd name="T18" fmla="*/ 2297 w 2368"/>
                  <a:gd name="T19" fmla="*/ 794 h 807"/>
                  <a:gd name="T20" fmla="*/ 2269 w 2368"/>
                  <a:gd name="T21" fmla="*/ 804 h 807"/>
                  <a:gd name="T22" fmla="*/ 2240 w 2368"/>
                  <a:gd name="T23" fmla="*/ 807 h 807"/>
                  <a:gd name="T24" fmla="*/ 0 w 2368"/>
                  <a:gd name="T25" fmla="*/ 807 h 807"/>
                  <a:gd name="T26" fmla="*/ 169 w 2368"/>
                  <a:gd name="T27" fmla="*/ 0 h 8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68" h="807">
                    <a:moveTo>
                      <a:pt x="169" y="0"/>
                    </a:moveTo>
                    <a:lnTo>
                      <a:pt x="2243" y="227"/>
                    </a:lnTo>
                    <a:lnTo>
                      <a:pt x="2361" y="635"/>
                    </a:lnTo>
                    <a:lnTo>
                      <a:pt x="2366" y="657"/>
                    </a:lnTo>
                    <a:lnTo>
                      <a:pt x="2368" y="679"/>
                    </a:lnTo>
                    <a:lnTo>
                      <a:pt x="2365" y="708"/>
                    </a:lnTo>
                    <a:lnTo>
                      <a:pt x="2355" y="736"/>
                    </a:lnTo>
                    <a:lnTo>
                      <a:pt x="2340" y="759"/>
                    </a:lnTo>
                    <a:lnTo>
                      <a:pt x="2320" y="779"/>
                    </a:lnTo>
                    <a:lnTo>
                      <a:pt x="2297" y="794"/>
                    </a:lnTo>
                    <a:lnTo>
                      <a:pt x="2269" y="804"/>
                    </a:lnTo>
                    <a:lnTo>
                      <a:pt x="2240" y="807"/>
                    </a:lnTo>
                    <a:lnTo>
                      <a:pt x="0" y="807"/>
                    </a:lnTo>
                    <a:lnTo>
                      <a:pt x="1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2" name="Freeform 12"/>
              <p:cNvSpPr>
                <a:spLocks noEditPoints="1"/>
              </p:cNvSpPr>
              <p:nvPr/>
            </p:nvSpPr>
            <p:spPr bwMode="auto">
              <a:xfrm>
                <a:off x="-1601224" y="1063685"/>
                <a:ext cx="258713" cy="361625"/>
              </a:xfrm>
              <a:custGeom>
                <a:avLst/>
                <a:gdLst>
                  <a:gd name="T0" fmla="*/ 1102 w 2535"/>
                  <a:gd name="T1" fmla="*/ 494 h 3540"/>
                  <a:gd name="T2" fmla="*/ 877 w 2535"/>
                  <a:gd name="T3" fmla="*/ 583 h 3540"/>
                  <a:gd name="T4" fmla="*/ 693 w 2535"/>
                  <a:gd name="T5" fmla="*/ 733 h 3540"/>
                  <a:gd name="T6" fmla="*/ 563 w 2535"/>
                  <a:gd name="T7" fmla="*/ 931 h 3540"/>
                  <a:gd name="T8" fmla="*/ 499 w 2535"/>
                  <a:gd name="T9" fmla="*/ 1166 h 3540"/>
                  <a:gd name="T10" fmla="*/ 512 w 2535"/>
                  <a:gd name="T11" fmla="*/ 1417 h 3540"/>
                  <a:gd name="T12" fmla="*/ 599 w 2535"/>
                  <a:gd name="T13" fmla="*/ 1641 h 3540"/>
                  <a:gd name="T14" fmla="*/ 749 w 2535"/>
                  <a:gd name="T15" fmla="*/ 1825 h 3540"/>
                  <a:gd name="T16" fmla="*/ 948 w 2535"/>
                  <a:gd name="T17" fmla="*/ 1956 h 3540"/>
                  <a:gd name="T18" fmla="*/ 1184 w 2535"/>
                  <a:gd name="T19" fmla="*/ 2020 h 3540"/>
                  <a:gd name="T20" fmla="*/ 1434 w 2535"/>
                  <a:gd name="T21" fmla="*/ 2007 h 3540"/>
                  <a:gd name="T22" fmla="*/ 1658 w 2535"/>
                  <a:gd name="T23" fmla="*/ 1920 h 3540"/>
                  <a:gd name="T24" fmla="*/ 1843 w 2535"/>
                  <a:gd name="T25" fmla="*/ 1769 h 3540"/>
                  <a:gd name="T26" fmla="*/ 1972 w 2535"/>
                  <a:gd name="T27" fmla="*/ 1571 h 3540"/>
                  <a:gd name="T28" fmla="*/ 2037 w 2535"/>
                  <a:gd name="T29" fmla="*/ 1335 h 3540"/>
                  <a:gd name="T30" fmla="*/ 2023 w 2535"/>
                  <a:gd name="T31" fmla="*/ 1085 h 3540"/>
                  <a:gd name="T32" fmla="*/ 1936 w 2535"/>
                  <a:gd name="T33" fmla="*/ 861 h 3540"/>
                  <a:gd name="T34" fmla="*/ 1786 w 2535"/>
                  <a:gd name="T35" fmla="*/ 676 h 3540"/>
                  <a:gd name="T36" fmla="*/ 1587 w 2535"/>
                  <a:gd name="T37" fmla="*/ 545 h 3540"/>
                  <a:gd name="T38" fmla="*/ 1351 w 2535"/>
                  <a:gd name="T39" fmla="*/ 481 h 3540"/>
                  <a:gd name="T40" fmla="*/ 1377 w 2535"/>
                  <a:gd name="T41" fmla="*/ 4 h 3540"/>
                  <a:gd name="T42" fmla="*/ 1687 w 2535"/>
                  <a:gd name="T43" fmla="*/ 71 h 3540"/>
                  <a:gd name="T44" fmla="*/ 1965 w 2535"/>
                  <a:gd name="T45" fmla="*/ 209 h 3540"/>
                  <a:gd name="T46" fmla="*/ 2199 w 2535"/>
                  <a:gd name="T47" fmla="*/ 409 h 3540"/>
                  <a:gd name="T48" fmla="*/ 2379 w 2535"/>
                  <a:gd name="T49" fmla="*/ 657 h 3540"/>
                  <a:gd name="T50" fmla="*/ 2494 w 2535"/>
                  <a:gd name="T51" fmla="*/ 948 h 3540"/>
                  <a:gd name="T52" fmla="*/ 2535 w 2535"/>
                  <a:gd name="T53" fmla="*/ 1267 h 3540"/>
                  <a:gd name="T54" fmla="*/ 2497 w 2535"/>
                  <a:gd name="T55" fmla="*/ 1594 h 3540"/>
                  <a:gd name="T56" fmla="*/ 2395 w 2535"/>
                  <a:gd name="T57" fmla="*/ 1924 h 3540"/>
                  <a:gd name="T58" fmla="*/ 2248 w 2535"/>
                  <a:gd name="T59" fmla="*/ 2246 h 3540"/>
                  <a:gd name="T60" fmla="*/ 2075 w 2535"/>
                  <a:gd name="T61" fmla="*/ 2545 h 3540"/>
                  <a:gd name="T62" fmla="*/ 1898 w 2535"/>
                  <a:gd name="T63" fmla="*/ 2812 h 3540"/>
                  <a:gd name="T64" fmla="*/ 1726 w 2535"/>
                  <a:gd name="T65" fmla="*/ 3041 h 3540"/>
                  <a:gd name="T66" fmla="*/ 1566 w 2535"/>
                  <a:gd name="T67" fmla="*/ 3241 h 3540"/>
                  <a:gd name="T68" fmla="*/ 1428 w 2535"/>
                  <a:gd name="T69" fmla="*/ 3401 h 3540"/>
                  <a:gd name="T70" fmla="*/ 1320 w 2535"/>
                  <a:gd name="T71" fmla="*/ 3517 h 3540"/>
                  <a:gd name="T72" fmla="*/ 1268 w 2535"/>
                  <a:gd name="T73" fmla="*/ 3540 h 3540"/>
                  <a:gd name="T74" fmla="*/ 1214 w 2535"/>
                  <a:gd name="T75" fmla="*/ 3517 h 3540"/>
                  <a:gd name="T76" fmla="*/ 1108 w 2535"/>
                  <a:gd name="T77" fmla="*/ 3401 h 3540"/>
                  <a:gd name="T78" fmla="*/ 968 w 2535"/>
                  <a:gd name="T79" fmla="*/ 3241 h 3540"/>
                  <a:gd name="T80" fmla="*/ 808 w 2535"/>
                  <a:gd name="T81" fmla="*/ 3043 h 3540"/>
                  <a:gd name="T82" fmla="*/ 638 w 2535"/>
                  <a:gd name="T83" fmla="*/ 2813 h 3540"/>
                  <a:gd name="T84" fmla="*/ 459 w 2535"/>
                  <a:gd name="T85" fmla="*/ 2547 h 3540"/>
                  <a:gd name="T86" fmla="*/ 288 w 2535"/>
                  <a:gd name="T87" fmla="*/ 2246 h 3540"/>
                  <a:gd name="T88" fmla="*/ 141 w 2535"/>
                  <a:gd name="T89" fmla="*/ 1924 h 3540"/>
                  <a:gd name="T90" fmla="*/ 37 w 2535"/>
                  <a:gd name="T91" fmla="*/ 1594 h 3540"/>
                  <a:gd name="T92" fmla="*/ 0 w 2535"/>
                  <a:gd name="T93" fmla="*/ 1267 h 3540"/>
                  <a:gd name="T94" fmla="*/ 40 w 2535"/>
                  <a:gd name="T95" fmla="*/ 948 h 3540"/>
                  <a:gd name="T96" fmla="*/ 155 w 2535"/>
                  <a:gd name="T97" fmla="*/ 657 h 3540"/>
                  <a:gd name="T98" fmla="*/ 336 w 2535"/>
                  <a:gd name="T99" fmla="*/ 409 h 3540"/>
                  <a:gd name="T100" fmla="*/ 570 w 2535"/>
                  <a:gd name="T101" fmla="*/ 209 h 3540"/>
                  <a:gd name="T102" fmla="*/ 848 w 2535"/>
                  <a:gd name="T103" fmla="*/ 71 h 3540"/>
                  <a:gd name="T104" fmla="*/ 1157 w 2535"/>
                  <a:gd name="T105" fmla="*/ 4 h 3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35" h="3540">
                    <a:moveTo>
                      <a:pt x="1268" y="477"/>
                    </a:moveTo>
                    <a:lnTo>
                      <a:pt x="1184" y="481"/>
                    </a:lnTo>
                    <a:lnTo>
                      <a:pt x="1102" y="494"/>
                    </a:lnTo>
                    <a:lnTo>
                      <a:pt x="1024" y="516"/>
                    </a:lnTo>
                    <a:lnTo>
                      <a:pt x="948" y="545"/>
                    </a:lnTo>
                    <a:lnTo>
                      <a:pt x="877" y="583"/>
                    </a:lnTo>
                    <a:lnTo>
                      <a:pt x="810" y="627"/>
                    </a:lnTo>
                    <a:lnTo>
                      <a:pt x="749" y="676"/>
                    </a:lnTo>
                    <a:lnTo>
                      <a:pt x="693" y="733"/>
                    </a:lnTo>
                    <a:lnTo>
                      <a:pt x="643" y="794"/>
                    </a:lnTo>
                    <a:lnTo>
                      <a:pt x="599" y="861"/>
                    </a:lnTo>
                    <a:lnTo>
                      <a:pt x="563" y="931"/>
                    </a:lnTo>
                    <a:lnTo>
                      <a:pt x="533" y="1006"/>
                    </a:lnTo>
                    <a:lnTo>
                      <a:pt x="512" y="1085"/>
                    </a:lnTo>
                    <a:lnTo>
                      <a:pt x="499" y="1166"/>
                    </a:lnTo>
                    <a:lnTo>
                      <a:pt x="493" y="1251"/>
                    </a:lnTo>
                    <a:lnTo>
                      <a:pt x="499" y="1335"/>
                    </a:lnTo>
                    <a:lnTo>
                      <a:pt x="512" y="1417"/>
                    </a:lnTo>
                    <a:lnTo>
                      <a:pt x="533" y="1495"/>
                    </a:lnTo>
                    <a:lnTo>
                      <a:pt x="563" y="1571"/>
                    </a:lnTo>
                    <a:lnTo>
                      <a:pt x="599" y="1641"/>
                    </a:lnTo>
                    <a:lnTo>
                      <a:pt x="643" y="1708"/>
                    </a:lnTo>
                    <a:lnTo>
                      <a:pt x="693" y="1769"/>
                    </a:lnTo>
                    <a:lnTo>
                      <a:pt x="749" y="1825"/>
                    </a:lnTo>
                    <a:lnTo>
                      <a:pt x="810" y="1875"/>
                    </a:lnTo>
                    <a:lnTo>
                      <a:pt x="877" y="1920"/>
                    </a:lnTo>
                    <a:lnTo>
                      <a:pt x="948" y="1956"/>
                    </a:lnTo>
                    <a:lnTo>
                      <a:pt x="1024" y="1985"/>
                    </a:lnTo>
                    <a:lnTo>
                      <a:pt x="1102" y="2007"/>
                    </a:lnTo>
                    <a:lnTo>
                      <a:pt x="1184" y="2020"/>
                    </a:lnTo>
                    <a:lnTo>
                      <a:pt x="1268" y="2025"/>
                    </a:lnTo>
                    <a:lnTo>
                      <a:pt x="1351" y="2020"/>
                    </a:lnTo>
                    <a:lnTo>
                      <a:pt x="1434" y="2007"/>
                    </a:lnTo>
                    <a:lnTo>
                      <a:pt x="1512" y="1985"/>
                    </a:lnTo>
                    <a:lnTo>
                      <a:pt x="1587" y="1956"/>
                    </a:lnTo>
                    <a:lnTo>
                      <a:pt x="1658" y="1920"/>
                    </a:lnTo>
                    <a:lnTo>
                      <a:pt x="1725" y="1875"/>
                    </a:lnTo>
                    <a:lnTo>
                      <a:pt x="1786" y="1825"/>
                    </a:lnTo>
                    <a:lnTo>
                      <a:pt x="1843" y="1769"/>
                    </a:lnTo>
                    <a:lnTo>
                      <a:pt x="1892" y="1708"/>
                    </a:lnTo>
                    <a:lnTo>
                      <a:pt x="1936" y="1641"/>
                    </a:lnTo>
                    <a:lnTo>
                      <a:pt x="1972" y="1571"/>
                    </a:lnTo>
                    <a:lnTo>
                      <a:pt x="2003" y="1495"/>
                    </a:lnTo>
                    <a:lnTo>
                      <a:pt x="2023" y="1417"/>
                    </a:lnTo>
                    <a:lnTo>
                      <a:pt x="2037" y="1335"/>
                    </a:lnTo>
                    <a:lnTo>
                      <a:pt x="2042" y="1251"/>
                    </a:lnTo>
                    <a:lnTo>
                      <a:pt x="2037" y="1166"/>
                    </a:lnTo>
                    <a:lnTo>
                      <a:pt x="2023" y="1085"/>
                    </a:lnTo>
                    <a:lnTo>
                      <a:pt x="2003" y="1006"/>
                    </a:lnTo>
                    <a:lnTo>
                      <a:pt x="1972" y="931"/>
                    </a:lnTo>
                    <a:lnTo>
                      <a:pt x="1936" y="861"/>
                    </a:lnTo>
                    <a:lnTo>
                      <a:pt x="1892" y="794"/>
                    </a:lnTo>
                    <a:lnTo>
                      <a:pt x="1843" y="733"/>
                    </a:lnTo>
                    <a:lnTo>
                      <a:pt x="1786" y="676"/>
                    </a:lnTo>
                    <a:lnTo>
                      <a:pt x="1725" y="627"/>
                    </a:lnTo>
                    <a:lnTo>
                      <a:pt x="1658" y="583"/>
                    </a:lnTo>
                    <a:lnTo>
                      <a:pt x="1587" y="545"/>
                    </a:lnTo>
                    <a:lnTo>
                      <a:pt x="1512" y="516"/>
                    </a:lnTo>
                    <a:lnTo>
                      <a:pt x="1434" y="494"/>
                    </a:lnTo>
                    <a:lnTo>
                      <a:pt x="1351" y="481"/>
                    </a:lnTo>
                    <a:lnTo>
                      <a:pt x="1268" y="477"/>
                    </a:lnTo>
                    <a:close/>
                    <a:moveTo>
                      <a:pt x="1268" y="0"/>
                    </a:moveTo>
                    <a:lnTo>
                      <a:pt x="1377" y="4"/>
                    </a:lnTo>
                    <a:lnTo>
                      <a:pt x="1483" y="17"/>
                    </a:lnTo>
                    <a:lnTo>
                      <a:pt x="1587" y="41"/>
                    </a:lnTo>
                    <a:lnTo>
                      <a:pt x="1687" y="71"/>
                    </a:lnTo>
                    <a:lnTo>
                      <a:pt x="1784" y="110"/>
                    </a:lnTo>
                    <a:lnTo>
                      <a:pt x="1877" y="156"/>
                    </a:lnTo>
                    <a:lnTo>
                      <a:pt x="1965" y="209"/>
                    </a:lnTo>
                    <a:lnTo>
                      <a:pt x="2049" y="269"/>
                    </a:lnTo>
                    <a:lnTo>
                      <a:pt x="2126" y="336"/>
                    </a:lnTo>
                    <a:lnTo>
                      <a:pt x="2199" y="409"/>
                    </a:lnTo>
                    <a:lnTo>
                      <a:pt x="2266" y="486"/>
                    </a:lnTo>
                    <a:lnTo>
                      <a:pt x="2325" y="570"/>
                    </a:lnTo>
                    <a:lnTo>
                      <a:pt x="2379" y="657"/>
                    </a:lnTo>
                    <a:lnTo>
                      <a:pt x="2424" y="750"/>
                    </a:lnTo>
                    <a:lnTo>
                      <a:pt x="2464" y="848"/>
                    </a:lnTo>
                    <a:lnTo>
                      <a:pt x="2494" y="948"/>
                    </a:lnTo>
                    <a:lnTo>
                      <a:pt x="2517" y="1052"/>
                    </a:lnTo>
                    <a:lnTo>
                      <a:pt x="2531" y="1158"/>
                    </a:lnTo>
                    <a:lnTo>
                      <a:pt x="2535" y="1267"/>
                    </a:lnTo>
                    <a:lnTo>
                      <a:pt x="2531" y="1376"/>
                    </a:lnTo>
                    <a:lnTo>
                      <a:pt x="2517" y="1485"/>
                    </a:lnTo>
                    <a:lnTo>
                      <a:pt x="2497" y="1594"/>
                    </a:lnTo>
                    <a:lnTo>
                      <a:pt x="2469" y="1705"/>
                    </a:lnTo>
                    <a:lnTo>
                      <a:pt x="2435" y="1815"/>
                    </a:lnTo>
                    <a:lnTo>
                      <a:pt x="2395" y="1924"/>
                    </a:lnTo>
                    <a:lnTo>
                      <a:pt x="2350" y="2033"/>
                    </a:lnTo>
                    <a:lnTo>
                      <a:pt x="2301" y="2140"/>
                    </a:lnTo>
                    <a:lnTo>
                      <a:pt x="2248" y="2246"/>
                    </a:lnTo>
                    <a:lnTo>
                      <a:pt x="2193" y="2349"/>
                    </a:lnTo>
                    <a:lnTo>
                      <a:pt x="2135" y="2448"/>
                    </a:lnTo>
                    <a:lnTo>
                      <a:pt x="2075" y="2545"/>
                    </a:lnTo>
                    <a:lnTo>
                      <a:pt x="2016" y="2638"/>
                    </a:lnTo>
                    <a:lnTo>
                      <a:pt x="1957" y="2727"/>
                    </a:lnTo>
                    <a:lnTo>
                      <a:pt x="1898" y="2812"/>
                    </a:lnTo>
                    <a:lnTo>
                      <a:pt x="1841" y="2892"/>
                    </a:lnTo>
                    <a:lnTo>
                      <a:pt x="1783" y="2969"/>
                    </a:lnTo>
                    <a:lnTo>
                      <a:pt x="1726" y="3041"/>
                    </a:lnTo>
                    <a:lnTo>
                      <a:pt x="1671" y="3111"/>
                    </a:lnTo>
                    <a:lnTo>
                      <a:pt x="1619" y="3178"/>
                    </a:lnTo>
                    <a:lnTo>
                      <a:pt x="1566" y="3241"/>
                    </a:lnTo>
                    <a:lnTo>
                      <a:pt x="1517" y="3297"/>
                    </a:lnTo>
                    <a:lnTo>
                      <a:pt x="1470" y="3351"/>
                    </a:lnTo>
                    <a:lnTo>
                      <a:pt x="1428" y="3401"/>
                    </a:lnTo>
                    <a:lnTo>
                      <a:pt x="1387" y="3444"/>
                    </a:lnTo>
                    <a:lnTo>
                      <a:pt x="1352" y="3484"/>
                    </a:lnTo>
                    <a:lnTo>
                      <a:pt x="1320" y="3517"/>
                    </a:lnTo>
                    <a:lnTo>
                      <a:pt x="1304" y="3530"/>
                    </a:lnTo>
                    <a:lnTo>
                      <a:pt x="1287" y="3537"/>
                    </a:lnTo>
                    <a:lnTo>
                      <a:pt x="1268" y="3540"/>
                    </a:lnTo>
                    <a:lnTo>
                      <a:pt x="1248" y="3537"/>
                    </a:lnTo>
                    <a:lnTo>
                      <a:pt x="1230" y="3530"/>
                    </a:lnTo>
                    <a:lnTo>
                      <a:pt x="1214" y="3517"/>
                    </a:lnTo>
                    <a:lnTo>
                      <a:pt x="1184" y="3484"/>
                    </a:lnTo>
                    <a:lnTo>
                      <a:pt x="1147" y="3444"/>
                    </a:lnTo>
                    <a:lnTo>
                      <a:pt x="1108" y="3401"/>
                    </a:lnTo>
                    <a:lnTo>
                      <a:pt x="1064" y="3353"/>
                    </a:lnTo>
                    <a:lnTo>
                      <a:pt x="1018" y="3299"/>
                    </a:lnTo>
                    <a:lnTo>
                      <a:pt x="968" y="3241"/>
                    </a:lnTo>
                    <a:lnTo>
                      <a:pt x="917" y="3178"/>
                    </a:lnTo>
                    <a:lnTo>
                      <a:pt x="864" y="3113"/>
                    </a:lnTo>
                    <a:lnTo>
                      <a:pt x="808" y="3043"/>
                    </a:lnTo>
                    <a:lnTo>
                      <a:pt x="752" y="2969"/>
                    </a:lnTo>
                    <a:lnTo>
                      <a:pt x="695" y="2893"/>
                    </a:lnTo>
                    <a:lnTo>
                      <a:pt x="638" y="2813"/>
                    </a:lnTo>
                    <a:lnTo>
                      <a:pt x="579" y="2729"/>
                    </a:lnTo>
                    <a:lnTo>
                      <a:pt x="519" y="2640"/>
                    </a:lnTo>
                    <a:lnTo>
                      <a:pt x="459" y="2547"/>
                    </a:lnTo>
                    <a:lnTo>
                      <a:pt x="401" y="2449"/>
                    </a:lnTo>
                    <a:lnTo>
                      <a:pt x="343" y="2349"/>
                    </a:lnTo>
                    <a:lnTo>
                      <a:pt x="288" y="2246"/>
                    </a:lnTo>
                    <a:lnTo>
                      <a:pt x="234" y="2141"/>
                    </a:lnTo>
                    <a:lnTo>
                      <a:pt x="186" y="2033"/>
                    </a:lnTo>
                    <a:lnTo>
                      <a:pt x="141" y="1924"/>
                    </a:lnTo>
                    <a:lnTo>
                      <a:pt x="100" y="1815"/>
                    </a:lnTo>
                    <a:lnTo>
                      <a:pt x="67" y="1705"/>
                    </a:lnTo>
                    <a:lnTo>
                      <a:pt x="37" y="1594"/>
                    </a:lnTo>
                    <a:lnTo>
                      <a:pt x="17" y="1485"/>
                    </a:lnTo>
                    <a:lnTo>
                      <a:pt x="4" y="1376"/>
                    </a:lnTo>
                    <a:lnTo>
                      <a:pt x="0" y="1267"/>
                    </a:lnTo>
                    <a:lnTo>
                      <a:pt x="4" y="1158"/>
                    </a:lnTo>
                    <a:lnTo>
                      <a:pt x="19" y="1052"/>
                    </a:lnTo>
                    <a:lnTo>
                      <a:pt x="40" y="948"/>
                    </a:lnTo>
                    <a:lnTo>
                      <a:pt x="71" y="848"/>
                    </a:lnTo>
                    <a:lnTo>
                      <a:pt x="110" y="750"/>
                    </a:lnTo>
                    <a:lnTo>
                      <a:pt x="155" y="657"/>
                    </a:lnTo>
                    <a:lnTo>
                      <a:pt x="209" y="570"/>
                    </a:lnTo>
                    <a:lnTo>
                      <a:pt x="269" y="486"/>
                    </a:lnTo>
                    <a:lnTo>
                      <a:pt x="336" y="409"/>
                    </a:lnTo>
                    <a:lnTo>
                      <a:pt x="408" y="336"/>
                    </a:lnTo>
                    <a:lnTo>
                      <a:pt x="487" y="269"/>
                    </a:lnTo>
                    <a:lnTo>
                      <a:pt x="570" y="209"/>
                    </a:lnTo>
                    <a:lnTo>
                      <a:pt x="659" y="156"/>
                    </a:lnTo>
                    <a:lnTo>
                      <a:pt x="750" y="110"/>
                    </a:lnTo>
                    <a:lnTo>
                      <a:pt x="848" y="71"/>
                    </a:lnTo>
                    <a:lnTo>
                      <a:pt x="948" y="41"/>
                    </a:lnTo>
                    <a:lnTo>
                      <a:pt x="1051" y="17"/>
                    </a:lnTo>
                    <a:lnTo>
                      <a:pt x="1157" y="4"/>
                    </a:lnTo>
                    <a:lnTo>
                      <a:pt x="12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13" name="Group 112"/>
          <p:cNvGrpSpPr/>
          <p:nvPr/>
        </p:nvGrpSpPr>
        <p:grpSpPr>
          <a:xfrm>
            <a:off x="147993" y="3614676"/>
            <a:ext cx="727877" cy="648218"/>
            <a:chOff x="147993" y="5867981"/>
            <a:chExt cx="727877" cy="648218"/>
          </a:xfrm>
        </p:grpSpPr>
        <p:sp>
          <p:nvSpPr>
            <p:cNvPr id="115" name="Rectangle 17"/>
            <p:cNvSpPr>
              <a:spLocks/>
            </p:cNvSpPr>
            <p:nvPr/>
          </p:nvSpPr>
          <p:spPr bwMode="auto">
            <a:xfrm>
              <a:off x="147993" y="6239200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Услуги, контракты</a:t>
              </a:r>
              <a:endParaRPr lang="ru-RU" sz="900" i="1" dirty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grpSp>
          <p:nvGrpSpPr>
            <p:cNvPr id="116" name="Group 157"/>
            <p:cNvGrpSpPr>
              <a:grpSpLocks noChangeAspect="1"/>
            </p:cNvGrpSpPr>
            <p:nvPr/>
          </p:nvGrpSpPr>
          <p:grpSpPr bwMode="auto">
            <a:xfrm>
              <a:off x="384100" y="5867981"/>
              <a:ext cx="254721" cy="240654"/>
              <a:chOff x="3815" y="1810"/>
              <a:chExt cx="2354" cy="2224"/>
            </a:xfrm>
            <a:solidFill>
              <a:schemeClr val="bg1"/>
            </a:solidFill>
          </p:grpSpPr>
          <p:sp>
            <p:nvSpPr>
              <p:cNvPr id="117" name="Freeform 159"/>
              <p:cNvSpPr>
                <a:spLocks noEditPoints="1"/>
              </p:cNvSpPr>
              <p:nvPr/>
            </p:nvSpPr>
            <p:spPr bwMode="auto">
              <a:xfrm>
                <a:off x="3815" y="1810"/>
                <a:ext cx="2021" cy="1982"/>
              </a:xfrm>
              <a:custGeom>
                <a:avLst/>
                <a:gdLst>
                  <a:gd name="T0" fmla="*/ 3423 w 4043"/>
                  <a:gd name="T1" fmla="*/ 409 h 3965"/>
                  <a:gd name="T2" fmla="*/ 3363 w 4043"/>
                  <a:gd name="T3" fmla="*/ 435 h 3965"/>
                  <a:gd name="T4" fmla="*/ 3317 w 4043"/>
                  <a:gd name="T5" fmla="*/ 481 h 3965"/>
                  <a:gd name="T6" fmla="*/ 3291 w 4043"/>
                  <a:gd name="T7" fmla="*/ 542 h 3965"/>
                  <a:gd name="T8" fmla="*/ 3291 w 4043"/>
                  <a:gd name="T9" fmla="*/ 611 h 3965"/>
                  <a:gd name="T10" fmla="*/ 3317 w 4043"/>
                  <a:gd name="T11" fmla="*/ 671 h 3965"/>
                  <a:gd name="T12" fmla="*/ 3363 w 4043"/>
                  <a:gd name="T13" fmla="*/ 716 h 3965"/>
                  <a:gd name="T14" fmla="*/ 3423 w 4043"/>
                  <a:gd name="T15" fmla="*/ 742 h 3965"/>
                  <a:gd name="T16" fmla="*/ 3491 w 4043"/>
                  <a:gd name="T17" fmla="*/ 742 h 3965"/>
                  <a:gd name="T18" fmla="*/ 3553 w 4043"/>
                  <a:gd name="T19" fmla="*/ 716 h 3965"/>
                  <a:gd name="T20" fmla="*/ 3598 w 4043"/>
                  <a:gd name="T21" fmla="*/ 671 h 3965"/>
                  <a:gd name="T22" fmla="*/ 3624 w 4043"/>
                  <a:gd name="T23" fmla="*/ 611 h 3965"/>
                  <a:gd name="T24" fmla="*/ 3624 w 4043"/>
                  <a:gd name="T25" fmla="*/ 542 h 3965"/>
                  <a:gd name="T26" fmla="*/ 3598 w 4043"/>
                  <a:gd name="T27" fmla="*/ 481 h 3965"/>
                  <a:gd name="T28" fmla="*/ 3553 w 4043"/>
                  <a:gd name="T29" fmla="*/ 435 h 3965"/>
                  <a:gd name="T30" fmla="*/ 3491 w 4043"/>
                  <a:gd name="T31" fmla="*/ 409 h 3965"/>
                  <a:gd name="T32" fmla="*/ 2924 w 4043"/>
                  <a:gd name="T33" fmla="*/ 406 h 3965"/>
                  <a:gd name="T34" fmla="*/ 2858 w 4043"/>
                  <a:gd name="T35" fmla="*/ 419 h 3965"/>
                  <a:gd name="T36" fmla="*/ 2804 w 4043"/>
                  <a:gd name="T37" fmla="*/ 456 h 3965"/>
                  <a:gd name="T38" fmla="*/ 2768 w 4043"/>
                  <a:gd name="T39" fmla="*/ 511 h 3965"/>
                  <a:gd name="T40" fmla="*/ 2755 w 4043"/>
                  <a:gd name="T41" fmla="*/ 576 h 3965"/>
                  <a:gd name="T42" fmla="*/ 2768 w 4043"/>
                  <a:gd name="T43" fmla="*/ 642 h 3965"/>
                  <a:gd name="T44" fmla="*/ 2804 w 4043"/>
                  <a:gd name="T45" fmla="*/ 696 h 3965"/>
                  <a:gd name="T46" fmla="*/ 2858 w 4043"/>
                  <a:gd name="T47" fmla="*/ 732 h 3965"/>
                  <a:gd name="T48" fmla="*/ 2924 w 4043"/>
                  <a:gd name="T49" fmla="*/ 746 h 3965"/>
                  <a:gd name="T50" fmla="*/ 2991 w 4043"/>
                  <a:gd name="T51" fmla="*/ 732 h 3965"/>
                  <a:gd name="T52" fmla="*/ 3045 w 4043"/>
                  <a:gd name="T53" fmla="*/ 696 h 3965"/>
                  <a:gd name="T54" fmla="*/ 3081 w 4043"/>
                  <a:gd name="T55" fmla="*/ 642 h 3965"/>
                  <a:gd name="T56" fmla="*/ 3094 w 4043"/>
                  <a:gd name="T57" fmla="*/ 576 h 3965"/>
                  <a:gd name="T58" fmla="*/ 3081 w 4043"/>
                  <a:gd name="T59" fmla="*/ 511 h 3965"/>
                  <a:gd name="T60" fmla="*/ 3045 w 4043"/>
                  <a:gd name="T61" fmla="*/ 456 h 3965"/>
                  <a:gd name="T62" fmla="*/ 2991 w 4043"/>
                  <a:gd name="T63" fmla="*/ 419 h 3965"/>
                  <a:gd name="T64" fmla="*/ 2924 w 4043"/>
                  <a:gd name="T65" fmla="*/ 406 h 3965"/>
                  <a:gd name="T66" fmla="*/ 3924 w 4043"/>
                  <a:gd name="T67" fmla="*/ 0 h 3965"/>
                  <a:gd name="T68" fmla="*/ 3984 w 4043"/>
                  <a:gd name="T69" fmla="*/ 18 h 3965"/>
                  <a:gd name="T70" fmla="*/ 4027 w 4043"/>
                  <a:gd name="T71" fmla="*/ 60 h 3965"/>
                  <a:gd name="T72" fmla="*/ 4043 w 4043"/>
                  <a:gd name="T73" fmla="*/ 120 h 3965"/>
                  <a:gd name="T74" fmla="*/ 4026 w 4043"/>
                  <a:gd name="T75" fmla="*/ 1778 h 3965"/>
                  <a:gd name="T76" fmla="*/ 3943 w 4043"/>
                  <a:gd name="T77" fmla="*/ 1795 h 3965"/>
                  <a:gd name="T78" fmla="*/ 3874 w 4043"/>
                  <a:gd name="T79" fmla="*/ 1841 h 3965"/>
                  <a:gd name="T80" fmla="*/ 3809 w 4043"/>
                  <a:gd name="T81" fmla="*/ 1868 h 3965"/>
                  <a:gd name="T82" fmla="*/ 3744 w 4043"/>
                  <a:gd name="T83" fmla="*/ 1878 h 3965"/>
                  <a:gd name="T84" fmla="*/ 3686 w 4043"/>
                  <a:gd name="T85" fmla="*/ 1908 h 3965"/>
                  <a:gd name="T86" fmla="*/ 357 w 4043"/>
                  <a:gd name="T87" fmla="*/ 1095 h 3965"/>
                  <a:gd name="T88" fmla="*/ 2587 w 4043"/>
                  <a:gd name="T89" fmla="*/ 3608 h 3965"/>
                  <a:gd name="T90" fmla="*/ 2585 w 4043"/>
                  <a:gd name="T91" fmla="*/ 3839 h 3965"/>
                  <a:gd name="T92" fmla="*/ 2602 w 4043"/>
                  <a:gd name="T93" fmla="*/ 3926 h 3965"/>
                  <a:gd name="T94" fmla="*/ 119 w 4043"/>
                  <a:gd name="T95" fmla="*/ 3965 h 3965"/>
                  <a:gd name="T96" fmla="*/ 59 w 4043"/>
                  <a:gd name="T97" fmla="*/ 3949 h 3965"/>
                  <a:gd name="T98" fmla="*/ 16 w 4043"/>
                  <a:gd name="T99" fmla="*/ 3906 h 3965"/>
                  <a:gd name="T100" fmla="*/ 0 w 4043"/>
                  <a:gd name="T101" fmla="*/ 3846 h 3965"/>
                  <a:gd name="T102" fmla="*/ 4 w 4043"/>
                  <a:gd name="T103" fmla="*/ 88 h 3965"/>
                  <a:gd name="T104" fmla="*/ 34 w 4043"/>
                  <a:gd name="T105" fmla="*/ 36 h 3965"/>
                  <a:gd name="T106" fmla="*/ 87 w 4043"/>
                  <a:gd name="T107" fmla="*/ 5 h 3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43" h="3965">
                    <a:moveTo>
                      <a:pt x="3457" y="406"/>
                    </a:moveTo>
                    <a:lnTo>
                      <a:pt x="3423" y="409"/>
                    </a:lnTo>
                    <a:lnTo>
                      <a:pt x="3391" y="419"/>
                    </a:lnTo>
                    <a:lnTo>
                      <a:pt x="3363" y="435"/>
                    </a:lnTo>
                    <a:lnTo>
                      <a:pt x="3337" y="456"/>
                    </a:lnTo>
                    <a:lnTo>
                      <a:pt x="3317" y="481"/>
                    </a:lnTo>
                    <a:lnTo>
                      <a:pt x="3301" y="511"/>
                    </a:lnTo>
                    <a:lnTo>
                      <a:pt x="3291" y="542"/>
                    </a:lnTo>
                    <a:lnTo>
                      <a:pt x="3287" y="576"/>
                    </a:lnTo>
                    <a:lnTo>
                      <a:pt x="3291" y="611"/>
                    </a:lnTo>
                    <a:lnTo>
                      <a:pt x="3301" y="642"/>
                    </a:lnTo>
                    <a:lnTo>
                      <a:pt x="3317" y="671"/>
                    </a:lnTo>
                    <a:lnTo>
                      <a:pt x="3337" y="696"/>
                    </a:lnTo>
                    <a:lnTo>
                      <a:pt x="3363" y="716"/>
                    </a:lnTo>
                    <a:lnTo>
                      <a:pt x="3391" y="732"/>
                    </a:lnTo>
                    <a:lnTo>
                      <a:pt x="3423" y="742"/>
                    </a:lnTo>
                    <a:lnTo>
                      <a:pt x="3457" y="746"/>
                    </a:lnTo>
                    <a:lnTo>
                      <a:pt x="3491" y="742"/>
                    </a:lnTo>
                    <a:lnTo>
                      <a:pt x="3524" y="732"/>
                    </a:lnTo>
                    <a:lnTo>
                      <a:pt x="3553" y="716"/>
                    </a:lnTo>
                    <a:lnTo>
                      <a:pt x="3577" y="696"/>
                    </a:lnTo>
                    <a:lnTo>
                      <a:pt x="3598" y="671"/>
                    </a:lnTo>
                    <a:lnTo>
                      <a:pt x="3614" y="642"/>
                    </a:lnTo>
                    <a:lnTo>
                      <a:pt x="3624" y="611"/>
                    </a:lnTo>
                    <a:lnTo>
                      <a:pt x="3627" y="576"/>
                    </a:lnTo>
                    <a:lnTo>
                      <a:pt x="3624" y="542"/>
                    </a:lnTo>
                    <a:lnTo>
                      <a:pt x="3614" y="511"/>
                    </a:lnTo>
                    <a:lnTo>
                      <a:pt x="3598" y="481"/>
                    </a:lnTo>
                    <a:lnTo>
                      <a:pt x="3577" y="456"/>
                    </a:lnTo>
                    <a:lnTo>
                      <a:pt x="3553" y="435"/>
                    </a:lnTo>
                    <a:lnTo>
                      <a:pt x="3524" y="419"/>
                    </a:lnTo>
                    <a:lnTo>
                      <a:pt x="3491" y="409"/>
                    </a:lnTo>
                    <a:lnTo>
                      <a:pt x="3457" y="406"/>
                    </a:lnTo>
                    <a:close/>
                    <a:moveTo>
                      <a:pt x="2924" y="406"/>
                    </a:moveTo>
                    <a:lnTo>
                      <a:pt x="2890" y="409"/>
                    </a:lnTo>
                    <a:lnTo>
                      <a:pt x="2858" y="419"/>
                    </a:lnTo>
                    <a:lnTo>
                      <a:pt x="2830" y="435"/>
                    </a:lnTo>
                    <a:lnTo>
                      <a:pt x="2804" y="456"/>
                    </a:lnTo>
                    <a:lnTo>
                      <a:pt x="2784" y="481"/>
                    </a:lnTo>
                    <a:lnTo>
                      <a:pt x="2768" y="511"/>
                    </a:lnTo>
                    <a:lnTo>
                      <a:pt x="2758" y="542"/>
                    </a:lnTo>
                    <a:lnTo>
                      <a:pt x="2755" y="576"/>
                    </a:lnTo>
                    <a:lnTo>
                      <a:pt x="2758" y="611"/>
                    </a:lnTo>
                    <a:lnTo>
                      <a:pt x="2768" y="642"/>
                    </a:lnTo>
                    <a:lnTo>
                      <a:pt x="2784" y="671"/>
                    </a:lnTo>
                    <a:lnTo>
                      <a:pt x="2804" y="696"/>
                    </a:lnTo>
                    <a:lnTo>
                      <a:pt x="2830" y="716"/>
                    </a:lnTo>
                    <a:lnTo>
                      <a:pt x="2858" y="732"/>
                    </a:lnTo>
                    <a:lnTo>
                      <a:pt x="2890" y="742"/>
                    </a:lnTo>
                    <a:lnTo>
                      <a:pt x="2924" y="746"/>
                    </a:lnTo>
                    <a:lnTo>
                      <a:pt x="2958" y="742"/>
                    </a:lnTo>
                    <a:lnTo>
                      <a:pt x="2991" y="732"/>
                    </a:lnTo>
                    <a:lnTo>
                      <a:pt x="3020" y="716"/>
                    </a:lnTo>
                    <a:lnTo>
                      <a:pt x="3045" y="696"/>
                    </a:lnTo>
                    <a:lnTo>
                      <a:pt x="3065" y="671"/>
                    </a:lnTo>
                    <a:lnTo>
                      <a:pt x="3081" y="642"/>
                    </a:lnTo>
                    <a:lnTo>
                      <a:pt x="3091" y="611"/>
                    </a:lnTo>
                    <a:lnTo>
                      <a:pt x="3094" y="576"/>
                    </a:lnTo>
                    <a:lnTo>
                      <a:pt x="3091" y="542"/>
                    </a:lnTo>
                    <a:lnTo>
                      <a:pt x="3081" y="511"/>
                    </a:lnTo>
                    <a:lnTo>
                      <a:pt x="3065" y="481"/>
                    </a:lnTo>
                    <a:lnTo>
                      <a:pt x="3045" y="456"/>
                    </a:lnTo>
                    <a:lnTo>
                      <a:pt x="3020" y="435"/>
                    </a:lnTo>
                    <a:lnTo>
                      <a:pt x="2991" y="419"/>
                    </a:lnTo>
                    <a:lnTo>
                      <a:pt x="2958" y="409"/>
                    </a:lnTo>
                    <a:lnTo>
                      <a:pt x="2924" y="406"/>
                    </a:lnTo>
                    <a:close/>
                    <a:moveTo>
                      <a:pt x="119" y="0"/>
                    </a:moveTo>
                    <a:lnTo>
                      <a:pt x="3924" y="0"/>
                    </a:lnTo>
                    <a:lnTo>
                      <a:pt x="3956" y="5"/>
                    </a:lnTo>
                    <a:lnTo>
                      <a:pt x="3984" y="18"/>
                    </a:lnTo>
                    <a:lnTo>
                      <a:pt x="4009" y="36"/>
                    </a:lnTo>
                    <a:lnTo>
                      <a:pt x="4027" y="60"/>
                    </a:lnTo>
                    <a:lnTo>
                      <a:pt x="4039" y="88"/>
                    </a:lnTo>
                    <a:lnTo>
                      <a:pt x="4043" y="120"/>
                    </a:lnTo>
                    <a:lnTo>
                      <a:pt x="4043" y="1778"/>
                    </a:lnTo>
                    <a:lnTo>
                      <a:pt x="4026" y="1778"/>
                    </a:lnTo>
                    <a:lnTo>
                      <a:pt x="3983" y="1783"/>
                    </a:lnTo>
                    <a:lnTo>
                      <a:pt x="3943" y="1795"/>
                    </a:lnTo>
                    <a:lnTo>
                      <a:pt x="3907" y="1815"/>
                    </a:lnTo>
                    <a:lnTo>
                      <a:pt x="3874" y="1841"/>
                    </a:lnTo>
                    <a:lnTo>
                      <a:pt x="3849" y="1873"/>
                    </a:lnTo>
                    <a:lnTo>
                      <a:pt x="3809" y="1868"/>
                    </a:lnTo>
                    <a:lnTo>
                      <a:pt x="3776" y="1871"/>
                    </a:lnTo>
                    <a:lnTo>
                      <a:pt x="3744" y="1878"/>
                    </a:lnTo>
                    <a:lnTo>
                      <a:pt x="3713" y="1891"/>
                    </a:lnTo>
                    <a:lnTo>
                      <a:pt x="3686" y="1908"/>
                    </a:lnTo>
                    <a:lnTo>
                      <a:pt x="3686" y="1095"/>
                    </a:lnTo>
                    <a:lnTo>
                      <a:pt x="357" y="1095"/>
                    </a:lnTo>
                    <a:lnTo>
                      <a:pt x="357" y="3608"/>
                    </a:lnTo>
                    <a:lnTo>
                      <a:pt x="2587" y="3608"/>
                    </a:lnTo>
                    <a:lnTo>
                      <a:pt x="2585" y="3640"/>
                    </a:lnTo>
                    <a:lnTo>
                      <a:pt x="2585" y="3839"/>
                    </a:lnTo>
                    <a:lnTo>
                      <a:pt x="2590" y="3885"/>
                    </a:lnTo>
                    <a:lnTo>
                      <a:pt x="2602" y="3926"/>
                    </a:lnTo>
                    <a:lnTo>
                      <a:pt x="2622" y="3965"/>
                    </a:lnTo>
                    <a:lnTo>
                      <a:pt x="119" y="3965"/>
                    </a:lnTo>
                    <a:lnTo>
                      <a:pt x="87" y="3961"/>
                    </a:lnTo>
                    <a:lnTo>
                      <a:pt x="59" y="3949"/>
                    </a:lnTo>
                    <a:lnTo>
                      <a:pt x="34" y="3931"/>
                    </a:lnTo>
                    <a:lnTo>
                      <a:pt x="16" y="3906"/>
                    </a:lnTo>
                    <a:lnTo>
                      <a:pt x="4" y="3878"/>
                    </a:lnTo>
                    <a:lnTo>
                      <a:pt x="0" y="3846"/>
                    </a:lnTo>
                    <a:lnTo>
                      <a:pt x="0" y="120"/>
                    </a:lnTo>
                    <a:lnTo>
                      <a:pt x="4" y="88"/>
                    </a:lnTo>
                    <a:lnTo>
                      <a:pt x="16" y="60"/>
                    </a:lnTo>
                    <a:lnTo>
                      <a:pt x="34" y="36"/>
                    </a:lnTo>
                    <a:lnTo>
                      <a:pt x="59" y="18"/>
                    </a:lnTo>
                    <a:lnTo>
                      <a:pt x="87" y="5"/>
                    </a:lnTo>
                    <a:lnTo>
                      <a:pt x="1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8" name="Freeform 160"/>
              <p:cNvSpPr>
                <a:spLocks noEditPoints="1"/>
              </p:cNvSpPr>
              <p:nvPr/>
            </p:nvSpPr>
            <p:spPr bwMode="auto">
              <a:xfrm>
                <a:off x="4491" y="2507"/>
                <a:ext cx="895" cy="895"/>
              </a:xfrm>
              <a:custGeom>
                <a:avLst/>
                <a:gdLst>
                  <a:gd name="T0" fmla="*/ 727 w 1791"/>
                  <a:gd name="T1" fmla="*/ 498 h 1790"/>
                  <a:gd name="T2" fmla="*/ 554 w 1791"/>
                  <a:gd name="T3" fmla="*/ 632 h 1790"/>
                  <a:gd name="T4" fmla="*/ 469 w 1791"/>
                  <a:gd name="T5" fmla="*/ 836 h 1790"/>
                  <a:gd name="T6" fmla="*/ 499 w 1791"/>
                  <a:gd name="T7" fmla="*/ 1062 h 1790"/>
                  <a:gd name="T8" fmla="*/ 632 w 1791"/>
                  <a:gd name="T9" fmla="*/ 1236 h 1790"/>
                  <a:gd name="T10" fmla="*/ 837 w 1791"/>
                  <a:gd name="T11" fmla="*/ 1322 h 1790"/>
                  <a:gd name="T12" fmla="*/ 1063 w 1791"/>
                  <a:gd name="T13" fmla="*/ 1292 h 1790"/>
                  <a:gd name="T14" fmla="*/ 1236 w 1791"/>
                  <a:gd name="T15" fmla="*/ 1158 h 1790"/>
                  <a:gd name="T16" fmla="*/ 1323 w 1791"/>
                  <a:gd name="T17" fmla="*/ 953 h 1790"/>
                  <a:gd name="T18" fmla="*/ 1293 w 1791"/>
                  <a:gd name="T19" fmla="*/ 728 h 1790"/>
                  <a:gd name="T20" fmla="*/ 1159 w 1791"/>
                  <a:gd name="T21" fmla="*/ 553 h 1790"/>
                  <a:gd name="T22" fmla="*/ 955 w 1791"/>
                  <a:gd name="T23" fmla="*/ 468 h 1790"/>
                  <a:gd name="T24" fmla="*/ 1052 w 1791"/>
                  <a:gd name="T25" fmla="*/ 3 h 1790"/>
                  <a:gd name="T26" fmla="*/ 1139 w 1791"/>
                  <a:gd name="T27" fmla="*/ 73 h 1790"/>
                  <a:gd name="T28" fmla="*/ 1192 w 1791"/>
                  <a:gd name="T29" fmla="*/ 180 h 1790"/>
                  <a:gd name="T30" fmla="*/ 1303 w 1791"/>
                  <a:gd name="T31" fmla="*/ 142 h 1790"/>
                  <a:gd name="T32" fmla="*/ 1416 w 1791"/>
                  <a:gd name="T33" fmla="*/ 155 h 1790"/>
                  <a:gd name="T34" fmla="*/ 1649 w 1791"/>
                  <a:gd name="T35" fmla="*/ 402 h 1790"/>
                  <a:gd name="T36" fmla="*/ 1636 w 1791"/>
                  <a:gd name="T37" fmla="*/ 513 h 1790"/>
                  <a:gd name="T38" fmla="*/ 1625 w 1791"/>
                  <a:gd name="T39" fmla="*/ 638 h 1790"/>
                  <a:gd name="T40" fmla="*/ 1741 w 1791"/>
                  <a:gd name="T41" fmla="*/ 666 h 1790"/>
                  <a:gd name="T42" fmla="*/ 1791 w 1791"/>
                  <a:gd name="T43" fmla="*/ 769 h 1790"/>
                  <a:gd name="T44" fmla="*/ 1762 w 1791"/>
                  <a:gd name="T45" fmla="*/ 1104 h 1790"/>
                  <a:gd name="T46" fmla="*/ 1659 w 1791"/>
                  <a:gd name="T47" fmla="*/ 1152 h 1790"/>
                  <a:gd name="T48" fmla="*/ 1618 w 1791"/>
                  <a:gd name="T49" fmla="*/ 1252 h 1790"/>
                  <a:gd name="T50" fmla="*/ 1655 w 1791"/>
                  <a:gd name="T51" fmla="*/ 1361 h 1790"/>
                  <a:gd name="T52" fmla="*/ 1439 w 1791"/>
                  <a:gd name="T53" fmla="*/ 1617 h 1790"/>
                  <a:gd name="T54" fmla="*/ 1332 w 1791"/>
                  <a:gd name="T55" fmla="*/ 1655 h 1790"/>
                  <a:gd name="T56" fmla="*/ 1229 w 1791"/>
                  <a:gd name="T57" fmla="*/ 1592 h 1790"/>
                  <a:gd name="T58" fmla="*/ 1149 w 1791"/>
                  <a:gd name="T59" fmla="*/ 1688 h 1790"/>
                  <a:gd name="T60" fmla="*/ 1079 w 1791"/>
                  <a:gd name="T61" fmla="*/ 1777 h 1790"/>
                  <a:gd name="T62" fmla="*/ 740 w 1791"/>
                  <a:gd name="T63" fmla="*/ 1787 h 1790"/>
                  <a:gd name="T64" fmla="*/ 652 w 1791"/>
                  <a:gd name="T65" fmla="*/ 1717 h 1790"/>
                  <a:gd name="T66" fmla="*/ 600 w 1791"/>
                  <a:gd name="T67" fmla="*/ 1609 h 1790"/>
                  <a:gd name="T68" fmla="*/ 487 w 1791"/>
                  <a:gd name="T69" fmla="*/ 1648 h 1790"/>
                  <a:gd name="T70" fmla="*/ 374 w 1791"/>
                  <a:gd name="T71" fmla="*/ 1635 h 1790"/>
                  <a:gd name="T72" fmla="*/ 141 w 1791"/>
                  <a:gd name="T73" fmla="*/ 1389 h 1790"/>
                  <a:gd name="T74" fmla="*/ 154 w 1791"/>
                  <a:gd name="T75" fmla="*/ 1276 h 1790"/>
                  <a:gd name="T76" fmla="*/ 167 w 1791"/>
                  <a:gd name="T77" fmla="*/ 1152 h 1790"/>
                  <a:gd name="T78" fmla="*/ 50 w 1791"/>
                  <a:gd name="T79" fmla="*/ 1124 h 1790"/>
                  <a:gd name="T80" fmla="*/ 0 w 1791"/>
                  <a:gd name="T81" fmla="*/ 1021 h 1790"/>
                  <a:gd name="T82" fmla="*/ 29 w 1791"/>
                  <a:gd name="T83" fmla="*/ 686 h 1790"/>
                  <a:gd name="T84" fmla="*/ 133 w 1791"/>
                  <a:gd name="T85" fmla="*/ 638 h 1790"/>
                  <a:gd name="T86" fmla="*/ 174 w 1791"/>
                  <a:gd name="T87" fmla="*/ 538 h 1790"/>
                  <a:gd name="T88" fmla="*/ 136 w 1791"/>
                  <a:gd name="T89" fmla="*/ 429 h 1790"/>
                  <a:gd name="T90" fmla="*/ 351 w 1791"/>
                  <a:gd name="T91" fmla="*/ 173 h 1790"/>
                  <a:gd name="T92" fmla="*/ 459 w 1791"/>
                  <a:gd name="T93" fmla="*/ 135 h 1790"/>
                  <a:gd name="T94" fmla="*/ 562 w 1791"/>
                  <a:gd name="T95" fmla="*/ 197 h 1790"/>
                  <a:gd name="T96" fmla="*/ 642 w 1791"/>
                  <a:gd name="T97" fmla="*/ 102 h 1790"/>
                  <a:gd name="T98" fmla="*/ 712 w 1791"/>
                  <a:gd name="T99" fmla="*/ 13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91" h="1790">
                    <a:moveTo>
                      <a:pt x="896" y="463"/>
                    </a:moveTo>
                    <a:lnTo>
                      <a:pt x="837" y="468"/>
                    </a:lnTo>
                    <a:lnTo>
                      <a:pt x="780" y="479"/>
                    </a:lnTo>
                    <a:lnTo>
                      <a:pt x="727" y="498"/>
                    </a:lnTo>
                    <a:lnTo>
                      <a:pt x="677" y="523"/>
                    </a:lnTo>
                    <a:lnTo>
                      <a:pt x="632" y="553"/>
                    </a:lnTo>
                    <a:lnTo>
                      <a:pt x="590" y="590"/>
                    </a:lnTo>
                    <a:lnTo>
                      <a:pt x="554" y="632"/>
                    </a:lnTo>
                    <a:lnTo>
                      <a:pt x="523" y="678"/>
                    </a:lnTo>
                    <a:lnTo>
                      <a:pt x="499" y="728"/>
                    </a:lnTo>
                    <a:lnTo>
                      <a:pt x="480" y="781"/>
                    </a:lnTo>
                    <a:lnTo>
                      <a:pt x="469" y="836"/>
                    </a:lnTo>
                    <a:lnTo>
                      <a:pt x="464" y="895"/>
                    </a:lnTo>
                    <a:lnTo>
                      <a:pt x="469" y="953"/>
                    </a:lnTo>
                    <a:lnTo>
                      <a:pt x="480" y="1009"/>
                    </a:lnTo>
                    <a:lnTo>
                      <a:pt x="499" y="1062"/>
                    </a:lnTo>
                    <a:lnTo>
                      <a:pt x="523" y="1112"/>
                    </a:lnTo>
                    <a:lnTo>
                      <a:pt x="554" y="1158"/>
                    </a:lnTo>
                    <a:lnTo>
                      <a:pt x="590" y="1199"/>
                    </a:lnTo>
                    <a:lnTo>
                      <a:pt x="632" y="1236"/>
                    </a:lnTo>
                    <a:lnTo>
                      <a:pt x="677" y="1268"/>
                    </a:lnTo>
                    <a:lnTo>
                      <a:pt x="727" y="1292"/>
                    </a:lnTo>
                    <a:lnTo>
                      <a:pt x="780" y="1311"/>
                    </a:lnTo>
                    <a:lnTo>
                      <a:pt x="837" y="1322"/>
                    </a:lnTo>
                    <a:lnTo>
                      <a:pt x="896" y="1326"/>
                    </a:lnTo>
                    <a:lnTo>
                      <a:pt x="955" y="1322"/>
                    </a:lnTo>
                    <a:lnTo>
                      <a:pt x="1010" y="1311"/>
                    </a:lnTo>
                    <a:lnTo>
                      <a:pt x="1063" y="1292"/>
                    </a:lnTo>
                    <a:lnTo>
                      <a:pt x="1113" y="1268"/>
                    </a:lnTo>
                    <a:lnTo>
                      <a:pt x="1159" y="1236"/>
                    </a:lnTo>
                    <a:lnTo>
                      <a:pt x="1200" y="1199"/>
                    </a:lnTo>
                    <a:lnTo>
                      <a:pt x="1236" y="1158"/>
                    </a:lnTo>
                    <a:lnTo>
                      <a:pt x="1268" y="1112"/>
                    </a:lnTo>
                    <a:lnTo>
                      <a:pt x="1293" y="1062"/>
                    </a:lnTo>
                    <a:lnTo>
                      <a:pt x="1310" y="1009"/>
                    </a:lnTo>
                    <a:lnTo>
                      <a:pt x="1323" y="953"/>
                    </a:lnTo>
                    <a:lnTo>
                      <a:pt x="1326" y="895"/>
                    </a:lnTo>
                    <a:lnTo>
                      <a:pt x="1323" y="836"/>
                    </a:lnTo>
                    <a:lnTo>
                      <a:pt x="1310" y="781"/>
                    </a:lnTo>
                    <a:lnTo>
                      <a:pt x="1293" y="728"/>
                    </a:lnTo>
                    <a:lnTo>
                      <a:pt x="1268" y="678"/>
                    </a:lnTo>
                    <a:lnTo>
                      <a:pt x="1236" y="632"/>
                    </a:lnTo>
                    <a:lnTo>
                      <a:pt x="1200" y="590"/>
                    </a:lnTo>
                    <a:lnTo>
                      <a:pt x="1159" y="553"/>
                    </a:lnTo>
                    <a:lnTo>
                      <a:pt x="1113" y="523"/>
                    </a:lnTo>
                    <a:lnTo>
                      <a:pt x="1063" y="498"/>
                    </a:lnTo>
                    <a:lnTo>
                      <a:pt x="1010" y="479"/>
                    </a:lnTo>
                    <a:lnTo>
                      <a:pt x="955" y="468"/>
                    </a:lnTo>
                    <a:lnTo>
                      <a:pt x="896" y="463"/>
                    </a:lnTo>
                    <a:close/>
                    <a:moveTo>
                      <a:pt x="770" y="0"/>
                    </a:moveTo>
                    <a:lnTo>
                      <a:pt x="1020" y="0"/>
                    </a:lnTo>
                    <a:lnTo>
                      <a:pt x="1052" y="3"/>
                    </a:lnTo>
                    <a:lnTo>
                      <a:pt x="1079" y="13"/>
                    </a:lnTo>
                    <a:lnTo>
                      <a:pt x="1103" y="29"/>
                    </a:lnTo>
                    <a:lnTo>
                      <a:pt x="1125" y="49"/>
                    </a:lnTo>
                    <a:lnTo>
                      <a:pt x="1139" y="73"/>
                    </a:lnTo>
                    <a:lnTo>
                      <a:pt x="1149" y="102"/>
                    </a:lnTo>
                    <a:lnTo>
                      <a:pt x="1153" y="132"/>
                    </a:lnTo>
                    <a:lnTo>
                      <a:pt x="1153" y="166"/>
                    </a:lnTo>
                    <a:lnTo>
                      <a:pt x="1192" y="180"/>
                    </a:lnTo>
                    <a:lnTo>
                      <a:pt x="1229" y="197"/>
                    </a:lnTo>
                    <a:lnTo>
                      <a:pt x="1253" y="173"/>
                    </a:lnTo>
                    <a:lnTo>
                      <a:pt x="1276" y="155"/>
                    </a:lnTo>
                    <a:lnTo>
                      <a:pt x="1303" y="142"/>
                    </a:lnTo>
                    <a:lnTo>
                      <a:pt x="1332" y="135"/>
                    </a:lnTo>
                    <a:lnTo>
                      <a:pt x="1360" y="135"/>
                    </a:lnTo>
                    <a:lnTo>
                      <a:pt x="1389" y="142"/>
                    </a:lnTo>
                    <a:lnTo>
                      <a:pt x="1416" y="155"/>
                    </a:lnTo>
                    <a:lnTo>
                      <a:pt x="1439" y="173"/>
                    </a:lnTo>
                    <a:lnTo>
                      <a:pt x="1618" y="350"/>
                    </a:lnTo>
                    <a:lnTo>
                      <a:pt x="1636" y="375"/>
                    </a:lnTo>
                    <a:lnTo>
                      <a:pt x="1649" y="402"/>
                    </a:lnTo>
                    <a:lnTo>
                      <a:pt x="1655" y="429"/>
                    </a:lnTo>
                    <a:lnTo>
                      <a:pt x="1655" y="459"/>
                    </a:lnTo>
                    <a:lnTo>
                      <a:pt x="1649" y="488"/>
                    </a:lnTo>
                    <a:lnTo>
                      <a:pt x="1636" y="513"/>
                    </a:lnTo>
                    <a:lnTo>
                      <a:pt x="1618" y="538"/>
                    </a:lnTo>
                    <a:lnTo>
                      <a:pt x="1593" y="562"/>
                    </a:lnTo>
                    <a:lnTo>
                      <a:pt x="1609" y="599"/>
                    </a:lnTo>
                    <a:lnTo>
                      <a:pt x="1625" y="638"/>
                    </a:lnTo>
                    <a:lnTo>
                      <a:pt x="1659" y="638"/>
                    </a:lnTo>
                    <a:lnTo>
                      <a:pt x="1689" y="640"/>
                    </a:lnTo>
                    <a:lnTo>
                      <a:pt x="1716" y="651"/>
                    </a:lnTo>
                    <a:lnTo>
                      <a:pt x="1741" y="666"/>
                    </a:lnTo>
                    <a:lnTo>
                      <a:pt x="1762" y="686"/>
                    </a:lnTo>
                    <a:lnTo>
                      <a:pt x="1778" y="712"/>
                    </a:lnTo>
                    <a:lnTo>
                      <a:pt x="1788" y="739"/>
                    </a:lnTo>
                    <a:lnTo>
                      <a:pt x="1791" y="769"/>
                    </a:lnTo>
                    <a:lnTo>
                      <a:pt x="1791" y="1021"/>
                    </a:lnTo>
                    <a:lnTo>
                      <a:pt x="1788" y="1051"/>
                    </a:lnTo>
                    <a:lnTo>
                      <a:pt x="1778" y="1079"/>
                    </a:lnTo>
                    <a:lnTo>
                      <a:pt x="1762" y="1104"/>
                    </a:lnTo>
                    <a:lnTo>
                      <a:pt x="1741" y="1124"/>
                    </a:lnTo>
                    <a:lnTo>
                      <a:pt x="1716" y="1139"/>
                    </a:lnTo>
                    <a:lnTo>
                      <a:pt x="1689" y="1149"/>
                    </a:lnTo>
                    <a:lnTo>
                      <a:pt x="1659" y="1152"/>
                    </a:lnTo>
                    <a:lnTo>
                      <a:pt x="1625" y="1152"/>
                    </a:lnTo>
                    <a:lnTo>
                      <a:pt x="1609" y="1191"/>
                    </a:lnTo>
                    <a:lnTo>
                      <a:pt x="1593" y="1228"/>
                    </a:lnTo>
                    <a:lnTo>
                      <a:pt x="1618" y="1252"/>
                    </a:lnTo>
                    <a:lnTo>
                      <a:pt x="1636" y="1276"/>
                    </a:lnTo>
                    <a:lnTo>
                      <a:pt x="1649" y="1304"/>
                    </a:lnTo>
                    <a:lnTo>
                      <a:pt x="1655" y="1331"/>
                    </a:lnTo>
                    <a:lnTo>
                      <a:pt x="1655" y="1361"/>
                    </a:lnTo>
                    <a:lnTo>
                      <a:pt x="1649" y="1389"/>
                    </a:lnTo>
                    <a:lnTo>
                      <a:pt x="1636" y="1415"/>
                    </a:lnTo>
                    <a:lnTo>
                      <a:pt x="1618" y="1439"/>
                    </a:lnTo>
                    <a:lnTo>
                      <a:pt x="1439" y="1617"/>
                    </a:lnTo>
                    <a:lnTo>
                      <a:pt x="1416" y="1635"/>
                    </a:lnTo>
                    <a:lnTo>
                      <a:pt x="1389" y="1648"/>
                    </a:lnTo>
                    <a:lnTo>
                      <a:pt x="1360" y="1655"/>
                    </a:lnTo>
                    <a:lnTo>
                      <a:pt x="1332" y="1655"/>
                    </a:lnTo>
                    <a:lnTo>
                      <a:pt x="1303" y="1648"/>
                    </a:lnTo>
                    <a:lnTo>
                      <a:pt x="1276" y="1635"/>
                    </a:lnTo>
                    <a:lnTo>
                      <a:pt x="1253" y="1617"/>
                    </a:lnTo>
                    <a:lnTo>
                      <a:pt x="1229" y="1592"/>
                    </a:lnTo>
                    <a:lnTo>
                      <a:pt x="1192" y="1609"/>
                    </a:lnTo>
                    <a:lnTo>
                      <a:pt x="1153" y="1624"/>
                    </a:lnTo>
                    <a:lnTo>
                      <a:pt x="1153" y="1658"/>
                    </a:lnTo>
                    <a:lnTo>
                      <a:pt x="1149" y="1688"/>
                    </a:lnTo>
                    <a:lnTo>
                      <a:pt x="1139" y="1717"/>
                    </a:lnTo>
                    <a:lnTo>
                      <a:pt x="1125" y="1741"/>
                    </a:lnTo>
                    <a:lnTo>
                      <a:pt x="1103" y="1761"/>
                    </a:lnTo>
                    <a:lnTo>
                      <a:pt x="1079" y="1777"/>
                    </a:lnTo>
                    <a:lnTo>
                      <a:pt x="1052" y="1787"/>
                    </a:lnTo>
                    <a:lnTo>
                      <a:pt x="1020" y="1790"/>
                    </a:lnTo>
                    <a:lnTo>
                      <a:pt x="770" y="1790"/>
                    </a:lnTo>
                    <a:lnTo>
                      <a:pt x="740" y="1787"/>
                    </a:lnTo>
                    <a:lnTo>
                      <a:pt x="712" y="1777"/>
                    </a:lnTo>
                    <a:lnTo>
                      <a:pt x="687" y="1761"/>
                    </a:lnTo>
                    <a:lnTo>
                      <a:pt x="667" y="1741"/>
                    </a:lnTo>
                    <a:lnTo>
                      <a:pt x="652" y="1717"/>
                    </a:lnTo>
                    <a:lnTo>
                      <a:pt x="642" y="1688"/>
                    </a:lnTo>
                    <a:lnTo>
                      <a:pt x="637" y="1658"/>
                    </a:lnTo>
                    <a:lnTo>
                      <a:pt x="637" y="1624"/>
                    </a:lnTo>
                    <a:lnTo>
                      <a:pt x="600" y="1609"/>
                    </a:lnTo>
                    <a:lnTo>
                      <a:pt x="562" y="1592"/>
                    </a:lnTo>
                    <a:lnTo>
                      <a:pt x="537" y="1617"/>
                    </a:lnTo>
                    <a:lnTo>
                      <a:pt x="514" y="1635"/>
                    </a:lnTo>
                    <a:lnTo>
                      <a:pt x="487" y="1648"/>
                    </a:lnTo>
                    <a:lnTo>
                      <a:pt x="459" y="1655"/>
                    </a:lnTo>
                    <a:lnTo>
                      <a:pt x="430" y="1655"/>
                    </a:lnTo>
                    <a:lnTo>
                      <a:pt x="401" y="1648"/>
                    </a:lnTo>
                    <a:lnTo>
                      <a:pt x="374" y="1635"/>
                    </a:lnTo>
                    <a:lnTo>
                      <a:pt x="351" y="1617"/>
                    </a:lnTo>
                    <a:lnTo>
                      <a:pt x="174" y="1439"/>
                    </a:lnTo>
                    <a:lnTo>
                      <a:pt x="154" y="1415"/>
                    </a:lnTo>
                    <a:lnTo>
                      <a:pt x="141" y="1389"/>
                    </a:lnTo>
                    <a:lnTo>
                      <a:pt x="136" y="1361"/>
                    </a:lnTo>
                    <a:lnTo>
                      <a:pt x="136" y="1331"/>
                    </a:lnTo>
                    <a:lnTo>
                      <a:pt x="141" y="1304"/>
                    </a:lnTo>
                    <a:lnTo>
                      <a:pt x="154" y="1276"/>
                    </a:lnTo>
                    <a:lnTo>
                      <a:pt x="174" y="1252"/>
                    </a:lnTo>
                    <a:lnTo>
                      <a:pt x="199" y="1228"/>
                    </a:lnTo>
                    <a:lnTo>
                      <a:pt x="181" y="1191"/>
                    </a:lnTo>
                    <a:lnTo>
                      <a:pt x="167" y="1152"/>
                    </a:lnTo>
                    <a:lnTo>
                      <a:pt x="133" y="1152"/>
                    </a:lnTo>
                    <a:lnTo>
                      <a:pt x="101" y="1149"/>
                    </a:lnTo>
                    <a:lnTo>
                      <a:pt x="74" y="1139"/>
                    </a:lnTo>
                    <a:lnTo>
                      <a:pt x="50" y="1124"/>
                    </a:lnTo>
                    <a:lnTo>
                      <a:pt x="29" y="1104"/>
                    </a:lnTo>
                    <a:lnTo>
                      <a:pt x="14" y="1079"/>
                    </a:lnTo>
                    <a:lnTo>
                      <a:pt x="4" y="1051"/>
                    </a:lnTo>
                    <a:lnTo>
                      <a:pt x="0" y="1021"/>
                    </a:lnTo>
                    <a:lnTo>
                      <a:pt x="0" y="769"/>
                    </a:lnTo>
                    <a:lnTo>
                      <a:pt x="4" y="739"/>
                    </a:lnTo>
                    <a:lnTo>
                      <a:pt x="14" y="712"/>
                    </a:lnTo>
                    <a:lnTo>
                      <a:pt x="29" y="686"/>
                    </a:lnTo>
                    <a:lnTo>
                      <a:pt x="50" y="666"/>
                    </a:lnTo>
                    <a:lnTo>
                      <a:pt x="74" y="651"/>
                    </a:lnTo>
                    <a:lnTo>
                      <a:pt x="101" y="640"/>
                    </a:lnTo>
                    <a:lnTo>
                      <a:pt x="133" y="638"/>
                    </a:lnTo>
                    <a:lnTo>
                      <a:pt x="167" y="638"/>
                    </a:lnTo>
                    <a:lnTo>
                      <a:pt x="181" y="599"/>
                    </a:lnTo>
                    <a:lnTo>
                      <a:pt x="199" y="562"/>
                    </a:lnTo>
                    <a:lnTo>
                      <a:pt x="174" y="538"/>
                    </a:lnTo>
                    <a:lnTo>
                      <a:pt x="154" y="513"/>
                    </a:lnTo>
                    <a:lnTo>
                      <a:pt x="141" y="488"/>
                    </a:lnTo>
                    <a:lnTo>
                      <a:pt x="136" y="459"/>
                    </a:lnTo>
                    <a:lnTo>
                      <a:pt x="136" y="429"/>
                    </a:lnTo>
                    <a:lnTo>
                      <a:pt x="141" y="402"/>
                    </a:lnTo>
                    <a:lnTo>
                      <a:pt x="154" y="375"/>
                    </a:lnTo>
                    <a:lnTo>
                      <a:pt x="174" y="350"/>
                    </a:lnTo>
                    <a:lnTo>
                      <a:pt x="351" y="173"/>
                    </a:lnTo>
                    <a:lnTo>
                      <a:pt x="376" y="155"/>
                    </a:lnTo>
                    <a:lnTo>
                      <a:pt x="401" y="142"/>
                    </a:lnTo>
                    <a:lnTo>
                      <a:pt x="430" y="135"/>
                    </a:lnTo>
                    <a:lnTo>
                      <a:pt x="459" y="135"/>
                    </a:lnTo>
                    <a:lnTo>
                      <a:pt x="487" y="142"/>
                    </a:lnTo>
                    <a:lnTo>
                      <a:pt x="514" y="155"/>
                    </a:lnTo>
                    <a:lnTo>
                      <a:pt x="537" y="173"/>
                    </a:lnTo>
                    <a:lnTo>
                      <a:pt x="562" y="197"/>
                    </a:lnTo>
                    <a:lnTo>
                      <a:pt x="600" y="180"/>
                    </a:lnTo>
                    <a:lnTo>
                      <a:pt x="637" y="166"/>
                    </a:lnTo>
                    <a:lnTo>
                      <a:pt x="637" y="132"/>
                    </a:lnTo>
                    <a:lnTo>
                      <a:pt x="642" y="102"/>
                    </a:lnTo>
                    <a:lnTo>
                      <a:pt x="652" y="73"/>
                    </a:lnTo>
                    <a:lnTo>
                      <a:pt x="667" y="49"/>
                    </a:lnTo>
                    <a:lnTo>
                      <a:pt x="687" y="29"/>
                    </a:lnTo>
                    <a:lnTo>
                      <a:pt x="712" y="13"/>
                    </a:lnTo>
                    <a:lnTo>
                      <a:pt x="740" y="3"/>
                    </a:lnTo>
                    <a:lnTo>
                      <a:pt x="7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9" name="Freeform 161"/>
              <p:cNvSpPr>
                <a:spLocks noEditPoints="1"/>
              </p:cNvSpPr>
              <p:nvPr/>
            </p:nvSpPr>
            <p:spPr bwMode="auto">
              <a:xfrm>
                <a:off x="5171" y="3325"/>
                <a:ext cx="710" cy="709"/>
              </a:xfrm>
              <a:custGeom>
                <a:avLst/>
                <a:gdLst>
                  <a:gd name="T0" fmla="*/ 602 w 1421"/>
                  <a:gd name="T1" fmla="*/ 385 h 1419"/>
                  <a:gd name="T2" fmla="*/ 469 w 1421"/>
                  <a:gd name="T3" fmla="*/ 467 h 1419"/>
                  <a:gd name="T4" fmla="*/ 386 w 1421"/>
                  <a:gd name="T5" fmla="*/ 602 h 1419"/>
                  <a:gd name="T6" fmla="*/ 373 w 1421"/>
                  <a:gd name="T7" fmla="*/ 765 h 1419"/>
                  <a:gd name="T8" fmla="*/ 435 w 1421"/>
                  <a:gd name="T9" fmla="*/ 912 h 1419"/>
                  <a:gd name="T10" fmla="*/ 553 w 1421"/>
                  <a:gd name="T11" fmla="*/ 1013 h 1419"/>
                  <a:gd name="T12" fmla="*/ 711 w 1421"/>
                  <a:gd name="T13" fmla="*/ 1051 h 1419"/>
                  <a:gd name="T14" fmla="*/ 868 w 1421"/>
                  <a:gd name="T15" fmla="*/ 1013 h 1419"/>
                  <a:gd name="T16" fmla="*/ 986 w 1421"/>
                  <a:gd name="T17" fmla="*/ 912 h 1419"/>
                  <a:gd name="T18" fmla="*/ 1048 w 1421"/>
                  <a:gd name="T19" fmla="*/ 765 h 1419"/>
                  <a:gd name="T20" fmla="*/ 1035 w 1421"/>
                  <a:gd name="T21" fmla="*/ 602 h 1419"/>
                  <a:gd name="T22" fmla="*/ 952 w 1421"/>
                  <a:gd name="T23" fmla="*/ 467 h 1419"/>
                  <a:gd name="T24" fmla="*/ 819 w 1421"/>
                  <a:gd name="T25" fmla="*/ 385 h 1419"/>
                  <a:gd name="T26" fmla="*/ 611 w 1421"/>
                  <a:gd name="T27" fmla="*/ 0 h 1419"/>
                  <a:gd name="T28" fmla="*/ 864 w 1421"/>
                  <a:gd name="T29" fmla="*/ 14 h 1419"/>
                  <a:gd name="T30" fmla="*/ 911 w 1421"/>
                  <a:gd name="T31" fmla="*/ 76 h 1419"/>
                  <a:gd name="T32" fmla="*/ 975 w 1421"/>
                  <a:gd name="T33" fmla="*/ 156 h 1419"/>
                  <a:gd name="T34" fmla="*/ 1032 w 1421"/>
                  <a:gd name="T35" fmla="*/ 113 h 1419"/>
                  <a:gd name="T36" fmla="*/ 1085 w 1421"/>
                  <a:gd name="T37" fmla="*/ 107 h 1419"/>
                  <a:gd name="T38" fmla="*/ 1142 w 1421"/>
                  <a:gd name="T39" fmla="*/ 137 h 1419"/>
                  <a:gd name="T40" fmla="*/ 1311 w 1421"/>
                  <a:gd name="T41" fmla="*/ 326 h 1419"/>
                  <a:gd name="T42" fmla="*/ 1299 w 1421"/>
                  <a:gd name="T43" fmla="*/ 403 h 1419"/>
                  <a:gd name="T44" fmla="*/ 1288 w 1421"/>
                  <a:gd name="T45" fmla="*/ 505 h 1419"/>
                  <a:gd name="T46" fmla="*/ 1368 w 1421"/>
                  <a:gd name="T47" fmla="*/ 519 h 1419"/>
                  <a:gd name="T48" fmla="*/ 1417 w 1421"/>
                  <a:gd name="T49" fmla="*/ 582 h 1419"/>
                  <a:gd name="T50" fmla="*/ 1417 w 1421"/>
                  <a:gd name="T51" fmla="*/ 836 h 1419"/>
                  <a:gd name="T52" fmla="*/ 1368 w 1421"/>
                  <a:gd name="T53" fmla="*/ 899 h 1419"/>
                  <a:gd name="T54" fmla="*/ 1288 w 1421"/>
                  <a:gd name="T55" fmla="*/ 913 h 1419"/>
                  <a:gd name="T56" fmla="*/ 1299 w 1421"/>
                  <a:gd name="T57" fmla="*/ 1015 h 1419"/>
                  <a:gd name="T58" fmla="*/ 1311 w 1421"/>
                  <a:gd name="T59" fmla="*/ 1093 h 1419"/>
                  <a:gd name="T60" fmla="*/ 1142 w 1421"/>
                  <a:gd name="T61" fmla="*/ 1282 h 1419"/>
                  <a:gd name="T62" fmla="*/ 1068 w 1421"/>
                  <a:gd name="T63" fmla="*/ 1312 h 1419"/>
                  <a:gd name="T64" fmla="*/ 994 w 1421"/>
                  <a:gd name="T65" fmla="*/ 1282 h 1419"/>
                  <a:gd name="T66" fmla="*/ 915 w 1421"/>
                  <a:gd name="T67" fmla="*/ 1315 h 1419"/>
                  <a:gd name="T68" fmla="*/ 884 w 1421"/>
                  <a:gd name="T69" fmla="*/ 1388 h 1419"/>
                  <a:gd name="T70" fmla="*/ 811 w 1421"/>
                  <a:gd name="T71" fmla="*/ 1419 h 1419"/>
                  <a:gd name="T72" fmla="*/ 558 w 1421"/>
                  <a:gd name="T73" fmla="*/ 1405 h 1419"/>
                  <a:gd name="T74" fmla="*/ 511 w 1421"/>
                  <a:gd name="T75" fmla="*/ 1342 h 1419"/>
                  <a:gd name="T76" fmla="*/ 446 w 1421"/>
                  <a:gd name="T77" fmla="*/ 1262 h 1419"/>
                  <a:gd name="T78" fmla="*/ 379 w 1421"/>
                  <a:gd name="T79" fmla="*/ 1309 h 1419"/>
                  <a:gd name="T80" fmla="*/ 302 w 1421"/>
                  <a:gd name="T81" fmla="*/ 1299 h 1419"/>
                  <a:gd name="T82" fmla="*/ 122 w 1421"/>
                  <a:gd name="T83" fmla="*/ 1119 h 1419"/>
                  <a:gd name="T84" fmla="*/ 110 w 1421"/>
                  <a:gd name="T85" fmla="*/ 1041 h 1419"/>
                  <a:gd name="T86" fmla="*/ 158 w 1421"/>
                  <a:gd name="T87" fmla="*/ 973 h 1419"/>
                  <a:gd name="T88" fmla="*/ 78 w 1421"/>
                  <a:gd name="T89" fmla="*/ 911 h 1419"/>
                  <a:gd name="T90" fmla="*/ 15 w 1421"/>
                  <a:gd name="T91" fmla="*/ 862 h 1419"/>
                  <a:gd name="T92" fmla="*/ 0 w 1421"/>
                  <a:gd name="T93" fmla="*/ 610 h 1419"/>
                  <a:gd name="T94" fmla="*/ 32 w 1421"/>
                  <a:gd name="T95" fmla="*/ 536 h 1419"/>
                  <a:gd name="T96" fmla="*/ 106 w 1421"/>
                  <a:gd name="T97" fmla="*/ 505 h 1419"/>
                  <a:gd name="T98" fmla="*/ 139 w 1421"/>
                  <a:gd name="T99" fmla="*/ 426 h 1419"/>
                  <a:gd name="T100" fmla="*/ 108 w 1421"/>
                  <a:gd name="T101" fmla="*/ 352 h 1419"/>
                  <a:gd name="T102" fmla="*/ 139 w 1421"/>
                  <a:gd name="T103" fmla="*/ 277 h 1419"/>
                  <a:gd name="T104" fmla="*/ 326 w 1421"/>
                  <a:gd name="T105" fmla="*/ 110 h 1419"/>
                  <a:gd name="T106" fmla="*/ 405 w 1421"/>
                  <a:gd name="T107" fmla="*/ 120 h 1419"/>
                  <a:gd name="T108" fmla="*/ 506 w 1421"/>
                  <a:gd name="T109" fmla="*/ 132 h 1419"/>
                  <a:gd name="T110" fmla="*/ 521 w 1421"/>
                  <a:gd name="T111" fmla="*/ 52 h 1419"/>
                  <a:gd name="T112" fmla="*/ 583 w 1421"/>
                  <a:gd name="T113" fmla="*/ 3 h 1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21" h="1419">
                    <a:moveTo>
                      <a:pt x="711" y="367"/>
                    </a:moveTo>
                    <a:lnTo>
                      <a:pt x="655" y="372"/>
                    </a:lnTo>
                    <a:lnTo>
                      <a:pt x="602" y="385"/>
                    </a:lnTo>
                    <a:lnTo>
                      <a:pt x="553" y="406"/>
                    </a:lnTo>
                    <a:lnTo>
                      <a:pt x="509" y="433"/>
                    </a:lnTo>
                    <a:lnTo>
                      <a:pt x="469" y="467"/>
                    </a:lnTo>
                    <a:lnTo>
                      <a:pt x="435" y="508"/>
                    </a:lnTo>
                    <a:lnTo>
                      <a:pt x="406" y="552"/>
                    </a:lnTo>
                    <a:lnTo>
                      <a:pt x="386" y="602"/>
                    </a:lnTo>
                    <a:lnTo>
                      <a:pt x="373" y="653"/>
                    </a:lnTo>
                    <a:lnTo>
                      <a:pt x="369" y="709"/>
                    </a:lnTo>
                    <a:lnTo>
                      <a:pt x="373" y="765"/>
                    </a:lnTo>
                    <a:lnTo>
                      <a:pt x="386" y="818"/>
                    </a:lnTo>
                    <a:lnTo>
                      <a:pt x="406" y="866"/>
                    </a:lnTo>
                    <a:lnTo>
                      <a:pt x="435" y="912"/>
                    </a:lnTo>
                    <a:lnTo>
                      <a:pt x="469" y="951"/>
                    </a:lnTo>
                    <a:lnTo>
                      <a:pt x="509" y="985"/>
                    </a:lnTo>
                    <a:lnTo>
                      <a:pt x="553" y="1013"/>
                    </a:lnTo>
                    <a:lnTo>
                      <a:pt x="602" y="1033"/>
                    </a:lnTo>
                    <a:lnTo>
                      <a:pt x="655" y="1046"/>
                    </a:lnTo>
                    <a:lnTo>
                      <a:pt x="711" y="1051"/>
                    </a:lnTo>
                    <a:lnTo>
                      <a:pt x="766" y="1046"/>
                    </a:lnTo>
                    <a:lnTo>
                      <a:pt x="819" y="1033"/>
                    </a:lnTo>
                    <a:lnTo>
                      <a:pt x="868" y="1013"/>
                    </a:lnTo>
                    <a:lnTo>
                      <a:pt x="912" y="985"/>
                    </a:lnTo>
                    <a:lnTo>
                      <a:pt x="952" y="951"/>
                    </a:lnTo>
                    <a:lnTo>
                      <a:pt x="986" y="912"/>
                    </a:lnTo>
                    <a:lnTo>
                      <a:pt x="1014" y="866"/>
                    </a:lnTo>
                    <a:lnTo>
                      <a:pt x="1035" y="818"/>
                    </a:lnTo>
                    <a:lnTo>
                      <a:pt x="1048" y="765"/>
                    </a:lnTo>
                    <a:lnTo>
                      <a:pt x="1052" y="709"/>
                    </a:lnTo>
                    <a:lnTo>
                      <a:pt x="1048" y="653"/>
                    </a:lnTo>
                    <a:lnTo>
                      <a:pt x="1035" y="602"/>
                    </a:lnTo>
                    <a:lnTo>
                      <a:pt x="1014" y="552"/>
                    </a:lnTo>
                    <a:lnTo>
                      <a:pt x="986" y="508"/>
                    </a:lnTo>
                    <a:lnTo>
                      <a:pt x="952" y="467"/>
                    </a:lnTo>
                    <a:lnTo>
                      <a:pt x="912" y="433"/>
                    </a:lnTo>
                    <a:lnTo>
                      <a:pt x="868" y="406"/>
                    </a:lnTo>
                    <a:lnTo>
                      <a:pt x="819" y="385"/>
                    </a:lnTo>
                    <a:lnTo>
                      <a:pt x="766" y="372"/>
                    </a:lnTo>
                    <a:lnTo>
                      <a:pt x="711" y="367"/>
                    </a:lnTo>
                    <a:close/>
                    <a:moveTo>
                      <a:pt x="611" y="0"/>
                    </a:moveTo>
                    <a:lnTo>
                      <a:pt x="811" y="0"/>
                    </a:lnTo>
                    <a:lnTo>
                      <a:pt x="838" y="3"/>
                    </a:lnTo>
                    <a:lnTo>
                      <a:pt x="864" y="14"/>
                    </a:lnTo>
                    <a:lnTo>
                      <a:pt x="884" y="30"/>
                    </a:lnTo>
                    <a:lnTo>
                      <a:pt x="901" y="52"/>
                    </a:lnTo>
                    <a:lnTo>
                      <a:pt x="911" y="76"/>
                    </a:lnTo>
                    <a:lnTo>
                      <a:pt x="915" y="104"/>
                    </a:lnTo>
                    <a:lnTo>
                      <a:pt x="915" y="132"/>
                    </a:lnTo>
                    <a:lnTo>
                      <a:pt x="975" y="156"/>
                    </a:lnTo>
                    <a:lnTo>
                      <a:pt x="994" y="137"/>
                    </a:lnTo>
                    <a:lnTo>
                      <a:pt x="1014" y="122"/>
                    </a:lnTo>
                    <a:lnTo>
                      <a:pt x="1032" y="113"/>
                    </a:lnTo>
                    <a:lnTo>
                      <a:pt x="1052" y="107"/>
                    </a:lnTo>
                    <a:lnTo>
                      <a:pt x="1069" y="107"/>
                    </a:lnTo>
                    <a:lnTo>
                      <a:pt x="1085" y="107"/>
                    </a:lnTo>
                    <a:lnTo>
                      <a:pt x="1095" y="110"/>
                    </a:lnTo>
                    <a:lnTo>
                      <a:pt x="1121" y="120"/>
                    </a:lnTo>
                    <a:lnTo>
                      <a:pt x="1142" y="137"/>
                    </a:lnTo>
                    <a:lnTo>
                      <a:pt x="1282" y="277"/>
                    </a:lnTo>
                    <a:lnTo>
                      <a:pt x="1299" y="300"/>
                    </a:lnTo>
                    <a:lnTo>
                      <a:pt x="1311" y="326"/>
                    </a:lnTo>
                    <a:lnTo>
                      <a:pt x="1314" y="352"/>
                    </a:lnTo>
                    <a:lnTo>
                      <a:pt x="1311" y="379"/>
                    </a:lnTo>
                    <a:lnTo>
                      <a:pt x="1299" y="403"/>
                    </a:lnTo>
                    <a:lnTo>
                      <a:pt x="1282" y="426"/>
                    </a:lnTo>
                    <a:lnTo>
                      <a:pt x="1264" y="445"/>
                    </a:lnTo>
                    <a:lnTo>
                      <a:pt x="1288" y="505"/>
                    </a:lnTo>
                    <a:lnTo>
                      <a:pt x="1315" y="505"/>
                    </a:lnTo>
                    <a:lnTo>
                      <a:pt x="1344" y="509"/>
                    </a:lnTo>
                    <a:lnTo>
                      <a:pt x="1368" y="519"/>
                    </a:lnTo>
                    <a:lnTo>
                      <a:pt x="1389" y="536"/>
                    </a:lnTo>
                    <a:lnTo>
                      <a:pt x="1407" y="558"/>
                    </a:lnTo>
                    <a:lnTo>
                      <a:pt x="1417" y="582"/>
                    </a:lnTo>
                    <a:lnTo>
                      <a:pt x="1421" y="610"/>
                    </a:lnTo>
                    <a:lnTo>
                      <a:pt x="1421" y="809"/>
                    </a:lnTo>
                    <a:lnTo>
                      <a:pt x="1417" y="836"/>
                    </a:lnTo>
                    <a:lnTo>
                      <a:pt x="1407" y="862"/>
                    </a:lnTo>
                    <a:lnTo>
                      <a:pt x="1389" y="883"/>
                    </a:lnTo>
                    <a:lnTo>
                      <a:pt x="1368" y="899"/>
                    </a:lnTo>
                    <a:lnTo>
                      <a:pt x="1344" y="911"/>
                    </a:lnTo>
                    <a:lnTo>
                      <a:pt x="1315" y="913"/>
                    </a:lnTo>
                    <a:lnTo>
                      <a:pt x="1288" y="913"/>
                    </a:lnTo>
                    <a:lnTo>
                      <a:pt x="1264" y="973"/>
                    </a:lnTo>
                    <a:lnTo>
                      <a:pt x="1282" y="993"/>
                    </a:lnTo>
                    <a:lnTo>
                      <a:pt x="1299" y="1015"/>
                    </a:lnTo>
                    <a:lnTo>
                      <a:pt x="1311" y="1041"/>
                    </a:lnTo>
                    <a:lnTo>
                      <a:pt x="1314" y="1066"/>
                    </a:lnTo>
                    <a:lnTo>
                      <a:pt x="1311" y="1093"/>
                    </a:lnTo>
                    <a:lnTo>
                      <a:pt x="1299" y="1119"/>
                    </a:lnTo>
                    <a:lnTo>
                      <a:pt x="1282" y="1141"/>
                    </a:lnTo>
                    <a:lnTo>
                      <a:pt x="1142" y="1282"/>
                    </a:lnTo>
                    <a:lnTo>
                      <a:pt x="1119" y="1299"/>
                    </a:lnTo>
                    <a:lnTo>
                      <a:pt x="1095" y="1309"/>
                    </a:lnTo>
                    <a:lnTo>
                      <a:pt x="1068" y="1312"/>
                    </a:lnTo>
                    <a:lnTo>
                      <a:pt x="1042" y="1309"/>
                    </a:lnTo>
                    <a:lnTo>
                      <a:pt x="1016" y="1299"/>
                    </a:lnTo>
                    <a:lnTo>
                      <a:pt x="994" y="1282"/>
                    </a:lnTo>
                    <a:lnTo>
                      <a:pt x="975" y="1262"/>
                    </a:lnTo>
                    <a:lnTo>
                      <a:pt x="915" y="1288"/>
                    </a:lnTo>
                    <a:lnTo>
                      <a:pt x="915" y="1315"/>
                    </a:lnTo>
                    <a:lnTo>
                      <a:pt x="911" y="1342"/>
                    </a:lnTo>
                    <a:lnTo>
                      <a:pt x="901" y="1368"/>
                    </a:lnTo>
                    <a:lnTo>
                      <a:pt x="884" y="1388"/>
                    </a:lnTo>
                    <a:lnTo>
                      <a:pt x="864" y="1405"/>
                    </a:lnTo>
                    <a:lnTo>
                      <a:pt x="838" y="1415"/>
                    </a:lnTo>
                    <a:lnTo>
                      <a:pt x="811" y="1419"/>
                    </a:lnTo>
                    <a:lnTo>
                      <a:pt x="611" y="1419"/>
                    </a:lnTo>
                    <a:lnTo>
                      <a:pt x="583" y="1415"/>
                    </a:lnTo>
                    <a:lnTo>
                      <a:pt x="558" y="1405"/>
                    </a:lnTo>
                    <a:lnTo>
                      <a:pt x="538" y="1388"/>
                    </a:lnTo>
                    <a:lnTo>
                      <a:pt x="521" y="1368"/>
                    </a:lnTo>
                    <a:lnTo>
                      <a:pt x="511" y="1342"/>
                    </a:lnTo>
                    <a:lnTo>
                      <a:pt x="506" y="1315"/>
                    </a:lnTo>
                    <a:lnTo>
                      <a:pt x="506" y="1288"/>
                    </a:lnTo>
                    <a:lnTo>
                      <a:pt x="446" y="1262"/>
                    </a:lnTo>
                    <a:lnTo>
                      <a:pt x="428" y="1282"/>
                    </a:lnTo>
                    <a:lnTo>
                      <a:pt x="405" y="1299"/>
                    </a:lnTo>
                    <a:lnTo>
                      <a:pt x="379" y="1309"/>
                    </a:lnTo>
                    <a:lnTo>
                      <a:pt x="353" y="1312"/>
                    </a:lnTo>
                    <a:lnTo>
                      <a:pt x="326" y="1309"/>
                    </a:lnTo>
                    <a:lnTo>
                      <a:pt x="302" y="1299"/>
                    </a:lnTo>
                    <a:lnTo>
                      <a:pt x="279" y="1282"/>
                    </a:lnTo>
                    <a:lnTo>
                      <a:pt x="139" y="1141"/>
                    </a:lnTo>
                    <a:lnTo>
                      <a:pt x="122" y="1119"/>
                    </a:lnTo>
                    <a:lnTo>
                      <a:pt x="110" y="1093"/>
                    </a:lnTo>
                    <a:lnTo>
                      <a:pt x="108" y="1066"/>
                    </a:lnTo>
                    <a:lnTo>
                      <a:pt x="110" y="1041"/>
                    </a:lnTo>
                    <a:lnTo>
                      <a:pt x="122" y="1015"/>
                    </a:lnTo>
                    <a:lnTo>
                      <a:pt x="139" y="993"/>
                    </a:lnTo>
                    <a:lnTo>
                      <a:pt x="158" y="973"/>
                    </a:lnTo>
                    <a:lnTo>
                      <a:pt x="133" y="913"/>
                    </a:lnTo>
                    <a:lnTo>
                      <a:pt x="106" y="913"/>
                    </a:lnTo>
                    <a:lnTo>
                      <a:pt x="78" y="911"/>
                    </a:lnTo>
                    <a:lnTo>
                      <a:pt x="53" y="899"/>
                    </a:lnTo>
                    <a:lnTo>
                      <a:pt x="32" y="883"/>
                    </a:lnTo>
                    <a:lnTo>
                      <a:pt x="15" y="862"/>
                    </a:lnTo>
                    <a:lnTo>
                      <a:pt x="5" y="836"/>
                    </a:lnTo>
                    <a:lnTo>
                      <a:pt x="0" y="809"/>
                    </a:lnTo>
                    <a:lnTo>
                      <a:pt x="0" y="610"/>
                    </a:lnTo>
                    <a:lnTo>
                      <a:pt x="5" y="582"/>
                    </a:lnTo>
                    <a:lnTo>
                      <a:pt x="15" y="558"/>
                    </a:lnTo>
                    <a:lnTo>
                      <a:pt x="32" y="536"/>
                    </a:lnTo>
                    <a:lnTo>
                      <a:pt x="53" y="519"/>
                    </a:lnTo>
                    <a:lnTo>
                      <a:pt x="78" y="509"/>
                    </a:lnTo>
                    <a:lnTo>
                      <a:pt x="106" y="505"/>
                    </a:lnTo>
                    <a:lnTo>
                      <a:pt x="133" y="505"/>
                    </a:lnTo>
                    <a:lnTo>
                      <a:pt x="158" y="445"/>
                    </a:lnTo>
                    <a:lnTo>
                      <a:pt x="139" y="426"/>
                    </a:lnTo>
                    <a:lnTo>
                      <a:pt x="122" y="403"/>
                    </a:lnTo>
                    <a:lnTo>
                      <a:pt x="110" y="379"/>
                    </a:lnTo>
                    <a:lnTo>
                      <a:pt x="108" y="352"/>
                    </a:lnTo>
                    <a:lnTo>
                      <a:pt x="110" y="326"/>
                    </a:lnTo>
                    <a:lnTo>
                      <a:pt x="122" y="300"/>
                    </a:lnTo>
                    <a:lnTo>
                      <a:pt x="139" y="277"/>
                    </a:lnTo>
                    <a:lnTo>
                      <a:pt x="279" y="137"/>
                    </a:lnTo>
                    <a:lnTo>
                      <a:pt x="302" y="120"/>
                    </a:lnTo>
                    <a:lnTo>
                      <a:pt x="326" y="110"/>
                    </a:lnTo>
                    <a:lnTo>
                      <a:pt x="353" y="106"/>
                    </a:lnTo>
                    <a:lnTo>
                      <a:pt x="379" y="110"/>
                    </a:lnTo>
                    <a:lnTo>
                      <a:pt x="405" y="120"/>
                    </a:lnTo>
                    <a:lnTo>
                      <a:pt x="428" y="137"/>
                    </a:lnTo>
                    <a:lnTo>
                      <a:pt x="446" y="156"/>
                    </a:lnTo>
                    <a:lnTo>
                      <a:pt x="506" y="132"/>
                    </a:lnTo>
                    <a:lnTo>
                      <a:pt x="506" y="104"/>
                    </a:lnTo>
                    <a:lnTo>
                      <a:pt x="511" y="76"/>
                    </a:lnTo>
                    <a:lnTo>
                      <a:pt x="521" y="52"/>
                    </a:lnTo>
                    <a:lnTo>
                      <a:pt x="538" y="30"/>
                    </a:lnTo>
                    <a:lnTo>
                      <a:pt x="558" y="14"/>
                    </a:lnTo>
                    <a:lnTo>
                      <a:pt x="583" y="3"/>
                    </a:lnTo>
                    <a:lnTo>
                      <a:pt x="6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0" name="Freeform 162"/>
              <p:cNvSpPr>
                <a:spLocks noEditPoints="1"/>
              </p:cNvSpPr>
              <p:nvPr/>
            </p:nvSpPr>
            <p:spPr bwMode="auto">
              <a:xfrm>
                <a:off x="5571" y="2763"/>
                <a:ext cx="598" cy="598"/>
              </a:xfrm>
              <a:custGeom>
                <a:avLst/>
                <a:gdLst>
                  <a:gd name="T0" fmla="*/ 506 w 1194"/>
                  <a:gd name="T1" fmla="*/ 324 h 1196"/>
                  <a:gd name="T2" fmla="*/ 393 w 1194"/>
                  <a:gd name="T3" fmla="*/ 394 h 1196"/>
                  <a:gd name="T4" fmla="*/ 324 w 1194"/>
                  <a:gd name="T5" fmla="*/ 507 h 1196"/>
                  <a:gd name="T6" fmla="*/ 313 w 1194"/>
                  <a:gd name="T7" fmla="*/ 644 h 1196"/>
                  <a:gd name="T8" fmla="*/ 364 w 1194"/>
                  <a:gd name="T9" fmla="*/ 767 h 1196"/>
                  <a:gd name="T10" fmla="*/ 464 w 1194"/>
                  <a:gd name="T11" fmla="*/ 853 h 1196"/>
                  <a:gd name="T12" fmla="*/ 597 w 1194"/>
                  <a:gd name="T13" fmla="*/ 886 h 1196"/>
                  <a:gd name="T14" fmla="*/ 729 w 1194"/>
                  <a:gd name="T15" fmla="*/ 853 h 1196"/>
                  <a:gd name="T16" fmla="*/ 829 w 1194"/>
                  <a:gd name="T17" fmla="*/ 767 h 1196"/>
                  <a:gd name="T18" fmla="*/ 881 w 1194"/>
                  <a:gd name="T19" fmla="*/ 644 h 1196"/>
                  <a:gd name="T20" fmla="*/ 870 w 1194"/>
                  <a:gd name="T21" fmla="*/ 507 h 1196"/>
                  <a:gd name="T22" fmla="*/ 800 w 1194"/>
                  <a:gd name="T23" fmla="*/ 394 h 1196"/>
                  <a:gd name="T24" fmla="*/ 689 w 1194"/>
                  <a:gd name="T25" fmla="*/ 324 h 1196"/>
                  <a:gd name="T26" fmla="*/ 513 w 1194"/>
                  <a:gd name="T27" fmla="*/ 0 h 1196"/>
                  <a:gd name="T28" fmla="*/ 726 w 1194"/>
                  <a:gd name="T29" fmla="*/ 11 h 1196"/>
                  <a:gd name="T30" fmla="*/ 766 w 1194"/>
                  <a:gd name="T31" fmla="*/ 64 h 1196"/>
                  <a:gd name="T32" fmla="*/ 820 w 1194"/>
                  <a:gd name="T33" fmla="*/ 131 h 1196"/>
                  <a:gd name="T34" fmla="*/ 876 w 1194"/>
                  <a:gd name="T35" fmla="*/ 93 h 1196"/>
                  <a:gd name="T36" fmla="*/ 941 w 1194"/>
                  <a:gd name="T37" fmla="*/ 101 h 1196"/>
                  <a:gd name="T38" fmla="*/ 1093 w 1194"/>
                  <a:gd name="T39" fmla="*/ 253 h 1196"/>
                  <a:gd name="T40" fmla="*/ 1102 w 1194"/>
                  <a:gd name="T41" fmla="*/ 319 h 1196"/>
                  <a:gd name="T42" fmla="*/ 1063 w 1194"/>
                  <a:gd name="T43" fmla="*/ 376 h 1196"/>
                  <a:gd name="T44" fmla="*/ 1130 w 1194"/>
                  <a:gd name="T45" fmla="*/ 429 h 1196"/>
                  <a:gd name="T46" fmla="*/ 1183 w 1194"/>
                  <a:gd name="T47" fmla="*/ 469 h 1196"/>
                  <a:gd name="T48" fmla="*/ 1194 w 1194"/>
                  <a:gd name="T49" fmla="*/ 682 h 1196"/>
                  <a:gd name="T50" fmla="*/ 1169 w 1194"/>
                  <a:gd name="T51" fmla="*/ 743 h 1196"/>
                  <a:gd name="T52" fmla="*/ 1106 w 1194"/>
                  <a:gd name="T53" fmla="*/ 770 h 1196"/>
                  <a:gd name="T54" fmla="*/ 1079 w 1194"/>
                  <a:gd name="T55" fmla="*/ 836 h 1196"/>
                  <a:gd name="T56" fmla="*/ 1104 w 1194"/>
                  <a:gd name="T57" fmla="*/ 899 h 1196"/>
                  <a:gd name="T58" fmla="*/ 1079 w 1194"/>
                  <a:gd name="T59" fmla="*/ 962 h 1196"/>
                  <a:gd name="T60" fmla="*/ 920 w 1194"/>
                  <a:gd name="T61" fmla="*/ 1103 h 1196"/>
                  <a:gd name="T62" fmla="*/ 854 w 1194"/>
                  <a:gd name="T63" fmla="*/ 1095 h 1196"/>
                  <a:gd name="T64" fmla="*/ 769 w 1194"/>
                  <a:gd name="T65" fmla="*/ 1085 h 1196"/>
                  <a:gd name="T66" fmla="*/ 757 w 1194"/>
                  <a:gd name="T67" fmla="*/ 1152 h 1196"/>
                  <a:gd name="T68" fmla="*/ 704 w 1194"/>
                  <a:gd name="T69" fmla="*/ 1192 h 1196"/>
                  <a:gd name="T70" fmla="*/ 490 w 1194"/>
                  <a:gd name="T71" fmla="*/ 1192 h 1196"/>
                  <a:gd name="T72" fmla="*/ 437 w 1194"/>
                  <a:gd name="T73" fmla="*/ 1152 h 1196"/>
                  <a:gd name="T74" fmla="*/ 426 w 1194"/>
                  <a:gd name="T75" fmla="*/ 1085 h 1196"/>
                  <a:gd name="T76" fmla="*/ 340 w 1194"/>
                  <a:gd name="T77" fmla="*/ 1095 h 1196"/>
                  <a:gd name="T78" fmla="*/ 274 w 1194"/>
                  <a:gd name="T79" fmla="*/ 1103 h 1196"/>
                  <a:gd name="T80" fmla="*/ 115 w 1194"/>
                  <a:gd name="T81" fmla="*/ 962 h 1196"/>
                  <a:gd name="T82" fmla="*/ 90 w 1194"/>
                  <a:gd name="T83" fmla="*/ 899 h 1196"/>
                  <a:gd name="T84" fmla="*/ 115 w 1194"/>
                  <a:gd name="T85" fmla="*/ 836 h 1196"/>
                  <a:gd name="T86" fmla="*/ 87 w 1194"/>
                  <a:gd name="T87" fmla="*/ 770 h 1196"/>
                  <a:gd name="T88" fmla="*/ 25 w 1194"/>
                  <a:gd name="T89" fmla="*/ 743 h 1196"/>
                  <a:gd name="T90" fmla="*/ 0 w 1194"/>
                  <a:gd name="T91" fmla="*/ 682 h 1196"/>
                  <a:gd name="T92" fmla="*/ 11 w 1194"/>
                  <a:gd name="T93" fmla="*/ 469 h 1196"/>
                  <a:gd name="T94" fmla="*/ 64 w 1194"/>
                  <a:gd name="T95" fmla="*/ 429 h 1196"/>
                  <a:gd name="T96" fmla="*/ 131 w 1194"/>
                  <a:gd name="T97" fmla="*/ 376 h 1196"/>
                  <a:gd name="T98" fmla="*/ 93 w 1194"/>
                  <a:gd name="T99" fmla="*/ 319 h 1196"/>
                  <a:gd name="T100" fmla="*/ 101 w 1194"/>
                  <a:gd name="T101" fmla="*/ 253 h 1196"/>
                  <a:gd name="T102" fmla="*/ 253 w 1194"/>
                  <a:gd name="T103" fmla="*/ 101 h 1196"/>
                  <a:gd name="T104" fmla="*/ 318 w 1194"/>
                  <a:gd name="T105" fmla="*/ 93 h 1196"/>
                  <a:gd name="T106" fmla="*/ 374 w 1194"/>
                  <a:gd name="T107" fmla="*/ 131 h 1196"/>
                  <a:gd name="T108" fmla="*/ 428 w 1194"/>
                  <a:gd name="T109" fmla="*/ 64 h 1196"/>
                  <a:gd name="T110" fmla="*/ 468 w 1194"/>
                  <a:gd name="T111" fmla="*/ 11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94" h="1196">
                    <a:moveTo>
                      <a:pt x="597" y="310"/>
                    </a:moveTo>
                    <a:lnTo>
                      <a:pt x="550" y="313"/>
                    </a:lnTo>
                    <a:lnTo>
                      <a:pt x="506" y="324"/>
                    </a:lnTo>
                    <a:lnTo>
                      <a:pt x="464" y="341"/>
                    </a:lnTo>
                    <a:lnTo>
                      <a:pt x="427" y="366"/>
                    </a:lnTo>
                    <a:lnTo>
                      <a:pt x="393" y="394"/>
                    </a:lnTo>
                    <a:lnTo>
                      <a:pt x="364" y="427"/>
                    </a:lnTo>
                    <a:lnTo>
                      <a:pt x="341" y="466"/>
                    </a:lnTo>
                    <a:lnTo>
                      <a:pt x="324" y="507"/>
                    </a:lnTo>
                    <a:lnTo>
                      <a:pt x="313" y="552"/>
                    </a:lnTo>
                    <a:lnTo>
                      <a:pt x="308" y="597"/>
                    </a:lnTo>
                    <a:lnTo>
                      <a:pt x="313" y="644"/>
                    </a:lnTo>
                    <a:lnTo>
                      <a:pt x="324" y="689"/>
                    </a:lnTo>
                    <a:lnTo>
                      <a:pt x="341" y="730"/>
                    </a:lnTo>
                    <a:lnTo>
                      <a:pt x="364" y="767"/>
                    </a:lnTo>
                    <a:lnTo>
                      <a:pt x="393" y="802"/>
                    </a:lnTo>
                    <a:lnTo>
                      <a:pt x="427" y="830"/>
                    </a:lnTo>
                    <a:lnTo>
                      <a:pt x="464" y="853"/>
                    </a:lnTo>
                    <a:lnTo>
                      <a:pt x="506" y="870"/>
                    </a:lnTo>
                    <a:lnTo>
                      <a:pt x="550" y="882"/>
                    </a:lnTo>
                    <a:lnTo>
                      <a:pt x="597" y="886"/>
                    </a:lnTo>
                    <a:lnTo>
                      <a:pt x="644" y="882"/>
                    </a:lnTo>
                    <a:lnTo>
                      <a:pt x="689" y="870"/>
                    </a:lnTo>
                    <a:lnTo>
                      <a:pt x="729" y="853"/>
                    </a:lnTo>
                    <a:lnTo>
                      <a:pt x="767" y="830"/>
                    </a:lnTo>
                    <a:lnTo>
                      <a:pt x="800" y="802"/>
                    </a:lnTo>
                    <a:lnTo>
                      <a:pt x="829" y="767"/>
                    </a:lnTo>
                    <a:lnTo>
                      <a:pt x="853" y="730"/>
                    </a:lnTo>
                    <a:lnTo>
                      <a:pt x="870" y="689"/>
                    </a:lnTo>
                    <a:lnTo>
                      <a:pt x="881" y="644"/>
                    </a:lnTo>
                    <a:lnTo>
                      <a:pt x="884" y="597"/>
                    </a:lnTo>
                    <a:lnTo>
                      <a:pt x="881" y="552"/>
                    </a:lnTo>
                    <a:lnTo>
                      <a:pt x="870" y="507"/>
                    </a:lnTo>
                    <a:lnTo>
                      <a:pt x="853" y="466"/>
                    </a:lnTo>
                    <a:lnTo>
                      <a:pt x="829" y="427"/>
                    </a:lnTo>
                    <a:lnTo>
                      <a:pt x="800" y="394"/>
                    </a:lnTo>
                    <a:lnTo>
                      <a:pt x="767" y="366"/>
                    </a:lnTo>
                    <a:lnTo>
                      <a:pt x="729" y="341"/>
                    </a:lnTo>
                    <a:lnTo>
                      <a:pt x="689" y="324"/>
                    </a:lnTo>
                    <a:lnTo>
                      <a:pt x="644" y="313"/>
                    </a:lnTo>
                    <a:lnTo>
                      <a:pt x="597" y="310"/>
                    </a:lnTo>
                    <a:close/>
                    <a:moveTo>
                      <a:pt x="513" y="0"/>
                    </a:moveTo>
                    <a:lnTo>
                      <a:pt x="681" y="0"/>
                    </a:lnTo>
                    <a:lnTo>
                      <a:pt x="704" y="3"/>
                    </a:lnTo>
                    <a:lnTo>
                      <a:pt x="726" y="11"/>
                    </a:lnTo>
                    <a:lnTo>
                      <a:pt x="743" y="26"/>
                    </a:lnTo>
                    <a:lnTo>
                      <a:pt x="757" y="43"/>
                    </a:lnTo>
                    <a:lnTo>
                      <a:pt x="766" y="64"/>
                    </a:lnTo>
                    <a:lnTo>
                      <a:pt x="769" y="88"/>
                    </a:lnTo>
                    <a:lnTo>
                      <a:pt x="769" y="111"/>
                    </a:lnTo>
                    <a:lnTo>
                      <a:pt x="820" y="131"/>
                    </a:lnTo>
                    <a:lnTo>
                      <a:pt x="836" y="116"/>
                    </a:lnTo>
                    <a:lnTo>
                      <a:pt x="854" y="101"/>
                    </a:lnTo>
                    <a:lnTo>
                      <a:pt x="876" y="93"/>
                    </a:lnTo>
                    <a:lnTo>
                      <a:pt x="899" y="90"/>
                    </a:lnTo>
                    <a:lnTo>
                      <a:pt x="920" y="93"/>
                    </a:lnTo>
                    <a:lnTo>
                      <a:pt x="941" y="101"/>
                    </a:lnTo>
                    <a:lnTo>
                      <a:pt x="960" y="116"/>
                    </a:lnTo>
                    <a:lnTo>
                      <a:pt x="1079" y="234"/>
                    </a:lnTo>
                    <a:lnTo>
                      <a:pt x="1093" y="253"/>
                    </a:lnTo>
                    <a:lnTo>
                      <a:pt x="1102" y="274"/>
                    </a:lnTo>
                    <a:lnTo>
                      <a:pt x="1104" y="297"/>
                    </a:lnTo>
                    <a:lnTo>
                      <a:pt x="1102" y="319"/>
                    </a:lnTo>
                    <a:lnTo>
                      <a:pt x="1093" y="340"/>
                    </a:lnTo>
                    <a:lnTo>
                      <a:pt x="1079" y="359"/>
                    </a:lnTo>
                    <a:lnTo>
                      <a:pt x="1063" y="376"/>
                    </a:lnTo>
                    <a:lnTo>
                      <a:pt x="1083" y="426"/>
                    </a:lnTo>
                    <a:lnTo>
                      <a:pt x="1106" y="426"/>
                    </a:lnTo>
                    <a:lnTo>
                      <a:pt x="1130" y="429"/>
                    </a:lnTo>
                    <a:lnTo>
                      <a:pt x="1152" y="437"/>
                    </a:lnTo>
                    <a:lnTo>
                      <a:pt x="1169" y="451"/>
                    </a:lnTo>
                    <a:lnTo>
                      <a:pt x="1183" y="469"/>
                    </a:lnTo>
                    <a:lnTo>
                      <a:pt x="1192" y="490"/>
                    </a:lnTo>
                    <a:lnTo>
                      <a:pt x="1194" y="514"/>
                    </a:lnTo>
                    <a:lnTo>
                      <a:pt x="1194" y="682"/>
                    </a:lnTo>
                    <a:lnTo>
                      <a:pt x="1192" y="704"/>
                    </a:lnTo>
                    <a:lnTo>
                      <a:pt x="1183" y="726"/>
                    </a:lnTo>
                    <a:lnTo>
                      <a:pt x="1169" y="743"/>
                    </a:lnTo>
                    <a:lnTo>
                      <a:pt x="1152" y="757"/>
                    </a:lnTo>
                    <a:lnTo>
                      <a:pt x="1130" y="766"/>
                    </a:lnTo>
                    <a:lnTo>
                      <a:pt x="1106" y="770"/>
                    </a:lnTo>
                    <a:lnTo>
                      <a:pt x="1083" y="770"/>
                    </a:lnTo>
                    <a:lnTo>
                      <a:pt x="1063" y="820"/>
                    </a:lnTo>
                    <a:lnTo>
                      <a:pt x="1079" y="836"/>
                    </a:lnTo>
                    <a:lnTo>
                      <a:pt x="1093" y="854"/>
                    </a:lnTo>
                    <a:lnTo>
                      <a:pt x="1102" y="876"/>
                    </a:lnTo>
                    <a:lnTo>
                      <a:pt x="1104" y="899"/>
                    </a:lnTo>
                    <a:lnTo>
                      <a:pt x="1102" y="922"/>
                    </a:lnTo>
                    <a:lnTo>
                      <a:pt x="1093" y="942"/>
                    </a:lnTo>
                    <a:lnTo>
                      <a:pt x="1079" y="962"/>
                    </a:lnTo>
                    <a:lnTo>
                      <a:pt x="960" y="1079"/>
                    </a:lnTo>
                    <a:lnTo>
                      <a:pt x="941" y="1095"/>
                    </a:lnTo>
                    <a:lnTo>
                      <a:pt x="920" y="1103"/>
                    </a:lnTo>
                    <a:lnTo>
                      <a:pt x="899" y="1106"/>
                    </a:lnTo>
                    <a:lnTo>
                      <a:pt x="876" y="1103"/>
                    </a:lnTo>
                    <a:lnTo>
                      <a:pt x="854" y="1095"/>
                    </a:lnTo>
                    <a:lnTo>
                      <a:pt x="836" y="1079"/>
                    </a:lnTo>
                    <a:lnTo>
                      <a:pt x="820" y="1063"/>
                    </a:lnTo>
                    <a:lnTo>
                      <a:pt x="769" y="1085"/>
                    </a:lnTo>
                    <a:lnTo>
                      <a:pt x="769" y="1107"/>
                    </a:lnTo>
                    <a:lnTo>
                      <a:pt x="766" y="1130"/>
                    </a:lnTo>
                    <a:lnTo>
                      <a:pt x="757" y="1152"/>
                    </a:lnTo>
                    <a:lnTo>
                      <a:pt x="743" y="1169"/>
                    </a:lnTo>
                    <a:lnTo>
                      <a:pt x="726" y="1183"/>
                    </a:lnTo>
                    <a:lnTo>
                      <a:pt x="704" y="1192"/>
                    </a:lnTo>
                    <a:lnTo>
                      <a:pt x="681" y="1196"/>
                    </a:lnTo>
                    <a:lnTo>
                      <a:pt x="513" y="1196"/>
                    </a:lnTo>
                    <a:lnTo>
                      <a:pt x="490" y="1192"/>
                    </a:lnTo>
                    <a:lnTo>
                      <a:pt x="468" y="1183"/>
                    </a:lnTo>
                    <a:lnTo>
                      <a:pt x="451" y="1169"/>
                    </a:lnTo>
                    <a:lnTo>
                      <a:pt x="437" y="1152"/>
                    </a:lnTo>
                    <a:lnTo>
                      <a:pt x="428" y="1130"/>
                    </a:lnTo>
                    <a:lnTo>
                      <a:pt x="426" y="1107"/>
                    </a:lnTo>
                    <a:lnTo>
                      <a:pt x="426" y="1085"/>
                    </a:lnTo>
                    <a:lnTo>
                      <a:pt x="374" y="1063"/>
                    </a:lnTo>
                    <a:lnTo>
                      <a:pt x="358" y="1079"/>
                    </a:lnTo>
                    <a:lnTo>
                      <a:pt x="340" y="1095"/>
                    </a:lnTo>
                    <a:lnTo>
                      <a:pt x="318" y="1103"/>
                    </a:lnTo>
                    <a:lnTo>
                      <a:pt x="296" y="1106"/>
                    </a:lnTo>
                    <a:lnTo>
                      <a:pt x="274" y="1103"/>
                    </a:lnTo>
                    <a:lnTo>
                      <a:pt x="253" y="1095"/>
                    </a:lnTo>
                    <a:lnTo>
                      <a:pt x="234" y="1079"/>
                    </a:lnTo>
                    <a:lnTo>
                      <a:pt x="115" y="962"/>
                    </a:lnTo>
                    <a:lnTo>
                      <a:pt x="101" y="942"/>
                    </a:lnTo>
                    <a:lnTo>
                      <a:pt x="93" y="922"/>
                    </a:lnTo>
                    <a:lnTo>
                      <a:pt x="90" y="899"/>
                    </a:lnTo>
                    <a:lnTo>
                      <a:pt x="93" y="876"/>
                    </a:lnTo>
                    <a:lnTo>
                      <a:pt x="101" y="854"/>
                    </a:lnTo>
                    <a:lnTo>
                      <a:pt x="115" y="836"/>
                    </a:lnTo>
                    <a:lnTo>
                      <a:pt x="131" y="820"/>
                    </a:lnTo>
                    <a:lnTo>
                      <a:pt x="110" y="770"/>
                    </a:lnTo>
                    <a:lnTo>
                      <a:pt x="87" y="770"/>
                    </a:lnTo>
                    <a:lnTo>
                      <a:pt x="64" y="766"/>
                    </a:lnTo>
                    <a:lnTo>
                      <a:pt x="43" y="757"/>
                    </a:lnTo>
                    <a:lnTo>
                      <a:pt x="25" y="743"/>
                    </a:lnTo>
                    <a:lnTo>
                      <a:pt x="11" y="726"/>
                    </a:lnTo>
                    <a:lnTo>
                      <a:pt x="3" y="704"/>
                    </a:lnTo>
                    <a:lnTo>
                      <a:pt x="0" y="682"/>
                    </a:lnTo>
                    <a:lnTo>
                      <a:pt x="0" y="514"/>
                    </a:lnTo>
                    <a:lnTo>
                      <a:pt x="3" y="490"/>
                    </a:lnTo>
                    <a:lnTo>
                      <a:pt x="11" y="469"/>
                    </a:lnTo>
                    <a:lnTo>
                      <a:pt x="25" y="451"/>
                    </a:lnTo>
                    <a:lnTo>
                      <a:pt x="43" y="437"/>
                    </a:lnTo>
                    <a:lnTo>
                      <a:pt x="64" y="429"/>
                    </a:lnTo>
                    <a:lnTo>
                      <a:pt x="87" y="426"/>
                    </a:lnTo>
                    <a:lnTo>
                      <a:pt x="110" y="426"/>
                    </a:lnTo>
                    <a:lnTo>
                      <a:pt x="131" y="376"/>
                    </a:lnTo>
                    <a:lnTo>
                      <a:pt x="115" y="359"/>
                    </a:lnTo>
                    <a:lnTo>
                      <a:pt x="101" y="340"/>
                    </a:lnTo>
                    <a:lnTo>
                      <a:pt x="93" y="319"/>
                    </a:lnTo>
                    <a:lnTo>
                      <a:pt x="90" y="297"/>
                    </a:lnTo>
                    <a:lnTo>
                      <a:pt x="93" y="274"/>
                    </a:lnTo>
                    <a:lnTo>
                      <a:pt x="101" y="253"/>
                    </a:lnTo>
                    <a:lnTo>
                      <a:pt x="115" y="234"/>
                    </a:lnTo>
                    <a:lnTo>
                      <a:pt x="234" y="116"/>
                    </a:lnTo>
                    <a:lnTo>
                      <a:pt x="253" y="101"/>
                    </a:lnTo>
                    <a:lnTo>
                      <a:pt x="274" y="93"/>
                    </a:lnTo>
                    <a:lnTo>
                      <a:pt x="296" y="90"/>
                    </a:lnTo>
                    <a:lnTo>
                      <a:pt x="318" y="93"/>
                    </a:lnTo>
                    <a:lnTo>
                      <a:pt x="340" y="101"/>
                    </a:lnTo>
                    <a:lnTo>
                      <a:pt x="358" y="116"/>
                    </a:lnTo>
                    <a:lnTo>
                      <a:pt x="374" y="131"/>
                    </a:lnTo>
                    <a:lnTo>
                      <a:pt x="426" y="111"/>
                    </a:lnTo>
                    <a:lnTo>
                      <a:pt x="426" y="88"/>
                    </a:lnTo>
                    <a:lnTo>
                      <a:pt x="428" y="64"/>
                    </a:lnTo>
                    <a:lnTo>
                      <a:pt x="437" y="43"/>
                    </a:lnTo>
                    <a:lnTo>
                      <a:pt x="451" y="26"/>
                    </a:lnTo>
                    <a:lnTo>
                      <a:pt x="468" y="11"/>
                    </a:lnTo>
                    <a:lnTo>
                      <a:pt x="490" y="3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21" name="Group 120"/>
          <p:cNvGrpSpPr/>
          <p:nvPr/>
        </p:nvGrpSpPr>
        <p:grpSpPr>
          <a:xfrm>
            <a:off x="147993" y="5948609"/>
            <a:ext cx="727877" cy="595242"/>
            <a:chOff x="147993" y="5948609"/>
            <a:chExt cx="727877" cy="595242"/>
          </a:xfrm>
        </p:grpSpPr>
        <p:sp>
          <p:nvSpPr>
            <p:cNvPr id="122" name="Rectangle 17"/>
            <p:cNvSpPr>
              <a:spLocks/>
            </p:cNvSpPr>
            <p:nvPr/>
          </p:nvSpPr>
          <p:spPr bwMode="auto">
            <a:xfrm>
              <a:off x="147993" y="6266852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История платежей</a:t>
              </a:r>
              <a:endParaRPr lang="ru-RU" sz="900" i="1" dirty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grpSp>
          <p:nvGrpSpPr>
            <p:cNvPr id="123" name="Group 201"/>
            <p:cNvGrpSpPr>
              <a:grpSpLocks noChangeAspect="1"/>
            </p:cNvGrpSpPr>
            <p:nvPr/>
          </p:nvGrpSpPr>
          <p:grpSpPr bwMode="auto">
            <a:xfrm>
              <a:off x="417906" y="5948609"/>
              <a:ext cx="202275" cy="226804"/>
              <a:chOff x="4176" y="3243"/>
              <a:chExt cx="602" cy="675"/>
            </a:xfrm>
            <a:solidFill>
              <a:schemeClr val="bg1"/>
            </a:solidFill>
          </p:grpSpPr>
          <p:sp>
            <p:nvSpPr>
              <p:cNvPr id="124" name="Freeform 203"/>
              <p:cNvSpPr>
                <a:spLocks/>
              </p:cNvSpPr>
              <p:nvPr/>
            </p:nvSpPr>
            <p:spPr bwMode="auto">
              <a:xfrm>
                <a:off x="4184" y="3243"/>
                <a:ext cx="594" cy="675"/>
              </a:xfrm>
              <a:custGeom>
                <a:avLst/>
                <a:gdLst>
                  <a:gd name="T0" fmla="*/ 2818 w 2971"/>
                  <a:gd name="T1" fmla="*/ 0 h 3374"/>
                  <a:gd name="T2" fmla="*/ 2877 w 2971"/>
                  <a:gd name="T3" fmla="*/ 12 h 3374"/>
                  <a:gd name="T4" fmla="*/ 2926 w 2971"/>
                  <a:gd name="T5" fmla="*/ 45 h 3374"/>
                  <a:gd name="T6" fmla="*/ 2958 w 2971"/>
                  <a:gd name="T7" fmla="*/ 93 h 3374"/>
                  <a:gd name="T8" fmla="*/ 2971 w 2971"/>
                  <a:gd name="T9" fmla="*/ 154 h 3374"/>
                  <a:gd name="T10" fmla="*/ 2960 w 2971"/>
                  <a:gd name="T11" fmla="*/ 207 h 3374"/>
                  <a:gd name="T12" fmla="*/ 2934 w 2971"/>
                  <a:gd name="T13" fmla="*/ 252 h 3374"/>
                  <a:gd name="T14" fmla="*/ 2894 w 2971"/>
                  <a:gd name="T15" fmla="*/ 285 h 3374"/>
                  <a:gd name="T16" fmla="*/ 2892 w 2971"/>
                  <a:gd name="T17" fmla="*/ 2091 h 3374"/>
                  <a:gd name="T18" fmla="*/ 2872 w 2971"/>
                  <a:gd name="T19" fmla="*/ 2124 h 3374"/>
                  <a:gd name="T20" fmla="*/ 2838 w 2971"/>
                  <a:gd name="T21" fmla="*/ 2145 h 3374"/>
                  <a:gd name="T22" fmla="*/ 2197 w 2971"/>
                  <a:gd name="T23" fmla="*/ 2147 h 3374"/>
                  <a:gd name="T24" fmla="*/ 2475 w 2971"/>
                  <a:gd name="T25" fmla="*/ 3208 h 3374"/>
                  <a:gd name="T26" fmla="*/ 2469 w 2971"/>
                  <a:gd name="T27" fmla="*/ 3261 h 3374"/>
                  <a:gd name="T28" fmla="*/ 2448 w 2971"/>
                  <a:gd name="T29" fmla="*/ 3309 h 3374"/>
                  <a:gd name="T30" fmla="*/ 2411 w 2971"/>
                  <a:gd name="T31" fmla="*/ 3346 h 3374"/>
                  <a:gd name="T32" fmla="*/ 2362 w 2971"/>
                  <a:gd name="T33" fmla="*/ 3370 h 3374"/>
                  <a:gd name="T34" fmla="*/ 2323 w 2971"/>
                  <a:gd name="T35" fmla="*/ 3374 h 3374"/>
                  <a:gd name="T36" fmla="*/ 2267 w 2971"/>
                  <a:gd name="T37" fmla="*/ 3363 h 3374"/>
                  <a:gd name="T38" fmla="*/ 2220 w 2971"/>
                  <a:gd name="T39" fmla="*/ 3334 h 3374"/>
                  <a:gd name="T40" fmla="*/ 2186 w 2971"/>
                  <a:gd name="T41" fmla="*/ 3288 h 3374"/>
                  <a:gd name="T42" fmla="*/ 1902 w 2971"/>
                  <a:gd name="T43" fmla="*/ 2224 h 3374"/>
                  <a:gd name="T44" fmla="*/ 794 w 2971"/>
                  <a:gd name="T45" fmla="*/ 3260 h 3374"/>
                  <a:gd name="T46" fmla="*/ 771 w 2971"/>
                  <a:gd name="T47" fmla="*/ 3309 h 3374"/>
                  <a:gd name="T48" fmla="*/ 734 w 2971"/>
                  <a:gd name="T49" fmla="*/ 3346 h 3374"/>
                  <a:gd name="T50" fmla="*/ 687 w 2971"/>
                  <a:gd name="T51" fmla="*/ 3369 h 3374"/>
                  <a:gd name="T52" fmla="*/ 635 w 2971"/>
                  <a:gd name="T53" fmla="*/ 3374 h 3374"/>
                  <a:gd name="T54" fmla="*/ 581 w 2971"/>
                  <a:gd name="T55" fmla="*/ 3360 h 3374"/>
                  <a:gd name="T56" fmla="*/ 538 w 2971"/>
                  <a:gd name="T57" fmla="*/ 3329 h 3374"/>
                  <a:gd name="T58" fmla="*/ 509 w 2971"/>
                  <a:gd name="T59" fmla="*/ 3286 h 3374"/>
                  <a:gd name="T60" fmla="*/ 495 w 2971"/>
                  <a:gd name="T61" fmla="*/ 3236 h 3374"/>
                  <a:gd name="T62" fmla="*/ 500 w 2971"/>
                  <a:gd name="T63" fmla="*/ 3181 h 3374"/>
                  <a:gd name="T64" fmla="*/ 639 w 2971"/>
                  <a:gd name="T65" fmla="*/ 2147 h 3374"/>
                  <a:gd name="T66" fmla="*/ 729 w 2971"/>
                  <a:gd name="T67" fmla="*/ 2048 h 3374"/>
                  <a:gd name="T68" fmla="*/ 2742 w 2971"/>
                  <a:gd name="T69" fmla="*/ 1994 h 3374"/>
                  <a:gd name="T70" fmla="*/ 227 w 2971"/>
                  <a:gd name="T71" fmla="*/ 307 h 3374"/>
                  <a:gd name="T72" fmla="*/ 184 w 2971"/>
                  <a:gd name="T73" fmla="*/ 1953 h 3374"/>
                  <a:gd name="T74" fmla="*/ 108 w 2971"/>
                  <a:gd name="T75" fmla="*/ 2023 h 3374"/>
                  <a:gd name="T76" fmla="*/ 76 w 2971"/>
                  <a:gd name="T77" fmla="*/ 285 h 3374"/>
                  <a:gd name="T78" fmla="*/ 36 w 2971"/>
                  <a:gd name="T79" fmla="*/ 252 h 3374"/>
                  <a:gd name="T80" fmla="*/ 9 w 2971"/>
                  <a:gd name="T81" fmla="*/ 207 h 3374"/>
                  <a:gd name="T82" fmla="*/ 0 w 2971"/>
                  <a:gd name="T83" fmla="*/ 154 h 3374"/>
                  <a:gd name="T84" fmla="*/ 12 w 2971"/>
                  <a:gd name="T85" fmla="*/ 93 h 3374"/>
                  <a:gd name="T86" fmla="*/ 44 w 2971"/>
                  <a:gd name="T87" fmla="*/ 45 h 3374"/>
                  <a:gd name="T88" fmla="*/ 93 w 2971"/>
                  <a:gd name="T89" fmla="*/ 12 h 3374"/>
                  <a:gd name="T90" fmla="*/ 152 w 2971"/>
                  <a:gd name="T91" fmla="*/ 0 h 3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1" h="3374">
                    <a:moveTo>
                      <a:pt x="152" y="0"/>
                    </a:moveTo>
                    <a:lnTo>
                      <a:pt x="2818" y="0"/>
                    </a:lnTo>
                    <a:lnTo>
                      <a:pt x="2849" y="3"/>
                    </a:lnTo>
                    <a:lnTo>
                      <a:pt x="2877" y="12"/>
                    </a:lnTo>
                    <a:lnTo>
                      <a:pt x="2904" y="27"/>
                    </a:lnTo>
                    <a:lnTo>
                      <a:pt x="2926" y="45"/>
                    </a:lnTo>
                    <a:lnTo>
                      <a:pt x="2945" y="68"/>
                    </a:lnTo>
                    <a:lnTo>
                      <a:pt x="2958" y="93"/>
                    </a:lnTo>
                    <a:lnTo>
                      <a:pt x="2968" y="123"/>
                    </a:lnTo>
                    <a:lnTo>
                      <a:pt x="2971" y="154"/>
                    </a:lnTo>
                    <a:lnTo>
                      <a:pt x="2968" y="181"/>
                    </a:lnTo>
                    <a:lnTo>
                      <a:pt x="2960" y="207"/>
                    </a:lnTo>
                    <a:lnTo>
                      <a:pt x="2950" y="231"/>
                    </a:lnTo>
                    <a:lnTo>
                      <a:pt x="2934" y="252"/>
                    </a:lnTo>
                    <a:lnTo>
                      <a:pt x="2916" y="271"/>
                    </a:lnTo>
                    <a:lnTo>
                      <a:pt x="2894" y="285"/>
                    </a:lnTo>
                    <a:lnTo>
                      <a:pt x="2894" y="2070"/>
                    </a:lnTo>
                    <a:lnTo>
                      <a:pt x="2892" y="2091"/>
                    </a:lnTo>
                    <a:lnTo>
                      <a:pt x="2883" y="2110"/>
                    </a:lnTo>
                    <a:lnTo>
                      <a:pt x="2872" y="2124"/>
                    </a:lnTo>
                    <a:lnTo>
                      <a:pt x="2856" y="2137"/>
                    </a:lnTo>
                    <a:lnTo>
                      <a:pt x="2838" y="2145"/>
                    </a:lnTo>
                    <a:lnTo>
                      <a:pt x="2818" y="2147"/>
                    </a:lnTo>
                    <a:lnTo>
                      <a:pt x="2197" y="2147"/>
                    </a:lnTo>
                    <a:lnTo>
                      <a:pt x="2470" y="3181"/>
                    </a:lnTo>
                    <a:lnTo>
                      <a:pt x="2475" y="3208"/>
                    </a:lnTo>
                    <a:lnTo>
                      <a:pt x="2475" y="3235"/>
                    </a:lnTo>
                    <a:lnTo>
                      <a:pt x="2469" y="3261"/>
                    </a:lnTo>
                    <a:lnTo>
                      <a:pt x="2461" y="3286"/>
                    </a:lnTo>
                    <a:lnTo>
                      <a:pt x="2448" y="3309"/>
                    </a:lnTo>
                    <a:lnTo>
                      <a:pt x="2432" y="3329"/>
                    </a:lnTo>
                    <a:lnTo>
                      <a:pt x="2411" y="3346"/>
                    </a:lnTo>
                    <a:lnTo>
                      <a:pt x="2388" y="3360"/>
                    </a:lnTo>
                    <a:lnTo>
                      <a:pt x="2362" y="3370"/>
                    </a:lnTo>
                    <a:lnTo>
                      <a:pt x="2343" y="3373"/>
                    </a:lnTo>
                    <a:lnTo>
                      <a:pt x="2323" y="3374"/>
                    </a:lnTo>
                    <a:lnTo>
                      <a:pt x="2295" y="3372"/>
                    </a:lnTo>
                    <a:lnTo>
                      <a:pt x="2267" y="3363"/>
                    </a:lnTo>
                    <a:lnTo>
                      <a:pt x="2243" y="3351"/>
                    </a:lnTo>
                    <a:lnTo>
                      <a:pt x="2220" y="3334"/>
                    </a:lnTo>
                    <a:lnTo>
                      <a:pt x="2201" y="3313"/>
                    </a:lnTo>
                    <a:lnTo>
                      <a:pt x="2186" y="3288"/>
                    </a:lnTo>
                    <a:lnTo>
                      <a:pt x="2176" y="3260"/>
                    </a:lnTo>
                    <a:lnTo>
                      <a:pt x="1902" y="2224"/>
                    </a:lnTo>
                    <a:lnTo>
                      <a:pt x="1069" y="2224"/>
                    </a:lnTo>
                    <a:lnTo>
                      <a:pt x="794" y="3260"/>
                    </a:lnTo>
                    <a:lnTo>
                      <a:pt x="785" y="3287"/>
                    </a:lnTo>
                    <a:lnTo>
                      <a:pt x="771" y="3309"/>
                    </a:lnTo>
                    <a:lnTo>
                      <a:pt x="754" y="3329"/>
                    </a:lnTo>
                    <a:lnTo>
                      <a:pt x="734" y="3346"/>
                    </a:lnTo>
                    <a:lnTo>
                      <a:pt x="712" y="3360"/>
                    </a:lnTo>
                    <a:lnTo>
                      <a:pt x="687" y="3369"/>
                    </a:lnTo>
                    <a:lnTo>
                      <a:pt x="662" y="3374"/>
                    </a:lnTo>
                    <a:lnTo>
                      <a:pt x="635" y="3374"/>
                    </a:lnTo>
                    <a:lnTo>
                      <a:pt x="608" y="3370"/>
                    </a:lnTo>
                    <a:lnTo>
                      <a:pt x="581" y="3360"/>
                    </a:lnTo>
                    <a:lnTo>
                      <a:pt x="558" y="3346"/>
                    </a:lnTo>
                    <a:lnTo>
                      <a:pt x="538" y="3329"/>
                    </a:lnTo>
                    <a:lnTo>
                      <a:pt x="522" y="3309"/>
                    </a:lnTo>
                    <a:lnTo>
                      <a:pt x="509" y="3286"/>
                    </a:lnTo>
                    <a:lnTo>
                      <a:pt x="500" y="3261"/>
                    </a:lnTo>
                    <a:lnTo>
                      <a:pt x="495" y="3236"/>
                    </a:lnTo>
                    <a:lnTo>
                      <a:pt x="495" y="3208"/>
                    </a:lnTo>
                    <a:lnTo>
                      <a:pt x="500" y="3181"/>
                    </a:lnTo>
                    <a:lnTo>
                      <a:pt x="773" y="2147"/>
                    </a:lnTo>
                    <a:lnTo>
                      <a:pt x="639" y="2147"/>
                    </a:lnTo>
                    <a:lnTo>
                      <a:pt x="683" y="2099"/>
                    </a:lnTo>
                    <a:lnTo>
                      <a:pt x="729" y="2048"/>
                    </a:lnTo>
                    <a:lnTo>
                      <a:pt x="778" y="1994"/>
                    </a:lnTo>
                    <a:lnTo>
                      <a:pt x="2742" y="1994"/>
                    </a:lnTo>
                    <a:lnTo>
                      <a:pt x="2742" y="307"/>
                    </a:lnTo>
                    <a:lnTo>
                      <a:pt x="227" y="307"/>
                    </a:lnTo>
                    <a:lnTo>
                      <a:pt x="227" y="1912"/>
                    </a:lnTo>
                    <a:lnTo>
                      <a:pt x="184" y="1953"/>
                    </a:lnTo>
                    <a:lnTo>
                      <a:pt x="144" y="1989"/>
                    </a:lnTo>
                    <a:lnTo>
                      <a:pt x="108" y="2023"/>
                    </a:lnTo>
                    <a:lnTo>
                      <a:pt x="76" y="2052"/>
                    </a:lnTo>
                    <a:lnTo>
                      <a:pt x="76" y="285"/>
                    </a:lnTo>
                    <a:lnTo>
                      <a:pt x="55" y="271"/>
                    </a:lnTo>
                    <a:lnTo>
                      <a:pt x="36" y="252"/>
                    </a:lnTo>
                    <a:lnTo>
                      <a:pt x="21" y="231"/>
                    </a:lnTo>
                    <a:lnTo>
                      <a:pt x="9" y="207"/>
                    </a:lnTo>
                    <a:lnTo>
                      <a:pt x="2" y="181"/>
                    </a:lnTo>
                    <a:lnTo>
                      <a:pt x="0" y="154"/>
                    </a:lnTo>
                    <a:lnTo>
                      <a:pt x="3" y="123"/>
                    </a:lnTo>
                    <a:lnTo>
                      <a:pt x="12" y="93"/>
                    </a:lnTo>
                    <a:lnTo>
                      <a:pt x="25" y="68"/>
                    </a:lnTo>
                    <a:lnTo>
                      <a:pt x="44" y="45"/>
                    </a:lnTo>
                    <a:lnTo>
                      <a:pt x="66" y="27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5" name="Freeform 204"/>
              <p:cNvSpPr>
                <a:spLocks/>
              </p:cNvSpPr>
              <p:nvPr/>
            </p:nvSpPr>
            <p:spPr bwMode="auto">
              <a:xfrm>
                <a:off x="4443" y="3439"/>
                <a:ext cx="60" cy="176"/>
              </a:xfrm>
              <a:custGeom>
                <a:avLst/>
                <a:gdLst>
                  <a:gd name="T0" fmla="*/ 153 w 304"/>
                  <a:gd name="T1" fmla="*/ 0 h 881"/>
                  <a:gd name="T2" fmla="*/ 183 w 304"/>
                  <a:gd name="T3" fmla="*/ 3 h 881"/>
                  <a:gd name="T4" fmla="*/ 211 w 304"/>
                  <a:gd name="T5" fmla="*/ 12 h 881"/>
                  <a:gd name="T6" fmla="*/ 237 w 304"/>
                  <a:gd name="T7" fmla="*/ 25 h 881"/>
                  <a:gd name="T8" fmla="*/ 260 w 304"/>
                  <a:gd name="T9" fmla="*/ 44 h 881"/>
                  <a:gd name="T10" fmla="*/ 278 w 304"/>
                  <a:gd name="T11" fmla="*/ 68 h 881"/>
                  <a:gd name="T12" fmla="*/ 293 w 304"/>
                  <a:gd name="T13" fmla="*/ 93 h 881"/>
                  <a:gd name="T14" fmla="*/ 301 w 304"/>
                  <a:gd name="T15" fmla="*/ 122 h 881"/>
                  <a:gd name="T16" fmla="*/ 304 w 304"/>
                  <a:gd name="T17" fmla="*/ 154 h 881"/>
                  <a:gd name="T18" fmla="*/ 304 w 304"/>
                  <a:gd name="T19" fmla="*/ 729 h 881"/>
                  <a:gd name="T20" fmla="*/ 301 w 304"/>
                  <a:gd name="T21" fmla="*/ 759 h 881"/>
                  <a:gd name="T22" fmla="*/ 293 w 304"/>
                  <a:gd name="T23" fmla="*/ 788 h 881"/>
                  <a:gd name="T24" fmla="*/ 278 w 304"/>
                  <a:gd name="T25" fmla="*/ 814 h 881"/>
                  <a:gd name="T26" fmla="*/ 260 w 304"/>
                  <a:gd name="T27" fmla="*/ 837 h 881"/>
                  <a:gd name="T28" fmla="*/ 237 w 304"/>
                  <a:gd name="T29" fmla="*/ 856 h 881"/>
                  <a:gd name="T30" fmla="*/ 211 w 304"/>
                  <a:gd name="T31" fmla="*/ 870 h 881"/>
                  <a:gd name="T32" fmla="*/ 183 w 304"/>
                  <a:gd name="T33" fmla="*/ 878 h 881"/>
                  <a:gd name="T34" fmla="*/ 153 w 304"/>
                  <a:gd name="T35" fmla="*/ 881 h 881"/>
                  <a:gd name="T36" fmla="*/ 121 w 304"/>
                  <a:gd name="T37" fmla="*/ 878 h 881"/>
                  <a:gd name="T38" fmla="*/ 92 w 304"/>
                  <a:gd name="T39" fmla="*/ 870 h 881"/>
                  <a:gd name="T40" fmla="*/ 67 w 304"/>
                  <a:gd name="T41" fmla="*/ 856 h 881"/>
                  <a:gd name="T42" fmla="*/ 44 w 304"/>
                  <a:gd name="T43" fmla="*/ 837 h 881"/>
                  <a:gd name="T44" fmla="*/ 26 w 304"/>
                  <a:gd name="T45" fmla="*/ 814 h 881"/>
                  <a:gd name="T46" fmla="*/ 11 w 304"/>
                  <a:gd name="T47" fmla="*/ 788 h 881"/>
                  <a:gd name="T48" fmla="*/ 3 w 304"/>
                  <a:gd name="T49" fmla="*/ 759 h 881"/>
                  <a:gd name="T50" fmla="*/ 0 w 304"/>
                  <a:gd name="T51" fmla="*/ 729 h 881"/>
                  <a:gd name="T52" fmla="*/ 0 w 304"/>
                  <a:gd name="T53" fmla="*/ 154 h 881"/>
                  <a:gd name="T54" fmla="*/ 3 w 304"/>
                  <a:gd name="T55" fmla="*/ 122 h 881"/>
                  <a:gd name="T56" fmla="*/ 11 w 304"/>
                  <a:gd name="T57" fmla="*/ 93 h 881"/>
                  <a:gd name="T58" fmla="*/ 26 w 304"/>
                  <a:gd name="T59" fmla="*/ 68 h 881"/>
                  <a:gd name="T60" fmla="*/ 44 w 304"/>
                  <a:gd name="T61" fmla="*/ 44 h 881"/>
                  <a:gd name="T62" fmla="*/ 67 w 304"/>
                  <a:gd name="T63" fmla="*/ 25 h 881"/>
                  <a:gd name="T64" fmla="*/ 92 w 304"/>
                  <a:gd name="T65" fmla="*/ 12 h 881"/>
                  <a:gd name="T66" fmla="*/ 121 w 304"/>
                  <a:gd name="T67" fmla="*/ 3 h 881"/>
                  <a:gd name="T68" fmla="*/ 153 w 304"/>
                  <a:gd name="T69" fmla="*/ 0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881">
                    <a:moveTo>
                      <a:pt x="153" y="0"/>
                    </a:moveTo>
                    <a:lnTo>
                      <a:pt x="183" y="3"/>
                    </a:lnTo>
                    <a:lnTo>
                      <a:pt x="211" y="12"/>
                    </a:lnTo>
                    <a:lnTo>
                      <a:pt x="237" y="25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4" y="154"/>
                    </a:lnTo>
                    <a:lnTo>
                      <a:pt x="304" y="729"/>
                    </a:lnTo>
                    <a:lnTo>
                      <a:pt x="301" y="759"/>
                    </a:lnTo>
                    <a:lnTo>
                      <a:pt x="293" y="788"/>
                    </a:lnTo>
                    <a:lnTo>
                      <a:pt x="278" y="814"/>
                    </a:lnTo>
                    <a:lnTo>
                      <a:pt x="260" y="837"/>
                    </a:lnTo>
                    <a:lnTo>
                      <a:pt x="237" y="856"/>
                    </a:lnTo>
                    <a:lnTo>
                      <a:pt x="211" y="870"/>
                    </a:lnTo>
                    <a:lnTo>
                      <a:pt x="183" y="878"/>
                    </a:lnTo>
                    <a:lnTo>
                      <a:pt x="153" y="881"/>
                    </a:lnTo>
                    <a:lnTo>
                      <a:pt x="121" y="878"/>
                    </a:lnTo>
                    <a:lnTo>
                      <a:pt x="92" y="870"/>
                    </a:lnTo>
                    <a:lnTo>
                      <a:pt x="67" y="856"/>
                    </a:lnTo>
                    <a:lnTo>
                      <a:pt x="44" y="837"/>
                    </a:lnTo>
                    <a:lnTo>
                      <a:pt x="26" y="814"/>
                    </a:lnTo>
                    <a:lnTo>
                      <a:pt x="11" y="788"/>
                    </a:lnTo>
                    <a:lnTo>
                      <a:pt x="3" y="759"/>
                    </a:lnTo>
                    <a:lnTo>
                      <a:pt x="0" y="729"/>
                    </a:lnTo>
                    <a:lnTo>
                      <a:pt x="0" y="154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5"/>
                    </a:lnTo>
                    <a:lnTo>
                      <a:pt x="92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6" name="Freeform 205"/>
              <p:cNvSpPr>
                <a:spLocks/>
              </p:cNvSpPr>
              <p:nvPr/>
            </p:nvSpPr>
            <p:spPr bwMode="auto">
              <a:xfrm>
                <a:off x="4542" y="3331"/>
                <a:ext cx="60" cy="284"/>
              </a:xfrm>
              <a:custGeom>
                <a:avLst/>
                <a:gdLst>
                  <a:gd name="T0" fmla="*/ 153 w 304"/>
                  <a:gd name="T1" fmla="*/ 0 h 1418"/>
                  <a:gd name="T2" fmla="*/ 183 w 304"/>
                  <a:gd name="T3" fmla="*/ 3 h 1418"/>
                  <a:gd name="T4" fmla="*/ 212 w 304"/>
                  <a:gd name="T5" fmla="*/ 12 h 1418"/>
                  <a:gd name="T6" fmla="*/ 237 w 304"/>
                  <a:gd name="T7" fmla="*/ 26 h 1418"/>
                  <a:gd name="T8" fmla="*/ 260 w 304"/>
                  <a:gd name="T9" fmla="*/ 45 h 1418"/>
                  <a:gd name="T10" fmla="*/ 278 w 304"/>
                  <a:gd name="T11" fmla="*/ 67 h 1418"/>
                  <a:gd name="T12" fmla="*/ 293 w 304"/>
                  <a:gd name="T13" fmla="*/ 94 h 1418"/>
                  <a:gd name="T14" fmla="*/ 301 w 304"/>
                  <a:gd name="T15" fmla="*/ 122 h 1418"/>
                  <a:gd name="T16" fmla="*/ 304 w 304"/>
                  <a:gd name="T17" fmla="*/ 153 h 1418"/>
                  <a:gd name="T18" fmla="*/ 304 w 304"/>
                  <a:gd name="T19" fmla="*/ 1266 h 1418"/>
                  <a:gd name="T20" fmla="*/ 301 w 304"/>
                  <a:gd name="T21" fmla="*/ 1296 h 1418"/>
                  <a:gd name="T22" fmla="*/ 293 w 304"/>
                  <a:gd name="T23" fmla="*/ 1325 h 1418"/>
                  <a:gd name="T24" fmla="*/ 278 w 304"/>
                  <a:gd name="T25" fmla="*/ 1351 h 1418"/>
                  <a:gd name="T26" fmla="*/ 260 w 304"/>
                  <a:gd name="T27" fmla="*/ 1374 h 1418"/>
                  <a:gd name="T28" fmla="*/ 237 w 304"/>
                  <a:gd name="T29" fmla="*/ 1393 h 1418"/>
                  <a:gd name="T30" fmla="*/ 212 w 304"/>
                  <a:gd name="T31" fmla="*/ 1407 h 1418"/>
                  <a:gd name="T32" fmla="*/ 183 w 304"/>
                  <a:gd name="T33" fmla="*/ 1415 h 1418"/>
                  <a:gd name="T34" fmla="*/ 153 w 304"/>
                  <a:gd name="T35" fmla="*/ 1418 h 1418"/>
                  <a:gd name="T36" fmla="*/ 121 w 304"/>
                  <a:gd name="T37" fmla="*/ 1415 h 1418"/>
                  <a:gd name="T38" fmla="*/ 93 w 304"/>
                  <a:gd name="T39" fmla="*/ 1407 h 1418"/>
                  <a:gd name="T40" fmla="*/ 67 w 304"/>
                  <a:gd name="T41" fmla="*/ 1393 h 1418"/>
                  <a:gd name="T42" fmla="*/ 44 w 304"/>
                  <a:gd name="T43" fmla="*/ 1374 h 1418"/>
                  <a:gd name="T44" fmla="*/ 26 w 304"/>
                  <a:gd name="T45" fmla="*/ 1351 h 1418"/>
                  <a:gd name="T46" fmla="*/ 11 w 304"/>
                  <a:gd name="T47" fmla="*/ 1325 h 1418"/>
                  <a:gd name="T48" fmla="*/ 3 w 304"/>
                  <a:gd name="T49" fmla="*/ 1296 h 1418"/>
                  <a:gd name="T50" fmla="*/ 0 w 304"/>
                  <a:gd name="T51" fmla="*/ 1266 h 1418"/>
                  <a:gd name="T52" fmla="*/ 0 w 304"/>
                  <a:gd name="T53" fmla="*/ 153 h 1418"/>
                  <a:gd name="T54" fmla="*/ 3 w 304"/>
                  <a:gd name="T55" fmla="*/ 122 h 1418"/>
                  <a:gd name="T56" fmla="*/ 11 w 304"/>
                  <a:gd name="T57" fmla="*/ 94 h 1418"/>
                  <a:gd name="T58" fmla="*/ 26 w 304"/>
                  <a:gd name="T59" fmla="*/ 67 h 1418"/>
                  <a:gd name="T60" fmla="*/ 44 w 304"/>
                  <a:gd name="T61" fmla="*/ 45 h 1418"/>
                  <a:gd name="T62" fmla="*/ 67 w 304"/>
                  <a:gd name="T63" fmla="*/ 26 h 1418"/>
                  <a:gd name="T64" fmla="*/ 93 w 304"/>
                  <a:gd name="T65" fmla="*/ 12 h 1418"/>
                  <a:gd name="T66" fmla="*/ 121 w 304"/>
                  <a:gd name="T67" fmla="*/ 3 h 1418"/>
                  <a:gd name="T68" fmla="*/ 153 w 304"/>
                  <a:gd name="T69" fmla="*/ 0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1418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2"/>
                    </a:lnTo>
                    <a:lnTo>
                      <a:pt x="237" y="26"/>
                    </a:lnTo>
                    <a:lnTo>
                      <a:pt x="260" y="45"/>
                    </a:lnTo>
                    <a:lnTo>
                      <a:pt x="278" y="67"/>
                    </a:lnTo>
                    <a:lnTo>
                      <a:pt x="293" y="94"/>
                    </a:lnTo>
                    <a:lnTo>
                      <a:pt x="301" y="122"/>
                    </a:lnTo>
                    <a:lnTo>
                      <a:pt x="304" y="153"/>
                    </a:lnTo>
                    <a:lnTo>
                      <a:pt x="304" y="1266"/>
                    </a:lnTo>
                    <a:lnTo>
                      <a:pt x="301" y="1296"/>
                    </a:lnTo>
                    <a:lnTo>
                      <a:pt x="293" y="1325"/>
                    </a:lnTo>
                    <a:lnTo>
                      <a:pt x="278" y="1351"/>
                    </a:lnTo>
                    <a:lnTo>
                      <a:pt x="260" y="1374"/>
                    </a:lnTo>
                    <a:lnTo>
                      <a:pt x="237" y="1393"/>
                    </a:lnTo>
                    <a:lnTo>
                      <a:pt x="212" y="1407"/>
                    </a:lnTo>
                    <a:lnTo>
                      <a:pt x="183" y="1415"/>
                    </a:lnTo>
                    <a:lnTo>
                      <a:pt x="153" y="1418"/>
                    </a:lnTo>
                    <a:lnTo>
                      <a:pt x="121" y="1415"/>
                    </a:lnTo>
                    <a:lnTo>
                      <a:pt x="93" y="1407"/>
                    </a:lnTo>
                    <a:lnTo>
                      <a:pt x="67" y="1393"/>
                    </a:lnTo>
                    <a:lnTo>
                      <a:pt x="44" y="1374"/>
                    </a:lnTo>
                    <a:lnTo>
                      <a:pt x="26" y="1351"/>
                    </a:lnTo>
                    <a:lnTo>
                      <a:pt x="11" y="1325"/>
                    </a:lnTo>
                    <a:lnTo>
                      <a:pt x="3" y="1296"/>
                    </a:lnTo>
                    <a:lnTo>
                      <a:pt x="0" y="1266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4"/>
                    </a:lnTo>
                    <a:lnTo>
                      <a:pt x="26" y="67"/>
                    </a:lnTo>
                    <a:lnTo>
                      <a:pt x="44" y="45"/>
                    </a:lnTo>
                    <a:lnTo>
                      <a:pt x="67" y="26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7" name="Freeform 206"/>
              <p:cNvSpPr>
                <a:spLocks/>
              </p:cNvSpPr>
              <p:nvPr/>
            </p:nvSpPr>
            <p:spPr bwMode="auto">
              <a:xfrm>
                <a:off x="4641" y="3393"/>
                <a:ext cx="61" cy="222"/>
              </a:xfrm>
              <a:custGeom>
                <a:avLst/>
                <a:gdLst>
                  <a:gd name="T0" fmla="*/ 153 w 305"/>
                  <a:gd name="T1" fmla="*/ 0 h 1111"/>
                  <a:gd name="T2" fmla="*/ 183 w 305"/>
                  <a:gd name="T3" fmla="*/ 3 h 1111"/>
                  <a:gd name="T4" fmla="*/ 212 w 305"/>
                  <a:gd name="T5" fmla="*/ 11 h 1111"/>
                  <a:gd name="T6" fmla="*/ 237 w 305"/>
                  <a:gd name="T7" fmla="*/ 26 h 1111"/>
                  <a:gd name="T8" fmla="*/ 260 w 305"/>
                  <a:gd name="T9" fmla="*/ 44 h 1111"/>
                  <a:gd name="T10" fmla="*/ 278 w 305"/>
                  <a:gd name="T11" fmla="*/ 68 h 1111"/>
                  <a:gd name="T12" fmla="*/ 293 w 305"/>
                  <a:gd name="T13" fmla="*/ 93 h 1111"/>
                  <a:gd name="T14" fmla="*/ 301 w 305"/>
                  <a:gd name="T15" fmla="*/ 122 h 1111"/>
                  <a:gd name="T16" fmla="*/ 305 w 305"/>
                  <a:gd name="T17" fmla="*/ 153 h 1111"/>
                  <a:gd name="T18" fmla="*/ 305 w 305"/>
                  <a:gd name="T19" fmla="*/ 959 h 1111"/>
                  <a:gd name="T20" fmla="*/ 301 w 305"/>
                  <a:gd name="T21" fmla="*/ 989 h 1111"/>
                  <a:gd name="T22" fmla="*/ 293 w 305"/>
                  <a:gd name="T23" fmla="*/ 1018 h 1111"/>
                  <a:gd name="T24" fmla="*/ 278 w 305"/>
                  <a:gd name="T25" fmla="*/ 1044 h 1111"/>
                  <a:gd name="T26" fmla="*/ 260 w 305"/>
                  <a:gd name="T27" fmla="*/ 1067 h 1111"/>
                  <a:gd name="T28" fmla="*/ 237 w 305"/>
                  <a:gd name="T29" fmla="*/ 1086 h 1111"/>
                  <a:gd name="T30" fmla="*/ 212 w 305"/>
                  <a:gd name="T31" fmla="*/ 1100 h 1111"/>
                  <a:gd name="T32" fmla="*/ 183 w 305"/>
                  <a:gd name="T33" fmla="*/ 1108 h 1111"/>
                  <a:gd name="T34" fmla="*/ 153 w 305"/>
                  <a:gd name="T35" fmla="*/ 1111 h 1111"/>
                  <a:gd name="T36" fmla="*/ 121 w 305"/>
                  <a:gd name="T37" fmla="*/ 1108 h 1111"/>
                  <a:gd name="T38" fmla="*/ 93 w 305"/>
                  <a:gd name="T39" fmla="*/ 1100 h 1111"/>
                  <a:gd name="T40" fmla="*/ 67 w 305"/>
                  <a:gd name="T41" fmla="*/ 1086 h 1111"/>
                  <a:gd name="T42" fmla="*/ 44 w 305"/>
                  <a:gd name="T43" fmla="*/ 1067 h 1111"/>
                  <a:gd name="T44" fmla="*/ 26 w 305"/>
                  <a:gd name="T45" fmla="*/ 1044 h 1111"/>
                  <a:gd name="T46" fmla="*/ 12 w 305"/>
                  <a:gd name="T47" fmla="*/ 1018 h 1111"/>
                  <a:gd name="T48" fmla="*/ 3 w 305"/>
                  <a:gd name="T49" fmla="*/ 989 h 1111"/>
                  <a:gd name="T50" fmla="*/ 0 w 305"/>
                  <a:gd name="T51" fmla="*/ 959 h 1111"/>
                  <a:gd name="T52" fmla="*/ 0 w 305"/>
                  <a:gd name="T53" fmla="*/ 153 h 1111"/>
                  <a:gd name="T54" fmla="*/ 3 w 305"/>
                  <a:gd name="T55" fmla="*/ 122 h 1111"/>
                  <a:gd name="T56" fmla="*/ 12 w 305"/>
                  <a:gd name="T57" fmla="*/ 93 h 1111"/>
                  <a:gd name="T58" fmla="*/ 26 w 305"/>
                  <a:gd name="T59" fmla="*/ 68 h 1111"/>
                  <a:gd name="T60" fmla="*/ 44 w 305"/>
                  <a:gd name="T61" fmla="*/ 44 h 1111"/>
                  <a:gd name="T62" fmla="*/ 67 w 305"/>
                  <a:gd name="T63" fmla="*/ 26 h 1111"/>
                  <a:gd name="T64" fmla="*/ 93 w 305"/>
                  <a:gd name="T65" fmla="*/ 11 h 1111"/>
                  <a:gd name="T66" fmla="*/ 121 w 305"/>
                  <a:gd name="T67" fmla="*/ 3 h 1111"/>
                  <a:gd name="T68" fmla="*/ 153 w 305"/>
                  <a:gd name="T69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5" h="1111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1"/>
                    </a:lnTo>
                    <a:lnTo>
                      <a:pt x="237" y="26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5" y="153"/>
                    </a:lnTo>
                    <a:lnTo>
                      <a:pt x="305" y="959"/>
                    </a:lnTo>
                    <a:lnTo>
                      <a:pt x="301" y="989"/>
                    </a:lnTo>
                    <a:lnTo>
                      <a:pt x="293" y="1018"/>
                    </a:lnTo>
                    <a:lnTo>
                      <a:pt x="278" y="1044"/>
                    </a:lnTo>
                    <a:lnTo>
                      <a:pt x="260" y="1067"/>
                    </a:lnTo>
                    <a:lnTo>
                      <a:pt x="237" y="1086"/>
                    </a:lnTo>
                    <a:lnTo>
                      <a:pt x="212" y="1100"/>
                    </a:lnTo>
                    <a:lnTo>
                      <a:pt x="183" y="1108"/>
                    </a:lnTo>
                    <a:lnTo>
                      <a:pt x="153" y="1111"/>
                    </a:lnTo>
                    <a:lnTo>
                      <a:pt x="121" y="1108"/>
                    </a:lnTo>
                    <a:lnTo>
                      <a:pt x="93" y="1100"/>
                    </a:lnTo>
                    <a:lnTo>
                      <a:pt x="67" y="1086"/>
                    </a:lnTo>
                    <a:lnTo>
                      <a:pt x="44" y="1067"/>
                    </a:lnTo>
                    <a:lnTo>
                      <a:pt x="26" y="1044"/>
                    </a:lnTo>
                    <a:lnTo>
                      <a:pt x="12" y="1018"/>
                    </a:lnTo>
                    <a:lnTo>
                      <a:pt x="3" y="989"/>
                    </a:lnTo>
                    <a:lnTo>
                      <a:pt x="0" y="959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2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6"/>
                    </a:lnTo>
                    <a:lnTo>
                      <a:pt x="93" y="11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8" name="Freeform 207"/>
              <p:cNvSpPr>
                <a:spLocks/>
              </p:cNvSpPr>
              <p:nvPr/>
            </p:nvSpPr>
            <p:spPr bwMode="auto">
              <a:xfrm>
                <a:off x="4176" y="3520"/>
                <a:ext cx="223" cy="225"/>
              </a:xfrm>
              <a:custGeom>
                <a:avLst/>
                <a:gdLst>
                  <a:gd name="T0" fmla="*/ 1085 w 1117"/>
                  <a:gd name="T1" fmla="*/ 0 h 1123"/>
                  <a:gd name="T2" fmla="*/ 1106 w 1117"/>
                  <a:gd name="T3" fmla="*/ 10 h 1123"/>
                  <a:gd name="T4" fmla="*/ 1117 w 1117"/>
                  <a:gd name="T5" fmla="*/ 31 h 1123"/>
                  <a:gd name="T6" fmla="*/ 1113 w 1117"/>
                  <a:gd name="T7" fmla="*/ 53 h 1123"/>
                  <a:gd name="T8" fmla="*/ 1104 w 1117"/>
                  <a:gd name="T9" fmla="*/ 66 h 1123"/>
                  <a:gd name="T10" fmla="*/ 1089 w 1117"/>
                  <a:gd name="T11" fmla="*/ 82 h 1123"/>
                  <a:gd name="T12" fmla="*/ 1062 w 1117"/>
                  <a:gd name="T13" fmla="*/ 112 h 1123"/>
                  <a:gd name="T14" fmla="*/ 1023 w 1117"/>
                  <a:gd name="T15" fmla="*/ 155 h 1123"/>
                  <a:gd name="T16" fmla="*/ 973 w 1117"/>
                  <a:gd name="T17" fmla="*/ 209 h 1123"/>
                  <a:gd name="T18" fmla="*/ 917 w 1117"/>
                  <a:gd name="T19" fmla="*/ 272 h 1123"/>
                  <a:gd name="T20" fmla="*/ 853 w 1117"/>
                  <a:gd name="T21" fmla="*/ 342 h 1123"/>
                  <a:gd name="T22" fmla="*/ 785 w 1117"/>
                  <a:gd name="T23" fmla="*/ 417 h 1123"/>
                  <a:gd name="T24" fmla="*/ 712 w 1117"/>
                  <a:gd name="T25" fmla="*/ 497 h 1123"/>
                  <a:gd name="T26" fmla="*/ 640 w 1117"/>
                  <a:gd name="T27" fmla="*/ 577 h 1123"/>
                  <a:gd name="T28" fmla="*/ 566 w 1117"/>
                  <a:gd name="T29" fmla="*/ 658 h 1123"/>
                  <a:gd name="T30" fmla="*/ 494 w 1117"/>
                  <a:gd name="T31" fmla="*/ 737 h 1123"/>
                  <a:gd name="T32" fmla="*/ 425 w 1117"/>
                  <a:gd name="T33" fmla="*/ 813 h 1123"/>
                  <a:gd name="T34" fmla="*/ 361 w 1117"/>
                  <a:gd name="T35" fmla="*/ 884 h 1123"/>
                  <a:gd name="T36" fmla="*/ 303 w 1117"/>
                  <a:gd name="T37" fmla="*/ 946 h 1123"/>
                  <a:gd name="T38" fmla="*/ 254 w 1117"/>
                  <a:gd name="T39" fmla="*/ 1001 h 1123"/>
                  <a:gd name="T40" fmla="*/ 215 w 1117"/>
                  <a:gd name="T41" fmla="*/ 1045 h 1123"/>
                  <a:gd name="T42" fmla="*/ 186 w 1117"/>
                  <a:gd name="T43" fmla="*/ 1076 h 1123"/>
                  <a:gd name="T44" fmla="*/ 171 w 1117"/>
                  <a:gd name="T45" fmla="*/ 1093 h 1123"/>
                  <a:gd name="T46" fmla="*/ 151 w 1117"/>
                  <a:gd name="T47" fmla="*/ 1110 h 1123"/>
                  <a:gd name="T48" fmla="*/ 110 w 1117"/>
                  <a:gd name="T49" fmla="*/ 1123 h 1123"/>
                  <a:gd name="T50" fmla="*/ 66 w 1117"/>
                  <a:gd name="T51" fmla="*/ 1119 h 1123"/>
                  <a:gd name="T52" fmla="*/ 28 w 1117"/>
                  <a:gd name="T53" fmla="*/ 1095 h 1123"/>
                  <a:gd name="T54" fmla="*/ 5 w 1117"/>
                  <a:gd name="T55" fmla="*/ 1057 h 1123"/>
                  <a:gd name="T56" fmla="*/ 0 w 1117"/>
                  <a:gd name="T57" fmla="*/ 1013 h 1123"/>
                  <a:gd name="T58" fmla="*/ 14 w 1117"/>
                  <a:gd name="T59" fmla="*/ 972 h 1123"/>
                  <a:gd name="T60" fmla="*/ 31 w 1117"/>
                  <a:gd name="T61" fmla="*/ 952 h 1123"/>
                  <a:gd name="T62" fmla="*/ 47 w 1117"/>
                  <a:gd name="T63" fmla="*/ 936 h 1123"/>
                  <a:gd name="T64" fmla="*/ 78 w 1117"/>
                  <a:gd name="T65" fmla="*/ 908 h 1123"/>
                  <a:gd name="T66" fmla="*/ 122 w 1117"/>
                  <a:gd name="T67" fmla="*/ 868 h 1123"/>
                  <a:gd name="T68" fmla="*/ 176 w 1117"/>
                  <a:gd name="T69" fmla="*/ 818 h 1123"/>
                  <a:gd name="T70" fmla="*/ 238 w 1117"/>
                  <a:gd name="T71" fmla="*/ 761 h 1123"/>
                  <a:gd name="T72" fmla="*/ 309 w 1117"/>
                  <a:gd name="T73" fmla="*/ 696 h 1123"/>
                  <a:gd name="T74" fmla="*/ 383 w 1117"/>
                  <a:gd name="T75" fmla="*/ 627 h 1123"/>
                  <a:gd name="T76" fmla="*/ 463 w 1117"/>
                  <a:gd name="T77" fmla="*/ 554 h 1123"/>
                  <a:gd name="T78" fmla="*/ 543 w 1117"/>
                  <a:gd name="T79" fmla="*/ 481 h 1123"/>
                  <a:gd name="T80" fmla="*/ 623 w 1117"/>
                  <a:gd name="T81" fmla="*/ 406 h 1123"/>
                  <a:gd name="T82" fmla="*/ 702 w 1117"/>
                  <a:gd name="T83" fmla="*/ 334 h 1123"/>
                  <a:gd name="T84" fmla="*/ 776 w 1117"/>
                  <a:gd name="T85" fmla="*/ 265 h 1123"/>
                  <a:gd name="T86" fmla="*/ 846 w 1117"/>
                  <a:gd name="T87" fmla="*/ 201 h 1123"/>
                  <a:gd name="T88" fmla="*/ 908 w 1117"/>
                  <a:gd name="T89" fmla="*/ 143 h 1123"/>
                  <a:gd name="T90" fmla="*/ 962 w 1117"/>
                  <a:gd name="T91" fmla="*/ 95 h 1123"/>
                  <a:gd name="T92" fmla="*/ 1005 w 1117"/>
                  <a:gd name="T93" fmla="*/ 54 h 1123"/>
                  <a:gd name="T94" fmla="*/ 1036 w 1117"/>
                  <a:gd name="T95" fmla="*/ 27 h 1123"/>
                  <a:gd name="T96" fmla="*/ 1051 w 1117"/>
                  <a:gd name="T97" fmla="*/ 12 h 1123"/>
                  <a:gd name="T98" fmla="*/ 1063 w 1117"/>
                  <a:gd name="T99" fmla="*/ 3 h 1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17" h="1123">
                    <a:moveTo>
                      <a:pt x="1074" y="0"/>
                    </a:moveTo>
                    <a:lnTo>
                      <a:pt x="1085" y="0"/>
                    </a:lnTo>
                    <a:lnTo>
                      <a:pt x="1096" y="3"/>
                    </a:lnTo>
                    <a:lnTo>
                      <a:pt x="1106" y="10"/>
                    </a:lnTo>
                    <a:lnTo>
                      <a:pt x="1113" y="20"/>
                    </a:lnTo>
                    <a:lnTo>
                      <a:pt x="1117" y="31"/>
                    </a:lnTo>
                    <a:lnTo>
                      <a:pt x="1117" y="43"/>
                    </a:lnTo>
                    <a:lnTo>
                      <a:pt x="1113" y="53"/>
                    </a:lnTo>
                    <a:lnTo>
                      <a:pt x="1106" y="64"/>
                    </a:lnTo>
                    <a:lnTo>
                      <a:pt x="1104" y="66"/>
                    </a:lnTo>
                    <a:lnTo>
                      <a:pt x="1099" y="71"/>
                    </a:lnTo>
                    <a:lnTo>
                      <a:pt x="1089" y="82"/>
                    </a:lnTo>
                    <a:lnTo>
                      <a:pt x="1077" y="96"/>
                    </a:lnTo>
                    <a:lnTo>
                      <a:pt x="1062" y="112"/>
                    </a:lnTo>
                    <a:lnTo>
                      <a:pt x="1043" y="132"/>
                    </a:lnTo>
                    <a:lnTo>
                      <a:pt x="1023" y="155"/>
                    </a:lnTo>
                    <a:lnTo>
                      <a:pt x="999" y="181"/>
                    </a:lnTo>
                    <a:lnTo>
                      <a:pt x="973" y="209"/>
                    </a:lnTo>
                    <a:lnTo>
                      <a:pt x="946" y="240"/>
                    </a:lnTo>
                    <a:lnTo>
                      <a:pt x="917" y="272"/>
                    </a:lnTo>
                    <a:lnTo>
                      <a:pt x="885" y="306"/>
                    </a:lnTo>
                    <a:lnTo>
                      <a:pt x="853" y="342"/>
                    </a:lnTo>
                    <a:lnTo>
                      <a:pt x="820" y="379"/>
                    </a:lnTo>
                    <a:lnTo>
                      <a:pt x="785" y="417"/>
                    </a:lnTo>
                    <a:lnTo>
                      <a:pt x="749" y="456"/>
                    </a:lnTo>
                    <a:lnTo>
                      <a:pt x="712" y="497"/>
                    </a:lnTo>
                    <a:lnTo>
                      <a:pt x="676" y="537"/>
                    </a:lnTo>
                    <a:lnTo>
                      <a:pt x="640" y="577"/>
                    </a:lnTo>
                    <a:lnTo>
                      <a:pt x="603" y="617"/>
                    </a:lnTo>
                    <a:lnTo>
                      <a:pt x="566" y="658"/>
                    </a:lnTo>
                    <a:lnTo>
                      <a:pt x="529" y="698"/>
                    </a:lnTo>
                    <a:lnTo>
                      <a:pt x="494" y="737"/>
                    </a:lnTo>
                    <a:lnTo>
                      <a:pt x="458" y="776"/>
                    </a:lnTo>
                    <a:lnTo>
                      <a:pt x="425" y="813"/>
                    </a:lnTo>
                    <a:lnTo>
                      <a:pt x="392" y="849"/>
                    </a:lnTo>
                    <a:lnTo>
                      <a:pt x="361" y="884"/>
                    </a:lnTo>
                    <a:lnTo>
                      <a:pt x="332" y="917"/>
                    </a:lnTo>
                    <a:lnTo>
                      <a:pt x="303" y="946"/>
                    </a:lnTo>
                    <a:lnTo>
                      <a:pt x="278" y="975"/>
                    </a:lnTo>
                    <a:lnTo>
                      <a:pt x="254" y="1001"/>
                    </a:lnTo>
                    <a:lnTo>
                      <a:pt x="233" y="1024"/>
                    </a:lnTo>
                    <a:lnTo>
                      <a:pt x="215" y="1045"/>
                    </a:lnTo>
                    <a:lnTo>
                      <a:pt x="199" y="1062"/>
                    </a:lnTo>
                    <a:lnTo>
                      <a:pt x="186" y="1076"/>
                    </a:lnTo>
                    <a:lnTo>
                      <a:pt x="177" y="1086"/>
                    </a:lnTo>
                    <a:lnTo>
                      <a:pt x="171" y="1093"/>
                    </a:lnTo>
                    <a:lnTo>
                      <a:pt x="169" y="1095"/>
                    </a:lnTo>
                    <a:lnTo>
                      <a:pt x="151" y="1110"/>
                    </a:lnTo>
                    <a:lnTo>
                      <a:pt x="131" y="1119"/>
                    </a:lnTo>
                    <a:lnTo>
                      <a:pt x="110" y="1123"/>
                    </a:lnTo>
                    <a:lnTo>
                      <a:pt x="87" y="1123"/>
                    </a:lnTo>
                    <a:lnTo>
                      <a:pt x="66" y="1119"/>
                    </a:lnTo>
                    <a:lnTo>
                      <a:pt x="46" y="1110"/>
                    </a:lnTo>
                    <a:lnTo>
                      <a:pt x="28" y="1095"/>
                    </a:lnTo>
                    <a:lnTo>
                      <a:pt x="14" y="1077"/>
                    </a:lnTo>
                    <a:lnTo>
                      <a:pt x="5" y="1057"/>
                    </a:lnTo>
                    <a:lnTo>
                      <a:pt x="0" y="1035"/>
                    </a:lnTo>
                    <a:lnTo>
                      <a:pt x="0" y="1013"/>
                    </a:lnTo>
                    <a:lnTo>
                      <a:pt x="5" y="992"/>
                    </a:lnTo>
                    <a:lnTo>
                      <a:pt x="14" y="972"/>
                    </a:lnTo>
                    <a:lnTo>
                      <a:pt x="28" y="954"/>
                    </a:lnTo>
                    <a:lnTo>
                      <a:pt x="31" y="952"/>
                    </a:lnTo>
                    <a:lnTo>
                      <a:pt x="37" y="945"/>
                    </a:lnTo>
                    <a:lnTo>
                      <a:pt x="47" y="936"/>
                    </a:lnTo>
                    <a:lnTo>
                      <a:pt x="61" y="924"/>
                    </a:lnTo>
                    <a:lnTo>
                      <a:pt x="78" y="908"/>
                    </a:lnTo>
                    <a:lnTo>
                      <a:pt x="99" y="889"/>
                    </a:lnTo>
                    <a:lnTo>
                      <a:pt x="122" y="868"/>
                    </a:lnTo>
                    <a:lnTo>
                      <a:pt x="147" y="844"/>
                    </a:lnTo>
                    <a:lnTo>
                      <a:pt x="176" y="818"/>
                    </a:lnTo>
                    <a:lnTo>
                      <a:pt x="206" y="790"/>
                    </a:lnTo>
                    <a:lnTo>
                      <a:pt x="238" y="761"/>
                    </a:lnTo>
                    <a:lnTo>
                      <a:pt x="273" y="729"/>
                    </a:lnTo>
                    <a:lnTo>
                      <a:pt x="309" y="696"/>
                    </a:lnTo>
                    <a:lnTo>
                      <a:pt x="346" y="662"/>
                    </a:lnTo>
                    <a:lnTo>
                      <a:pt x="383" y="627"/>
                    </a:lnTo>
                    <a:lnTo>
                      <a:pt x="422" y="591"/>
                    </a:lnTo>
                    <a:lnTo>
                      <a:pt x="463" y="554"/>
                    </a:lnTo>
                    <a:lnTo>
                      <a:pt x="503" y="518"/>
                    </a:lnTo>
                    <a:lnTo>
                      <a:pt x="543" y="481"/>
                    </a:lnTo>
                    <a:lnTo>
                      <a:pt x="583" y="444"/>
                    </a:lnTo>
                    <a:lnTo>
                      <a:pt x="623" y="406"/>
                    </a:lnTo>
                    <a:lnTo>
                      <a:pt x="663" y="369"/>
                    </a:lnTo>
                    <a:lnTo>
                      <a:pt x="702" y="334"/>
                    </a:lnTo>
                    <a:lnTo>
                      <a:pt x="740" y="299"/>
                    </a:lnTo>
                    <a:lnTo>
                      <a:pt x="776" y="265"/>
                    </a:lnTo>
                    <a:lnTo>
                      <a:pt x="812" y="232"/>
                    </a:lnTo>
                    <a:lnTo>
                      <a:pt x="846" y="201"/>
                    </a:lnTo>
                    <a:lnTo>
                      <a:pt x="879" y="171"/>
                    </a:lnTo>
                    <a:lnTo>
                      <a:pt x="908" y="143"/>
                    </a:lnTo>
                    <a:lnTo>
                      <a:pt x="937" y="118"/>
                    </a:lnTo>
                    <a:lnTo>
                      <a:pt x="962" y="95"/>
                    </a:lnTo>
                    <a:lnTo>
                      <a:pt x="985" y="73"/>
                    </a:lnTo>
                    <a:lnTo>
                      <a:pt x="1005" y="54"/>
                    </a:lnTo>
                    <a:lnTo>
                      <a:pt x="1022" y="39"/>
                    </a:lnTo>
                    <a:lnTo>
                      <a:pt x="1036" y="27"/>
                    </a:lnTo>
                    <a:lnTo>
                      <a:pt x="1045" y="18"/>
                    </a:lnTo>
                    <a:lnTo>
                      <a:pt x="1051" y="12"/>
                    </a:lnTo>
                    <a:lnTo>
                      <a:pt x="1054" y="10"/>
                    </a:lnTo>
                    <a:lnTo>
                      <a:pt x="1063" y="3"/>
                    </a:lnTo>
                    <a:lnTo>
                      <a:pt x="107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85" name="Rectangle 84"/>
          <p:cNvSpPr/>
          <p:nvPr/>
        </p:nvSpPr>
        <p:spPr bwMode="ltGray">
          <a:xfrm>
            <a:off x="6174395" y="-1"/>
            <a:ext cx="2969606" cy="24504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+mj-lt"/>
              </a:rPr>
              <a:t>Банковские услуги, телекоммуникации</a:t>
            </a:r>
            <a:endParaRPr lang="ru-RU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7" name="Rectangle 46"/>
          <p:cNvSpPr/>
          <p:nvPr/>
        </p:nvSpPr>
        <p:spPr bwMode="ltGray">
          <a:xfrm>
            <a:off x="4992550" y="3383913"/>
            <a:ext cx="3971987" cy="2240969"/>
          </a:xfrm>
          <a:prstGeom prst="rect">
            <a:avLst/>
          </a:prstGeom>
          <a:solidFill>
            <a:schemeClr val="bg2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8" name="Abgerundetes Rechteck 24"/>
          <p:cNvSpPr/>
          <p:nvPr/>
        </p:nvSpPr>
        <p:spPr bwMode="auto">
          <a:xfrm>
            <a:off x="1453412" y="1001051"/>
            <a:ext cx="3154490" cy="355889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 i="1" dirty="0" smtClean="0">
                <a:solidFill>
                  <a:schemeClr val="bg1"/>
                </a:solidFill>
                <a:latin typeface="+mj-lt"/>
              </a:rPr>
              <a:t>Внешняя модель</a:t>
            </a:r>
            <a:endParaRPr lang="ru-RU" sz="1600" b="1" i="1" dirty="0">
              <a:solidFill>
                <a:schemeClr val="bg1"/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  <p:sp>
        <p:nvSpPr>
          <p:cNvPr id="49" name="Round Same Side Corner Rectangle 4"/>
          <p:cNvSpPr/>
          <p:nvPr/>
        </p:nvSpPr>
        <p:spPr>
          <a:xfrm>
            <a:off x="5335801" y="1153966"/>
            <a:ext cx="3628736" cy="1660576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0" tIns="123825" rIns="247650" bIns="123825" numCol="1" spcCol="1270" anchor="t" anchorCtr="0"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ru-RU" sz="1000" i="1" dirty="0" smtClean="0">
                <a:solidFill>
                  <a:schemeClr val="bg1"/>
                </a:solidFill>
                <a:latin typeface="+mj-lt"/>
              </a:rPr>
              <a:t>Из соображений защиты данных телекоммуникационная компания не может передавать статистические сведения о поведении клиентов напрямую заинтересованной третьей стороне. Сначала необходимо зашифровать данные и отделить от них шифровальный ключ.</a:t>
            </a:r>
          </a:p>
          <a:p>
            <a:pPr lvl="0" algn="just">
              <a:spcAft>
                <a:spcPts val="600"/>
              </a:spcAft>
            </a:pPr>
            <a:r>
              <a:rPr lang="ru-RU" sz="1000" i="1" dirty="0" smtClean="0">
                <a:solidFill>
                  <a:schemeClr val="bg1"/>
                </a:solidFill>
                <a:latin typeface="+mj-lt"/>
              </a:rPr>
              <a:t>Выступая в роли независимого брокера данных (исходя из анонимности данных обеих сторон), PwC может использовать данные для разработки статистических моделей, например для прогнозирования кредитного риска клиентов на основании накопленных сведений телекоммуникационной компании.</a:t>
            </a:r>
            <a:endParaRPr lang="ru-RU" sz="10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1472603" y="1647310"/>
            <a:ext cx="3132495" cy="1676101"/>
            <a:chOff x="590318" y="2551738"/>
            <a:chExt cx="3383471" cy="1810391"/>
          </a:xfrm>
        </p:grpSpPr>
        <p:grpSp>
          <p:nvGrpSpPr>
            <p:cNvPr id="51" name="Group 50"/>
            <p:cNvGrpSpPr/>
            <p:nvPr/>
          </p:nvGrpSpPr>
          <p:grpSpPr>
            <a:xfrm>
              <a:off x="621014" y="2551738"/>
              <a:ext cx="3352775" cy="1788685"/>
              <a:chOff x="621014" y="2322259"/>
              <a:chExt cx="3352775" cy="1788685"/>
            </a:xfrm>
          </p:grpSpPr>
          <p:sp>
            <p:nvSpPr>
              <p:cNvPr id="55" name="Oval 54"/>
              <p:cNvSpPr/>
              <p:nvPr/>
            </p:nvSpPr>
            <p:spPr bwMode="ltGray">
              <a:xfrm>
                <a:off x="621014" y="2322259"/>
                <a:ext cx="702105" cy="702105"/>
              </a:xfrm>
              <a:prstGeom prst="ellipse">
                <a:avLst/>
              </a:prstGeom>
              <a:solidFill>
                <a:srgbClr val="FFB600"/>
              </a:solidFill>
              <a:ln w="3175" cap="flat" cmpd="sng" algn="ctr">
                <a:noFill/>
                <a:prstDash val="solid"/>
              </a:ln>
              <a:effectLst/>
            </p:spPr>
            <p:txBody>
              <a:bodyPr lIns="0" r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56" name="Oval 55"/>
              <p:cNvSpPr/>
              <p:nvPr/>
            </p:nvSpPr>
            <p:spPr bwMode="ltGray">
              <a:xfrm>
                <a:off x="3253983" y="2322259"/>
                <a:ext cx="702105" cy="702105"/>
              </a:xfrm>
              <a:prstGeom prst="ellipse">
                <a:avLst/>
              </a:prstGeom>
              <a:solidFill>
                <a:srgbClr val="FFB600"/>
              </a:solidFill>
              <a:ln w="3175" cap="flat" cmpd="sng" algn="ctr">
                <a:noFill/>
                <a:prstDash val="solid"/>
              </a:ln>
              <a:effectLst/>
            </p:spPr>
            <p:txBody>
              <a:bodyPr lIns="0" r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57" name="Oval 56"/>
              <p:cNvSpPr/>
              <p:nvPr/>
            </p:nvSpPr>
            <p:spPr bwMode="ltGray">
              <a:xfrm>
                <a:off x="1968250" y="2787191"/>
                <a:ext cx="702105" cy="702105"/>
              </a:xfrm>
              <a:prstGeom prst="ellipse">
                <a:avLst/>
              </a:prstGeom>
              <a:solidFill>
                <a:srgbClr val="FFB600"/>
              </a:solidFill>
              <a:ln w="3175" cap="flat" cmpd="sng" algn="ctr">
                <a:noFill/>
                <a:prstDash val="solid"/>
              </a:ln>
              <a:effectLst/>
            </p:spPr>
            <p:txBody>
              <a:bodyPr lIns="0" r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58" name="Flowchart: Magnetic Disk 57"/>
              <p:cNvSpPr/>
              <p:nvPr/>
            </p:nvSpPr>
            <p:spPr bwMode="ltGray">
              <a:xfrm>
                <a:off x="1871285" y="3243563"/>
                <a:ext cx="875265" cy="586428"/>
              </a:xfrm>
              <a:prstGeom prst="flowChartMagneticDisk">
                <a:avLst/>
              </a:prstGeom>
              <a:solidFill>
                <a:srgbClr val="DC6900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ru-RU" sz="1000" dirty="0" smtClean="0">
                    <a:solidFill>
                      <a:schemeClr val="bg1"/>
                    </a:solidFill>
                    <a:latin typeface="+mj-lt"/>
                  </a:rPr>
                  <a:t>Брокер данных</a:t>
                </a:r>
              </a:p>
            </p:txBody>
          </p:sp>
          <p:sp>
            <p:nvSpPr>
              <p:cNvPr id="59" name="Flowchart: Magnetic Disk 58"/>
              <p:cNvSpPr/>
              <p:nvPr/>
            </p:nvSpPr>
            <p:spPr bwMode="ltGray">
              <a:xfrm>
                <a:off x="621014" y="2873046"/>
                <a:ext cx="697251" cy="345001"/>
              </a:xfrm>
              <a:prstGeom prst="flowChartMagneticDisk">
                <a:avLst/>
              </a:prstGeom>
              <a:solidFill>
                <a:srgbClr val="DC6900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ru-RU" sz="600" dirty="0" smtClean="0">
                    <a:solidFill>
                      <a:schemeClr val="bg1"/>
                    </a:solidFill>
                    <a:latin typeface="+mj-lt"/>
                  </a:rPr>
                  <a:t>Телекоммуникационная компания</a:t>
                </a:r>
              </a:p>
            </p:txBody>
          </p:sp>
          <p:sp>
            <p:nvSpPr>
              <p:cNvPr id="60" name="Flowchart: Magnetic Disk 59"/>
              <p:cNvSpPr/>
              <p:nvPr/>
            </p:nvSpPr>
            <p:spPr bwMode="ltGray">
              <a:xfrm>
                <a:off x="3220125" y="2873046"/>
                <a:ext cx="753664" cy="345001"/>
              </a:xfrm>
              <a:prstGeom prst="flowChartMagneticDisk">
                <a:avLst/>
              </a:prstGeom>
              <a:solidFill>
                <a:srgbClr val="DC6900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ru-RU" sz="600" dirty="0" smtClean="0">
                    <a:solidFill>
                      <a:schemeClr val="bg1"/>
                    </a:solidFill>
                    <a:latin typeface="+mj-lt"/>
                  </a:rPr>
                  <a:t>Банк</a:t>
                </a:r>
              </a:p>
            </p:txBody>
          </p:sp>
          <p:sp>
            <p:nvSpPr>
              <p:cNvPr id="62" name="Right Arrow 61"/>
              <p:cNvSpPr/>
              <p:nvPr/>
            </p:nvSpPr>
            <p:spPr bwMode="ltGray">
              <a:xfrm rot="1800000">
                <a:off x="1150227" y="3114039"/>
                <a:ext cx="810958" cy="486781"/>
              </a:xfrm>
              <a:prstGeom prst="rightArrow">
                <a:avLst/>
              </a:prstGeom>
              <a:solidFill>
                <a:schemeClr val="accent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ru-RU" sz="500" dirty="0" smtClean="0">
                    <a:solidFill>
                      <a:schemeClr val="bg1"/>
                    </a:solidFill>
                    <a:latin typeface="+mj-lt"/>
                  </a:rPr>
                  <a:t>Поведенческая информация</a:t>
                </a:r>
              </a:p>
            </p:txBody>
          </p:sp>
          <p:pic>
            <p:nvPicPr>
              <p:cNvPr id="63" name="Picture 4" descr="http://www.pwc.com/etc/designs/pwc/css_common/image/pwclogo.gif"/>
              <p:cNvPicPr>
                <a:picLocks noChangeAspect="1" noChangeArrowheads="1"/>
              </p:cNvPicPr>
              <p:nvPr/>
            </p:nvPicPr>
            <p:blipFill>
              <a:blip r:embed="rId7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23253" y="2907456"/>
                <a:ext cx="410834" cy="3146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4" name="Freeform 4806"/>
              <p:cNvSpPr>
                <a:spLocks noEditPoints="1"/>
              </p:cNvSpPr>
              <p:nvPr/>
            </p:nvSpPr>
            <p:spPr bwMode="auto">
              <a:xfrm>
                <a:off x="3398973" y="2442271"/>
                <a:ext cx="412124" cy="362306"/>
              </a:xfrm>
              <a:custGeom>
                <a:avLst/>
                <a:gdLst>
                  <a:gd name="T0" fmla="*/ 310 w 364"/>
                  <a:gd name="T1" fmla="*/ 104 h 320"/>
                  <a:gd name="T2" fmla="*/ 314 w 364"/>
                  <a:gd name="T3" fmla="*/ 242 h 320"/>
                  <a:gd name="T4" fmla="*/ 304 w 364"/>
                  <a:gd name="T5" fmla="*/ 252 h 320"/>
                  <a:gd name="T6" fmla="*/ 276 w 364"/>
                  <a:gd name="T7" fmla="*/ 248 h 320"/>
                  <a:gd name="T8" fmla="*/ 274 w 364"/>
                  <a:gd name="T9" fmla="*/ 110 h 320"/>
                  <a:gd name="T10" fmla="*/ 284 w 364"/>
                  <a:gd name="T11" fmla="*/ 100 h 320"/>
                  <a:gd name="T12" fmla="*/ 26 w 364"/>
                  <a:gd name="T13" fmla="*/ 66 h 320"/>
                  <a:gd name="T14" fmla="*/ 178 w 364"/>
                  <a:gd name="T15" fmla="*/ 0 h 320"/>
                  <a:gd name="T16" fmla="*/ 180 w 364"/>
                  <a:gd name="T17" fmla="*/ 0 h 320"/>
                  <a:gd name="T18" fmla="*/ 184 w 364"/>
                  <a:gd name="T19" fmla="*/ 0 h 320"/>
                  <a:gd name="T20" fmla="*/ 186 w 364"/>
                  <a:gd name="T21" fmla="*/ 0 h 320"/>
                  <a:gd name="T22" fmla="*/ 332 w 364"/>
                  <a:gd name="T23" fmla="*/ 62 h 320"/>
                  <a:gd name="T24" fmla="*/ 338 w 364"/>
                  <a:gd name="T25" fmla="*/ 74 h 320"/>
                  <a:gd name="T26" fmla="*/ 328 w 364"/>
                  <a:gd name="T27" fmla="*/ 82 h 320"/>
                  <a:gd name="T28" fmla="*/ 36 w 364"/>
                  <a:gd name="T29" fmla="*/ 82 h 320"/>
                  <a:gd name="T30" fmla="*/ 26 w 364"/>
                  <a:gd name="T31" fmla="*/ 72 h 320"/>
                  <a:gd name="T32" fmla="*/ 168 w 364"/>
                  <a:gd name="T33" fmla="*/ 56 h 320"/>
                  <a:gd name="T34" fmla="*/ 190 w 364"/>
                  <a:gd name="T35" fmla="*/ 60 h 320"/>
                  <a:gd name="T36" fmla="*/ 200 w 364"/>
                  <a:gd name="T37" fmla="*/ 42 h 320"/>
                  <a:gd name="T38" fmla="*/ 182 w 364"/>
                  <a:gd name="T39" fmla="*/ 24 h 320"/>
                  <a:gd name="T40" fmla="*/ 164 w 364"/>
                  <a:gd name="T41" fmla="*/ 36 h 320"/>
                  <a:gd name="T42" fmla="*/ 230 w 364"/>
                  <a:gd name="T43" fmla="*/ 252 h 320"/>
                  <a:gd name="T44" fmla="*/ 240 w 364"/>
                  <a:gd name="T45" fmla="*/ 242 h 320"/>
                  <a:gd name="T46" fmla="*/ 236 w 364"/>
                  <a:gd name="T47" fmla="*/ 104 h 320"/>
                  <a:gd name="T48" fmla="*/ 134 w 364"/>
                  <a:gd name="T49" fmla="*/ 100 h 320"/>
                  <a:gd name="T50" fmla="*/ 124 w 364"/>
                  <a:gd name="T51" fmla="*/ 110 h 320"/>
                  <a:gd name="T52" fmla="*/ 128 w 364"/>
                  <a:gd name="T53" fmla="*/ 248 h 320"/>
                  <a:gd name="T54" fmla="*/ 162 w 364"/>
                  <a:gd name="T55" fmla="*/ 170 h 320"/>
                  <a:gd name="T56" fmla="*/ 174 w 364"/>
                  <a:gd name="T57" fmla="*/ 152 h 320"/>
                  <a:gd name="T58" fmla="*/ 196 w 364"/>
                  <a:gd name="T59" fmla="*/ 156 h 320"/>
                  <a:gd name="T60" fmla="*/ 230 w 364"/>
                  <a:gd name="T61" fmla="*/ 252 h 320"/>
                  <a:gd name="T62" fmla="*/ 332 w 364"/>
                  <a:gd name="T63" fmla="*/ 286 h 320"/>
                  <a:gd name="T64" fmla="*/ 338 w 364"/>
                  <a:gd name="T65" fmla="*/ 278 h 320"/>
                  <a:gd name="T66" fmla="*/ 328 w 364"/>
                  <a:gd name="T67" fmla="*/ 268 h 320"/>
                  <a:gd name="T68" fmla="*/ 28 w 364"/>
                  <a:gd name="T69" fmla="*/ 270 h 320"/>
                  <a:gd name="T70" fmla="*/ 26 w 364"/>
                  <a:gd name="T71" fmla="*/ 282 h 320"/>
                  <a:gd name="T72" fmla="*/ 36 w 364"/>
                  <a:gd name="T73" fmla="*/ 288 h 320"/>
                  <a:gd name="T74" fmla="*/ 6 w 364"/>
                  <a:gd name="T75" fmla="*/ 302 h 320"/>
                  <a:gd name="T76" fmla="*/ 0 w 364"/>
                  <a:gd name="T77" fmla="*/ 310 h 320"/>
                  <a:gd name="T78" fmla="*/ 10 w 364"/>
                  <a:gd name="T79" fmla="*/ 320 h 320"/>
                  <a:gd name="T80" fmla="*/ 362 w 364"/>
                  <a:gd name="T81" fmla="*/ 318 h 320"/>
                  <a:gd name="T82" fmla="*/ 364 w 364"/>
                  <a:gd name="T83" fmla="*/ 306 h 320"/>
                  <a:gd name="T84" fmla="*/ 354 w 364"/>
                  <a:gd name="T85" fmla="*/ 300 h 320"/>
                  <a:gd name="T86" fmla="*/ 54 w 364"/>
                  <a:gd name="T87" fmla="*/ 104 h 320"/>
                  <a:gd name="T88" fmla="*/ 50 w 364"/>
                  <a:gd name="T89" fmla="*/ 242 h 320"/>
                  <a:gd name="T90" fmla="*/ 60 w 364"/>
                  <a:gd name="T91" fmla="*/ 252 h 320"/>
                  <a:gd name="T92" fmla="*/ 88 w 364"/>
                  <a:gd name="T93" fmla="*/ 248 h 320"/>
                  <a:gd name="T94" fmla="*/ 90 w 364"/>
                  <a:gd name="T95" fmla="*/ 110 h 320"/>
                  <a:gd name="T96" fmla="*/ 80 w 364"/>
                  <a:gd name="T97" fmla="*/ 10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64" h="320">
                    <a:moveTo>
                      <a:pt x="304" y="100"/>
                    </a:moveTo>
                    <a:lnTo>
                      <a:pt x="304" y="100"/>
                    </a:lnTo>
                    <a:lnTo>
                      <a:pt x="308" y="102"/>
                    </a:lnTo>
                    <a:lnTo>
                      <a:pt x="310" y="104"/>
                    </a:lnTo>
                    <a:lnTo>
                      <a:pt x="312" y="106"/>
                    </a:lnTo>
                    <a:lnTo>
                      <a:pt x="314" y="110"/>
                    </a:lnTo>
                    <a:lnTo>
                      <a:pt x="314" y="242"/>
                    </a:lnTo>
                    <a:lnTo>
                      <a:pt x="314" y="242"/>
                    </a:lnTo>
                    <a:lnTo>
                      <a:pt x="312" y="246"/>
                    </a:lnTo>
                    <a:lnTo>
                      <a:pt x="310" y="248"/>
                    </a:lnTo>
                    <a:lnTo>
                      <a:pt x="308" y="250"/>
                    </a:lnTo>
                    <a:lnTo>
                      <a:pt x="304" y="252"/>
                    </a:lnTo>
                    <a:lnTo>
                      <a:pt x="284" y="252"/>
                    </a:lnTo>
                    <a:lnTo>
                      <a:pt x="284" y="252"/>
                    </a:lnTo>
                    <a:lnTo>
                      <a:pt x="280" y="250"/>
                    </a:lnTo>
                    <a:lnTo>
                      <a:pt x="276" y="248"/>
                    </a:lnTo>
                    <a:lnTo>
                      <a:pt x="274" y="246"/>
                    </a:lnTo>
                    <a:lnTo>
                      <a:pt x="274" y="242"/>
                    </a:lnTo>
                    <a:lnTo>
                      <a:pt x="274" y="110"/>
                    </a:lnTo>
                    <a:lnTo>
                      <a:pt x="274" y="110"/>
                    </a:lnTo>
                    <a:lnTo>
                      <a:pt x="274" y="106"/>
                    </a:lnTo>
                    <a:lnTo>
                      <a:pt x="276" y="104"/>
                    </a:lnTo>
                    <a:lnTo>
                      <a:pt x="280" y="102"/>
                    </a:lnTo>
                    <a:lnTo>
                      <a:pt x="284" y="100"/>
                    </a:lnTo>
                    <a:lnTo>
                      <a:pt x="304" y="100"/>
                    </a:lnTo>
                    <a:close/>
                    <a:moveTo>
                      <a:pt x="26" y="72"/>
                    </a:moveTo>
                    <a:lnTo>
                      <a:pt x="26" y="72"/>
                    </a:lnTo>
                    <a:lnTo>
                      <a:pt x="26" y="66"/>
                    </a:lnTo>
                    <a:lnTo>
                      <a:pt x="32" y="62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82" y="0"/>
                    </a:lnTo>
                    <a:lnTo>
                      <a:pt x="182" y="0"/>
                    </a:lnTo>
                    <a:lnTo>
                      <a:pt x="184" y="0"/>
                    </a:lnTo>
                    <a:lnTo>
                      <a:pt x="184" y="0"/>
                    </a:lnTo>
                    <a:lnTo>
                      <a:pt x="184" y="0"/>
                    </a:lnTo>
                    <a:lnTo>
                      <a:pt x="184" y="0"/>
                    </a:lnTo>
                    <a:lnTo>
                      <a:pt x="186" y="0"/>
                    </a:lnTo>
                    <a:lnTo>
                      <a:pt x="186" y="0"/>
                    </a:lnTo>
                    <a:lnTo>
                      <a:pt x="186" y="0"/>
                    </a:lnTo>
                    <a:lnTo>
                      <a:pt x="332" y="62"/>
                    </a:lnTo>
                    <a:lnTo>
                      <a:pt x="332" y="62"/>
                    </a:lnTo>
                    <a:lnTo>
                      <a:pt x="336" y="64"/>
                    </a:lnTo>
                    <a:lnTo>
                      <a:pt x="338" y="72"/>
                    </a:lnTo>
                    <a:lnTo>
                      <a:pt x="338" y="72"/>
                    </a:lnTo>
                    <a:lnTo>
                      <a:pt x="338" y="74"/>
                    </a:lnTo>
                    <a:lnTo>
                      <a:pt x="336" y="78"/>
                    </a:lnTo>
                    <a:lnTo>
                      <a:pt x="332" y="80"/>
                    </a:lnTo>
                    <a:lnTo>
                      <a:pt x="328" y="82"/>
                    </a:lnTo>
                    <a:lnTo>
                      <a:pt x="328" y="82"/>
                    </a:lnTo>
                    <a:lnTo>
                      <a:pt x="328" y="82"/>
                    </a:lnTo>
                    <a:lnTo>
                      <a:pt x="182" y="82"/>
                    </a:lnTo>
                    <a:lnTo>
                      <a:pt x="182" y="82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30" y="78"/>
                    </a:lnTo>
                    <a:lnTo>
                      <a:pt x="26" y="72"/>
                    </a:lnTo>
                    <a:lnTo>
                      <a:pt x="26" y="72"/>
                    </a:lnTo>
                    <a:close/>
                    <a:moveTo>
                      <a:pt x="164" y="42"/>
                    </a:moveTo>
                    <a:lnTo>
                      <a:pt x="164" y="42"/>
                    </a:lnTo>
                    <a:lnTo>
                      <a:pt x="164" y="50"/>
                    </a:lnTo>
                    <a:lnTo>
                      <a:pt x="168" y="56"/>
                    </a:lnTo>
                    <a:lnTo>
                      <a:pt x="174" y="60"/>
                    </a:lnTo>
                    <a:lnTo>
                      <a:pt x="182" y="62"/>
                    </a:lnTo>
                    <a:lnTo>
                      <a:pt x="182" y="62"/>
                    </a:lnTo>
                    <a:lnTo>
                      <a:pt x="190" y="60"/>
                    </a:lnTo>
                    <a:lnTo>
                      <a:pt x="196" y="56"/>
                    </a:lnTo>
                    <a:lnTo>
                      <a:pt x="200" y="50"/>
                    </a:lnTo>
                    <a:lnTo>
                      <a:pt x="200" y="42"/>
                    </a:lnTo>
                    <a:lnTo>
                      <a:pt x="200" y="42"/>
                    </a:lnTo>
                    <a:lnTo>
                      <a:pt x="200" y="36"/>
                    </a:lnTo>
                    <a:lnTo>
                      <a:pt x="196" y="30"/>
                    </a:lnTo>
                    <a:lnTo>
                      <a:pt x="190" y="26"/>
                    </a:lnTo>
                    <a:lnTo>
                      <a:pt x="182" y="24"/>
                    </a:lnTo>
                    <a:lnTo>
                      <a:pt x="182" y="24"/>
                    </a:lnTo>
                    <a:lnTo>
                      <a:pt x="174" y="26"/>
                    </a:lnTo>
                    <a:lnTo>
                      <a:pt x="168" y="30"/>
                    </a:lnTo>
                    <a:lnTo>
                      <a:pt x="164" y="36"/>
                    </a:lnTo>
                    <a:lnTo>
                      <a:pt x="164" y="42"/>
                    </a:lnTo>
                    <a:lnTo>
                      <a:pt x="164" y="42"/>
                    </a:lnTo>
                    <a:close/>
                    <a:moveTo>
                      <a:pt x="230" y="252"/>
                    </a:moveTo>
                    <a:lnTo>
                      <a:pt x="230" y="252"/>
                    </a:lnTo>
                    <a:lnTo>
                      <a:pt x="234" y="250"/>
                    </a:lnTo>
                    <a:lnTo>
                      <a:pt x="236" y="248"/>
                    </a:lnTo>
                    <a:lnTo>
                      <a:pt x="238" y="246"/>
                    </a:lnTo>
                    <a:lnTo>
                      <a:pt x="240" y="242"/>
                    </a:lnTo>
                    <a:lnTo>
                      <a:pt x="240" y="110"/>
                    </a:lnTo>
                    <a:lnTo>
                      <a:pt x="240" y="110"/>
                    </a:lnTo>
                    <a:lnTo>
                      <a:pt x="238" y="106"/>
                    </a:lnTo>
                    <a:lnTo>
                      <a:pt x="236" y="104"/>
                    </a:lnTo>
                    <a:lnTo>
                      <a:pt x="234" y="102"/>
                    </a:lnTo>
                    <a:lnTo>
                      <a:pt x="230" y="100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0" y="102"/>
                    </a:lnTo>
                    <a:lnTo>
                      <a:pt x="128" y="104"/>
                    </a:lnTo>
                    <a:lnTo>
                      <a:pt x="126" y="106"/>
                    </a:lnTo>
                    <a:lnTo>
                      <a:pt x="124" y="110"/>
                    </a:lnTo>
                    <a:lnTo>
                      <a:pt x="124" y="242"/>
                    </a:lnTo>
                    <a:lnTo>
                      <a:pt x="124" y="242"/>
                    </a:lnTo>
                    <a:lnTo>
                      <a:pt x="126" y="246"/>
                    </a:lnTo>
                    <a:lnTo>
                      <a:pt x="128" y="248"/>
                    </a:lnTo>
                    <a:lnTo>
                      <a:pt x="130" y="250"/>
                    </a:lnTo>
                    <a:lnTo>
                      <a:pt x="134" y="252"/>
                    </a:lnTo>
                    <a:lnTo>
                      <a:pt x="162" y="252"/>
                    </a:lnTo>
                    <a:lnTo>
                      <a:pt x="162" y="170"/>
                    </a:lnTo>
                    <a:lnTo>
                      <a:pt x="162" y="170"/>
                    </a:lnTo>
                    <a:lnTo>
                      <a:pt x="164" y="162"/>
                    </a:lnTo>
                    <a:lnTo>
                      <a:pt x="168" y="156"/>
                    </a:lnTo>
                    <a:lnTo>
                      <a:pt x="174" y="152"/>
                    </a:lnTo>
                    <a:lnTo>
                      <a:pt x="182" y="150"/>
                    </a:lnTo>
                    <a:lnTo>
                      <a:pt x="182" y="150"/>
                    </a:lnTo>
                    <a:lnTo>
                      <a:pt x="190" y="152"/>
                    </a:lnTo>
                    <a:lnTo>
                      <a:pt x="196" y="156"/>
                    </a:lnTo>
                    <a:lnTo>
                      <a:pt x="200" y="162"/>
                    </a:lnTo>
                    <a:lnTo>
                      <a:pt x="202" y="170"/>
                    </a:lnTo>
                    <a:lnTo>
                      <a:pt x="202" y="252"/>
                    </a:lnTo>
                    <a:lnTo>
                      <a:pt x="230" y="252"/>
                    </a:lnTo>
                    <a:close/>
                    <a:moveTo>
                      <a:pt x="36" y="288"/>
                    </a:moveTo>
                    <a:lnTo>
                      <a:pt x="328" y="288"/>
                    </a:lnTo>
                    <a:lnTo>
                      <a:pt x="328" y="288"/>
                    </a:lnTo>
                    <a:lnTo>
                      <a:pt x="332" y="286"/>
                    </a:lnTo>
                    <a:lnTo>
                      <a:pt x="336" y="284"/>
                    </a:lnTo>
                    <a:lnTo>
                      <a:pt x="338" y="282"/>
                    </a:lnTo>
                    <a:lnTo>
                      <a:pt x="338" y="278"/>
                    </a:lnTo>
                    <a:lnTo>
                      <a:pt x="338" y="278"/>
                    </a:lnTo>
                    <a:lnTo>
                      <a:pt x="338" y="274"/>
                    </a:lnTo>
                    <a:lnTo>
                      <a:pt x="336" y="270"/>
                    </a:lnTo>
                    <a:lnTo>
                      <a:pt x="332" y="268"/>
                    </a:lnTo>
                    <a:lnTo>
                      <a:pt x="328" y="268"/>
                    </a:lnTo>
                    <a:lnTo>
                      <a:pt x="36" y="268"/>
                    </a:lnTo>
                    <a:lnTo>
                      <a:pt x="36" y="268"/>
                    </a:lnTo>
                    <a:lnTo>
                      <a:pt x="32" y="268"/>
                    </a:lnTo>
                    <a:lnTo>
                      <a:pt x="28" y="270"/>
                    </a:lnTo>
                    <a:lnTo>
                      <a:pt x="26" y="274"/>
                    </a:lnTo>
                    <a:lnTo>
                      <a:pt x="26" y="278"/>
                    </a:lnTo>
                    <a:lnTo>
                      <a:pt x="26" y="278"/>
                    </a:lnTo>
                    <a:lnTo>
                      <a:pt x="26" y="282"/>
                    </a:lnTo>
                    <a:lnTo>
                      <a:pt x="28" y="284"/>
                    </a:lnTo>
                    <a:lnTo>
                      <a:pt x="32" y="286"/>
                    </a:lnTo>
                    <a:lnTo>
                      <a:pt x="36" y="288"/>
                    </a:lnTo>
                    <a:lnTo>
                      <a:pt x="36" y="288"/>
                    </a:lnTo>
                    <a:close/>
                    <a:moveTo>
                      <a:pt x="354" y="300"/>
                    </a:moveTo>
                    <a:lnTo>
                      <a:pt x="10" y="300"/>
                    </a:lnTo>
                    <a:lnTo>
                      <a:pt x="10" y="300"/>
                    </a:lnTo>
                    <a:lnTo>
                      <a:pt x="6" y="302"/>
                    </a:lnTo>
                    <a:lnTo>
                      <a:pt x="2" y="304"/>
                    </a:lnTo>
                    <a:lnTo>
                      <a:pt x="0" y="306"/>
                    </a:lnTo>
                    <a:lnTo>
                      <a:pt x="0" y="310"/>
                    </a:lnTo>
                    <a:lnTo>
                      <a:pt x="0" y="310"/>
                    </a:lnTo>
                    <a:lnTo>
                      <a:pt x="0" y="314"/>
                    </a:lnTo>
                    <a:lnTo>
                      <a:pt x="2" y="318"/>
                    </a:lnTo>
                    <a:lnTo>
                      <a:pt x="6" y="320"/>
                    </a:lnTo>
                    <a:lnTo>
                      <a:pt x="10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8" y="320"/>
                    </a:lnTo>
                    <a:lnTo>
                      <a:pt x="362" y="318"/>
                    </a:lnTo>
                    <a:lnTo>
                      <a:pt x="364" y="314"/>
                    </a:lnTo>
                    <a:lnTo>
                      <a:pt x="364" y="310"/>
                    </a:lnTo>
                    <a:lnTo>
                      <a:pt x="364" y="310"/>
                    </a:lnTo>
                    <a:lnTo>
                      <a:pt x="364" y="306"/>
                    </a:lnTo>
                    <a:lnTo>
                      <a:pt x="362" y="304"/>
                    </a:lnTo>
                    <a:lnTo>
                      <a:pt x="358" y="302"/>
                    </a:lnTo>
                    <a:lnTo>
                      <a:pt x="354" y="300"/>
                    </a:lnTo>
                    <a:lnTo>
                      <a:pt x="354" y="300"/>
                    </a:lnTo>
                    <a:close/>
                    <a:moveTo>
                      <a:pt x="60" y="100"/>
                    </a:moveTo>
                    <a:lnTo>
                      <a:pt x="60" y="100"/>
                    </a:lnTo>
                    <a:lnTo>
                      <a:pt x="56" y="102"/>
                    </a:lnTo>
                    <a:lnTo>
                      <a:pt x="54" y="104"/>
                    </a:lnTo>
                    <a:lnTo>
                      <a:pt x="52" y="106"/>
                    </a:lnTo>
                    <a:lnTo>
                      <a:pt x="50" y="110"/>
                    </a:lnTo>
                    <a:lnTo>
                      <a:pt x="50" y="242"/>
                    </a:lnTo>
                    <a:lnTo>
                      <a:pt x="50" y="242"/>
                    </a:lnTo>
                    <a:lnTo>
                      <a:pt x="52" y="246"/>
                    </a:lnTo>
                    <a:lnTo>
                      <a:pt x="54" y="248"/>
                    </a:lnTo>
                    <a:lnTo>
                      <a:pt x="56" y="250"/>
                    </a:lnTo>
                    <a:lnTo>
                      <a:pt x="60" y="252"/>
                    </a:lnTo>
                    <a:lnTo>
                      <a:pt x="80" y="252"/>
                    </a:lnTo>
                    <a:lnTo>
                      <a:pt x="80" y="252"/>
                    </a:lnTo>
                    <a:lnTo>
                      <a:pt x="84" y="250"/>
                    </a:lnTo>
                    <a:lnTo>
                      <a:pt x="88" y="248"/>
                    </a:lnTo>
                    <a:lnTo>
                      <a:pt x="90" y="246"/>
                    </a:lnTo>
                    <a:lnTo>
                      <a:pt x="90" y="242"/>
                    </a:lnTo>
                    <a:lnTo>
                      <a:pt x="90" y="110"/>
                    </a:lnTo>
                    <a:lnTo>
                      <a:pt x="90" y="110"/>
                    </a:lnTo>
                    <a:lnTo>
                      <a:pt x="90" y="106"/>
                    </a:lnTo>
                    <a:lnTo>
                      <a:pt x="88" y="104"/>
                    </a:lnTo>
                    <a:lnTo>
                      <a:pt x="84" y="102"/>
                    </a:lnTo>
                    <a:lnTo>
                      <a:pt x="80" y="100"/>
                    </a:lnTo>
                    <a:lnTo>
                      <a:pt x="60" y="10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65" name="Freeform 4840"/>
              <p:cNvSpPr>
                <a:spLocks noEditPoints="1"/>
              </p:cNvSpPr>
              <p:nvPr/>
            </p:nvSpPr>
            <p:spPr bwMode="auto">
              <a:xfrm>
                <a:off x="822527" y="2426069"/>
                <a:ext cx="312296" cy="394709"/>
              </a:xfrm>
              <a:custGeom>
                <a:avLst/>
                <a:gdLst>
                  <a:gd name="T0" fmla="*/ 120 w 288"/>
                  <a:gd name="T1" fmla="*/ 84 h 364"/>
                  <a:gd name="T2" fmla="*/ 96 w 288"/>
                  <a:gd name="T3" fmla="*/ 74 h 364"/>
                  <a:gd name="T4" fmla="*/ 106 w 288"/>
                  <a:gd name="T5" fmla="*/ 52 h 364"/>
                  <a:gd name="T6" fmla="*/ 130 w 288"/>
                  <a:gd name="T7" fmla="*/ 62 h 364"/>
                  <a:gd name="T8" fmla="*/ 74 w 288"/>
                  <a:gd name="T9" fmla="*/ 52 h 364"/>
                  <a:gd name="T10" fmla="*/ 50 w 288"/>
                  <a:gd name="T11" fmla="*/ 58 h 364"/>
                  <a:gd name="T12" fmla="*/ 54 w 288"/>
                  <a:gd name="T13" fmla="*/ 82 h 364"/>
                  <a:gd name="T14" fmla="*/ 80 w 288"/>
                  <a:gd name="T15" fmla="*/ 78 h 364"/>
                  <a:gd name="T16" fmla="*/ 148 w 288"/>
                  <a:gd name="T17" fmla="*/ 54 h 364"/>
                  <a:gd name="T18" fmla="*/ 148 w 288"/>
                  <a:gd name="T19" fmla="*/ 80 h 364"/>
                  <a:gd name="T20" fmla="*/ 174 w 288"/>
                  <a:gd name="T21" fmla="*/ 80 h 364"/>
                  <a:gd name="T22" fmla="*/ 174 w 288"/>
                  <a:gd name="T23" fmla="*/ 54 h 364"/>
                  <a:gd name="T24" fmla="*/ 128 w 288"/>
                  <a:gd name="T25" fmla="*/ 106 h 364"/>
                  <a:gd name="T26" fmla="*/ 102 w 288"/>
                  <a:gd name="T27" fmla="*/ 100 h 364"/>
                  <a:gd name="T28" fmla="*/ 98 w 288"/>
                  <a:gd name="T29" fmla="*/ 126 h 364"/>
                  <a:gd name="T30" fmla="*/ 122 w 288"/>
                  <a:gd name="T31" fmla="*/ 130 h 364"/>
                  <a:gd name="T32" fmla="*/ 82 w 288"/>
                  <a:gd name="T33" fmla="*/ 110 h 364"/>
                  <a:gd name="T34" fmla="*/ 58 w 288"/>
                  <a:gd name="T35" fmla="*/ 100 h 364"/>
                  <a:gd name="T36" fmla="*/ 48 w 288"/>
                  <a:gd name="T37" fmla="*/ 122 h 364"/>
                  <a:gd name="T38" fmla="*/ 72 w 288"/>
                  <a:gd name="T39" fmla="*/ 132 h 364"/>
                  <a:gd name="T40" fmla="*/ 120 w 288"/>
                  <a:gd name="T41" fmla="*/ 148 h 364"/>
                  <a:gd name="T42" fmla="*/ 96 w 288"/>
                  <a:gd name="T43" fmla="*/ 158 h 364"/>
                  <a:gd name="T44" fmla="*/ 106 w 288"/>
                  <a:gd name="T45" fmla="*/ 180 h 364"/>
                  <a:gd name="T46" fmla="*/ 130 w 288"/>
                  <a:gd name="T47" fmla="*/ 170 h 364"/>
                  <a:gd name="T48" fmla="*/ 120 w 288"/>
                  <a:gd name="T49" fmla="*/ 148 h 364"/>
                  <a:gd name="T50" fmla="*/ 52 w 288"/>
                  <a:gd name="T51" fmla="*/ 150 h 364"/>
                  <a:gd name="T52" fmla="*/ 52 w 288"/>
                  <a:gd name="T53" fmla="*/ 176 h 364"/>
                  <a:gd name="T54" fmla="*/ 78 w 288"/>
                  <a:gd name="T55" fmla="*/ 176 h 364"/>
                  <a:gd name="T56" fmla="*/ 78 w 288"/>
                  <a:gd name="T57" fmla="*/ 150 h 364"/>
                  <a:gd name="T58" fmla="*/ 216 w 288"/>
                  <a:gd name="T59" fmla="*/ 348 h 364"/>
                  <a:gd name="T60" fmla="*/ 40 w 288"/>
                  <a:gd name="T61" fmla="*/ 364 h 364"/>
                  <a:gd name="T62" fmla="*/ 8 w 288"/>
                  <a:gd name="T63" fmla="*/ 346 h 364"/>
                  <a:gd name="T64" fmla="*/ 2 w 288"/>
                  <a:gd name="T65" fmla="*/ 32 h 364"/>
                  <a:gd name="T66" fmla="*/ 32 w 288"/>
                  <a:gd name="T67" fmla="*/ 0 h 364"/>
                  <a:gd name="T68" fmla="*/ 208 w 288"/>
                  <a:gd name="T69" fmla="*/ 6 h 364"/>
                  <a:gd name="T70" fmla="*/ 224 w 288"/>
                  <a:gd name="T71" fmla="*/ 158 h 364"/>
                  <a:gd name="T72" fmla="*/ 206 w 288"/>
                  <a:gd name="T73" fmla="*/ 148 h 364"/>
                  <a:gd name="T74" fmla="*/ 194 w 288"/>
                  <a:gd name="T75" fmla="*/ 36 h 364"/>
                  <a:gd name="T76" fmla="*/ 36 w 288"/>
                  <a:gd name="T77" fmla="*/ 30 h 364"/>
                  <a:gd name="T78" fmla="*/ 32 w 288"/>
                  <a:gd name="T79" fmla="*/ 274 h 364"/>
                  <a:gd name="T80" fmla="*/ 156 w 288"/>
                  <a:gd name="T81" fmla="*/ 324 h 364"/>
                  <a:gd name="T82" fmla="*/ 216 w 288"/>
                  <a:gd name="T83" fmla="*/ 348 h 364"/>
                  <a:gd name="T84" fmla="*/ 120 w 288"/>
                  <a:gd name="T85" fmla="*/ 304 h 364"/>
                  <a:gd name="T86" fmla="*/ 92 w 288"/>
                  <a:gd name="T87" fmla="*/ 324 h 364"/>
                  <a:gd name="T88" fmla="*/ 112 w 288"/>
                  <a:gd name="T89" fmla="*/ 342 h 364"/>
                  <a:gd name="T90" fmla="*/ 288 w 288"/>
                  <a:gd name="T91" fmla="*/ 256 h 364"/>
                  <a:gd name="T92" fmla="*/ 282 w 288"/>
                  <a:gd name="T93" fmla="*/ 188 h 364"/>
                  <a:gd name="T94" fmla="*/ 254 w 288"/>
                  <a:gd name="T95" fmla="*/ 190 h 364"/>
                  <a:gd name="T96" fmla="*/ 242 w 288"/>
                  <a:gd name="T97" fmla="*/ 174 h 364"/>
                  <a:gd name="T98" fmla="*/ 216 w 288"/>
                  <a:gd name="T99" fmla="*/ 186 h 364"/>
                  <a:gd name="T100" fmla="*/ 198 w 288"/>
                  <a:gd name="T101" fmla="*/ 164 h 364"/>
                  <a:gd name="T102" fmla="*/ 180 w 288"/>
                  <a:gd name="T103" fmla="*/ 118 h 364"/>
                  <a:gd name="T104" fmla="*/ 162 w 288"/>
                  <a:gd name="T105" fmla="*/ 100 h 364"/>
                  <a:gd name="T106" fmla="*/ 118 w 288"/>
                  <a:gd name="T107" fmla="*/ 212 h 364"/>
                  <a:gd name="T108" fmla="*/ 92 w 288"/>
                  <a:gd name="T109" fmla="*/ 212 h 364"/>
                  <a:gd name="T110" fmla="*/ 166 w 288"/>
                  <a:gd name="T111" fmla="*/ 312 h 364"/>
                  <a:gd name="T112" fmla="*/ 216 w 288"/>
                  <a:gd name="T113" fmla="*/ 332 h 364"/>
                  <a:gd name="T114" fmla="*/ 276 w 288"/>
                  <a:gd name="T115" fmla="*/ 300 h 364"/>
                  <a:gd name="T116" fmla="*/ 288 w 288"/>
                  <a:gd name="T117" fmla="*/ 256 h 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88" h="364">
                    <a:moveTo>
                      <a:pt x="130" y="74"/>
                    </a:moveTo>
                    <a:lnTo>
                      <a:pt x="130" y="74"/>
                    </a:lnTo>
                    <a:lnTo>
                      <a:pt x="128" y="78"/>
                    </a:lnTo>
                    <a:lnTo>
                      <a:pt x="126" y="80"/>
                    </a:lnTo>
                    <a:lnTo>
                      <a:pt x="122" y="82"/>
                    </a:lnTo>
                    <a:lnTo>
                      <a:pt x="120" y="84"/>
                    </a:lnTo>
                    <a:lnTo>
                      <a:pt x="106" y="84"/>
                    </a:lnTo>
                    <a:lnTo>
                      <a:pt x="106" y="84"/>
                    </a:lnTo>
                    <a:lnTo>
                      <a:pt x="102" y="82"/>
                    </a:lnTo>
                    <a:lnTo>
                      <a:pt x="100" y="80"/>
                    </a:lnTo>
                    <a:lnTo>
                      <a:pt x="98" y="78"/>
                    </a:lnTo>
                    <a:lnTo>
                      <a:pt x="96" y="74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8" y="58"/>
                    </a:lnTo>
                    <a:lnTo>
                      <a:pt x="100" y="54"/>
                    </a:lnTo>
                    <a:lnTo>
                      <a:pt x="102" y="52"/>
                    </a:lnTo>
                    <a:lnTo>
                      <a:pt x="106" y="52"/>
                    </a:lnTo>
                    <a:lnTo>
                      <a:pt x="120" y="52"/>
                    </a:lnTo>
                    <a:lnTo>
                      <a:pt x="120" y="52"/>
                    </a:lnTo>
                    <a:lnTo>
                      <a:pt x="122" y="52"/>
                    </a:lnTo>
                    <a:lnTo>
                      <a:pt x="126" y="54"/>
                    </a:lnTo>
                    <a:lnTo>
                      <a:pt x="128" y="58"/>
                    </a:lnTo>
                    <a:lnTo>
                      <a:pt x="130" y="62"/>
                    </a:lnTo>
                    <a:lnTo>
                      <a:pt x="130" y="74"/>
                    </a:lnTo>
                    <a:close/>
                    <a:moveTo>
                      <a:pt x="82" y="62"/>
                    </a:moveTo>
                    <a:lnTo>
                      <a:pt x="82" y="62"/>
                    </a:lnTo>
                    <a:lnTo>
                      <a:pt x="80" y="58"/>
                    </a:lnTo>
                    <a:lnTo>
                      <a:pt x="78" y="54"/>
                    </a:lnTo>
                    <a:lnTo>
                      <a:pt x="74" y="52"/>
                    </a:lnTo>
                    <a:lnTo>
                      <a:pt x="72" y="52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4" y="52"/>
                    </a:lnTo>
                    <a:lnTo>
                      <a:pt x="52" y="54"/>
                    </a:lnTo>
                    <a:lnTo>
                      <a:pt x="50" y="58"/>
                    </a:lnTo>
                    <a:lnTo>
                      <a:pt x="48" y="62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50" y="78"/>
                    </a:lnTo>
                    <a:lnTo>
                      <a:pt x="52" y="80"/>
                    </a:lnTo>
                    <a:lnTo>
                      <a:pt x="54" y="82"/>
                    </a:lnTo>
                    <a:lnTo>
                      <a:pt x="58" y="84"/>
                    </a:lnTo>
                    <a:lnTo>
                      <a:pt x="72" y="84"/>
                    </a:lnTo>
                    <a:lnTo>
                      <a:pt x="72" y="84"/>
                    </a:lnTo>
                    <a:lnTo>
                      <a:pt x="74" y="82"/>
                    </a:lnTo>
                    <a:lnTo>
                      <a:pt x="78" y="80"/>
                    </a:lnTo>
                    <a:lnTo>
                      <a:pt x="80" y="78"/>
                    </a:lnTo>
                    <a:lnTo>
                      <a:pt x="82" y="74"/>
                    </a:lnTo>
                    <a:lnTo>
                      <a:pt x="82" y="62"/>
                    </a:lnTo>
                    <a:close/>
                    <a:moveTo>
                      <a:pt x="154" y="52"/>
                    </a:moveTo>
                    <a:lnTo>
                      <a:pt x="154" y="52"/>
                    </a:lnTo>
                    <a:lnTo>
                      <a:pt x="150" y="52"/>
                    </a:lnTo>
                    <a:lnTo>
                      <a:pt x="148" y="54"/>
                    </a:lnTo>
                    <a:lnTo>
                      <a:pt x="146" y="58"/>
                    </a:lnTo>
                    <a:lnTo>
                      <a:pt x="144" y="62"/>
                    </a:lnTo>
                    <a:lnTo>
                      <a:pt x="144" y="74"/>
                    </a:lnTo>
                    <a:lnTo>
                      <a:pt x="144" y="74"/>
                    </a:lnTo>
                    <a:lnTo>
                      <a:pt x="146" y="78"/>
                    </a:lnTo>
                    <a:lnTo>
                      <a:pt x="148" y="80"/>
                    </a:lnTo>
                    <a:lnTo>
                      <a:pt x="150" y="82"/>
                    </a:lnTo>
                    <a:lnTo>
                      <a:pt x="154" y="84"/>
                    </a:lnTo>
                    <a:lnTo>
                      <a:pt x="168" y="84"/>
                    </a:lnTo>
                    <a:lnTo>
                      <a:pt x="168" y="84"/>
                    </a:lnTo>
                    <a:lnTo>
                      <a:pt x="170" y="82"/>
                    </a:lnTo>
                    <a:lnTo>
                      <a:pt x="174" y="80"/>
                    </a:lnTo>
                    <a:lnTo>
                      <a:pt x="176" y="78"/>
                    </a:lnTo>
                    <a:lnTo>
                      <a:pt x="178" y="74"/>
                    </a:lnTo>
                    <a:lnTo>
                      <a:pt x="178" y="62"/>
                    </a:lnTo>
                    <a:lnTo>
                      <a:pt x="178" y="62"/>
                    </a:lnTo>
                    <a:lnTo>
                      <a:pt x="176" y="58"/>
                    </a:lnTo>
                    <a:lnTo>
                      <a:pt x="174" y="54"/>
                    </a:lnTo>
                    <a:lnTo>
                      <a:pt x="170" y="52"/>
                    </a:lnTo>
                    <a:lnTo>
                      <a:pt x="168" y="52"/>
                    </a:lnTo>
                    <a:lnTo>
                      <a:pt x="154" y="52"/>
                    </a:lnTo>
                    <a:close/>
                    <a:moveTo>
                      <a:pt x="130" y="110"/>
                    </a:moveTo>
                    <a:lnTo>
                      <a:pt x="130" y="110"/>
                    </a:lnTo>
                    <a:lnTo>
                      <a:pt x="128" y="106"/>
                    </a:lnTo>
                    <a:lnTo>
                      <a:pt x="126" y="102"/>
                    </a:lnTo>
                    <a:lnTo>
                      <a:pt x="122" y="100"/>
                    </a:lnTo>
                    <a:lnTo>
                      <a:pt x="120" y="100"/>
                    </a:lnTo>
                    <a:lnTo>
                      <a:pt x="106" y="100"/>
                    </a:lnTo>
                    <a:lnTo>
                      <a:pt x="106" y="100"/>
                    </a:lnTo>
                    <a:lnTo>
                      <a:pt x="102" y="100"/>
                    </a:lnTo>
                    <a:lnTo>
                      <a:pt x="100" y="102"/>
                    </a:lnTo>
                    <a:lnTo>
                      <a:pt x="98" y="106"/>
                    </a:lnTo>
                    <a:lnTo>
                      <a:pt x="96" y="110"/>
                    </a:lnTo>
                    <a:lnTo>
                      <a:pt x="96" y="122"/>
                    </a:lnTo>
                    <a:lnTo>
                      <a:pt x="96" y="122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2" y="130"/>
                    </a:lnTo>
                    <a:lnTo>
                      <a:pt x="106" y="132"/>
                    </a:lnTo>
                    <a:lnTo>
                      <a:pt x="120" y="132"/>
                    </a:lnTo>
                    <a:lnTo>
                      <a:pt x="120" y="132"/>
                    </a:lnTo>
                    <a:lnTo>
                      <a:pt x="122" y="130"/>
                    </a:lnTo>
                    <a:lnTo>
                      <a:pt x="126" y="128"/>
                    </a:lnTo>
                    <a:lnTo>
                      <a:pt x="128" y="126"/>
                    </a:lnTo>
                    <a:lnTo>
                      <a:pt x="130" y="122"/>
                    </a:lnTo>
                    <a:lnTo>
                      <a:pt x="130" y="110"/>
                    </a:lnTo>
                    <a:close/>
                    <a:moveTo>
                      <a:pt x="82" y="110"/>
                    </a:moveTo>
                    <a:lnTo>
                      <a:pt x="82" y="110"/>
                    </a:lnTo>
                    <a:lnTo>
                      <a:pt x="80" y="106"/>
                    </a:lnTo>
                    <a:lnTo>
                      <a:pt x="78" y="102"/>
                    </a:lnTo>
                    <a:lnTo>
                      <a:pt x="74" y="100"/>
                    </a:lnTo>
                    <a:lnTo>
                      <a:pt x="72" y="100"/>
                    </a:lnTo>
                    <a:lnTo>
                      <a:pt x="58" y="100"/>
                    </a:lnTo>
                    <a:lnTo>
                      <a:pt x="58" y="100"/>
                    </a:lnTo>
                    <a:lnTo>
                      <a:pt x="54" y="100"/>
                    </a:lnTo>
                    <a:lnTo>
                      <a:pt x="52" y="102"/>
                    </a:lnTo>
                    <a:lnTo>
                      <a:pt x="50" y="106"/>
                    </a:lnTo>
                    <a:lnTo>
                      <a:pt x="48" y="110"/>
                    </a:lnTo>
                    <a:lnTo>
                      <a:pt x="48" y="122"/>
                    </a:lnTo>
                    <a:lnTo>
                      <a:pt x="48" y="122"/>
                    </a:lnTo>
                    <a:lnTo>
                      <a:pt x="50" y="126"/>
                    </a:lnTo>
                    <a:lnTo>
                      <a:pt x="52" y="128"/>
                    </a:lnTo>
                    <a:lnTo>
                      <a:pt x="54" y="130"/>
                    </a:lnTo>
                    <a:lnTo>
                      <a:pt x="58" y="132"/>
                    </a:lnTo>
                    <a:lnTo>
                      <a:pt x="72" y="132"/>
                    </a:lnTo>
                    <a:lnTo>
                      <a:pt x="72" y="132"/>
                    </a:lnTo>
                    <a:lnTo>
                      <a:pt x="74" y="130"/>
                    </a:lnTo>
                    <a:lnTo>
                      <a:pt x="78" y="128"/>
                    </a:lnTo>
                    <a:lnTo>
                      <a:pt x="80" y="126"/>
                    </a:lnTo>
                    <a:lnTo>
                      <a:pt x="82" y="122"/>
                    </a:lnTo>
                    <a:lnTo>
                      <a:pt x="82" y="110"/>
                    </a:lnTo>
                    <a:close/>
                    <a:moveTo>
                      <a:pt x="120" y="148"/>
                    </a:moveTo>
                    <a:lnTo>
                      <a:pt x="106" y="148"/>
                    </a:lnTo>
                    <a:lnTo>
                      <a:pt x="106" y="148"/>
                    </a:lnTo>
                    <a:lnTo>
                      <a:pt x="102" y="148"/>
                    </a:lnTo>
                    <a:lnTo>
                      <a:pt x="100" y="150"/>
                    </a:lnTo>
                    <a:lnTo>
                      <a:pt x="98" y="154"/>
                    </a:lnTo>
                    <a:lnTo>
                      <a:pt x="96" y="158"/>
                    </a:lnTo>
                    <a:lnTo>
                      <a:pt x="96" y="170"/>
                    </a:lnTo>
                    <a:lnTo>
                      <a:pt x="96" y="170"/>
                    </a:lnTo>
                    <a:lnTo>
                      <a:pt x="98" y="174"/>
                    </a:lnTo>
                    <a:lnTo>
                      <a:pt x="100" y="176"/>
                    </a:lnTo>
                    <a:lnTo>
                      <a:pt x="102" y="178"/>
                    </a:lnTo>
                    <a:lnTo>
                      <a:pt x="106" y="180"/>
                    </a:lnTo>
                    <a:lnTo>
                      <a:pt x="120" y="180"/>
                    </a:lnTo>
                    <a:lnTo>
                      <a:pt x="120" y="180"/>
                    </a:lnTo>
                    <a:lnTo>
                      <a:pt x="122" y="178"/>
                    </a:lnTo>
                    <a:lnTo>
                      <a:pt x="126" y="176"/>
                    </a:lnTo>
                    <a:lnTo>
                      <a:pt x="128" y="174"/>
                    </a:lnTo>
                    <a:lnTo>
                      <a:pt x="130" y="170"/>
                    </a:lnTo>
                    <a:lnTo>
                      <a:pt x="130" y="158"/>
                    </a:lnTo>
                    <a:lnTo>
                      <a:pt x="130" y="158"/>
                    </a:lnTo>
                    <a:lnTo>
                      <a:pt x="128" y="154"/>
                    </a:lnTo>
                    <a:lnTo>
                      <a:pt x="126" y="150"/>
                    </a:lnTo>
                    <a:lnTo>
                      <a:pt x="122" y="148"/>
                    </a:lnTo>
                    <a:lnTo>
                      <a:pt x="120" y="148"/>
                    </a:lnTo>
                    <a:lnTo>
                      <a:pt x="120" y="148"/>
                    </a:lnTo>
                    <a:close/>
                    <a:moveTo>
                      <a:pt x="72" y="148"/>
                    </a:moveTo>
                    <a:lnTo>
                      <a:pt x="58" y="148"/>
                    </a:lnTo>
                    <a:lnTo>
                      <a:pt x="58" y="148"/>
                    </a:lnTo>
                    <a:lnTo>
                      <a:pt x="54" y="148"/>
                    </a:lnTo>
                    <a:lnTo>
                      <a:pt x="52" y="150"/>
                    </a:lnTo>
                    <a:lnTo>
                      <a:pt x="50" y="154"/>
                    </a:lnTo>
                    <a:lnTo>
                      <a:pt x="48" y="158"/>
                    </a:lnTo>
                    <a:lnTo>
                      <a:pt x="48" y="170"/>
                    </a:lnTo>
                    <a:lnTo>
                      <a:pt x="48" y="170"/>
                    </a:lnTo>
                    <a:lnTo>
                      <a:pt x="50" y="174"/>
                    </a:lnTo>
                    <a:lnTo>
                      <a:pt x="52" y="176"/>
                    </a:lnTo>
                    <a:lnTo>
                      <a:pt x="54" y="178"/>
                    </a:lnTo>
                    <a:lnTo>
                      <a:pt x="58" y="180"/>
                    </a:lnTo>
                    <a:lnTo>
                      <a:pt x="72" y="180"/>
                    </a:lnTo>
                    <a:lnTo>
                      <a:pt x="72" y="180"/>
                    </a:lnTo>
                    <a:lnTo>
                      <a:pt x="74" y="178"/>
                    </a:lnTo>
                    <a:lnTo>
                      <a:pt x="78" y="176"/>
                    </a:lnTo>
                    <a:lnTo>
                      <a:pt x="80" y="174"/>
                    </a:lnTo>
                    <a:lnTo>
                      <a:pt x="82" y="170"/>
                    </a:lnTo>
                    <a:lnTo>
                      <a:pt x="82" y="158"/>
                    </a:lnTo>
                    <a:lnTo>
                      <a:pt x="82" y="158"/>
                    </a:lnTo>
                    <a:lnTo>
                      <a:pt x="80" y="154"/>
                    </a:lnTo>
                    <a:lnTo>
                      <a:pt x="78" y="150"/>
                    </a:lnTo>
                    <a:lnTo>
                      <a:pt x="74" y="148"/>
                    </a:lnTo>
                    <a:lnTo>
                      <a:pt x="72" y="148"/>
                    </a:lnTo>
                    <a:lnTo>
                      <a:pt x="72" y="148"/>
                    </a:lnTo>
                    <a:close/>
                    <a:moveTo>
                      <a:pt x="216" y="348"/>
                    </a:moveTo>
                    <a:lnTo>
                      <a:pt x="216" y="348"/>
                    </a:lnTo>
                    <a:lnTo>
                      <a:pt x="216" y="348"/>
                    </a:lnTo>
                    <a:lnTo>
                      <a:pt x="216" y="348"/>
                    </a:lnTo>
                    <a:lnTo>
                      <a:pt x="210" y="354"/>
                    </a:lnTo>
                    <a:lnTo>
                      <a:pt x="202" y="360"/>
                    </a:lnTo>
                    <a:lnTo>
                      <a:pt x="194" y="362"/>
                    </a:lnTo>
                    <a:lnTo>
                      <a:pt x="184" y="364"/>
                    </a:lnTo>
                    <a:lnTo>
                      <a:pt x="40" y="364"/>
                    </a:lnTo>
                    <a:lnTo>
                      <a:pt x="40" y="364"/>
                    </a:lnTo>
                    <a:lnTo>
                      <a:pt x="32" y="364"/>
                    </a:lnTo>
                    <a:lnTo>
                      <a:pt x="26" y="360"/>
                    </a:lnTo>
                    <a:lnTo>
                      <a:pt x="18" y="358"/>
                    </a:lnTo>
                    <a:lnTo>
                      <a:pt x="12" y="352"/>
                    </a:lnTo>
                    <a:lnTo>
                      <a:pt x="8" y="346"/>
                    </a:lnTo>
                    <a:lnTo>
                      <a:pt x="4" y="340"/>
                    </a:lnTo>
                    <a:lnTo>
                      <a:pt x="2" y="332"/>
                    </a:lnTo>
                    <a:lnTo>
                      <a:pt x="0" y="32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2" y="32"/>
                    </a:lnTo>
                    <a:lnTo>
                      <a:pt x="4" y="24"/>
                    </a:lnTo>
                    <a:lnTo>
                      <a:pt x="8" y="18"/>
                    </a:lnTo>
                    <a:lnTo>
                      <a:pt x="12" y="12"/>
                    </a:lnTo>
                    <a:lnTo>
                      <a:pt x="18" y="6"/>
                    </a:lnTo>
                    <a:lnTo>
                      <a:pt x="26" y="4"/>
                    </a:lnTo>
                    <a:lnTo>
                      <a:pt x="32" y="0"/>
                    </a:lnTo>
                    <a:lnTo>
                      <a:pt x="40" y="0"/>
                    </a:lnTo>
                    <a:lnTo>
                      <a:pt x="184" y="0"/>
                    </a:lnTo>
                    <a:lnTo>
                      <a:pt x="184" y="0"/>
                    </a:lnTo>
                    <a:lnTo>
                      <a:pt x="192" y="0"/>
                    </a:lnTo>
                    <a:lnTo>
                      <a:pt x="200" y="4"/>
                    </a:lnTo>
                    <a:lnTo>
                      <a:pt x="208" y="6"/>
                    </a:lnTo>
                    <a:lnTo>
                      <a:pt x="214" y="12"/>
                    </a:lnTo>
                    <a:lnTo>
                      <a:pt x="218" y="18"/>
                    </a:lnTo>
                    <a:lnTo>
                      <a:pt x="222" y="24"/>
                    </a:lnTo>
                    <a:lnTo>
                      <a:pt x="224" y="32"/>
                    </a:lnTo>
                    <a:lnTo>
                      <a:pt x="224" y="40"/>
                    </a:lnTo>
                    <a:lnTo>
                      <a:pt x="224" y="158"/>
                    </a:lnTo>
                    <a:lnTo>
                      <a:pt x="224" y="158"/>
                    </a:lnTo>
                    <a:lnTo>
                      <a:pt x="224" y="158"/>
                    </a:lnTo>
                    <a:lnTo>
                      <a:pt x="224" y="158"/>
                    </a:lnTo>
                    <a:lnTo>
                      <a:pt x="218" y="154"/>
                    </a:lnTo>
                    <a:lnTo>
                      <a:pt x="212" y="150"/>
                    </a:lnTo>
                    <a:lnTo>
                      <a:pt x="206" y="148"/>
                    </a:lnTo>
                    <a:lnTo>
                      <a:pt x="198" y="148"/>
                    </a:lnTo>
                    <a:lnTo>
                      <a:pt x="198" y="148"/>
                    </a:lnTo>
                    <a:lnTo>
                      <a:pt x="194" y="148"/>
                    </a:lnTo>
                    <a:lnTo>
                      <a:pt x="194" y="40"/>
                    </a:lnTo>
                    <a:lnTo>
                      <a:pt x="194" y="40"/>
                    </a:lnTo>
                    <a:lnTo>
                      <a:pt x="194" y="36"/>
                    </a:lnTo>
                    <a:lnTo>
                      <a:pt x="192" y="32"/>
                    </a:lnTo>
                    <a:lnTo>
                      <a:pt x="188" y="30"/>
                    </a:lnTo>
                    <a:lnTo>
                      <a:pt x="184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4" y="32"/>
                    </a:lnTo>
                    <a:lnTo>
                      <a:pt x="32" y="36"/>
                    </a:lnTo>
                    <a:lnTo>
                      <a:pt x="30" y="40"/>
                    </a:lnTo>
                    <a:lnTo>
                      <a:pt x="30" y="270"/>
                    </a:lnTo>
                    <a:lnTo>
                      <a:pt x="30" y="270"/>
                    </a:lnTo>
                    <a:lnTo>
                      <a:pt x="32" y="274"/>
                    </a:lnTo>
                    <a:lnTo>
                      <a:pt x="34" y="276"/>
                    </a:lnTo>
                    <a:lnTo>
                      <a:pt x="36" y="278"/>
                    </a:lnTo>
                    <a:lnTo>
                      <a:pt x="40" y="280"/>
                    </a:lnTo>
                    <a:lnTo>
                      <a:pt x="110" y="280"/>
                    </a:lnTo>
                    <a:lnTo>
                      <a:pt x="156" y="324"/>
                    </a:lnTo>
                    <a:lnTo>
                      <a:pt x="156" y="324"/>
                    </a:lnTo>
                    <a:lnTo>
                      <a:pt x="160" y="328"/>
                    </a:lnTo>
                    <a:lnTo>
                      <a:pt x="160" y="328"/>
                    </a:lnTo>
                    <a:lnTo>
                      <a:pt x="172" y="336"/>
                    </a:lnTo>
                    <a:lnTo>
                      <a:pt x="186" y="342"/>
                    </a:lnTo>
                    <a:lnTo>
                      <a:pt x="200" y="346"/>
                    </a:lnTo>
                    <a:lnTo>
                      <a:pt x="216" y="348"/>
                    </a:lnTo>
                    <a:lnTo>
                      <a:pt x="216" y="348"/>
                    </a:lnTo>
                    <a:close/>
                    <a:moveTo>
                      <a:pt x="132" y="324"/>
                    </a:moveTo>
                    <a:lnTo>
                      <a:pt x="132" y="324"/>
                    </a:lnTo>
                    <a:lnTo>
                      <a:pt x="132" y="316"/>
                    </a:lnTo>
                    <a:lnTo>
                      <a:pt x="126" y="310"/>
                    </a:lnTo>
                    <a:lnTo>
                      <a:pt x="120" y="304"/>
                    </a:lnTo>
                    <a:lnTo>
                      <a:pt x="112" y="304"/>
                    </a:lnTo>
                    <a:lnTo>
                      <a:pt x="112" y="304"/>
                    </a:lnTo>
                    <a:lnTo>
                      <a:pt x="106" y="304"/>
                    </a:lnTo>
                    <a:lnTo>
                      <a:pt x="98" y="310"/>
                    </a:lnTo>
                    <a:lnTo>
                      <a:pt x="94" y="316"/>
                    </a:lnTo>
                    <a:lnTo>
                      <a:pt x="92" y="324"/>
                    </a:lnTo>
                    <a:lnTo>
                      <a:pt x="92" y="324"/>
                    </a:lnTo>
                    <a:lnTo>
                      <a:pt x="94" y="330"/>
                    </a:lnTo>
                    <a:lnTo>
                      <a:pt x="98" y="338"/>
                    </a:lnTo>
                    <a:lnTo>
                      <a:pt x="106" y="342"/>
                    </a:lnTo>
                    <a:lnTo>
                      <a:pt x="112" y="342"/>
                    </a:lnTo>
                    <a:lnTo>
                      <a:pt x="112" y="342"/>
                    </a:lnTo>
                    <a:lnTo>
                      <a:pt x="120" y="342"/>
                    </a:lnTo>
                    <a:lnTo>
                      <a:pt x="126" y="338"/>
                    </a:lnTo>
                    <a:lnTo>
                      <a:pt x="132" y="330"/>
                    </a:lnTo>
                    <a:lnTo>
                      <a:pt x="132" y="324"/>
                    </a:lnTo>
                    <a:lnTo>
                      <a:pt x="132" y="324"/>
                    </a:lnTo>
                    <a:close/>
                    <a:moveTo>
                      <a:pt x="288" y="256"/>
                    </a:moveTo>
                    <a:lnTo>
                      <a:pt x="288" y="256"/>
                    </a:lnTo>
                    <a:lnTo>
                      <a:pt x="288" y="256"/>
                    </a:lnTo>
                    <a:lnTo>
                      <a:pt x="288" y="200"/>
                    </a:lnTo>
                    <a:lnTo>
                      <a:pt x="288" y="200"/>
                    </a:lnTo>
                    <a:lnTo>
                      <a:pt x="286" y="192"/>
                    </a:lnTo>
                    <a:lnTo>
                      <a:pt x="282" y="188"/>
                    </a:lnTo>
                    <a:lnTo>
                      <a:pt x="276" y="184"/>
                    </a:lnTo>
                    <a:lnTo>
                      <a:pt x="270" y="182"/>
                    </a:lnTo>
                    <a:lnTo>
                      <a:pt x="270" y="182"/>
                    </a:lnTo>
                    <a:lnTo>
                      <a:pt x="264" y="182"/>
                    </a:lnTo>
                    <a:lnTo>
                      <a:pt x="258" y="186"/>
                    </a:lnTo>
                    <a:lnTo>
                      <a:pt x="254" y="190"/>
                    </a:lnTo>
                    <a:lnTo>
                      <a:pt x="252" y="196"/>
                    </a:lnTo>
                    <a:lnTo>
                      <a:pt x="252" y="190"/>
                    </a:lnTo>
                    <a:lnTo>
                      <a:pt x="252" y="190"/>
                    </a:lnTo>
                    <a:lnTo>
                      <a:pt x="250" y="184"/>
                    </a:lnTo>
                    <a:lnTo>
                      <a:pt x="246" y="178"/>
                    </a:lnTo>
                    <a:lnTo>
                      <a:pt x="242" y="174"/>
                    </a:lnTo>
                    <a:lnTo>
                      <a:pt x="234" y="172"/>
                    </a:lnTo>
                    <a:lnTo>
                      <a:pt x="234" y="172"/>
                    </a:lnTo>
                    <a:lnTo>
                      <a:pt x="228" y="174"/>
                    </a:lnTo>
                    <a:lnTo>
                      <a:pt x="222" y="176"/>
                    </a:lnTo>
                    <a:lnTo>
                      <a:pt x="218" y="180"/>
                    </a:lnTo>
                    <a:lnTo>
                      <a:pt x="216" y="186"/>
                    </a:lnTo>
                    <a:lnTo>
                      <a:pt x="216" y="182"/>
                    </a:lnTo>
                    <a:lnTo>
                      <a:pt x="216" y="182"/>
                    </a:lnTo>
                    <a:lnTo>
                      <a:pt x="214" y="174"/>
                    </a:lnTo>
                    <a:lnTo>
                      <a:pt x="212" y="168"/>
                    </a:lnTo>
                    <a:lnTo>
                      <a:pt x="206" y="164"/>
                    </a:lnTo>
                    <a:lnTo>
                      <a:pt x="198" y="164"/>
                    </a:lnTo>
                    <a:lnTo>
                      <a:pt x="198" y="164"/>
                    </a:lnTo>
                    <a:lnTo>
                      <a:pt x="192" y="164"/>
                    </a:lnTo>
                    <a:lnTo>
                      <a:pt x="186" y="168"/>
                    </a:lnTo>
                    <a:lnTo>
                      <a:pt x="182" y="172"/>
                    </a:lnTo>
                    <a:lnTo>
                      <a:pt x="180" y="176"/>
                    </a:lnTo>
                    <a:lnTo>
                      <a:pt x="180" y="118"/>
                    </a:lnTo>
                    <a:lnTo>
                      <a:pt x="180" y="118"/>
                    </a:lnTo>
                    <a:lnTo>
                      <a:pt x="180" y="110"/>
                    </a:lnTo>
                    <a:lnTo>
                      <a:pt x="176" y="104"/>
                    </a:lnTo>
                    <a:lnTo>
                      <a:pt x="170" y="100"/>
                    </a:lnTo>
                    <a:lnTo>
                      <a:pt x="162" y="100"/>
                    </a:lnTo>
                    <a:lnTo>
                      <a:pt x="162" y="100"/>
                    </a:lnTo>
                    <a:lnTo>
                      <a:pt x="156" y="100"/>
                    </a:lnTo>
                    <a:lnTo>
                      <a:pt x="150" y="104"/>
                    </a:lnTo>
                    <a:lnTo>
                      <a:pt x="146" y="110"/>
                    </a:lnTo>
                    <a:lnTo>
                      <a:pt x="144" y="118"/>
                    </a:lnTo>
                    <a:lnTo>
                      <a:pt x="144" y="238"/>
                    </a:lnTo>
                    <a:lnTo>
                      <a:pt x="118" y="212"/>
                    </a:lnTo>
                    <a:lnTo>
                      <a:pt x="118" y="212"/>
                    </a:lnTo>
                    <a:lnTo>
                      <a:pt x="112" y="208"/>
                    </a:lnTo>
                    <a:lnTo>
                      <a:pt x="104" y="206"/>
                    </a:lnTo>
                    <a:lnTo>
                      <a:pt x="98" y="208"/>
                    </a:lnTo>
                    <a:lnTo>
                      <a:pt x="92" y="212"/>
                    </a:lnTo>
                    <a:lnTo>
                      <a:pt x="92" y="212"/>
                    </a:lnTo>
                    <a:lnTo>
                      <a:pt x="88" y="218"/>
                    </a:lnTo>
                    <a:lnTo>
                      <a:pt x="86" y="224"/>
                    </a:lnTo>
                    <a:lnTo>
                      <a:pt x="88" y="232"/>
                    </a:lnTo>
                    <a:lnTo>
                      <a:pt x="92" y="238"/>
                    </a:lnTo>
                    <a:lnTo>
                      <a:pt x="166" y="312"/>
                    </a:lnTo>
                    <a:lnTo>
                      <a:pt x="166" y="312"/>
                    </a:lnTo>
                    <a:lnTo>
                      <a:pt x="170" y="314"/>
                    </a:lnTo>
                    <a:lnTo>
                      <a:pt x="170" y="314"/>
                    </a:lnTo>
                    <a:lnTo>
                      <a:pt x="180" y="322"/>
                    </a:lnTo>
                    <a:lnTo>
                      <a:pt x="190" y="328"/>
                    </a:lnTo>
                    <a:lnTo>
                      <a:pt x="204" y="330"/>
                    </a:lnTo>
                    <a:lnTo>
                      <a:pt x="216" y="332"/>
                    </a:lnTo>
                    <a:lnTo>
                      <a:pt x="216" y="332"/>
                    </a:lnTo>
                    <a:lnTo>
                      <a:pt x="230" y="330"/>
                    </a:lnTo>
                    <a:lnTo>
                      <a:pt x="244" y="326"/>
                    </a:lnTo>
                    <a:lnTo>
                      <a:pt x="256" y="320"/>
                    </a:lnTo>
                    <a:lnTo>
                      <a:pt x="268" y="312"/>
                    </a:lnTo>
                    <a:lnTo>
                      <a:pt x="276" y="300"/>
                    </a:lnTo>
                    <a:lnTo>
                      <a:pt x="282" y="288"/>
                    </a:lnTo>
                    <a:lnTo>
                      <a:pt x="286" y="274"/>
                    </a:lnTo>
                    <a:lnTo>
                      <a:pt x="288" y="260"/>
                    </a:lnTo>
                    <a:lnTo>
                      <a:pt x="288" y="260"/>
                    </a:lnTo>
                    <a:lnTo>
                      <a:pt x="288" y="256"/>
                    </a:lnTo>
                    <a:lnTo>
                      <a:pt x="288" y="2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pic>
            <p:nvPicPr>
              <p:cNvPr id="66" name="Picture 2" descr="http://uploads.webflow.com/542b3be6503083a446fbc2f2/542d9f91e785314127dcd518_icon401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93762" y="3182457"/>
                <a:ext cx="306803" cy="30680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7" name="Left-Right Arrow 66"/>
              <p:cNvSpPr/>
              <p:nvPr/>
            </p:nvSpPr>
            <p:spPr bwMode="ltGray">
              <a:xfrm>
                <a:off x="1286490" y="2412819"/>
                <a:ext cx="2033654" cy="277839"/>
              </a:xfrm>
              <a:prstGeom prst="leftRightArrow">
                <a:avLst/>
              </a:prstGeom>
              <a:solidFill>
                <a:schemeClr val="accent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ru-RU" sz="900" dirty="0" smtClean="0">
                    <a:solidFill>
                      <a:schemeClr val="bg1"/>
                    </a:solidFill>
                    <a:latin typeface="+mj-lt"/>
                  </a:rPr>
                  <a:t>Шифровальные ключи</a:t>
                </a:r>
              </a:p>
            </p:txBody>
          </p:sp>
          <p:pic>
            <p:nvPicPr>
              <p:cNvPr id="68" name="Picture 4" descr="https://www.york.ac.uk/media/it-services/images/icons/128x128/lock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66011" y="2463898"/>
                <a:ext cx="274759" cy="2747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9" name="Left Arrow 68"/>
              <p:cNvSpPr/>
              <p:nvPr/>
            </p:nvSpPr>
            <p:spPr bwMode="ltGray">
              <a:xfrm rot="19659762">
                <a:off x="2645634" y="3092469"/>
                <a:ext cx="810958" cy="486781"/>
              </a:xfrm>
              <a:prstGeom prst="leftArrow">
                <a:avLst/>
              </a:prstGeom>
              <a:solidFill>
                <a:schemeClr val="accent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ru-RU" sz="500" dirty="0" smtClean="0">
                    <a:solidFill>
                      <a:schemeClr val="bg1"/>
                    </a:solidFill>
                    <a:latin typeface="+mj-lt"/>
                  </a:rPr>
                  <a:t>Неисполнение кредитных обязательств</a:t>
                </a:r>
              </a:p>
            </p:txBody>
          </p:sp>
          <p:pic>
            <p:nvPicPr>
              <p:cNvPr id="70" name="Picture 2" descr="http://uploads.webflow.com/542b3be6503083a446fbc2f2/542d9f91e785314127dcd518_icon401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14314" y="3169391"/>
                <a:ext cx="306803" cy="30680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1" name="Left Arrow 70"/>
              <p:cNvSpPr/>
              <p:nvPr/>
            </p:nvSpPr>
            <p:spPr bwMode="ltGray">
              <a:xfrm>
                <a:off x="1210496" y="3624163"/>
                <a:ext cx="810958" cy="486781"/>
              </a:xfrm>
              <a:prstGeom prst="leftArrow">
                <a:avLst/>
              </a:prstGeom>
              <a:solidFill>
                <a:schemeClr val="accent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ru-RU" sz="500" dirty="0" smtClean="0">
                    <a:solidFill>
                      <a:schemeClr val="bg1"/>
                    </a:solidFill>
                    <a:latin typeface="+mj-lt"/>
                  </a:rPr>
                  <a:t>Модель кредитных рисков</a:t>
                </a: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590318" y="3755877"/>
              <a:ext cx="679827" cy="606252"/>
              <a:chOff x="590318" y="3755877"/>
              <a:chExt cx="679827" cy="606252"/>
            </a:xfrm>
          </p:grpSpPr>
          <p:sp>
            <p:nvSpPr>
              <p:cNvPr id="53" name="5-Point Star 52"/>
              <p:cNvSpPr/>
              <p:nvPr/>
            </p:nvSpPr>
            <p:spPr bwMode="ltGray">
              <a:xfrm>
                <a:off x="590318" y="3755877"/>
                <a:ext cx="679827" cy="606252"/>
              </a:xfrm>
              <a:prstGeom prst="star5">
                <a:avLst/>
              </a:prstGeom>
              <a:solidFill>
                <a:srgbClr val="FFFF0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pic>
            <p:nvPicPr>
              <p:cNvPr id="54" name="Picture 6" descr="http://static.tumblr.com/mmz80ww/IcUmty2al/icon-build.png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5289" y="3913481"/>
                <a:ext cx="349886" cy="3498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72" name="Round Same Side Corner Rectangle 4"/>
          <p:cNvSpPr/>
          <p:nvPr/>
        </p:nvSpPr>
        <p:spPr>
          <a:xfrm>
            <a:off x="1559700" y="3618340"/>
            <a:ext cx="3169141" cy="200654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0" tIns="123825" rIns="247650" bIns="123825" numCol="1" spcCol="1270" anchor="t" anchorCtr="0"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ru-RU" sz="1000" i="1" dirty="0" smtClean="0">
                <a:solidFill>
                  <a:schemeClr val="bg1"/>
                </a:solidFill>
                <a:latin typeface="+mj-lt"/>
              </a:rPr>
              <a:t>Несмотря на наличие ограничений, связанных с долей рынка телекоммуникационной компании, была доказана повышенная эффективность этой модели по сравнению с моделями, в основе которых лежат данные кредитных бюро.</a:t>
            </a:r>
          </a:p>
          <a:p>
            <a:pPr lvl="0" algn="just">
              <a:spcAft>
                <a:spcPts val="600"/>
              </a:spcAft>
            </a:pPr>
            <a:endParaRPr lang="ru-RU" sz="1000" i="1" dirty="0" smtClean="0">
              <a:solidFill>
                <a:schemeClr val="bg1"/>
              </a:solidFill>
              <a:latin typeface="+mj-lt"/>
            </a:endParaRPr>
          </a:p>
          <a:p>
            <a:pPr lvl="0" algn="just">
              <a:spcAft>
                <a:spcPts val="600"/>
              </a:spcAft>
            </a:pPr>
            <a:r>
              <a:rPr lang="ru-RU" sz="1000" i="1" dirty="0" smtClean="0">
                <a:solidFill>
                  <a:schemeClr val="bg1"/>
                </a:solidFill>
                <a:latin typeface="+mj-lt"/>
              </a:rPr>
              <a:t>Такая модель бесценна для банков в процессе одобрения кредитов, особенно при работе с клиентами, у которых нет кредитной истории или она непродолжительная. Банки готовы платить за регулярные кредитные проверки, что создает новый интересный </a:t>
            </a:r>
            <a:r>
              <a:rPr lang="ru-RU" sz="1000" b="1" i="1" dirty="0" smtClean="0">
                <a:solidFill>
                  <a:schemeClr val="bg1"/>
                </a:solidFill>
                <a:latin typeface="+mj-lt"/>
              </a:rPr>
              <a:t>поток выручки </a:t>
            </a:r>
            <a:r>
              <a:rPr lang="ru-RU" sz="1000" i="1" dirty="0" smtClean="0">
                <a:solidFill>
                  <a:schemeClr val="bg1"/>
                </a:solidFill>
                <a:latin typeface="+mj-lt"/>
              </a:rPr>
              <a:t>в телекоммуникационной отрасли.</a:t>
            </a:r>
          </a:p>
          <a:p>
            <a:pPr lvl="0" algn="just">
              <a:spcAft>
                <a:spcPts val="600"/>
              </a:spcAft>
            </a:pPr>
            <a:endParaRPr lang="ru-RU" sz="1000" i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9733" y="3602299"/>
            <a:ext cx="1765568" cy="1068371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097155" y="3602299"/>
            <a:ext cx="1709753" cy="1155910"/>
          </a:xfrm>
          <a:prstGeom prst="rect">
            <a:avLst/>
          </a:prstGeom>
        </p:spPr>
      </p:pic>
      <p:sp>
        <p:nvSpPr>
          <p:cNvPr id="75" name="Abgerundetes Rechteck 24"/>
          <p:cNvSpPr/>
          <p:nvPr/>
        </p:nvSpPr>
        <p:spPr bwMode="auto">
          <a:xfrm>
            <a:off x="5189364" y="4934082"/>
            <a:ext cx="3641323" cy="579905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100" i="1" dirty="0" smtClean="0">
                <a:solidFill>
                  <a:schemeClr val="bg1"/>
                </a:solidFill>
                <a:latin typeface="+mj-lt"/>
              </a:rPr>
              <a:t>Как правило, показатель модели – </a:t>
            </a:r>
            <a:r>
              <a:rPr lang="ru-RU" sz="1100" b="1" i="1" dirty="0" smtClean="0">
                <a:solidFill>
                  <a:schemeClr val="bg1"/>
                </a:solidFill>
                <a:latin typeface="+mj-lt"/>
              </a:rPr>
              <a:t>Gini &gt; 0,6</a:t>
            </a:r>
          </a:p>
          <a:p>
            <a:pPr algn="ctr"/>
            <a:r>
              <a:rPr lang="ru-RU" sz="1100" i="1" dirty="0" smtClean="0">
                <a:solidFill>
                  <a:schemeClr val="bg1"/>
                </a:solidFill>
                <a:latin typeface="+mj-lt"/>
              </a:rPr>
              <a:t>Улучшение по клиентам с непродолжительной кредитной историей – </a:t>
            </a:r>
            <a:r>
              <a:rPr lang="ru-RU" sz="1100" b="1" i="1" dirty="0" smtClean="0">
                <a:solidFill>
                  <a:schemeClr val="bg1"/>
                </a:solidFill>
                <a:latin typeface="+mj-lt"/>
              </a:rPr>
              <a:t>свыше 20 %</a:t>
            </a:r>
            <a:endParaRPr lang="ru-RU" sz="1400" b="1" i="1" dirty="0">
              <a:solidFill>
                <a:schemeClr val="bg1"/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  <p:sp>
        <p:nvSpPr>
          <p:cNvPr id="76" name="Rectangle 17"/>
          <p:cNvSpPr>
            <a:spLocks/>
          </p:cNvSpPr>
          <p:nvPr/>
        </p:nvSpPr>
        <p:spPr bwMode="auto">
          <a:xfrm>
            <a:off x="142450" y="1853858"/>
            <a:ext cx="818235" cy="2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Межотраслевая монетизация данных</a:t>
            </a:r>
          </a:p>
        </p:txBody>
      </p:sp>
      <p:pic>
        <p:nvPicPr>
          <p:cNvPr id="77" name="Picture 331" descr="https://lh4.googleusercontent.com/-Js78JpbQHVA/AAAAAAAAAAI/AAAAAAAAMkI/FHoUn-_0K1U/s0-c-k-no-ns/photo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30" y="2335231"/>
            <a:ext cx="483246" cy="483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Rectangle 129"/>
          <p:cNvSpPr>
            <a:spLocks noChangeArrowheads="1"/>
          </p:cNvSpPr>
          <p:nvPr/>
        </p:nvSpPr>
        <p:spPr bwMode="auto">
          <a:xfrm>
            <a:off x="4786384" y="1020257"/>
            <a:ext cx="530225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6600" b="1" i="1" dirty="0" smtClean="0">
                <a:solidFill>
                  <a:schemeClr val="bg1"/>
                </a:solidFill>
                <a:latin typeface="+mj-lt"/>
              </a:rPr>
              <a:t>1</a:t>
            </a:r>
            <a:endParaRPr lang="ru-RU" sz="6600" b="1" i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9" name="Rectangle 129"/>
          <p:cNvSpPr>
            <a:spLocks noChangeArrowheads="1"/>
          </p:cNvSpPr>
          <p:nvPr/>
        </p:nvSpPr>
        <p:spPr bwMode="auto">
          <a:xfrm>
            <a:off x="4788819" y="1894935"/>
            <a:ext cx="530594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6600" b="1" i="1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2</a:t>
            </a:r>
            <a:endParaRPr kumimoji="0" lang="ru-RU" sz="1200" b="0" i="1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80" name="Rectangle 129"/>
          <p:cNvSpPr>
            <a:spLocks noChangeArrowheads="1"/>
          </p:cNvSpPr>
          <p:nvPr/>
        </p:nvSpPr>
        <p:spPr bwMode="auto">
          <a:xfrm>
            <a:off x="1155955" y="3423341"/>
            <a:ext cx="530594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6600" b="1" i="1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3</a:t>
            </a:r>
            <a:endParaRPr kumimoji="0" lang="ru-RU" sz="1200" b="0" i="1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82" name="Rectangle 129"/>
          <p:cNvSpPr>
            <a:spLocks noChangeArrowheads="1"/>
          </p:cNvSpPr>
          <p:nvPr/>
        </p:nvSpPr>
        <p:spPr bwMode="auto">
          <a:xfrm>
            <a:off x="1127155" y="4754029"/>
            <a:ext cx="549831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6600" b="1" i="1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4</a:t>
            </a:r>
            <a:endParaRPr kumimoji="0" lang="ru-RU" sz="1200" b="0" i="1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7581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9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9" name="Rectangle 48"/>
          <p:cNvSpPr/>
          <p:nvPr/>
        </p:nvSpPr>
        <p:spPr bwMode="ltGray">
          <a:xfrm>
            <a:off x="7345219" y="3227246"/>
            <a:ext cx="392480" cy="16910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64" name="Chart 6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63066452"/>
              </p:ext>
            </p:extLst>
          </p:nvPr>
        </p:nvGraphicFramePr>
        <p:xfrm>
          <a:off x="1472895" y="4446035"/>
          <a:ext cx="4021658" cy="18573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Rectangle 17"/>
          <p:cNvSpPr/>
          <p:nvPr/>
        </p:nvSpPr>
        <p:spPr>
          <a:xfrm>
            <a:off x="1411935" y="4162542"/>
            <a:ext cx="731533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Получение информативных отзывов об опыте взаимодействия с пользователями через онлайн-каналы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1472895" y="6349915"/>
            <a:ext cx="4826991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i="1" dirty="0" smtClean="0">
                <a:solidFill>
                  <a:schemeClr val="bg1"/>
                </a:solidFill>
                <a:latin typeface="+mj-lt"/>
              </a:rPr>
              <a:t>Источник: инструмент Strategy&amp; для анализа возможностей электронной коммерции </a:t>
            </a:r>
            <a:endParaRPr lang="ru-RU" sz="7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7" name="Rectangle 66"/>
          <p:cNvSpPr/>
          <p:nvPr/>
        </p:nvSpPr>
        <p:spPr bwMode="ltGray">
          <a:xfrm>
            <a:off x="4617367" y="1367283"/>
            <a:ext cx="1761828" cy="30777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000" kern="0" dirty="0" smtClean="0">
                <a:solidFill>
                  <a:schemeClr val="bg1"/>
                </a:solidFill>
                <a:latin typeface="+mj-lt"/>
              </a:rPr>
              <a:t>Бизнес-модель, концепция развития и стратегия</a:t>
            </a:r>
          </a:p>
        </p:txBody>
      </p:sp>
      <p:sp>
        <p:nvSpPr>
          <p:cNvPr id="68" name="Rectangle 67"/>
          <p:cNvSpPr/>
          <p:nvPr/>
        </p:nvSpPr>
        <p:spPr bwMode="ltGray">
          <a:xfrm>
            <a:off x="5111289" y="2370280"/>
            <a:ext cx="1529927" cy="61555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000" kern="0" dirty="0" smtClean="0">
                <a:solidFill>
                  <a:schemeClr val="bg1"/>
                </a:solidFill>
                <a:latin typeface="+mj-lt"/>
              </a:rPr>
              <a:t>Обслуживание клиентов и взаимодействие с ними сразу через несколько каналов</a:t>
            </a:r>
          </a:p>
        </p:txBody>
      </p:sp>
      <p:sp>
        <p:nvSpPr>
          <p:cNvPr id="69" name="Rectangle 68"/>
          <p:cNvSpPr/>
          <p:nvPr/>
        </p:nvSpPr>
        <p:spPr bwMode="ltGray">
          <a:xfrm>
            <a:off x="1622437" y="3691797"/>
            <a:ext cx="1517964" cy="30777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ru-RU" sz="1000" kern="0" dirty="0" smtClean="0">
                <a:solidFill>
                  <a:schemeClr val="bg1"/>
                </a:solidFill>
                <a:latin typeface="+mj-lt"/>
              </a:rPr>
              <a:t>Создание данных и аналитики</a:t>
            </a:r>
          </a:p>
        </p:txBody>
      </p:sp>
      <p:sp>
        <p:nvSpPr>
          <p:cNvPr id="70" name="Rectangle 69"/>
          <p:cNvSpPr/>
          <p:nvPr/>
        </p:nvSpPr>
        <p:spPr bwMode="ltGray">
          <a:xfrm>
            <a:off x="1539148" y="1198007"/>
            <a:ext cx="1601253" cy="76944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ru-RU" sz="1000" kern="0" dirty="0" smtClean="0">
                <a:solidFill>
                  <a:schemeClr val="bg1"/>
                </a:solidFill>
                <a:latin typeface="+mj-lt"/>
              </a:rPr>
              <a:t>Автоматизация операционной модели и вспомогательных процессов принятия решений в организации</a:t>
            </a:r>
          </a:p>
        </p:txBody>
      </p:sp>
      <p:sp>
        <p:nvSpPr>
          <p:cNvPr id="71" name="Rectangle 70"/>
          <p:cNvSpPr/>
          <p:nvPr/>
        </p:nvSpPr>
        <p:spPr bwMode="ltGray">
          <a:xfrm>
            <a:off x="1406448" y="2293336"/>
            <a:ext cx="1229905" cy="76944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ru-RU" sz="1000" kern="0" dirty="0" smtClean="0">
                <a:solidFill>
                  <a:schemeClr val="bg1"/>
                </a:solidFill>
                <a:latin typeface="+mj-lt"/>
              </a:rPr>
              <a:t>Риски и независимые финансовые расследования в цифровую эпоху</a:t>
            </a:r>
          </a:p>
        </p:txBody>
      </p:sp>
      <p:sp>
        <p:nvSpPr>
          <p:cNvPr id="72" name="Rectangle 71"/>
          <p:cNvSpPr/>
          <p:nvPr/>
        </p:nvSpPr>
        <p:spPr bwMode="ltGray">
          <a:xfrm>
            <a:off x="4617367" y="3614854"/>
            <a:ext cx="1440940" cy="46166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000" kern="0" dirty="0" smtClean="0">
                <a:solidFill>
                  <a:schemeClr val="bg1"/>
                </a:solidFill>
                <a:latin typeface="+mj-lt"/>
              </a:rPr>
              <a:t>Управление продукцией и маркетинг</a:t>
            </a:r>
          </a:p>
        </p:txBody>
      </p:sp>
      <p:grpSp>
        <p:nvGrpSpPr>
          <p:cNvPr id="52" name="Group 59"/>
          <p:cNvGrpSpPr/>
          <p:nvPr/>
        </p:nvGrpSpPr>
        <p:grpSpPr>
          <a:xfrm>
            <a:off x="2792748" y="1610358"/>
            <a:ext cx="2159257" cy="2135397"/>
            <a:chOff x="8379083" y="3604567"/>
            <a:chExt cx="1504120" cy="1439862"/>
          </a:xfrm>
        </p:grpSpPr>
        <p:sp>
          <p:nvSpPr>
            <p:cNvPr id="53" name="Freeform 24"/>
            <p:cNvSpPr>
              <a:spLocks/>
            </p:cNvSpPr>
            <p:nvPr/>
          </p:nvSpPr>
          <p:spPr bwMode="gray">
            <a:xfrm>
              <a:off x="8490782" y="3604567"/>
              <a:ext cx="618174" cy="509587"/>
            </a:xfrm>
            <a:custGeom>
              <a:avLst/>
              <a:gdLst>
                <a:gd name="T0" fmla="*/ 1757819981 w 234"/>
                <a:gd name="T1" fmla="*/ 859148601 h 202"/>
                <a:gd name="T2" fmla="*/ 1757819981 w 234"/>
                <a:gd name="T3" fmla="*/ 0 h 202"/>
                <a:gd name="T4" fmla="*/ 0 w 234"/>
                <a:gd name="T5" fmla="*/ 859148601 h 202"/>
                <a:gd name="T6" fmla="*/ 886422554 w 234"/>
                <a:gd name="T7" fmla="*/ 1285539088 h 202"/>
                <a:gd name="T8" fmla="*/ 1757819981 w 234"/>
                <a:gd name="T9" fmla="*/ 859148601 h 20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4"/>
                <a:gd name="T16" fmla="*/ 0 h 202"/>
                <a:gd name="T17" fmla="*/ 234 w 234"/>
                <a:gd name="T18" fmla="*/ 202 h 20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4" h="202">
                  <a:moveTo>
                    <a:pt x="234" y="135"/>
                  </a:moveTo>
                  <a:cubicBezTo>
                    <a:pt x="234" y="0"/>
                    <a:pt x="234" y="0"/>
                    <a:pt x="234" y="0"/>
                  </a:cubicBezTo>
                  <a:cubicBezTo>
                    <a:pt x="135" y="3"/>
                    <a:pt x="49" y="56"/>
                    <a:pt x="0" y="135"/>
                  </a:cubicBezTo>
                  <a:cubicBezTo>
                    <a:pt x="118" y="202"/>
                    <a:pt x="118" y="202"/>
                    <a:pt x="118" y="202"/>
                  </a:cubicBezTo>
                  <a:cubicBezTo>
                    <a:pt x="143" y="164"/>
                    <a:pt x="185" y="138"/>
                    <a:pt x="234" y="135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4" name="Freeform 25"/>
            <p:cNvSpPr>
              <a:spLocks/>
            </p:cNvSpPr>
            <p:nvPr/>
          </p:nvSpPr>
          <p:spPr bwMode="gray">
            <a:xfrm>
              <a:off x="9153330" y="3604567"/>
              <a:ext cx="616643" cy="509587"/>
            </a:xfrm>
            <a:custGeom>
              <a:avLst/>
              <a:gdLst>
                <a:gd name="T0" fmla="*/ 867088146 w 234"/>
                <a:gd name="T1" fmla="*/ 1285539088 h 202"/>
                <a:gd name="T2" fmla="*/ 1749125939 w 234"/>
                <a:gd name="T3" fmla="*/ 859148601 h 202"/>
                <a:gd name="T4" fmla="*/ 0 w 234"/>
                <a:gd name="T5" fmla="*/ 0 h 202"/>
                <a:gd name="T6" fmla="*/ 0 w 234"/>
                <a:gd name="T7" fmla="*/ 859148601 h 202"/>
                <a:gd name="T8" fmla="*/ 867088146 w 234"/>
                <a:gd name="T9" fmla="*/ 1285539088 h 20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4"/>
                <a:gd name="T16" fmla="*/ 0 h 202"/>
                <a:gd name="T17" fmla="*/ 234 w 234"/>
                <a:gd name="T18" fmla="*/ 202 h 20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4" h="202">
                  <a:moveTo>
                    <a:pt x="116" y="202"/>
                  </a:moveTo>
                  <a:cubicBezTo>
                    <a:pt x="234" y="135"/>
                    <a:pt x="234" y="135"/>
                    <a:pt x="234" y="135"/>
                  </a:cubicBezTo>
                  <a:cubicBezTo>
                    <a:pt x="185" y="56"/>
                    <a:pt x="99" y="3"/>
                    <a:pt x="0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49" y="138"/>
                    <a:pt x="91" y="164"/>
                    <a:pt x="116" y="202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5" name="Freeform 26"/>
            <p:cNvSpPr>
              <a:spLocks/>
            </p:cNvSpPr>
            <p:nvPr/>
          </p:nvSpPr>
          <p:spPr bwMode="gray">
            <a:xfrm>
              <a:off x="8490782" y="4533254"/>
              <a:ext cx="618174" cy="511175"/>
            </a:xfrm>
            <a:custGeom>
              <a:avLst/>
              <a:gdLst>
                <a:gd name="T0" fmla="*/ 878909990 w 234"/>
                <a:gd name="T1" fmla="*/ 0 h 203"/>
                <a:gd name="T2" fmla="*/ 0 w 234"/>
                <a:gd name="T3" fmla="*/ 431177399 h 203"/>
                <a:gd name="T4" fmla="*/ 1757819981 w 234"/>
                <a:gd name="T5" fmla="*/ 1287191458 h 203"/>
                <a:gd name="T6" fmla="*/ 1757819981 w 234"/>
                <a:gd name="T7" fmla="*/ 431177399 h 203"/>
                <a:gd name="T8" fmla="*/ 878909990 w 234"/>
                <a:gd name="T9" fmla="*/ 0 h 20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4"/>
                <a:gd name="T16" fmla="*/ 0 h 203"/>
                <a:gd name="T17" fmla="*/ 234 w 234"/>
                <a:gd name="T18" fmla="*/ 203 h 20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4" h="203">
                  <a:moveTo>
                    <a:pt x="117" y="0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49" y="147"/>
                    <a:pt x="135" y="200"/>
                    <a:pt x="234" y="203"/>
                  </a:cubicBezTo>
                  <a:cubicBezTo>
                    <a:pt x="234" y="68"/>
                    <a:pt x="234" y="68"/>
                    <a:pt x="234" y="68"/>
                  </a:cubicBezTo>
                  <a:cubicBezTo>
                    <a:pt x="185" y="65"/>
                    <a:pt x="142" y="39"/>
                    <a:pt x="117" y="0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317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6" name="Freeform 27"/>
            <p:cNvSpPr>
              <a:spLocks/>
            </p:cNvSpPr>
            <p:nvPr/>
          </p:nvSpPr>
          <p:spPr bwMode="gray">
            <a:xfrm>
              <a:off x="9153330" y="4533254"/>
              <a:ext cx="616643" cy="511175"/>
            </a:xfrm>
            <a:custGeom>
              <a:avLst/>
              <a:gdLst>
                <a:gd name="T0" fmla="*/ 0 w 234"/>
                <a:gd name="T1" fmla="*/ 431177399 h 203"/>
                <a:gd name="T2" fmla="*/ 0 w 234"/>
                <a:gd name="T3" fmla="*/ 1287191458 h 203"/>
                <a:gd name="T4" fmla="*/ 1749125939 w 234"/>
                <a:gd name="T5" fmla="*/ 431177399 h 203"/>
                <a:gd name="T6" fmla="*/ 874562970 w 234"/>
                <a:gd name="T7" fmla="*/ 0 h 203"/>
                <a:gd name="T8" fmla="*/ 0 w 234"/>
                <a:gd name="T9" fmla="*/ 431177399 h 20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4"/>
                <a:gd name="T16" fmla="*/ 0 h 203"/>
                <a:gd name="T17" fmla="*/ 234 w 234"/>
                <a:gd name="T18" fmla="*/ 203 h 20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4" h="203">
                  <a:moveTo>
                    <a:pt x="0" y="68"/>
                  </a:moveTo>
                  <a:cubicBezTo>
                    <a:pt x="0" y="203"/>
                    <a:pt x="0" y="203"/>
                    <a:pt x="0" y="203"/>
                  </a:cubicBezTo>
                  <a:cubicBezTo>
                    <a:pt x="99" y="200"/>
                    <a:pt x="185" y="147"/>
                    <a:pt x="234" y="68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92" y="39"/>
                    <a:pt x="49" y="65"/>
                    <a:pt x="0" y="68"/>
                  </a:cubicBez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317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7" name="Freeform 28"/>
            <p:cNvSpPr>
              <a:spLocks/>
            </p:cNvSpPr>
            <p:nvPr/>
          </p:nvSpPr>
          <p:spPr bwMode="gray">
            <a:xfrm>
              <a:off x="9482308" y="3982392"/>
              <a:ext cx="400895" cy="684212"/>
            </a:xfrm>
            <a:custGeom>
              <a:avLst/>
              <a:gdLst>
                <a:gd name="T0" fmla="*/ 119802813 w 152"/>
                <a:gd name="T1" fmla="*/ 866937075 h 270"/>
                <a:gd name="T2" fmla="*/ 7486650 w 152"/>
                <a:gd name="T3" fmla="*/ 1297194727 h 270"/>
                <a:gd name="T4" fmla="*/ 883536878 w 152"/>
                <a:gd name="T5" fmla="*/ 1733874149 h 270"/>
                <a:gd name="T6" fmla="*/ 1138115712 w 152"/>
                <a:gd name="T7" fmla="*/ 866937075 h 270"/>
                <a:gd name="T8" fmla="*/ 883536878 w 152"/>
                <a:gd name="T9" fmla="*/ 0 h 270"/>
                <a:gd name="T10" fmla="*/ 0 w 152"/>
                <a:gd name="T11" fmla="*/ 436679264 h 270"/>
                <a:gd name="T12" fmla="*/ 119802813 w 152"/>
                <a:gd name="T13" fmla="*/ 866937075 h 27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2"/>
                <a:gd name="T22" fmla="*/ 0 h 270"/>
                <a:gd name="T23" fmla="*/ 152 w 152"/>
                <a:gd name="T24" fmla="*/ 270 h 27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2" h="270">
                  <a:moveTo>
                    <a:pt x="16" y="135"/>
                  </a:moveTo>
                  <a:cubicBezTo>
                    <a:pt x="16" y="159"/>
                    <a:pt x="11" y="182"/>
                    <a:pt x="1" y="202"/>
                  </a:cubicBezTo>
                  <a:cubicBezTo>
                    <a:pt x="118" y="270"/>
                    <a:pt x="118" y="270"/>
                    <a:pt x="118" y="270"/>
                  </a:cubicBezTo>
                  <a:cubicBezTo>
                    <a:pt x="139" y="230"/>
                    <a:pt x="152" y="184"/>
                    <a:pt x="152" y="135"/>
                  </a:cubicBezTo>
                  <a:cubicBezTo>
                    <a:pt x="152" y="86"/>
                    <a:pt x="139" y="40"/>
                    <a:pt x="118" y="0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10" y="88"/>
                    <a:pt x="16" y="111"/>
                    <a:pt x="16" y="135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317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8" name="Freeform 29"/>
            <p:cNvSpPr>
              <a:spLocks/>
            </p:cNvSpPr>
            <p:nvPr/>
          </p:nvSpPr>
          <p:spPr bwMode="gray">
            <a:xfrm>
              <a:off x="8379083" y="3982392"/>
              <a:ext cx="399364" cy="684212"/>
            </a:xfrm>
            <a:custGeom>
              <a:avLst/>
              <a:gdLst>
                <a:gd name="T0" fmla="*/ 1010554248 w 152"/>
                <a:gd name="T1" fmla="*/ 866937075 h 270"/>
                <a:gd name="T2" fmla="*/ 1129441661 w 152"/>
                <a:gd name="T3" fmla="*/ 436679264 h 270"/>
                <a:gd name="T4" fmla="*/ 252639244 w 152"/>
                <a:gd name="T5" fmla="*/ 0 h 270"/>
                <a:gd name="T6" fmla="*/ 0 w 152"/>
                <a:gd name="T7" fmla="*/ 866937075 h 270"/>
                <a:gd name="T8" fmla="*/ 252639244 w 152"/>
                <a:gd name="T9" fmla="*/ 1733874149 h 270"/>
                <a:gd name="T10" fmla="*/ 1122010857 w 152"/>
                <a:gd name="T11" fmla="*/ 1297194727 h 270"/>
                <a:gd name="T12" fmla="*/ 1010554248 w 152"/>
                <a:gd name="T13" fmla="*/ 866937075 h 27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2"/>
                <a:gd name="T22" fmla="*/ 0 h 270"/>
                <a:gd name="T23" fmla="*/ 152 w 152"/>
                <a:gd name="T24" fmla="*/ 270 h 27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2" h="270">
                  <a:moveTo>
                    <a:pt x="136" y="135"/>
                  </a:moveTo>
                  <a:cubicBezTo>
                    <a:pt x="136" y="111"/>
                    <a:pt x="141" y="88"/>
                    <a:pt x="152" y="68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3" y="40"/>
                    <a:pt x="0" y="86"/>
                    <a:pt x="0" y="135"/>
                  </a:cubicBezTo>
                  <a:cubicBezTo>
                    <a:pt x="0" y="184"/>
                    <a:pt x="13" y="230"/>
                    <a:pt x="34" y="270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41" y="182"/>
                    <a:pt x="136" y="159"/>
                    <a:pt x="136" y="135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317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9" name="Oval 30"/>
            <p:cNvSpPr>
              <a:spLocks noChangeArrowheads="1"/>
            </p:cNvSpPr>
            <p:nvPr/>
          </p:nvSpPr>
          <p:spPr bwMode="gray">
            <a:xfrm>
              <a:off x="8773857" y="3985567"/>
              <a:ext cx="714572" cy="681037"/>
            </a:xfrm>
            <a:prstGeom prst="ellipse">
              <a:avLst/>
            </a:prstGeom>
            <a:solidFill>
              <a:srgbClr val="747066"/>
            </a:solidFill>
            <a:ln w="317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01688">
                <a:spcBef>
                  <a:spcPct val="20000"/>
                </a:spcBef>
              </a:pPr>
              <a:r>
                <a:rPr lang="ru-RU" sz="1000" i="1" dirty="0" smtClean="0">
                  <a:solidFill>
                    <a:schemeClr val="bg1"/>
                  </a:solidFill>
                  <a:latin typeface="+mj-lt"/>
                </a:rPr>
                <a:t>Оценка аналитической зрелости</a:t>
              </a:r>
              <a:endParaRPr lang="ru-RU" sz="1000" i="1" dirty="0">
                <a:solidFill>
                  <a:schemeClr val="bg1"/>
                </a:solidFill>
                <a:latin typeface="+mj-lt"/>
                <a:cs typeface="Arial" charset="0"/>
              </a:endParaRPr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6826798" y="1470019"/>
            <a:ext cx="1814814" cy="2529556"/>
          </a:xfrm>
          <a:prstGeom prst="rect">
            <a:avLst/>
          </a:prstGeom>
          <a:solidFill>
            <a:srgbClr val="A7A49B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Примерный вопрос</a:t>
            </a:r>
          </a:p>
          <a:p>
            <a:pPr indent="-274320">
              <a:spcAft>
                <a:spcPts val="900"/>
              </a:spcAft>
            </a:pPr>
            <a:endParaRPr lang="ru-RU" sz="1400" dirty="0" smtClean="0">
              <a:solidFill>
                <a:schemeClr val="bg1"/>
              </a:solidFill>
              <a:latin typeface="+mj-lt"/>
            </a:endParaRPr>
          </a:p>
          <a:p>
            <a:pPr indent="-274320">
              <a:spcAft>
                <a:spcPts val="900"/>
              </a:spcAft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«Насколько широко в вашей компании применяются мобильные технологии и глобальные инновации?»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161116" y="507576"/>
            <a:ext cx="281508" cy="11723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ru-RU" sz="8000" dirty="0" smtClean="0">
                <a:solidFill>
                  <a:schemeClr val="bg1"/>
                </a:solidFill>
                <a:latin typeface="+mj-lt"/>
              </a:rPr>
              <a:t>„</a:t>
            </a:r>
          </a:p>
        </p:txBody>
      </p:sp>
      <p:grpSp>
        <p:nvGrpSpPr>
          <p:cNvPr id="74" name="Group 118"/>
          <p:cNvGrpSpPr>
            <a:grpSpLocks noChangeAspect="1"/>
          </p:cNvGrpSpPr>
          <p:nvPr/>
        </p:nvGrpSpPr>
        <p:grpSpPr bwMode="auto">
          <a:xfrm>
            <a:off x="4090077" y="1833747"/>
            <a:ext cx="416107" cy="258683"/>
            <a:chOff x="4144" y="1661"/>
            <a:chExt cx="2519" cy="1566"/>
          </a:xfrm>
          <a:solidFill>
            <a:schemeClr val="bg1"/>
          </a:solidFill>
        </p:grpSpPr>
        <p:sp>
          <p:nvSpPr>
            <p:cNvPr id="75" name="Freeform 120"/>
            <p:cNvSpPr>
              <a:spLocks/>
            </p:cNvSpPr>
            <p:nvPr/>
          </p:nvSpPr>
          <p:spPr bwMode="auto">
            <a:xfrm>
              <a:off x="5074" y="2088"/>
              <a:ext cx="598" cy="599"/>
            </a:xfrm>
            <a:custGeom>
              <a:avLst/>
              <a:gdLst>
                <a:gd name="T0" fmla="*/ 599 w 1196"/>
                <a:gd name="T1" fmla="*/ 0 h 1198"/>
                <a:gd name="T2" fmla="*/ 599 w 1196"/>
                <a:gd name="T3" fmla="*/ 600 h 1198"/>
                <a:gd name="T4" fmla="*/ 1196 w 1196"/>
                <a:gd name="T5" fmla="*/ 600 h 1198"/>
                <a:gd name="T6" fmla="*/ 1191 w 1196"/>
                <a:gd name="T7" fmla="*/ 675 h 1198"/>
                <a:gd name="T8" fmla="*/ 1178 w 1196"/>
                <a:gd name="T9" fmla="*/ 747 h 1198"/>
                <a:gd name="T10" fmla="*/ 1156 w 1196"/>
                <a:gd name="T11" fmla="*/ 816 h 1198"/>
                <a:gd name="T12" fmla="*/ 1126 w 1196"/>
                <a:gd name="T13" fmla="*/ 881 h 1198"/>
                <a:gd name="T14" fmla="*/ 1089 w 1196"/>
                <a:gd name="T15" fmla="*/ 941 h 1198"/>
                <a:gd name="T16" fmla="*/ 1045 w 1196"/>
                <a:gd name="T17" fmla="*/ 998 h 1198"/>
                <a:gd name="T18" fmla="*/ 996 w 1196"/>
                <a:gd name="T19" fmla="*/ 1047 h 1198"/>
                <a:gd name="T20" fmla="*/ 939 w 1196"/>
                <a:gd name="T21" fmla="*/ 1091 h 1198"/>
                <a:gd name="T22" fmla="*/ 880 w 1196"/>
                <a:gd name="T23" fmla="*/ 1128 h 1198"/>
                <a:gd name="T24" fmla="*/ 814 w 1196"/>
                <a:gd name="T25" fmla="*/ 1158 h 1198"/>
                <a:gd name="T26" fmla="*/ 746 w 1196"/>
                <a:gd name="T27" fmla="*/ 1180 h 1198"/>
                <a:gd name="T28" fmla="*/ 674 w 1196"/>
                <a:gd name="T29" fmla="*/ 1194 h 1198"/>
                <a:gd name="T30" fmla="*/ 599 w 1196"/>
                <a:gd name="T31" fmla="*/ 1198 h 1198"/>
                <a:gd name="T32" fmla="*/ 524 w 1196"/>
                <a:gd name="T33" fmla="*/ 1194 h 1198"/>
                <a:gd name="T34" fmla="*/ 451 w 1196"/>
                <a:gd name="T35" fmla="*/ 1180 h 1198"/>
                <a:gd name="T36" fmla="*/ 382 w 1196"/>
                <a:gd name="T37" fmla="*/ 1158 h 1198"/>
                <a:gd name="T38" fmla="*/ 318 w 1196"/>
                <a:gd name="T39" fmla="*/ 1128 h 1198"/>
                <a:gd name="T40" fmla="*/ 257 w 1196"/>
                <a:gd name="T41" fmla="*/ 1091 h 1198"/>
                <a:gd name="T42" fmla="*/ 202 w 1196"/>
                <a:gd name="T43" fmla="*/ 1047 h 1198"/>
                <a:gd name="T44" fmla="*/ 151 w 1196"/>
                <a:gd name="T45" fmla="*/ 998 h 1198"/>
                <a:gd name="T46" fmla="*/ 107 w 1196"/>
                <a:gd name="T47" fmla="*/ 941 h 1198"/>
                <a:gd name="T48" fmla="*/ 70 w 1196"/>
                <a:gd name="T49" fmla="*/ 881 h 1198"/>
                <a:gd name="T50" fmla="*/ 41 w 1196"/>
                <a:gd name="T51" fmla="*/ 816 h 1198"/>
                <a:gd name="T52" fmla="*/ 19 w 1196"/>
                <a:gd name="T53" fmla="*/ 747 h 1198"/>
                <a:gd name="T54" fmla="*/ 5 w 1196"/>
                <a:gd name="T55" fmla="*/ 675 h 1198"/>
                <a:gd name="T56" fmla="*/ 0 w 1196"/>
                <a:gd name="T57" fmla="*/ 600 h 1198"/>
                <a:gd name="T58" fmla="*/ 5 w 1196"/>
                <a:gd name="T59" fmla="*/ 525 h 1198"/>
                <a:gd name="T60" fmla="*/ 19 w 1196"/>
                <a:gd name="T61" fmla="*/ 452 h 1198"/>
                <a:gd name="T62" fmla="*/ 41 w 1196"/>
                <a:gd name="T63" fmla="*/ 383 h 1198"/>
                <a:gd name="T64" fmla="*/ 70 w 1196"/>
                <a:gd name="T65" fmla="*/ 318 h 1198"/>
                <a:gd name="T66" fmla="*/ 107 w 1196"/>
                <a:gd name="T67" fmla="*/ 257 h 1198"/>
                <a:gd name="T68" fmla="*/ 151 w 1196"/>
                <a:gd name="T69" fmla="*/ 202 h 1198"/>
                <a:gd name="T70" fmla="*/ 202 w 1196"/>
                <a:gd name="T71" fmla="*/ 152 h 1198"/>
                <a:gd name="T72" fmla="*/ 257 w 1196"/>
                <a:gd name="T73" fmla="*/ 107 h 1198"/>
                <a:gd name="T74" fmla="*/ 318 w 1196"/>
                <a:gd name="T75" fmla="*/ 71 h 1198"/>
                <a:gd name="T76" fmla="*/ 382 w 1196"/>
                <a:gd name="T77" fmla="*/ 40 h 1198"/>
                <a:gd name="T78" fmla="*/ 451 w 1196"/>
                <a:gd name="T79" fmla="*/ 19 h 1198"/>
                <a:gd name="T80" fmla="*/ 524 w 1196"/>
                <a:gd name="T81" fmla="*/ 5 h 1198"/>
                <a:gd name="T82" fmla="*/ 599 w 1196"/>
                <a:gd name="T83" fmla="*/ 0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96" h="1198">
                  <a:moveTo>
                    <a:pt x="599" y="0"/>
                  </a:moveTo>
                  <a:lnTo>
                    <a:pt x="599" y="600"/>
                  </a:lnTo>
                  <a:lnTo>
                    <a:pt x="1196" y="600"/>
                  </a:lnTo>
                  <a:lnTo>
                    <a:pt x="1191" y="675"/>
                  </a:lnTo>
                  <a:lnTo>
                    <a:pt x="1178" y="747"/>
                  </a:lnTo>
                  <a:lnTo>
                    <a:pt x="1156" y="816"/>
                  </a:lnTo>
                  <a:lnTo>
                    <a:pt x="1126" y="881"/>
                  </a:lnTo>
                  <a:lnTo>
                    <a:pt x="1089" y="941"/>
                  </a:lnTo>
                  <a:lnTo>
                    <a:pt x="1045" y="998"/>
                  </a:lnTo>
                  <a:lnTo>
                    <a:pt x="996" y="1047"/>
                  </a:lnTo>
                  <a:lnTo>
                    <a:pt x="939" y="1091"/>
                  </a:lnTo>
                  <a:lnTo>
                    <a:pt x="880" y="1128"/>
                  </a:lnTo>
                  <a:lnTo>
                    <a:pt x="814" y="1158"/>
                  </a:lnTo>
                  <a:lnTo>
                    <a:pt x="746" y="1180"/>
                  </a:lnTo>
                  <a:lnTo>
                    <a:pt x="674" y="1194"/>
                  </a:lnTo>
                  <a:lnTo>
                    <a:pt x="599" y="1198"/>
                  </a:lnTo>
                  <a:lnTo>
                    <a:pt x="524" y="1194"/>
                  </a:lnTo>
                  <a:lnTo>
                    <a:pt x="451" y="1180"/>
                  </a:lnTo>
                  <a:lnTo>
                    <a:pt x="382" y="1158"/>
                  </a:lnTo>
                  <a:lnTo>
                    <a:pt x="318" y="1128"/>
                  </a:lnTo>
                  <a:lnTo>
                    <a:pt x="257" y="1091"/>
                  </a:lnTo>
                  <a:lnTo>
                    <a:pt x="202" y="1047"/>
                  </a:lnTo>
                  <a:lnTo>
                    <a:pt x="151" y="998"/>
                  </a:lnTo>
                  <a:lnTo>
                    <a:pt x="107" y="941"/>
                  </a:lnTo>
                  <a:lnTo>
                    <a:pt x="70" y="881"/>
                  </a:lnTo>
                  <a:lnTo>
                    <a:pt x="41" y="816"/>
                  </a:lnTo>
                  <a:lnTo>
                    <a:pt x="19" y="747"/>
                  </a:lnTo>
                  <a:lnTo>
                    <a:pt x="5" y="675"/>
                  </a:lnTo>
                  <a:lnTo>
                    <a:pt x="0" y="600"/>
                  </a:lnTo>
                  <a:lnTo>
                    <a:pt x="5" y="525"/>
                  </a:lnTo>
                  <a:lnTo>
                    <a:pt x="19" y="452"/>
                  </a:lnTo>
                  <a:lnTo>
                    <a:pt x="41" y="383"/>
                  </a:lnTo>
                  <a:lnTo>
                    <a:pt x="70" y="318"/>
                  </a:lnTo>
                  <a:lnTo>
                    <a:pt x="107" y="257"/>
                  </a:lnTo>
                  <a:lnTo>
                    <a:pt x="151" y="202"/>
                  </a:lnTo>
                  <a:lnTo>
                    <a:pt x="202" y="152"/>
                  </a:lnTo>
                  <a:lnTo>
                    <a:pt x="257" y="107"/>
                  </a:lnTo>
                  <a:lnTo>
                    <a:pt x="318" y="71"/>
                  </a:lnTo>
                  <a:lnTo>
                    <a:pt x="382" y="40"/>
                  </a:lnTo>
                  <a:lnTo>
                    <a:pt x="451" y="19"/>
                  </a:lnTo>
                  <a:lnTo>
                    <a:pt x="524" y="5"/>
                  </a:lnTo>
                  <a:lnTo>
                    <a:pt x="5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6" name="Freeform 121"/>
            <p:cNvSpPr>
              <a:spLocks/>
            </p:cNvSpPr>
            <p:nvPr/>
          </p:nvSpPr>
          <p:spPr bwMode="auto">
            <a:xfrm>
              <a:off x="5434" y="2027"/>
              <a:ext cx="298" cy="300"/>
            </a:xfrm>
            <a:custGeom>
              <a:avLst/>
              <a:gdLst>
                <a:gd name="T0" fmla="*/ 0 w 597"/>
                <a:gd name="T1" fmla="*/ 0 h 600"/>
                <a:gd name="T2" fmla="*/ 74 w 597"/>
                <a:gd name="T3" fmla="*/ 5 h 600"/>
                <a:gd name="T4" fmla="*/ 146 w 597"/>
                <a:gd name="T5" fmla="*/ 19 h 600"/>
                <a:gd name="T6" fmla="*/ 215 w 597"/>
                <a:gd name="T7" fmla="*/ 40 h 600"/>
                <a:gd name="T8" fmla="*/ 281 w 597"/>
                <a:gd name="T9" fmla="*/ 71 h 600"/>
                <a:gd name="T10" fmla="*/ 342 w 597"/>
                <a:gd name="T11" fmla="*/ 108 h 600"/>
                <a:gd name="T12" fmla="*/ 397 w 597"/>
                <a:gd name="T13" fmla="*/ 152 h 600"/>
                <a:gd name="T14" fmla="*/ 447 w 597"/>
                <a:gd name="T15" fmla="*/ 202 h 600"/>
                <a:gd name="T16" fmla="*/ 490 w 597"/>
                <a:gd name="T17" fmla="*/ 257 h 600"/>
                <a:gd name="T18" fmla="*/ 528 w 597"/>
                <a:gd name="T19" fmla="*/ 317 h 600"/>
                <a:gd name="T20" fmla="*/ 557 w 597"/>
                <a:gd name="T21" fmla="*/ 383 h 600"/>
                <a:gd name="T22" fmla="*/ 578 w 597"/>
                <a:gd name="T23" fmla="*/ 452 h 600"/>
                <a:gd name="T24" fmla="*/ 592 w 597"/>
                <a:gd name="T25" fmla="*/ 524 h 600"/>
                <a:gd name="T26" fmla="*/ 597 w 597"/>
                <a:gd name="T27" fmla="*/ 600 h 600"/>
                <a:gd name="T28" fmla="*/ 0 w 597"/>
                <a:gd name="T29" fmla="*/ 600 h 600"/>
                <a:gd name="T30" fmla="*/ 0 w 597"/>
                <a:gd name="T31" fmla="*/ 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97" h="600">
                  <a:moveTo>
                    <a:pt x="0" y="0"/>
                  </a:moveTo>
                  <a:lnTo>
                    <a:pt x="74" y="5"/>
                  </a:lnTo>
                  <a:lnTo>
                    <a:pt x="146" y="19"/>
                  </a:lnTo>
                  <a:lnTo>
                    <a:pt x="215" y="40"/>
                  </a:lnTo>
                  <a:lnTo>
                    <a:pt x="281" y="71"/>
                  </a:lnTo>
                  <a:lnTo>
                    <a:pt x="342" y="108"/>
                  </a:lnTo>
                  <a:lnTo>
                    <a:pt x="397" y="152"/>
                  </a:lnTo>
                  <a:lnTo>
                    <a:pt x="447" y="202"/>
                  </a:lnTo>
                  <a:lnTo>
                    <a:pt x="490" y="257"/>
                  </a:lnTo>
                  <a:lnTo>
                    <a:pt x="528" y="317"/>
                  </a:lnTo>
                  <a:lnTo>
                    <a:pt x="557" y="383"/>
                  </a:lnTo>
                  <a:lnTo>
                    <a:pt x="578" y="452"/>
                  </a:lnTo>
                  <a:lnTo>
                    <a:pt x="592" y="524"/>
                  </a:lnTo>
                  <a:lnTo>
                    <a:pt x="597" y="600"/>
                  </a:lnTo>
                  <a:lnTo>
                    <a:pt x="0" y="6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7" name="Freeform 122"/>
            <p:cNvSpPr>
              <a:spLocks/>
            </p:cNvSpPr>
            <p:nvPr/>
          </p:nvSpPr>
          <p:spPr bwMode="auto">
            <a:xfrm>
              <a:off x="4883" y="2597"/>
              <a:ext cx="261" cy="90"/>
            </a:xfrm>
            <a:custGeom>
              <a:avLst/>
              <a:gdLst>
                <a:gd name="T0" fmla="*/ 485 w 521"/>
                <a:gd name="T1" fmla="*/ 0 h 181"/>
                <a:gd name="T2" fmla="*/ 521 w 521"/>
                <a:gd name="T3" fmla="*/ 37 h 181"/>
                <a:gd name="T4" fmla="*/ 378 w 521"/>
                <a:gd name="T5" fmla="*/ 181 h 181"/>
                <a:gd name="T6" fmla="*/ 0 w 521"/>
                <a:gd name="T7" fmla="*/ 181 h 181"/>
                <a:gd name="T8" fmla="*/ 0 w 521"/>
                <a:gd name="T9" fmla="*/ 130 h 181"/>
                <a:gd name="T10" fmla="*/ 356 w 521"/>
                <a:gd name="T11" fmla="*/ 130 h 181"/>
                <a:gd name="T12" fmla="*/ 485 w 521"/>
                <a:gd name="T1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1" h="181">
                  <a:moveTo>
                    <a:pt x="485" y="0"/>
                  </a:moveTo>
                  <a:lnTo>
                    <a:pt x="521" y="37"/>
                  </a:lnTo>
                  <a:lnTo>
                    <a:pt x="378" y="181"/>
                  </a:lnTo>
                  <a:lnTo>
                    <a:pt x="0" y="181"/>
                  </a:lnTo>
                  <a:lnTo>
                    <a:pt x="0" y="130"/>
                  </a:lnTo>
                  <a:lnTo>
                    <a:pt x="356" y="130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8" name="Freeform 123"/>
            <p:cNvSpPr>
              <a:spLocks/>
            </p:cNvSpPr>
            <p:nvPr/>
          </p:nvSpPr>
          <p:spPr bwMode="auto">
            <a:xfrm>
              <a:off x="5678" y="2061"/>
              <a:ext cx="195" cy="73"/>
            </a:xfrm>
            <a:custGeom>
              <a:avLst/>
              <a:gdLst>
                <a:gd name="T0" fmla="*/ 112 w 390"/>
                <a:gd name="T1" fmla="*/ 0 h 147"/>
                <a:gd name="T2" fmla="*/ 390 w 390"/>
                <a:gd name="T3" fmla="*/ 0 h 147"/>
                <a:gd name="T4" fmla="*/ 390 w 390"/>
                <a:gd name="T5" fmla="*/ 50 h 147"/>
                <a:gd name="T6" fmla="*/ 133 w 390"/>
                <a:gd name="T7" fmla="*/ 50 h 147"/>
                <a:gd name="T8" fmla="*/ 37 w 390"/>
                <a:gd name="T9" fmla="*/ 147 h 147"/>
                <a:gd name="T10" fmla="*/ 0 w 390"/>
                <a:gd name="T11" fmla="*/ 111 h 147"/>
                <a:gd name="T12" fmla="*/ 112 w 390"/>
                <a:gd name="T13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0" h="147">
                  <a:moveTo>
                    <a:pt x="112" y="0"/>
                  </a:moveTo>
                  <a:lnTo>
                    <a:pt x="390" y="0"/>
                  </a:lnTo>
                  <a:lnTo>
                    <a:pt x="390" y="50"/>
                  </a:lnTo>
                  <a:lnTo>
                    <a:pt x="133" y="50"/>
                  </a:lnTo>
                  <a:lnTo>
                    <a:pt x="37" y="147"/>
                  </a:lnTo>
                  <a:lnTo>
                    <a:pt x="0" y="111"/>
                  </a:lnTo>
                  <a:lnTo>
                    <a:pt x="1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9" name="Rectangle 124"/>
            <p:cNvSpPr>
              <a:spLocks noChangeArrowheads="1"/>
            </p:cNvSpPr>
            <p:nvPr/>
          </p:nvSpPr>
          <p:spPr bwMode="auto">
            <a:xfrm>
              <a:off x="4661" y="1955"/>
              <a:ext cx="194" cy="3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0" name="Rectangle 125"/>
            <p:cNvSpPr>
              <a:spLocks noChangeArrowheads="1"/>
            </p:cNvSpPr>
            <p:nvPr/>
          </p:nvSpPr>
          <p:spPr bwMode="auto">
            <a:xfrm>
              <a:off x="4661" y="2032"/>
              <a:ext cx="104" cy="3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1" name="Rectangle 126"/>
            <p:cNvSpPr>
              <a:spLocks noChangeArrowheads="1"/>
            </p:cNvSpPr>
            <p:nvPr/>
          </p:nvSpPr>
          <p:spPr bwMode="auto">
            <a:xfrm>
              <a:off x="4661" y="2109"/>
              <a:ext cx="168" cy="3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2" name="Freeform 127"/>
            <p:cNvSpPr>
              <a:spLocks/>
            </p:cNvSpPr>
            <p:nvPr/>
          </p:nvSpPr>
          <p:spPr bwMode="auto">
            <a:xfrm>
              <a:off x="5842" y="2654"/>
              <a:ext cx="112" cy="112"/>
            </a:xfrm>
            <a:custGeom>
              <a:avLst/>
              <a:gdLst>
                <a:gd name="T0" fmla="*/ 113 w 225"/>
                <a:gd name="T1" fmla="*/ 0 h 225"/>
                <a:gd name="T2" fmla="*/ 142 w 225"/>
                <a:gd name="T3" fmla="*/ 5 h 225"/>
                <a:gd name="T4" fmla="*/ 170 w 225"/>
                <a:gd name="T5" fmla="*/ 16 h 225"/>
                <a:gd name="T6" fmla="*/ 193 w 225"/>
                <a:gd name="T7" fmla="*/ 34 h 225"/>
                <a:gd name="T8" fmla="*/ 209 w 225"/>
                <a:gd name="T9" fmla="*/ 57 h 225"/>
                <a:gd name="T10" fmla="*/ 220 w 225"/>
                <a:gd name="T11" fmla="*/ 83 h 225"/>
                <a:gd name="T12" fmla="*/ 225 w 225"/>
                <a:gd name="T13" fmla="*/ 114 h 225"/>
                <a:gd name="T14" fmla="*/ 220 w 225"/>
                <a:gd name="T15" fmla="*/ 143 h 225"/>
                <a:gd name="T16" fmla="*/ 209 w 225"/>
                <a:gd name="T17" fmla="*/ 170 h 225"/>
                <a:gd name="T18" fmla="*/ 193 w 225"/>
                <a:gd name="T19" fmla="*/ 193 h 225"/>
                <a:gd name="T20" fmla="*/ 170 w 225"/>
                <a:gd name="T21" fmla="*/ 210 h 225"/>
                <a:gd name="T22" fmla="*/ 142 w 225"/>
                <a:gd name="T23" fmla="*/ 221 h 225"/>
                <a:gd name="T24" fmla="*/ 113 w 225"/>
                <a:gd name="T25" fmla="*/ 225 h 225"/>
                <a:gd name="T26" fmla="*/ 83 w 225"/>
                <a:gd name="T27" fmla="*/ 221 h 225"/>
                <a:gd name="T28" fmla="*/ 57 w 225"/>
                <a:gd name="T29" fmla="*/ 210 h 225"/>
                <a:gd name="T30" fmla="*/ 34 w 225"/>
                <a:gd name="T31" fmla="*/ 193 h 225"/>
                <a:gd name="T32" fmla="*/ 15 w 225"/>
                <a:gd name="T33" fmla="*/ 170 h 225"/>
                <a:gd name="T34" fmla="*/ 5 w 225"/>
                <a:gd name="T35" fmla="*/ 143 h 225"/>
                <a:gd name="T36" fmla="*/ 0 w 225"/>
                <a:gd name="T37" fmla="*/ 114 h 225"/>
                <a:gd name="T38" fmla="*/ 5 w 225"/>
                <a:gd name="T39" fmla="*/ 83 h 225"/>
                <a:gd name="T40" fmla="*/ 15 w 225"/>
                <a:gd name="T41" fmla="*/ 57 h 225"/>
                <a:gd name="T42" fmla="*/ 34 w 225"/>
                <a:gd name="T43" fmla="*/ 34 h 225"/>
                <a:gd name="T44" fmla="*/ 57 w 225"/>
                <a:gd name="T45" fmla="*/ 16 h 225"/>
                <a:gd name="T46" fmla="*/ 83 w 225"/>
                <a:gd name="T47" fmla="*/ 5 h 225"/>
                <a:gd name="T48" fmla="*/ 113 w 225"/>
                <a:gd name="T49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5" h="225">
                  <a:moveTo>
                    <a:pt x="113" y="0"/>
                  </a:moveTo>
                  <a:lnTo>
                    <a:pt x="142" y="5"/>
                  </a:lnTo>
                  <a:lnTo>
                    <a:pt x="170" y="16"/>
                  </a:lnTo>
                  <a:lnTo>
                    <a:pt x="193" y="34"/>
                  </a:lnTo>
                  <a:lnTo>
                    <a:pt x="209" y="57"/>
                  </a:lnTo>
                  <a:lnTo>
                    <a:pt x="220" y="83"/>
                  </a:lnTo>
                  <a:lnTo>
                    <a:pt x="225" y="114"/>
                  </a:lnTo>
                  <a:lnTo>
                    <a:pt x="220" y="143"/>
                  </a:lnTo>
                  <a:lnTo>
                    <a:pt x="209" y="170"/>
                  </a:lnTo>
                  <a:lnTo>
                    <a:pt x="193" y="193"/>
                  </a:lnTo>
                  <a:lnTo>
                    <a:pt x="170" y="210"/>
                  </a:lnTo>
                  <a:lnTo>
                    <a:pt x="142" y="221"/>
                  </a:lnTo>
                  <a:lnTo>
                    <a:pt x="113" y="225"/>
                  </a:lnTo>
                  <a:lnTo>
                    <a:pt x="83" y="221"/>
                  </a:lnTo>
                  <a:lnTo>
                    <a:pt x="57" y="210"/>
                  </a:lnTo>
                  <a:lnTo>
                    <a:pt x="34" y="193"/>
                  </a:lnTo>
                  <a:lnTo>
                    <a:pt x="15" y="170"/>
                  </a:lnTo>
                  <a:lnTo>
                    <a:pt x="5" y="143"/>
                  </a:lnTo>
                  <a:lnTo>
                    <a:pt x="0" y="114"/>
                  </a:lnTo>
                  <a:lnTo>
                    <a:pt x="5" y="83"/>
                  </a:lnTo>
                  <a:lnTo>
                    <a:pt x="15" y="57"/>
                  </a:lnTo>
                  <a:lnTo>
                    <a:pt x="34" y="34"/>
                  </a:lnTo>
                  <a:lnTo>
                    <a:pt x="57" y="16"/>
                  </a:lnTo>
                  <a:lnTo>
                    <a:pt x="83" y="5"/>
                  </a:lnTo>
                  <a:lnTo>
                    <a:pt x="11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3" name="Freeform 128"/>
            <p:cNvSpPr>
              <a:spLocks/>
            </p:cNvSpPr>
            <p:nvPr/>
          </p:nvSpPr>
          <p:spPr bwMode="auto">
            <a:xfrm>
              <a:off x="6015" y="2654"/>
              <a:ext cx="111" cy="112"/>
            </a:xfrm>
            <a:custGeom>
              <a:avLst/>
              <a:gdLst>
                <a:gd name="T0" fmla="*/ 111 w 223"/>
                <a:gd name="T1" fmla="*/ 0 h 225"/>
                <a:gd name="T2" fmla="*/ 142 w 223"/>
                <a:gd name="T3" fmla="*/ 5 h 225"/>
                <a:gd name="T4" fmla="*/ 168 w 223"/>
                <a:gd name="T5" fmla="*/ 16 h 225"/>
                <a:gd name="T6" fmla="*/ 191 w 223"/>
                <a:gd name="T7" fmla="*/ 34 h 225"/>
                <a:gd name="T8" fmla="*/ 208 w 223"/>
                <a:gd name="T9" fmla="*/ 57 h 225"/>
                <a:gd name="T10" fmla="*/ 220 w 223"/>
                <a:gd name="T11" fmla="*/ 83 h 225"/>
                <a:gd name="T12" fmla="*/ 223 w 223"/>
                <a:gd name="T13" fmla="*/ 114 h 225"/>
                <a:gd name="T14" fmla="*/ 220 w 223"/>
                <a:gd name="T15" fmla="*/ 143 h 225"/>
                <a:gd name="T16" fmla="*/ 208 w 223"/>
                <a:gd name="T17" fmla="*/ 170 h 225"/>
                <a:gd name="T18" fmla="*/ 191 w 223"/>
                <a:gd name="T19" fmla="*/ 193 h 225"/>
                <a:gd name="T20" fmla="*/ 168 w 223"/>
                <a:gd name="T21" fmla="*/ 210 h 225"/>
                <a:gd name="T22" fmla="*/ 142 w 223"/>
                <a:gd name="T23" fmla="*/ 221 h 225"/>
                <a:gd name="T24" fmla="*/ 111 w 223"/>
                <a:gd name="T25" fmla="*/ 225 h 225"/>
                <a:gd name="T26" fmla="*/ 82 w 223"/>
                <a:gd name="T27" fmla="*/ 221 h 225"/>
                <a:gd name="T28" fmla="*/ 55 w 223"/>
                <a:gd name="T29" fmla="*/ 210 h 225"/>
                <a:gd name="T30" fmla="*/ 32 w 223"/>
                <a:gd name="T31" fmla="*/ 193 h 225"/>
                <a:gd name="T32" fmla="*/ 15 w 223"/>
                <a:gd name="T33" fmla="*/ 170 h 225"/>
                <a:gd name="T34" fmla="*/ 3 w 223"/>
                <a:gd name="T35" fmla="*/ 143 h 225"/>
                <a:gd name="T36" fmla="*/ 0 w 223"/>
                <a:gd name="T37" fmla="*/ 114 h 225"/>
                <a:gd name="T38" fmla="*/ 3 w 223"/>
                <a:gd name="T39" fmla="*/ 83 h 225"/>
                <a:gd name="T40" fmla="*/ 15 w 223"/>
                <a:gd name="T41" fmla="*/ 57 h 225"/>
                <a:gd name="T42" fmla="*/ 32 w 223"/>
                <a:gd name="T43" fmla="*/ 34 h 225"/>
                <a:gd name="T44" fmla="*/ 55 w 223"/>
                <a:gd name="T45" fmla="*/ 16 h 225"/>
                <a:gd name="T46" fmla="*/ 82 w 223"/>
                <a:gd name="T47" fmla="*/ 5 h 225"/>
                <a:gd name="T48" fmla="*/ 111 w 223"/>
                <a:gd name="T49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3" h="225">
                  <a:moveTo>
                    <a:pt x="111" y="0"/>
                  </a:moveTo>
                  <a:lnTo>
                    <a:pt x="142" y="5"/>
                  </a:lnTo>
                  <a:lnTo>
                    <a:pt x="168" y="16"/>
                  </a:lnTo>
                  <a:lnTo>
                    <a:pt x="191" y="34"/>
                  </a:lnTo>
                  <a:lnTo>
                    <a:pt x="208" y="57"/>
                  </a:lnTo>
                  <a:lnTo>
                    <a:pt x="220" y="83"/>
                  </a:lnTo>
                  <a:lnTo>
                    <a:pt x="223" y="114"/>
                  </a:lnTo>
                  <a:lnTo>
                    <a:pt x="220" y="143"/>
                  </a:lnTo>
                  <a:lnTo>
                    <a:pt x="208" y="170"/>
                  </a:lnTo>
                  <a:lnTo>
                    <a:pt x="191" y="193"/>
                  </a:lnTo>
                  <a:lnTo>
                    <a:pt x="168" y="210"/>
                  </a:lnTo>
                  <a:lnTo>
                    <a:pt x="142" y="221"/>
                  </a:lnTo>
                  <a:lnTo>
                    <a:pt x="111" y="225"/>
                  </a:lnTo>
                  <a:lnTo>
                    <a:pt x="82" y="221"/>
                  </a:lnTo>
                  <a:lnTo>
                    <a:pt x="55" y="210"/>
                  </a:lnTo>
                  <a:lnTo>
                    <a:pt x="32" y="193"/>
                  </a:lnTo>
                  <a:lnTo>
                    <a:pt x="15" y="170"/>
                  </a:lnTo>
                  <a:lnTo>
                    <a:pt x="3" y="143"/>
                  </a:lnTo>
                  <a:lnTo>
                    <a:pt x="0" y="114"/>
                  </a:lnTo>
                  <a:lnTo>
                    <a:pt x="3" y="83"/>
                  </a:lnTo>
                  <a:lnTo>
                    <a:pt x="15" y="57"/>
                  </a:lnTo>
                  <a:lnTo>
                    <a:pt x="32" y="34"/>
                  </a:lnTo>
                  <a:lnTo>
                    <a:pt x="55" y="16"/>
                  </a:lnTo>
                  <a:lnTo>
                    <a:pt x="82" y="5"/>
                  </a:lnTo>
                  <a:lnTo>
                    <a:pt x="1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4" name="Freeform 129"/>
            <p:cNvSpPr>
              <a:spLocks noEditPoints="1"/>
            </p:cNvSpPr>
            <p:nvPr/>
          </p:nvSpPr>
          <p:spPr bwMode="auto">
            <a:xfrm>
              <a:off x="4144" y="1661"/>
              <a:ext cx="2519" cy="1566"/>
            </a:xfrm>
            <a:custGeom>
              <a:avLst/>
              <a:gdLst>
                <a:gd name="T0" fmla="*/ 699 w 5038"/>
                <a:gd name="T1" fmla="*/ 2528 h 3131"/>
                <a:gd name="T2" fmla="*/ 2323 w 5038"/>
                <a:gd name="T3" fmla="*/ 2631 h 3131"/>
                <a:gd name="T4" fmla="*/ 2715 w 5038"/>
                <a:gd name="T5" fmla="*/ 2528 h 3131"/>
                <a:gd name="T6" fmla="*/ 4341 w 5038"/>
                <a:gd name="T7" fmla="*/ 344 h 3131"/>
                <a:gd name="T8" fmla="*/ 553 w 5038"/>
                <a:gd name="T9" fmla="*/ 0 h 3131"/>
                <a:gd name="T10" fmla="*/ 4525 w 5038"/>
                <a:gd name="T11" fmla="*/ 4 h 3131"/>
                <a:gd name="T12" fmla="*/ 4596 w 5038"/>
                <a:gd name="T13" fmla="*/ 33 h 3131"/>
                <a:gd name="T14" fmla="*/ 4649 w 5038"/>
                <a:gd name="T15" fmla="*/ 87 h 3131"/>
                <a:gd name="T16" fmla="*/ 4678 w 5038"/>
                <a:gd name="T17" fmla="*/ 157 h 3131"/>
                <a:gd name="T18" fmla="*/ 4683 w 5038"/>
                <a:gd name="T19" fmla="*/ 2658 h 3131"/>
                <a:gd name="T20" fmla="*/ 4970 w 5038"/>
                <a:gd name="T21" fmla="*/ 2663 h 3131"/>
                <a:gd name="T22" fmla="*/ 5011 w 5038"/>
                <a:gd name="T23" fmla="*/ 2686 h 3131"/>
                <a:gd name="T24" fmla="*/ 5034 w 5038"/>
                <a:gd name="T25" fmla="*/ 2727 h 3131"/>
                <a:gd name="T26" fmla="*/ 5034 w 5038"/>
                <a:gd name="T27" fmla="*/ 2808 h 3131"/>
                <a:gd name="T28" fmla="*/ 5002 w 5038"/>
                <a:gd name="T29" fmla="*/ 2912 h 3131"/>
                <a:gd name="T30" fmla="*/ 4945 w 5038"/>
                <a:gd name="T31" fmla="*/ 3001 h 3131"/>
                <a:gd name="T32" fmla="*/ 4864 w 5038"/>
                <a:gd name="T33" fmla="*/ 3070 h 3131"/>
                <a:gd name="T34" fmla="*/ 4768 w 5038"/>
                <a:gd name="T35" fmla="*/ 3116 h 3131"/>
                <a:gd name="T36" fmla="*/ 4658 w 5038"/>
                <a:gd name="T37" fmla="*/ 3131 h 3131"/>
                <a:gd name="T38" fmla="*/ 3969 w 5038"/>
                <a:gd name="T39" fmla="*/ 2964 h 3131"/>
                <a:gd name="T40" fmla="*/ 3956 w 5038"/>
                <a:gd name="T41" fmla="*/ 2915 h 3131"/>
                <a:gd name="T42" fmla="*/ 3921 w 5038"/>
                <a:gd name="T43" fmla="*/ 2880 h 3131"/>
                <a:gd name="T44" fmla="*/ 3872 w 5038"/>
                <a:gd name="T45" fmla="*/ 2867 h 3131"/>
                <a:gd name="T46" fmla="*/ 3823 w 5038"/>
                <a:gd name="T47" fmla="*/ 2880 h 3131"/>
                <a:gd name="T48" fmla="*/ 3788 w 5038"/>
                <a:gd name="T49" fmla="*/ 2915 h 3131"/>
                <a:gd name="T50" fmla="*/ 3774 w 5038"/>
                <a:gd name="T51" fmla="*/ 2964 h 3131"/>
                <a:gd name="T52" fmla="*/ 3591 w 5038"/>
                <a:gd name="T53" fmla="*/ 3131 h 3131"/>
                <a:gd name="T54" fmla="*/ 3588 w 5038"/>
                <a:gd name="T55" fmla="*/ 2938 h 3131"/>
                <a:gd name="T56" fmla="*/ 3563 w 5038"/>
                <a:gd name="T57" fmla="*/ 2896 h 3131"/>
                <a:gd name="T58" fmla="*/ 3519 w 5038"/>
                <a:gd name="T59" fmla="*/ 2870 h 3131"/>
                <a:gd name="T60" fmla="*/ 3468 w 5038"/>
                <a:gd name="T61" fmla="*/ 2870 h 3131"/>
                <a:gd name="T62" fmla="*/ 3424 w 5038"/>
                <a:gd name="T63" fmla="*/ 2896 h 3131"/>
                <a:gd name="T64" fmla="*/ 3400 w 5038"/>
                <a:gd name="T65" fmla="*/ 2938 h 3131"/>
                <a:gd name="T66" fmla="*/ 3397 w 5038"/>
                <a:gd name="T67" fmla="*/ 3131 h 3131"/>
                <a:gd name="T68" fmla="*/ 324 w 5038"/>
                <a:gd name="T69" fmla="*/ 3128 h 3131"/>
                <a:gd name="T70" fmla="*/ 220 w 5038"/>
                <a:gd name="T71" fmla="*/ 3096 h 3131"/>
                <a:gd name="T72" fmla="*/ 130 w 5038"/>
                <a:gd name="T73" fmla="*/ 3038 h 3131"/>
                <a:gd name="T74" fmla="*/ 61 w 5038"/>
                <a:gd name="T75" fmla="*/ 2958 h 3131"/>
                <a:gd name="T76" fmla="*/ 17 w 5038"/>
                <a:gd name="T77" fmla="*/ 2862 h 3131"/>
                <a:gd name="T78" fmla="*/ 0 w 5038"/>
                <a:gd name="T79" fmla="*/ 2752 h 3131"/>
                <a:gd name="T80" fmla="*/ 12 w 5038"/>
                <a:gd name="T81" fmla="*/ 2706 h 3131"/>
                <a:gd name="T82" fmla="*/ 46 w 5038"/>
                <a:gd name="T83" fmla="*/ 2672 h 3131"/>
                <a:gd name="T84" fmla="*/ 93 w 5038"/>
                <a:gd name="T85" fmla="*/ 2658 h 3131"/>
                <a:gd name="T86" fmla="*/ 357 w 5038"/>
                <a:gd name="T87" fmla="*/ 197 h 3131"/>
                <a:gd name="T88" fmla="*/ 373 w 5038"/>
                <a:gd name="T89" fmla="*/ 121 h 3131"/>
                <a:gd name="T90" fmla="*/ 414 w 5038"/>
                <a:gd name="T91" fmla="*/ 58 h 3131"/>
                <a:gd name="T92" fmla="*/ 477 w 5038"/>
                <a:gd name="T93" fmla="*/ 15 h 3131"/>
                <a:gd name="T94" fmla="*/ 553 w 5038"/>
                <a:gd name="T95" fmla="*/ 0 h 3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038" h="3131">
                  <a:moveTo>
                    <a:pt x="699" y="344"/>
                  </a:moveTo>
                  <a:lnTo>
                    <a:pt x="699" y="2528"/>
                  </a:lnTo>
                  <a:lnTo>
                    <a:pt x="2323" y="2528"/>
                  </a:lnTo>
                  <a:lnTo>
                    <a:pt x="2323" y="2631"/>
                  </a:lnTo>
                  <a:lnTo>
                    <a:pt x="2715" y="2631"/>
                  </a:lnTo>
                  <a:lnTo>
                    <a:pt x="2715" y="2528"/>
                  </a:lnTo>
                  <a:lnTo>
                    <a:pt x="4341" y="2528"/>
                  </a:lnTo>
                  <a:lnTo>
                    <a:pt x="4341" y="344"/>
                  </a:lnTo>
                  <a:lnTo>
                    <a:pt x="699" y="344"/>
                  </a:lnTo>
                  <a:close/>
                  <a:moveTo>
                    <a:pt x="553" y="0"/>
                  </a:moveTo>
                  <a:lnTo>
                    <a:pt x="4487" y="0"/>
                  </a:lnTo>
                  <a:lnTo>
                    <a:pt x="4525" y="4"/>
                  </a:lnTo>
                  <a:lnTo>
                    <a:pt x="4563" y="15"/>
                  </a:lnTo>
                  <a:lnTo>
                    <a:pt x="4596" y="33"/>
                  </a:lnTo>
                  <a:lnTo>
                    <a:pt x="4625" y="58"/>
                  </a:lnTo>
                  <a:lnTo>
                    <a:pt x="4649" y="87"/>
                  </a:lnTo>
                  <a:lnTo>
                    <a:pt x="4667" y="121"/>
                  </a:lnTo>
                  <a:lnTo>
                    <a:pt x="4678" y="157"/>
                  </a:lnTo>
                  <a:lnTo>
                    <a:pt x="4683" y="197"/>
                  </a:lnTo>
                  <a:lnTo>
                    <a:pt x="4683" y="2658"/>
                  </a:lnTo>
                  <a:lnTo>
                    <a:pt x="4945" y="2658"/>
                  </a:lnTo>
                  <a:lnTo>
                    <a:pt x="4970" y="2663"/>
                  </a:lnTo>
                  <a:lnTo>
                    <a:pt x="4991" y="2672"/>
                  </a:lnTo>
                  <a:lnTo>
                    <a:pt x="5011" y="2686"/>
                  </a:lnTo>
                  <a:lnTo>
                    <a:pt x="5025" y="2706"/>
                  </a:lnTo>
                  <a:lnTo>
                    <a:pt x="5034" y="2727"/>
                  </a:lnTo>
                  <a:lnTo>
                    <a:pt x="5038" y="2752"/>
                  </a:lnTo>
                  <a:lnTo>
                    <a:pt x="5034" y="2808"/>
                  </a:lnTo>
                  <a:lnTo>
                    <a:pt x="5022" y="2862"/>
                  </a:lnTo>
                  <a:lnTo>
                    <a:pt x="5002" y="2912"/>
                  </a:lnTo>
                  <a:lnTo>
                    <a:pt x="4977" y="2958"/>
                  </a:lnTo>
                  <a:lnTo>
                    <a:pt x="4945" y="3001"/>
                  </a:lnTo>
                  <a:lnTo>
                    <a:pt x="4907" y="3038"/>
                  </a:lnTo>
                  <a:lnTo>
                    <a:pt x="4864" y="3070"/>
                  </a:lnTo>
                  <a:lnTo>
                    <a:pt x="4819" y="3096"/>
                  </a:lnTo>
                  <a:lnTo>
                    <a:pt x="4768" y="3116"/>
                  </a:lnTo>
                  <a:lnTo>
                    <a:pt x="4715" y="3128"/>
                  </a:lnTo>
                  <a:lnTo>
                    <a:pt x="4658" y="3131"/>
                  </a:lnTo>
                  <a:lnTo>
                    <a:pt x="3969" y="3131"/>
                  </a:lnTo>
                  <a:lnTo>
                    <a:pt x="3969" y="2964"/>
                  </a:lnTo>
                  <a:lnTo>
                    <a:pt x="3965" y="2938"/>
                  </a:lnTo>
                  <a:lnTo>
                    <a:pt x="3956" y="2915"/>
                  </a:lnTo>
                  <a:lnTo>
                    <a:pt x="3940" y="2896"/>
                  </a:lnTo>
                  <a:lnTo>
                    <a:pt x="3921" y="2880"/>
                  </a:lnTo>
                  <a:lnTo>
                    <a:pt x="3898" y="2870"/>
                  </a:lnTo>
                  <a:lnTo>
                    <a:pt x="3872" y="2867"/>
                  </a:lnTo>
                  <a:lnTo>
                    <a:pt x="3846" y="2870"/>
                  </a:lnTo>
                  <a:lnTo>
                    <a:pt x="3823" y="2880"/>
                  </a:lnTo>
                  <a:lnTo>
                    <a:pt x="3803" y="2896"/>
                  </a:lnTo>
                  <a:lnTo>
                    <a:pt x="3788" y="2915"/>
                  </a:lnTo>
                  <a:lnTo>
                    <a:pt x="3777" y="2938"/>
                  </a:lnTo>
                  <a:lnTo>
                    <a:pt x="3774" y="2964"/>
                  </a:lnTo>
                  <a:lnTo>
                    <a:pt x="3774" y="3131"/>
                  </a:lnTo>
                  <a:lnTo>
                    <a:pt x="3591" y="3131"/>
                  </a:lnTo>
                  <a:lnTo>
                    <a:pt x="3591" y="2964"/>
                  </a:lnTo>
                  <a:lnTo>
                    <a:pt x="3588" y="2938"/>
                  </a:lnTo>
                  <a:lnTo>
                    <a:pt x="3578" y="2915"/>
                  </a:lnTo>
                  <a:lnTo>
                    <a:pt x="3563" y="2896"/>
                  </a:lnTo>
                  <a:lnTo>
                    <a:pt x="3543" y="2880"/>
                  </a:lnTo>
                  <a:lnTo>
                    <a:pt x="3519" y="2870"/>
                  </a:lnTo>
                  <a:lnTo>
                    <a:pt x="3494" y="2867"/>
                  </a:lnTo>
                  <a:lnTo>
                    <a:pt x="3468" y="2870"/>
                  </a:lnTo>
                  <a:lnTo>
                    <a:pt x="3444" y="2880"/>
                  </a:lnTo>
                  <a:lnTo>
                    <a:pt x="3424" y="2896"/>
                  </a:lnTo>
                  <a:lnTo>
                    <a:pt x="3409" y="2915"/>
                  </a:lnTo>
                  <a:lnTo>
                    <a:pt x="3400" y="2938"/>
                  </a:lnTo>
                  <a:lnTo>
                    <a:pt x="3397" y="2964"/>
                  </a:lnTo>
                  <a:lnTo>
                    <a:pt x="3397" y="3131"/>
                  </a:lnTo>
                  <a:lnTo>
                    <a:pt x="379" y="3131"/>
                  </a:lnTo>
                  <a:lnTo>
                    <a:pt x="324" y="3128"/>
                  </a:lnTo>
                  <a:lnTo>
                    <a:pt x="270" y="3116"/>
                  </a:lnTo>
                  <a:lnTo>
                    <a:pt x="220" y="3096"/>
                  </a:lnTo>
                  <a:lnTo>
                    <a:pt x="173" y="3070"/>
                  </a:lnTo>
                  <a:lnTo>
                    <a:pt x="130" y="3038"/>
                  </a:lnTo>
                  <a:lnTo>
                    <a:pt x="93" y="3001"/>
                  </a:lnTo>
                  <a:lnTo>
                    <a:pt x="61" y="2958"/>
                  </a:lnTo>
                  <a:lnTo>
                    <a:pt x="35" y="2912"/>
                  </a:lnTo>
                  <a:lnTo>
                    <a:pt x="17" y="2862"/>
                  </a:lnTo>
                  <a:lnTo>
                    <a:pt x="5" y="2808"/>
                  </a:lnTo>
                  <a:lnTo>
                    <a:pt x="0" y="2752"/>
                  </a:lnTo>
                  <a:lnTo>
                    <a:pt x="3" y="2727"/>
                  </a:lnTo>
                  <a:lnTo>
                    <a:pt x="12" y="2706"/>
                  </a:lnTo>
                  <a:lnTo>
                    <a:pt x="27" y="2686"/>
                  </a:lnTo>
                  <a:lnTo>
                    <a:pt x="46" y="2672"/>
                  </a:lnTo>
                  <a:lnTo>
                    <a:pt x="69" y="2663"/>
                  </a:lnTo>
                  <a:lnTo>
                    <a:pt x="93" y="2658"/>
                  </a:lnTo>
                  <a:lnTo>
                    <a:pt x="357" y="2658"/>
                  </a:lnTo>
                  <a:lnTo>
                    <a:pt x="357" y="197"/>
                  </a:lnTo>
                  <a:lnTo>
                    <a:pt x="360" y="157"/>
                  </a:lnTo>
                  <a:lnTo>
                    <a:pt x="373" y="121"/>
                  </a:lnTo>
                  <a:lnTo>
                    <a:pt x="391" y="87"/>
                  </a:lnTo>
                  <a:lnTo>
                    <a:pt x="414" y="58"/>
                  </a:lnTo>
                  <a:lnTo>
                    <a:pt x="443" y="33"/>
                  </a:lnTo>
                  <a:lnTo>
                    <a:pt x="477" y="15"/>
                  </a:lnTo>
                  <a:lnTo>
                    <a:pt x="513" y="4"/>
                  </a:lnTo>
                  <a:lnTo>
                    <a:pt x="5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85" name="Group 138"/>
          <p:cNvGrpSpPr>
            <a:grpSpLocks noChangeAspect="1"/>
          </p:cNvGrpSpPr>
          <p:nvPr/>
        </p:nvGrpSpPr>
        <p:grpSpPr bwMode="auto">
          <a:xfrm>
            <a:off x="3282446" y="1819612"/>
            <a:ext cx="360718" cy="312372"/>
            <a:chOff x="4418" y="1677"/>
            <a:chExt cx="3171" cy="2746"/>
          </a:xfrm>
          <a:solidFill>
            <a:schemeClr val="bg1"/>
          </a:solidFill>
        </p:grpSpPr>
        <p:sp>
          <p:nvSpPr>
            <p:cNvPr id="86" name="Freeform 140"/>
            <p:cNvSpPr>
              <a:spLocks/>
            </p:cNvSpPr>
            <p:nvPr/>
          </p:nvSpPr>
          <p:spPr bwMode="auto">
            <a:xfrm>
              <a:off x="6235" y="2277"/>
              <a:ext cx="544" cy="544"/>
            </a:xfrm>
            <a:custGeom>
              <a:avLst/>
              <a:gdLst>
                <a:gd name="T0" fmla="*/ 544 w 1089"/>
                <a:gd name="T1" fmla="*/ 0 h 1088"/>
                <a:gd name="T2" fmla="*/ 625 w 1089"/>
                <a:gd name="T3" fmla="*/ 6 h 1088"/>
                <a:gd name="T4" fmla="*/ 702 w 1089"/>
                <a:gd name="T5" fmla="*/ 23 h 1088"/>
                <a:gd name="T6" fmla="*/ 773 w 1089"/>
                <a:gd name="T7" fmla="*/ 50 h 1088"/>
                <a:gd name="T8" fmla="*/ 840 w 1089"/>
                <a:gd name="T9" fmla="*/ 87 h 1088"/>
                <a:gd name="T10" fmla="*/ 900 w 1089"/>
                <a:gd name="T11" fmla="*/ 133 h 1088"/>
                <a:gd name="T12" fmla="*/ 954 w 1089"/>
                <a:gd name="T13" fmla="*/ 187 h 1088"/>
                <a:gd name="T14" fmla="*/ 1000 w 1089"/>
                <a:gd name="T15" fmla="*/ 248 h 1088"/>
                <a:gd name="T16" fmla="*/ 1039 w 1089"/>
                <a:gd name="T17" fmla="*/ 316 h 1088"/>
                <a:gd name="T18" fmla="*/ 1065 w 1089"/>
                <a:gd name="T19" fmla="*/ 387 h 1088"/>
                <a:gd name="T20" fmla="*/ 1083 w 1089"/>
                <a:gd name="T21" fmla="*/ 464 h 1088"/>
                <a:gd name="T22" fmla="*/ 1089 w 1089"/>
                <a:gd name="T23" fmla="*/ 545 h 1088"/>
                <a:gd name="T24" fmla="*/ 1083 w 1089"/>
                <a:gd name="T25" fmla="*/ 624 h 1088"/>
                <a:gd name="T26" fmla="*/ 1065 w 1089"/>
                <a:gd name="T27" fmla="*/ 701 h 1088"/>
                <a:gd name="T28" fmla="*/ 1039 w 1089"/>
                <a:gd name="T29" fmla="*/ 774 h 1088"/>
                <a:gd name="T30" fmla="*/ 1000 w 1089"/>
                <a:gd name="T31" fmla="*/ 841 h 1088"/>
                <a:gd name="T32" fmla="*/ 954 w 1089"/>
                <a:gd name="T33" fmla="*/ 901 h 1088"/>
                <a:gd name="T34" fmla="*/ 900 w 1089"/>
                <a:gd name="T35" fmla="*/ 955 h 1088"/>
                <a:gd name="T36" fmla="*/ 840 w 1089"/>
                <a:gd name="T37" fmla="*/ 1001 h 1088"/>
                <a:gd name="T38" fmla="*/ 773 w 1089"/>
                <a:gd name="T39" fmla="*/ 1038 h 1088"/>
                <a:gd name="T40" fmla="*/ 702 w 1089"/>
                <a:gd name="T41" fmla="*/ 1065 h 1088"/>
                <a:gd name="T42" fmla="*/ 625 w 1089"/>
                <a:gd name="T43" fmla="*/ 1082 h 1088"/>
                <a:gd name="T44" fmla="*/ 544 w 1089"/>
                <a:gd name="T45" fmla="*/ 1088 h 1088"/>
                <a:gd name="T46" fmla="*/ 463 w 1089"/>
                <a:gd name="T47" fmla="*/ 1082 h 1088"/>
                <a:gd name="T48" fmla="*/ 386 w 1089"/>
                <a:gd name="T49" fmla="*/ 1065 h 1088"/>
                <a:gd name="T50" fmla="*/ 315 w 1089"/>
                <a:gd name="T51" fmla="*/ 1038 h 1088"/>
                <a:gd name="T52" fmla="*/ 248 w 1089"/>
                <a:gd name="T53" fmla="*/ 1001 h 1088"/>
                <a:gd name="T54" fmla="*/ 188 w 1089"/>
                <a:gd name="T55" fmla="*/ 955 h 1088"/>
                <a:gd name="T56" fmla="*/ 134 w 1089"/>
                <a:gd name="T57" fmla="*/ 901 h 1088"/>
                <a:gd name="T58" fmla="*/ 88 w 1089"/>
                <a:gd name="T59" fmla="*/ 841 h 1088"/>
                <a:gd name="T60" fmla="*/ 52 w 1089"/>
                <a:gd name="T61" fmla="*/ 774 h 1088"/>
                <a:gd name="T62" fmla="*/ 23 w 1089"/>
                <a:gd name="T63" fmla="*/ 701 h 1088"/>
                <a:gd name="T64" fmla="*/ 6 w 1089"/>
                <a:gd name="T65" fmla="*/ 624 h 1088"/>
                <a:gd name="T66" fmla="*/ 0 w 1089"/>
                <a:gd name="T67" fmla="*/ 545 h 1088"/>
                <a:gd name="T68" fmla="*/ 6 w 1089"/>
                <a:gd name="T69" fmla="*/ 464 h 1088"/>
                <a:gd name="T70" fmla="*/ 23 w 1089"/>
                <a:gd name="T71" fmla="*/ 387 h 1088"/>
                <a:gd name="T72" fmla="*/ 52 w 1089"/>
                <a:gd name="T73" fmla="*/ 316 h 1088"/>
                <a:gd name="T74" fmla="*/ 88 w 1089"/>
                <a:gd name="T75" fmla="*/ 248 h 1088"/>
                <a:gd name="T76" fmla="*/ 134 w 1089"/>
                <a:gd name="T77" fmla="*/ 187 h 1088"/>
                <a:gd name="T78" fmla="*/ 188 w 1089"/>
                <a:gd name="T79" fmla="*/ 133 h 1088"/>
                <a:gd name="T80" fmla="*/ 248 w 1089"/>
                <a:gd name="T81" fmla="*/ 87 h 1088"/>
                <a:gd name="T82" fmla="*/ 315 w 1089"/>
                <a:gd name="T83" fmla="*/ 50 h 1088"/>
                <a:gd name="T84" fmla="*/ 386 w 1089"/>
                <a:gd name="T85" fmla="*/ 23 h 1088"/>
                <a:gd name="T86" fmla="*/ 463 w 1089"/>
                <a:gd name="T87" fmla="*/ 6 h 1088"/>
                <a:gd name="T88" fmla="*/ 544 w 1089"/>
                <a:gd name="T89" fmla="*/ 0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89" h="1088">
                  <a:moveTo>
                    <a:pt x="544" y="0"/>
                  </a:moveTo>
                  <a:lnTo>
                    <a:pt x="625" y="6"/>
                  </a:lnTo>
                  <a:lnTo>
                    <a:pt x="702" y="23"/>
                  </a:lnTo>
                  <a:lnTo>
                    <a:pt x="773" y="50"/>
                  </a:lnTo>
                  <a:lnTo>
                    <a:pt x="840" y="87"/>
                  </a:lnTo>
                  <a:lnTo>
                    <a:pt x="900" y="133"/>
                  </a:lnTo>
                  <a:lnTo>
                    <a:pt x="954" y="187"/>
                  </a:lnTo>
                  <a:lnTo>
                    <a:pt x="1000" y="248"/>
                  </a:lnTo>
                  <a:lnTo>
                    <a:pt x="1039" y="316"/>
                  </a:lnTo>
                  <a:lnTo>
                    <a:pt x="1065" y="387"/>
                  </a:lnTo>
                  <a:lnTo>
                    <a:pt x="1083" y="464"/>
                  </a:lnTo>
                  <a:lnTo>
                    <a:pt x="1089" y="545"/>
                  </a:lnTo>
                  <a:lnTo>
                    <a:pt x="1083" y="624"/>
                  </a:lnTo>
                  <a:lnTo>
                    <a:pt x="1065" y="701"/>
                  </a:lnTo>
                  <a:lnTo>
                    <a:pt x="1039" y="774"/>
                  </a:lnTo>
                  <a:lnTo>
                    <a:pt x="1000" y="841"/>
                  </a:lnTo>
                  <a:lnTo>
                    <a:pt x="954" y="901"/>
                  </a:lnTo>
                  <a:lnTo>
                    <a:pt x="900" y="955"/>
                  </a:lnTo>
                  <a:lnTo>
                    <a:pt x="840" y="1001"/>
                  </a:lnTo>
                  <a:lnTo>
                    <a:pt x="773" y="1038"/>
                  </a:lnTo>
                  <a:lnTo>
                    <a:pt x="702" y="1065"/>
                  </a:lnTo>
                  <a:lnTo>
                    <a:pt x="625" y="1082"/>
                  </a:lnTo>
                  <a:lnTo>
                    <a:pt x="544" y="1088"/>
                  </a:lnTo>
                  <a:lnTo>
                    <a:pt x="463" y="1082"/>
                  </a:lnTo>
                  <a:lnTo>
                    <a:pt x="386" y="1065"/>
                  </a:lnTo>
                  <a:lnTo>
                    <a:pt x="315" y="1038"/>
                  </a:lnTo>
                  <a:lnTo>
                    <a:pt x="248" y="1001"/>
                  </a:lnTo>
                  <a:lnTo>
                    <a:pt x="188" y="955"/>
                  </a:lnTo>
                  <a:lnTo>
                    <a:pt x="134" y="901"/>
                  </a:lnTo>
                  <a:lnTo>
                    <a:pt x="88" y="841"/>
                  </a:lnTo>
                  <a:lnTo>
                    <a:pt x="52" y="774"/>
                  </a:lnTo>
                  <a:lnTo>
                    <a:pt x="23" y="701"/>
                  </a:lnTo>
                  <a:lnTo>
                    <a:pt x="6" y="624"/>
                  </a:lnTo>
                  <a:lnTo>
                    <a:pt x="0" y="545"/>
                  </a:lnTo>
                  <a:lnTo>
                    <a:pt x="6" y="464"/>
                  </a:lnTo>
                  <a:lnTo>
                    <a:pt x="23" y="387"/>
                  </a:lnTo>
                  <a:lnTo>
                    <a:pt x="52" y="316"/>
                  </a:lnTo>
                  <a:lnTo>
                    <a:pt x="88" y="248"/>
                  </a:lnTo>
                  <a:lnTo>
                    <a:pt x="134" y="187"/>
                  </a:lnTo>
                  <a:lnTo>
                    <a:pt x="188" y="133"/>
                  </a:lnTo>
                  <a:lnTo>
                    <a:pt x="248" y="87"/>
                  </a:lnTo>
                  <a:lnTo>
                    <a:pt x="315" y="50"/>
                  </a:lnTo>
                  <a:lnTo>
                    <a:pt x="386" y="23"/>
                  </a:lnTo>
                  <a:lnTo>
                    <a:pt x="463" y="6"/>
                  </a:lnTo>
                  <a:lnTo>
                    <a:pt x="54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7" name="Freeform 141"/>
            <p:cNvSpPr>
              <a:spLocks/>
            </p:cNvSpPr>
            <p:nvPr/>
          </p:nvSpPr>
          <p:spPr bwMode="auto">
            <a:xfrm>
              <a:off x="4418" y="1677"/>
              <a:ext cx="1807" cy="2073"/>
            </a:xfrm>
            <a:custGeom>
              <a:avLst/>
              <a:gdLst>
                <a:gd name="T0" fmla="*/ 3615 w 3615"/>
                <a:gd name="T1" fmla="*/ 0 h 4147"/>
                <a:gd name="T2" fmla="*/ 3518 w 3615"/>
                <a:gd name="T3" fmla="*/ 88 h 4147"/>
                <a:gd name="T4" fmla="*/ 3449 w 3615"/>
                <a:gd name="T5" fmla="*/ 198 h 4147"/>
                <a:gd name="T6" fmla="*/ 3407 w 3615"/>
                <a:gd name="T7" fmla="*/ 323 h 4147"/>
                <a:gd name="T8" fmla="*/ 3341 w 3615"/>
                <a:gd name="T9" fmla="*/ 367 h 4147"/>
                <a:gd name="T10" fmla="*/ 3224 w 3615"/>
                <a:gd name="T11" fmla="*/ 340 h 4147"/>
                <a:gd name="T12" fmla="*/ 3093 w 3615"/>
                <a:gd name="T13" fmla="*/ 340 h 4147"/>
                <a:gd name="T14" fmla="*/ 2970 w 3615"/>
                <a:gd name="T15" fmla="*/ 373 h 4147"/>
                <a:gd name="T16" fmla="*/ 2870 w 3615"/>
                <a:gd name="T17" fmla="*/ 427 h 4147"/>
                <a:gd name="T18" fmla="*/ 494 w 3615"/>
                <a:gd name="T19" fmla="*/ 431 h 4147"/>
                <a:gd name="T20" fmla="*/ 446 w 3615"/>
                <a:gd name="T21" fmla="*/ 467 h 4147"/>
                <a:gd name="T22" fmla="*/ 427 w 3615"/>
                <a:gd name="T23" fmla="*/ 525 h 4147"/>
                <a:gd name="T24" fmla="*/ 396 w 3615"/>
                <a:gd name="T25" fmla="*/ 2189 h 4147"/>
                <a:gd name="T26" fmla="*/ 369 w 3615"/>
                <a:gd name="T27" fmla="*/ 2323 h 4147"/>
                <a:gd name="T28" fmla="*/ 379 w 3615"/>
                <a:gd name="T29" fmla="*/ 2460 h 4147"/>
                <a:gd name="T30" fmla="*/ 427 w 3615"/>
                <a:gd name="T31" fmla="*/ 2587 h 4147"/>
                <a:gd name="T32" fmla="*/ 398 w 3615"/>
                <a:gd name="T33" fmla="*/ 2884 h 4147"/>
                <a:gd name="T34" fmla="*/ 369 w 3615"/>
                <a:gd name="T35" fmla="*/ 3017 h 4147"/>
                <a:gd name="T36" fmla="*/ 377 w 3615"/>
                <a:gd name="T37" fmla="*/ 3153 h 4147"/>
                <a:gd name="T38" fmla="*/ 427 w 3615"/>
                <a:gd name="T39" fmla="*/ 3286 h 4147"/>
                <a:gd name="T40" fmla="*/ 431 w 3615"/>
                <a:gd name="T41" fmla="*/ 3652 h 4147"/>
                <a:gd name="T42" fmla="*/ 467 w 3615"/>
                <a:gd name="T43" fmla="*/ 3700 h 4147"/>
                <a:gd name="T44" fmla="*/ 525 w 3615"/>
                <a:gd name="T45" fmla="*/ 3719 h 4147"/>
                <a:gd name="T46" fmla="*/ 737 w 3615"/>
                <a:gd name="T47" fmla="*/ 3771 h 4147"/>
                <a:gd name="T48" fmla="*/ 858 w 3615"/>
                <a:gd name="T49" fmla="*/ 3848 h 4147"/>
                <a:gd name="T50" fmla="*/ 989 w 3615"/>
                <a:gd name="T51" fmla="*/ 3885 h 4147"/>
                <a:gd name="T52" fmla="*/ 1121 w 3615"/>
                <a:gd name="T53" fmla="*/ 3885 h 4147"/>
                <a:gd name="T54" fmla="*/ 1208 w 3615"/>
                <a:gd name="T55" fmla="*/ 3935 h 4147"/>
                <a:gd name="T56" fmla="*/ 1277 w 3615"/>
                <a:gd name="T57" fmla="*/ 4052 h 4147"/>
                <a:gd name="T58" fmla="*/ 1375 w 3615"/>
                <a:gd name="T59" fmla="*/ 4147 h 4147"/>
                <a:gd name="T60" fmla="*/ 448 w 3615"/>
                <a:gd name="T61" fmla="*/ 4141 h 4147"/>
                <a:gd name="T62" fmla="*/ 304 w 3615"/>
                <a:gd name="T63" fmla="*/ 4097 h 4147"/>
                <a:gd name="T64" fmla="*/ 181 w 3615"/>
                <a:gd name="T65" fmla="*/ 4018 h 4147"/>
                <a:gd name="T66" fmla="*/ 85 w 3615"/>
                <a:gd name="T67" fmla="*/ 3906 h 4147"/>
                <a:gd name="T68" fmla="*/ 23 w 3615"/>
                <a:gd name="T69" fmla="*/ 3771 h 4147"/>
                <a:gd name="T70" fmla="*/ 0 w 3615"/>
                <a:gd name="T71" fmla="*/ 3621 h 4147"/>
                <a:gd name="T72" fmla="*/ 6 w 3615"/>
                <a:gd name="T73" fmla="*/ 448 h 4147"/>
                <a:gd name="T74" fmla="*/ 48 w 3615"/>
                <a:gd name="T75" fmla="*/ 304 h 4147"/>
                <a:gd name="T76" fmla="*/ 129 w 3615"/>
                <a:gd name="T77" fmla="*/ 181 h 4147"/>
                <a:gd name="T78" fmla="*/ 240 w 3615"/>
                <a:gd name="T79" fmla="*/ 84 h 4147"/>
                <a:gd name="T80" fmla="*/ 373 w 3615"/>
                <a:gd name="T81" fmla="*/ 23 h 4147"/>
                <a:gd name="T82" fmla="*/ 525 w 3615"/>
                <a:gd name="T83" fmla="*/ 0 h 4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615" h="4147">
                  <a:moveTo>
                    <a:pt x="2381" y="0"/>
                  </a:moveTo>
                  <a:lnTo>
                    <a:pt x="3615" y="0"/>
                  </a:lnTo>
                  <a:lnTo>
                    <a:pt x="3564" y="42"/>
                  </a:lnTo>
                  <a:lnTo>
                    <a:pt x="3518" y="88"/>
                  </a:lnTo>
                  <a:lnTo>
                    <a:pt x="3480" y="142"/>
                  </a:lnTo>
                  <a:lnTo>
                    <a:pt x="3449" y="198"/>
                  </a:lnTo>
                  <a:lnTo>
                    <a:pt x="3424" y="259"/>
                  </a:lnTo>
                  <a:lnTo>
                    <a:pt x="3407" y="323"/>
                  </a:lnTo>
                  <a:lnTo>
                    <a:pt x="3397" y="392"/>
                  </a:lnTo>
                  <a:lnTo>
                    <a:pt x="3341" y="367"/>
                  </a:lnTo>
                  <a:lnTo>
                    <a:pt x="3284" y="350"/>
                  </a:lnTo>
                  <a:lnTo>
                    <a:pt x="3224" y="340"/>
                  </a:lnTo>
                  <a:lnTo>
                    <a:pt x="3162" y="336"/>
                  </a:lnTo>
                  <a:lnTo>
                    <a:pt x="3093" y="340"/>
                  </a:lnTo>
                  <a:lnTo>
                    <a:pt x="3026" y="354"/>
                  </a:lnTo>
                  <a:lnTo>
                    <a:pt x="2970" y="373"/>
                  </a:lnTo>
                  <a:lnTo>
                    <a:pt x="2920" y="398"/>
                  </a:lnTo>
                  <a:lnTo>
                    <a:pt x="2870" y="427"/>
                  </a:lnTo>
                  <a:lnTo>
                    <a:pt x="525" y="427"/>
                  </a:lnTo>
                  <a:lnTo>
                    <a:pt x="494" y="431"/>
                  </a:lnTo>
                  <a:lnTo>
                    <a:pt x="467" y="446"/>
                  </a:lnTo>
                  <a:lnTo>
                    <a:pt x="446" y="467"/>
                  </a:lnTo>
                  <a:lnTo>
                    <a:pt x="431" y="494"/>
                  </a:lnTo>
                  <a:lnTo>
                    <a:pt x="427" y="525"/>
                  </a:lnTo>
                  <a:lnTo>
                    <a:pt x="427" y="2123"/>
                  </a:lnTo>
                  <a:lnTo>
                    <a:pt x="396" y="2189"/>
                  </a:lnTo>
                  <a:lnTo>
                    <a:pt x="377" y="2256"/>
                  </a:lnTo>
                  <a:lnTo>
                    <a:pt x="369" y="2323"/>
                  </a:lnTo>
                  <a:lnTo>
                    <a:pt x="369" y="2393"/>
                  </a:lnTo>
                  <a:lnTo>
                    <a:pt x="379" y="2460"/>
                  </a:lnTo>
                  <a:lnTo>
                    <a:pt x="398" y="2526"/>
                  </a:lnTo>
                  <a:lnTo>
                    <a:pt x="427" y="2587"/>
                  </a:lnTo>
                  <a:lnTo>
                    <a:pt x="427" y="2822"/>
                  </a:lnTo>
                  <a:lnTo>
                    <a:pt x="398" y="2884"/>
                  </a:lnTo>
                  <a:lnTo>
                    <a:pt x="379" y="2949"/>
                  </a:lnTo>
                  <a:lnTo>
                    <a:pt x="369" y="3017"/>
                  </a:lnTo>
                  <a:lnTo>
                    <a:pt x="367" y="3086"/>
                  </a:lnTo>
                  <a:lnTo>
                    <a:pt x="377" y="3153"/>
                  </a:lnTo>
                  <a:lnTo>
                    <a:pt x="396" y="3221"/>
                  </a:lnTo>
                  <a:lnTo>
                    <a:pt x="427" y="3286"/>
                  </a:lnTo>
                  <a:lnTo>
                    <a:pt x="427" y="3621"/>
                  </a:lnTo>
                  <a:lnTo>
                    <a:pt x="431" y="3652"/>
                  </a:lnTo>
                  <a:lnTo>
                    <a:pt x="446" y="3679"/>
                  </a:lnTo>
                  <a:lnTo>
                    <a:pt x="467" y="3700"/>
                  </a:lnTo>
                  <a:lnTo>
                    <a:pt x="494" y="3715"/>
                  </a:lnTo>
                  <a:lnTo>
                    <a:pt x="525" y="3719"/>
                  </a:lnTo>
                  <a:lnTo>
                    <a:pt x="685" y="3719"/>
                  </a:lnTo>
                  <a:lnTo>
                    <a:pt x="737" y="3771"/>
                  </a:lnTo>
                  <a:lnTo>
                    <a:pt x="794" y="3814"/>
                  </a:lnTo>
                  <a:lnTo>
                    <a:pt x="858" y="3848"/>
                  </a:lnTo>
                  <a:lnTo>
                    <a:pt x="925" y="3871"/>
                  </a:lnTo>
                  <a:lnTo>
                    <a:pt x="989" y="3885"/>
                  </a:lnTo>
                  <a:lnTo>
                    <a:pt x="1052" y="3889"/>
                  </a:lnTo>
                  <a:lnTo>
                    <a:pt x="1121" y="3885"/>
                  </a:lnTo>
                  <a:lnTo>
                    <a:pt x="1187" y="3870"/>
                  </a:lnTo>
                  <a:lnTo>
                    <a:pt x="1208" y="3935"/>
                  </a:lnTo>
                  <a:lnTo>
                    <a:pt x="1239" y="3997"/>
                  </a:lnTo>
                  <a:lnTo>
                    <a:pt x="1277" y="4052"/>
                  </a:lnTo>
                  <a:lnTo>
                    <a:pt x="1323" y="4102"/>
                  </a:lnTo>
                  <a:lnTo>
                    <a:pt x="1375" y="4147"/>
                  </a:lnTo>
                  <a:lnTo>
                    <a:pt x="525" y="4147"/>
                  </a:lnTo>
                  <a:lnTo>
                    <a:pt x="448" y="4141"/>
                  </a:lnTo>
                  <a:lnTo>
                    <a:pt x="373" y="4124"/>
                  </a:lnTo>
                  <a:lnTo>
                    <a:pt x="304" y="4097"/>
                  </a:lnTo>
                  <a:lnTo>
                    <a:pt x="240" y="4062"/>
                  </a:lnTo>
                  <a:lnTo>
                    <a:pt x="181" y="4018"/>
                  </a:lnTo>
                  <a:lnTo>
                    <a:pt x="129" y="3966"/>
                  </a:lnTo>
                  <a:lnTo>
                    <a:pt x="85" y="3906"/>
                  </a:lnTo>
                  <a:lnTo>
                    <a:pt x="48" y="3843"/>
                  </a:lnTo>
                  <a:lnTo>
                    <a:pt x="23" y="3771"/>
                  </a:lnTo>
                  <a:lnTo>
                    <a:pt x="6" y="3698"/>
                  </a:lnTo>
                  <a:lnTo>
                    <a:pt x="0" y="3621"/>
                  </a:lnTo>
                  <a:lnTo>
                    <a:pt x="0" y="525"/>
                  </a:lnTo>
                  <a:lnTo>
                    <a:pt x="6" y="448"/>
                  </a:lnTo>
                  <a:lnTo>
                    <a:pt x="23" y="375"/>
                  </a:lnTo>
                  <a:lnTo>
                    <a:pt x="48" y="304"/>
                  </a:lnTo>
                  <a:lnTo>
                    <a:pt x="85" y="240"/>
                  </a:lnTo>
                  <a:lnTo>
                    <a:pt x="129" y="181"/>
                  </a:lnTo>
                  <a:lnTo>
                    <a:pt x="181" y="129"/>
                  </a:lnTo>
                  <a:lnTo>
                    <a:pt x="240" y="84"/>
                  </a:lnTo>
                  <a:lnTo>
                    <a:pt x="304" y="50"/>
                  </a:lnTo>
                  <a:lnTo>
                    <a:pt x="373" y="23"/>
                  </a:lnTo>
                  <a:lnTo>
                    <a:pt x="448" y="5"/>
                  </a:lnTo>
                  <a:lnTo>
                    <a:pt x="525" y="0"/>
                  </a:lnTo>
                  <a:lnTo>
                    <a:pt x="23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8" name="Freeform 142"/>
            <p:cNvSpPr>
              <a:spLocks noEditPoints="1"/>
            </p:cNvSpPr>
            <p:nvPr/>
          </p:nvSpPr>
          <p:spPr bwMode="auto">
            <a:xfrm>
              <a:off x="5251" y="1677"/>
              <a:ext cx="2338" cy="2746"/>
            </a:xfrm>
            <a:custGeom>
              <a:avLst/>
              <a:gdLst>
                <a:gd name="T0" fmla="*/ 546 w 4676"/>
                <a:gd name="T1" fmla="*/ 4809 h 5493"/>
                <a:gd name="T2" fmla="*/ 402 w 4676"/>
                <a:gd name="T3" fmla="*/ 4911 h 5493"/>
                <a:gd name="T4" fmla="*/ 325 w 4676"/>
                <a:gd name="T5" fmla="*/ 5073 h 5493"/>
                <a:gd name="T6" fmla="*/ 2691 w 4676"/>
                <a:gd name="T7" fmla="*/ 5171 h 5493"/>
                <a:gd name="T8" fmla="*/ 2668 w 4676"/>
                <a:gd name="T9" fmla="*/ 5015 h 5493"/>
                <a:gd name="T10" fmla="*/ 2566 w 4676"/>
                <a:gd name="T11" fmla="*/ 4869 h 5493"/>
                <a:gd name="T12" fmla="*/ 2404 w 4676"/>
                <a:gd name="T13" fmla="*/ 4794 h 5493"/>
                <a:gd name="T14" fmla="*/ 3076 w 4676"/>
                <a:gd name="T15" fmla="*/ 0 h 5493"/>
                <a:gd name="T16" fmla="*/ 4303 w 4676"/>
                <a:gd name="T17" fmla="*/ 23 h 5493"/>
                <a:gd name="T18" fmla="*/ 4495 w 4676"/>
                <a:gd name="T19" fmla="*/ 129 h 5493"/>
                <a:gd name="T20" fmla="*/ 4626 w 4676"/>
                <a:gd name="T21" fmla="*/ 304 h 5493"/>
                <a:gd name="T22" fmla="*/ 4676 w 4676"/>
                <a:gd name="T23" fmla="*/ 525 h 5493"/>
                <a:gd name="T24" fmla="*/ 4653 w 4676"/>
                <a:gd name="T25" fmla="*/ 3771 h 5493"/>
                <a:gd name="T26" fmla="*/ 4547 w 4676"/>
                <a:gd name="T27" fmla="*/ 3966 h 5493"/>
                <a:gd name="T28" fmla="*/ 4372 w 4676"/>
                <a:gd name="T29" fmla="*/ 4097 h 5493"/>
                <a:gd name="T30" fmla="*/ 4151 w 4676"/>
                <a:gd name="T31" fmla="*/ 4147 h 5493"/>
                <a:gd name="T32" fmla="*/ 2497 w 4676"/>
                <a:gd name="T33" fmla="*/ 4489 h 5493"/>
                <a:gd name="T34" fmla="*/ 2718 w 4676"/>
                <a:gd name="T35" fmla="*/ 4586 h 5493"/>
                <a:gd name="T36" fmla="*/ 2887 w 4676"/>
                <a:gd name="T37" fmla="*/ 4751 h 5493"/>
                <a:gd name="T38" fmla="*/ 2989 w 4676"/>
                <a:gd name="T39" fmla="*/ 4969 h 5493"/>
                <a:gd name="T40" fmla="*/ 3010 w 4676"/>
                <a:gd name="T41" fmla="*/ 5331 h 5493"/>
                <a:gd name="T42" fmla="*/ 2964 w 4676"/>
                <a:gd name="T43" fmla="*/ 5444 h 5493"/>
                <a:gd name="T44" fmla="*/ 2851 w 4676"/>
                <a:gd name="T45" fmla="*/ 5493 h 5493"/>
                <a:gd name="T46" fmla="*/ 79 w 4676"/>
                <a:gd name="T47" fmla="*/ 5469 h 5493"/>
                <a:gd name="T48" fmla="*/ 6 w 4676"/>
                <a:gd name="T49" fmla="*/ 5375 h 5493"/>
                <a:gd name="T50" fmla="*/ 6 w 4676"/>
                <a:gd name="T51" fmla="*/ 5052 h 5493"/>
                <a:gd name="T52" fmla="*/ 81 w 4676"/>
                <a:gd name="T53" fmla="*/ 4819 h 5493"/>
                <a:gd name="T54" fmla="*/ 231 w 4676"/>
                <a:gd name="T55" fmla="*/ 4634 h 5493"/>
                <a:gd name="T56" fmla="*/ 437 w 4676"/>
                <a:gd name="T57" fmla="*/ 4513 h 5493"/>
                <a:gd name="T58" fmla="*/ 596 w 4676"/>
                <a:gd name="T59" fmla="*/ 4193 h 5493"/>
                <a:gd name="T60" fmla="*/ 744 w 4676"/>
                <a:gd name="T61" fmla="*/ 4087 h 5493"/>
                <a:gd name="T62" fmla="*/ 844 w 4676"/>
                <a:gd name="T63" fmla="*/ 3933 h 5493"/>
                <a:gd name="T64" fmla="*/ 931 w 4676"/>
                <a:gd name="T65" fmla="*/ 3885 h 5493"/>
                <a:gd name="T66" fmla="*/ 1127 w 4676"/>
                <a:gd name="T67" fmla="*/ 3871 h 5493"/>
                <a:gd name="T68" fmla="*/ 1316 w 4676"/>
                <a:gd name="T69" fmla="*/ 3771 h 5493"/>
                <a:gd name="T70" fmla="*/ 4182 w 4676"/>
                <a:gd name="T71" fmla="*/ 3715 h 5493"/>
                <a:gd name="T72" fmla="*/ 4245 w 4676"/>
                <a:gd name="T73" fmla="*/ 3652 h 5493"/>
                <a:gd name="T74" fmla="*/ 4278 w 4676"/>
                <a:gd name="T75" fmla="*/ 2358 h 5493"/>
                <a:gd name="T76" fmla="*/ 4307 w 4676"/>
                <a:gd name="T77" fmla="*/ 2148 h 5493"/>
                <a:gd name="T78" fmla="*/ 4249 w 4676"/>
                <a:gd name="T79" fmla="*/ 1946 h 5493"/>
                <a:gd name="T80" fmla="*/ 4292 w 4676"/>
                <a:gd name="T81" fmla="*/ 1442 h 5493"/>
                <a:gd name="T82" fmla="*/ 4301 w 4676"/>
                <a:gd name="T83" fmla="*/ 1211 h 5493"/>
                <a:gd name="T84" fmla="*/ 4249 w 4676"/>
                <a:gd name="T85" fmla="*/ 525 h 5493"/>
                <a:gd name="T86" fmla="*/ 4209 w 4676"/>
                <a:gd name="T87" fmla="*/ 446 h 5493"/>
                <a:gd name="T88" fmla="*/ 3816 w 4676"/>
                <a:gd name="T89" fmla="*/ 427 h 5493"/>
                <a:gd name="T90" fmla="*/ 3605 w 4676"/>
                <a:gd name="T91" fmla="*/ 342 h 5493"/>
                <a:gd name="T92" fmla="*/ 3407 w 4676"/>
                <a:gd name="T93" fmla="*/ 350 h 5493"/>
                <a:gd name="T94" fmla="*/ 3284 w 4676"/>
                <a:gd name="T95" fmla="*/ 323 h 5493"/>
                <a:gd name="T96" fmla="*/ 3210 w 4676"/>
                <a:gd name="T97" fmla="*/ 142 h 5493"/>
                <a:gd name="T98" fmla="*/ 3076 w 4676"/>
                <a:gd name="T99" fmla="*/ 0 h 5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676" h="5493">
                  <a:moveTo>
                    <a:pt x="667" y="4788"/>
                  </a:moveTo>
                  <a:lnTo>
                    <a:pt x="606" y="4794"/>
                  </a:lnTo>
                  <a:lnTo>
                    <a:pt x="546" y="4809"/>
                  </a:lnTo>
                  <a:lnTo>
                    <a:pt x="492" y="4834"/>
                  </a:lnTo>
                  <a:lnTo>
                    <a:pt x="444" y="4869"/>
                  </a:lnTo>
                  <a:lnTo>
                    <a:pt x="402" y="4911"/>
                  </a:lnTo>
                  <a:lnTo>
                    <a:pt x="367" y="4959"/>
                  </a:lnTo>
                  <a:lnTo>
                    <a:pt x="342" y="5015"/>
                  </a:lnTo>
                  <a:lnTo>
                    <a:pt x="325" y="5073"/>
                  </a:lnTo>
                  <a:lnTo>
                    <a:pt x="319" y="5136"/>
                  </a:lnTo>
                  <a:lnTo>
                    <a:pt x="319" y="5171"/>
                  </a:lnTo>
                  <a:lnTo>
                    <a:pt x="2691" y="5171"/>
                  </a:lnTo>
                  <a:lnTo>
                    <a:pt x="2691" y="5136"/>
                  </a:lnTo>
                  <a:lnTo>
                    <a:pt x="2685" y="5073"/>
                  </a:lnTo>
                  <a:lnTo>
                    <a:pt x="2668" y="5015"/>
                  </a:lnTo>
                  <a:lnTo>
                    <a:pt x="2643" y="4959"/>
                  </a:lnTo>
                  <a:lnTo>
                    <a:pt x="2608" y="4911"/>
                  </a:lnTo>
                  <a:lnTo>
                    <a:pt x="2566" y="4869"/>
                  </a:lnTo>
                  <a:lnTo>
                    <a:pt x="2518" y="4834"/>
                  </a:lnTo>
                  <a:lnTo>
                    <a:pt x="2464" y="4809"/>
                  </a:lnTo>
                  <a:lnTo>
                    <a:pt x="2404" y="4794"/>
                  </a:lnTo>
                  <a:lnTo>
                    <a:pt x="2343" y="4788"/>
                  </a:lnTo>
                  <a:lnTo>
                    <a:pt x="667" y="4788"/>
                  </a:lnTo>
                  <a:close/>
                  <a:moveTo>
                    <a:pt x="3076" y="0"/>
                  </a:moveTo>
                  <a:lnTo>
                    <a:pt x="4151" y="0"/>
                  </a:lnTo>
                  <a:lnTo>
                    <a:pt x="4228" y="5"/>
                  </a:lnTo>
                  <a:lnTo>
                    <a:pt x="4303" y="23"/>
                  </a:lnTo>
                  <a:lnTo>
                    <a:pt x="4372" y="50"/>
                  </a:lnTo>
                  <a:lnTo>
                    <a:pt x="4436" y="84"/>
                  </a:lnTo>
                  <a:lnTo>
                    <a:pt x="4495" y="129"/>
                  </a:lnTo>
                  <a:lnTo>
                    <a:pt x="4547" y="181"/>
                  </a:lnTo>
                  <a:lnTo>
                    <a:pt x="4592" y="240"/>
                  </a:lnTo>
                  <a:lnTo>
                    <a:pt x="4626" y="304"/>
                  </a:lnTo>
                  <a:lnTo>
                    <a:pt x="4653" y="375"/>
                  </a:lnTo>
                  <a:lnTo>
                    <a:pt x="4670" y="448"/>
                  </a:lnTo>
                  <a:lnTo>
                    <a:pt x="4676" y="525"/>
                  </a:lnTo>
                  <a:lnTo>
                    <a:pt x="4676" y="3621"/>
                  </a:lnTo>
                  <a:lnTo>
                    <a:pt x="4670" y="3698"/>
                  </a:lnTo>
                  <a:lnTo>
                    <a:pt x="4653" y="3771"/>
                  </a:lnTo>
                  <a:lnTo>
                    <a:pt x="4626" y="3843"/>
                  </a:lnTo>
                  <a:lnTo>
                    <a:pt x="4592" y="3906"/>
                  </a:lnTo>
                  <a:lnTo>
                    <a:pt x="4547" y="3966"/>
                  </a:lnTo>
                  <a:lnTo>
                    <a:pt x="4495" y="4018"/>
                  </a:lnTo>
                  <a:lnTo>
                    <a:pt x="4436" y="4062"/>
                  </a:lnTo>
                  <a:lnTo>
                    <a:pt x="4372" y="4097"/>
                  </a:lnTo>
                  <a:lnTo>
                    <a:pt x="4303" y="4124"/>
                  </a:lnTo>
                  <a:lnTo>
                    <a:pt x="4228" y="4141"/>
                  </a:lnTo>
                  <a:lnTo>
                    <a:pt x="4151" y="4147"/>
                  </a:lnTo>
                  <a:lnTo>
                    <a:pt x="2414" y="4147"/>
                  </a:lnTo>
                  <a:lnTo>
                    <a:pt x="2414" y="4474"/>
                  </a:lnTo>
                  <a:lnTo>
                    <a:pt x="2497" y="4489"/>
                  </a:lnTo>
                  <a:lnTo>
                    <a:pt x="2574" y="4513"/>
                  </a:lnTo>
                  <a:lnTo>
                    <a:pt x="2649" y="4545"/>
                  </a:lnTo>
                  <a:lnTo>
                    <a:pt x="2718" y="4586"/>
                  </a:lnTo>
                  <a:lnTo>
                    <a:pt x="2780" y="4634"/>
                  </a:lnTo>
                  <a:lnTo>
                    <a:pt x="2837" y="4690"/>
                  </a:lnTo>
                  <a:lnTo>
                    <a:pt x="2887" y="4751"/>
                  </a:lnTo>
                  <a:lnTo>
                    <a:pt x="2930" y="4819"/>
                  </a:lnTo>
                  <a:lnTo>
                    <a:pt x="2964" y="4892"/>
                  </a:lnTo>
                  <a:lnTo>
                    <a:pt x="2989" y="4969"/>
                  </a:lnTo>
                  <a:lnTo>
                    <a:pt x="3005" y="5052"/>
                  </a:lnTo>
                  <a:lnTo>
                    <a:pt x="3010" y="5136"/>
                  </a:lnTo>
                  <a:lnTo>
                    <a:pt x="3010" y="5331"/>
                  </a:lnTo>
                  <a:lnTo>
                    <a:pt x="3005" y="5375"/>
                  </a:lnTo>
                  <a:lnTo>
                    <a:pt x="2989" y="5412"/>
                  </a:lnTo>
                  <a:lnTo>
                    <a:pt x="2964" y="5444"/>
                  </a:lnTo>
                  <a:lnTo>
                    <a:pt x="2931" y="5469"/>
                  </a:lnTo>
                  <a:lnTo>
                    <a:pt x="2893" y="5487"/>
                  </a:lnTo>
                  <a:lnTo>
                    <a:pt x="2851" y="5493"/>
                  </a:lnTo>
                  <a:lnTo>
                    <a:pt x="160" y="5493"/>
                  </a:lnTo>
                  <a:lnTo>
                    <a:pt x="117" y="5487"/>
                  </a:lnTo>
                  <a:lnTo>
                    <a:pt x="79" y="5469"/>
                  </a:lnTo>
                  <a:lnTo>
                    <a:pt x="46" y="5444"/>
                  </a:lnTo>
                  <a:lnTo>
                    <a:pt x="21" y="5412"/>
                  </a:lnTo>
                  <a:lnTo>
                    <a:pt x="6" y="5375"/>
                  </a:lnTo>
                  <a:lnTo>
                    <a:pt x="0" y="5331"/>
                  </a:lnTo>
                  <a:lnTo>
                    <a:pt x="0" y="5136"/>
                  </a:lnTo>
                  <a:lnTo>
                    <a:pt x="6" y="5052"/>
                  </a:lnTo>
                  <a:lnTo>
                    <a:pt x="21" y="4969"/>
                  </a:lnTo>
                  <a:lnTo>
                    <a:pt x="46" y="4892"/>
                  </a:lnTo>
                  <a:lnTo>
                    <a:pt x="81" y="4819"/>
                  </a:lnTo>
                  <a:lnTo>
                    <a:pt x="123" y="4751"/>
                  </a:lnTo>
                  <a:lnTo>
                    <a:pt x="173" y="4690"/>
                  </a:lnTo>
                  <a:lnTo>
                    <a:pt x="231" y="4634"/>
                  </a:lnTo>
                  <a:lnTo>
                    <a:pt x="292" y="4586"/>
                  </a:lnTo>
                  <a:lnTo>
                    <a:pt x="362" y="4545"/>
                  </a:lnTo>
                  <a:lnTo>
                    <a:pt x="437" y="4513"/>
                  </a:lnTo>
                  <a:lnTo>
                    <a:pt x="513" y="4489"/>
                  </a:lnTo>
                  <a:lnTo>
                    <a:pt x="596" y="4474"/>
                  </a:lnTo>
                  <a:lnTo>
                    <a:pt x="596" y="4193"/>
                  </a:lnTo>
                  <a:lnTo>
                    <a:pt x="650" y="4164"/>
                  </a:lnTo>
                  <a:lnTo>
                    <a:pt x="700" y="4128"/>
                  </a:lnTo>
                  <a:lnTo>
                    <a:pt x="744" y="4087"/>
                  </a:lnTo>
                  <a:lnTo>
                    <a:pt x="785" y="4041"/>
                  </a:lnTo>
                  <a:lnTo>
                    <a:pt x="817" y="3989"/>
                  </a:lnTo>
                  <a:lnTo>
                    <a:pt x="844" y="3933"/>
                  </a:lnTo>
                  <a:lnTo>
                    <a:pt x="856" y="3902"/>
                  </a:lnTo>
                  <a:lnTo>
                    <a:pt x="866" y="3870"/>
                  </a:lnTo>
                  <a:lnTo>
                    <a:pt x="931" y="3885"/>
                  </a:lnTo>
                  <a:lnTo>
                    <a:pt x="1000" y="3889"/>
                  </a:lnTo>
                  <a:lnTo>
                    <a:pt x="1064" y="3885"/>
                  </a:lnTo>
                  <a:lnTo>
                    <a:pt x="1127" y="3871"/>
                  </a:lnTo>
                  <a:lnTo>
                    <a:pt x="1194" y="3848"/>
                  </a:lnTo>
                  <a:lnTo>
                    <a:pt x="1258" y="3814"/>
                  </a:lnTo>
                  <a:lnTo>
                    <a:pt x="1316" y="3771"/>
                  </a:lnTo>
                  <a:lnTo>
                    <a:pt x="1368" y="3719"/>
                  </a:lnTo>
                  <a:lnTo>
                    <a:pt x="4151" y="3719"/>
                  </a:lnTo>
                  <a:lnTo>
                    <a:pt x="4182" y="3715"/>
                  </a:lnTo>
                  <a:lnTo>
                    <a:pt x="4209" y="3700"/>
                  </a:lnTo>
                  <a:lnTo>
                    <a:pt x="4230" y="3679"/>
                  </a:lnTo>
                  <a:lnTo>
                    <a:pt x="4245" y="3652"/>
                  </a:lnTo>
                  <a:lnTo>
                    <a:pt x="4249" y="3621"/>
                  </a:lnTo>
                  <a:lnTo>
                    <a:pt x="4249" y="2426"/>
                  </a:lnTo>
                  <a:lnTo>
                    <a:pt x="4278" y="2358"/>
                  </a:lnTo>
                  <a:lnTo>
                    <a:pt x="4297" y="2289"/>
                  </a:lnTo>
                  <a:lnTo>
                    <a:pt x="4307" y="2218"/>
                  </a:lnTo>
                  <a:lnTo>
                    <a:pt x="4307" y="2148"/>
                  </a:lnTo>
                  <a:lnTo>
                    <a:pt x="4297" y="2077"/>
                  </a:lnTo>
                  <a:lnTo>
                    <a:pt x="4278" y="2010"/>
                  </a:lnTo>
                  <a:lnTo>
                    <a:pt x="4249" y="1946"/>
                  </a:lnTo>
                  <a:lnTo>
                    <a:pt x="4249" y="1548"/>
                  </a:lnTo>
                  <a:lnTo>
                    <a:pt x="4274" y="1496"/>
                  </a:lnTo>
                  <a:lnTo>
                    <a:pt x="4292" y="1442"/>
                  </a:lnTo>
                  <a:lnTo>
                    <a:pt x="4307" y="1365"/>
                  </a:lnTo>
                  <a:lnTo>
                    <a:pt x="4309" y="1288"/>
                  </a:lnTo>
                  <a:lnTo>
                    <a:pt x="4301" y="1211"/>
                  </a:lnTo>
                  <a:lnTo>
                    <a:pt x="4280" y="1136"/>
                  </a:lnTo>
                  <a:lnTo>
                    <a:pt x="4249" y="1064"/>
                  </a:lnTo>
                  <a:lnTo>
                    <a:pt x="4249" y="525"/>
                  </a:lnTo>
                  <a:lnTo>
                    <a:pt x="4245" y="494"/>
                  </a:lnTo>
                  <a:lnTo>
                    <a:pt x="4230" y="467"/>
                  </a:lnTo>
                  <a:lnTo>
                    <a:pt x="4209" y="446"/>
                  </a:lnTo>
                  <a:lnTo>
                    <a:pt x="4182" y="431"/>
                  </a:lnTo>
                  <a:lnTo>
                    <a:pt x="4151" y="427"/>
                  </a:lnTo>
                  <a:lnTo>
                    <a:pt x="3816" y="427"/>
                  </a:lnTo>
                  <a:lnTo>
                    <a:pt x="3751" y="388"/>
                  </a:lnTo>
                  <a:lnTo>
                    <a:pt x="3680" y="360"/>
                  </a:lnTo>
                  <a:lnTo>
                    <a:pt x="3605" y="342"/>
                  </a:lnTo>
                  <a:lnTo>
                    <a:pt x="3528" y="336"/>
                  </a:lnTo>
                  <a:lnTo>
                    <a:pt x="3466" y="340"/>
                  </a:lnTo>
                  <a:lnTo>
                    <a:pt x="3407" y="350"/>
                  </a:lnTo>
                  <a:lnTo>
                    <a:pt x="3349" y="367"/>
                  </a:lnTo>
                  <a:lnTo>
                    <a:pt x="3293" y="392"/>
                  </a:lnTo>
                  <a:lnTo>
                    <a:pt x="3284" y="323"/>
                  </a:lnTo>
                  <a:lnTo>
                    <a:pt x="3266" y="259"/>
                  </a:lnTo>
                  <a:lnTo>
                    <a:pt x="3243" y="198"/>
                  </a:lnTo>
                  <a:lnTo>
                    <a:pt x="3210" y="142"/>
                  </a:lnTo>
                  <a:lnTo>
                    <a:pt x="3172" y="88"/>
                  </a:lnTo>
                  <a:lnTo>
                    <a:pt x="3126" y="42"/>
                  </a:lnTo>
                  <a:lnTo>
                    <a:pt x="30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9" name="Freeform 143"/>
            <p:cNvSpPr>
              <a:spLocks noEditPoints="1"/>
            </p:cNvSpPr>
            <p:nvPr/>
          </p:nvSpPr>
          <p:spPr bwMode="auto">
            <a:xfrm>
              <a:off x="5768" y="1785"/>
              <a:ext cx="1478" cy="1529"/>
            </a:xfrm>
            <a:custGeom>
              <a:avLst/>
              <a:gdLst>
                <a:gd name="T0" fmla="*/ 1291 w 2954"/>
                <a:gd name="T1" fmla="*/ 795 h 3060"/>
                <a:gd name="T2" fmla="*/ 1044 w 2954"/>
                <a:gd name="T3" fmla="*/ 909 h 3060"/>
                <a:gd name="T4" fmla="*/ 856 w 2954"/>
                <a:gd name="T5" fmla="*/ 1098 h 3060"/>
                <a:gd name="T6" fmla="*/ 744 w 2954"/>
                <a:gd name="T7" fmla="*/ 1344 h 3060"/>
                <a:gd name="T8" fmla="*/ 727 w 2954"/>
                <a:gd name="T9" fmla="*/ 1625 h 3060"/>
                <a:gd name="T10" fmla="*/ 810 w 2954"/>
                <a:gd name="T11" fmla="*/ 1887 h 3060"/>
                <a:gd name="T12" fmla="*/ 975 w 2954"/>
                <a:gd name="T13" fmla="*/ 2097 h 3060"/>
                <a:gd name="T14" fmla="*/ 1204 w 2954"/>
                <a:gd name="T15" fmla="*/ 2237 h 3060"/>
                <a:gd name="T16" fmla="*/ 1477 w 2954"/>
                <a:gd name="T17" fmla="*/ 2288 h 3060"/>
                <a:gd name="T18" fmla="*/ 1750 w 2954"/>
                <a:gd name="T19" fmla="*/ 2237 h 3060"/>
                <a:gd name="T20" fmla="*/ 1979 w 2954"/>
                <a:gd name="T21" fmla="*/ 2097 h 3060"/>
                <a:gd name="T22" fmla="*/ 2145 w 2954"/>
                <a:gd name="T23" fmla="*/ 1887 h 3060"/>
                <a:gd name="T24" fmla="*/ 2227 w 2954"/>
                <a:gd name="T25" fmla="*/ 1625 h 3060"/>
                <a:gd name="T26" fmla="*/ 2210 w 2954"/>
                <a:gd name="T27" fmla="*/ 1344 h 3060"/>
                <a:gd name="T28" fmla="*/ 2098 w 2954"/>
                <a:gd name="T29" fmla="*/ 1098 h 3060"/>
                <a:gd name="T30" fmla="*/ 1910 w 2954"/>
                <a:gd name="T31" fmla="*/ 909 h 3060"/>
                <a:gd name="T32" fmla="*/ 1664 w 2954"/>
                <a:gd name="T33" fmla="*/ 795 h 3060"/>
                <a:gd name="T34" fmla="*/ 1223 w 2954"/>
                <a:gd name="T35" fmla="*/ 0 h 3060"/>
                <a:gd name="T36" fmla="*/ 1821 w 2954"/>
                <a:gd name="T37" fmla="*/ 21 h 3060"/>
                <a:gd name="T38" fmla="*/ 1918 w 2954"/>
                <a:gd name="T39" fmla="*/ 118 h 3060"/>
                <a:gd name="T40" fmla="*/ 1939 w 2954"/>
                <a:gd name="T41" fmla="*/ 426 h 3060"/>
                <a:gd name="T42" fmla="*/ 2137 w 2954"/>
                <a:gd name="T43" fmla="*/ 535 h 3060"/>
                <a:gd name="T44" fmla="*/ 2422 w 2954"/>
                <a:gd name="T45" fmla="*/ 455 h 3060"/>
                <a:gd name="T46" fmla="*/ 2535 w 2954"/>
                <a:gd name="T47" fmla="*/ 445 h 3060"/>
                <a:gd name="T48" fmla="*/ 2647 w 2954"/>
                <a:gd name="T49" fmla="*/ 508 h 3060"/>
                <a:gd name="T50" fmla="*/ 2945 w 2954"/>
                <a:gd name="T51" fmla="*/ 1023 h 3060"/>
                <a:gd name="T52" fmla="*/ 2949 w 2954"/>
                <a:gd name="T53" fmla="*/ 1144 h 3060"/>
                <a:gd name="T54" fmla="*/ 2885 w 2954"/>
                <a:gd name="T55" fmla="*/ 1246 h 3060"/>
                <a:gd name="T56" fmla="*/ 2666 w 2954"/>
                <a:gd name="T57" fmla="*/ 1431 h 3060"/>
                <a:gd name="T58" fmla="*/ 2672 w 2954"/>
                <a:gd name="T59" fmla="*/ 1581 h 3060"/>
                <a:gd name="T60" fmla="*/ 2851 w 2954"/>
                <a:gd name="T61" fmla="*/ 1791 h 3060"/>
                <a:gd name="T62" fmla="*/ 2933 w 2954"/>
                <a:gd name="T63" fmla="*/ 1879 h 3060"/>
                <a:gd name="T64" fmla="*/ 2954 w 2954"/>
                <a:gd name="T65" fmla="*/ 1997 h 3060"/>
                <a:gd name="T66" fmla="*/ 2674 w 2954"/>
                <a:gd name="T67" fmla="*/ 2515 h 3060"/>
                <a:gd name="T68" fmla="*/ 2585 w 2954"/>
                <a:gd name="T69" fmla="*/ 2597 h 3060"/>
                <a:gd name="T70" fmla="*/ 2458 w 2954"/>
                <a:gd name="T71" fmla="*/ 2617 h 3060"/>
                <a:gd name="T72" fmla="*/ 2199 w 2954"/>
                <a:gd name="T73" fmla="*/ 2482 h 3060"/>
                <a:gd name="T74" fmla="*/ 2008 w 2954"/>
                <a:gd name="T75" fmla="*/ 2603 h 3060"/>
                <a:gd name="T76" fmla="*/ 1933 w 2954"/>
                <a:gd name="T77" fmla="*/ 2898 h 3060"/>
                <a:gd name="T78" fmla="*/ 1862 w 2954"/>
                <a:gd name="T79" fmla="*/ 3013 h 3060"/>
                <a:gd name="T80" fmla="*/ 1731 w 2954"/>
                <a:gd name="T81" fmla="*/ 3060 h 3060"/>
                <a:gd name="T82" fmla="*/ 1133 w 2954"/>
                <a:gd name="T83" fmla="*/ 3038 h 3060"/>
                <a:gd name="T84" fmla="*/ 1037 w 2954"/>
                <a:gd name="T85" fmla="*/ 2942 h 3060"/>
                <a:gd name="T86" fmla="*/ 1015 w 2954"/>
                <a:gd name="T87" fmla="*/ 2636 h 3060"/>
                <a:gd name="T88" fmla="*/ 817 w 2954"/>
                <a:gd name="T89" fmla="*/ 2526 h 3060"/>
                <a:gd name="T90" fmla="*/ 542 w 2954"/>
                <a:gd name="T91" fmla="*/ 2534 h 3060"/>
                <a:gd name="T92" fmla="*/ 583 w 2954"/>
                <a:gd name="T93" fmla="*/ 2388 h 3060"/>
                <a:gd name="T94" fmla="*/ 646 w 2954"/>
                <a:gd name="T95" fmla="*/ 2205 h 3060"/>
                <a:gd name="T96" fmla="*/ 635 w 2954"/>
                <a:gd name="T97" fmla="*/ 2016 h 3060"/>
                <a:gd name="T98" fmla="*/ 385 w 2954"/>
                <a:gd name="T99" fmla="*/ 1548 h 3060"/>
                <a:gd name="T100" fmla="*/ 288 w 2954"/>
                <a:gd name="T101" fmla="*/ 1433 h 3060"/>
                <a:gd name="T102" fmla="*/ 69 w 2954"/>
                <a:gd name="T103" fmla="*/ 1246 h 3060"/>
                <a:gd name="T104" fmla="*/ 6 w 2954"/>
                <a:gd name="T105" fmla="*/ 1144 h 3060"/>
                <a:gd name="T106" fmla="*/ 9 w 2954"/>
                <a:gd name="T107" fmla="*/ 1024 h 3060"/>
                <a:gd name="T108" fmla="*/ 306 w 2954"/>
                <a:gd name="T109" fmla="*/ 512 h 3060"/>
                <a:gd name="T110" fmla="*/ 408 w 2954"/>
                <a:gd name="T111" fmla="*/ 449 h 3060"/>
                <a:gd name="T112" fmla="*/ 498 w 2954"/>
                <a:gd name="T113" fmla="*/ 445 h 3060"/>
                <a:gd name="T114" fmla="*/ 756 w 2954"/>
                <a:gd name="T115" fmla="*/ 580 h 3060"/>
                <a:gd name="T116" fmla="*/ 946 w 2954"/>
                <a:gd name="T117" fmla="*/ 457 h 3060"/>
                <a:gd name="T118" fmla="*/ 1021 w 2954"/>
                <a:gd name="T119" fmla="*/ 162 h 3060"/>
                <a:gd name="T120" fmla="*/ 1092 w 2954"/>
                <a:gd name="T121" fmla="*/ 46 h 3060"/>
                <a:gd name="T122" fmla="*/ 1223 w 2954"/>
                <a:gd name="T123" fmla="*/ 0 h 3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54" h="3060">
                  <a:moveTo>
                    <a:pt x="1477" y="772"/>
                  </a:moveTo>
                  <a:lnTo>
                    <a:pt x="1383" y="778"/>
                  </a:lnTo>
                  <a:lnTo>
                    <a:pt x="1291" y="795"/>
                  </a:lnTo>
                  <a:lnTo>
                    <a:pt x="1204" y="824"/>
                  </a:lnTo>
                  <a:lnTo>
                    <a:pt x="1121" y="861"/>
                  </a:lnTo>
                  <a:lnTo>
                    <a:pt x="1044" y="909"/>
                  </a:lnTo>
                  <a:lnTo>
                    <a:pt x="975" y="963"/>
                  </a:lnTo>
                  <a:lnTo>
                    <a:pt x="912" y="1026"/>
                  </a:lnTo>
                  <a:lnTo>
                    <a:pt x="856" y="1098"/>
                  </a:lnTo>
                  <a:lnTo>
                    <a:pt x="810" y="1175"/>
                  </a:lnTo>
                  <a:lnTo>
                    <a:pt x="771" y="1257"/>
                  </a:lnTo>
                  <a:lnTo>
                    <a:pt x="744" y="1344"/>
                  </a:lnTo>
                  <a:lnTo>
                    <a:pt x="727" y="1435"/>
                  </a:lnTo>
                  <a:lnTo>
                    <a:pt x="721" y="1531"/>
                  </a:lnTo>
                  <a:lnTo>
                    <a:pt x="727" y="1625"/>
                  </a:lnTo>
                  <a:lnTo>
                    <a:pt x="744" y="1716"/>
                  </a:lnTo>
                  <a:lnTo>
                    <a:pt x="771" y="1804"/>
                  </a:lnTo>
                  <a:lnTo>
                    <a:pt x="810" y="1887"/>
                  </a:lnTo>
                  <a:lnTo>
                    <a:pt x="856" y="1962"/>
                  </a:lnTo>
                  <a:lnTo>
                    <a:pt x="912" y="2033"/>
                  </a:lnTo>
                  <a:lnTo>
                    <a:pt x="975" y="2097"/>
                  </a:lnTo>
                  <a:lnTo>
                    <a:pt x="1044" y="2153"/>
                  </a:lnTo>
                  <a:lnTo>
                    <a:pt x="1121" y="2199"/>
                  </a:lnTo>
                  <a:lnTo>
                    <a:pt x="1204" y="2237"/>
                  </a:lnTo>
                  <a:lnTo>
                    <a:pt x="1291" y="2264"/>
                  </a:lnTo>
                  <a:lnTo>
                    <a:pt x="1383" y="2282"/>
                  </a:lnTo>
                  <a:lnTo>
                    <a:pt x="1477" y="2288"/>
                  </a:lnTo>
                  <a:lnTo>
                    <a:pt x="1571" y="2282"/>
                  </a:lnTo>
                  <a:lnTo>
                    <a:pt x="1664" y="2264"/>
                  </a:lnTo>
                  <a:lnTo>
                    <a:pt x="1750" y="2237"/>
                  </a:lnTo>
                  <a:lnTo>
                    <a:pt x="1833" y="2199"/>
                  </a:lnTo>
                  <a:lnTo>
                    <a:pt x="1910" y="2153"/>
                  </a:lnTo>
                  <a:lnTo>
                    <a:pt x="1979" y="2097"/>
                  </a:lnTo>
                  <a:lnTo>
                    <a:pt x="2043" y="2033"/>
                  </a:lnTo>
                  <a:lnTo>
                    <a:pt x="2098" y="1962"/>
                  </a:lnTo>
                  <a:lnTo>
                    <a:pt x="2145" y="1887"/>
                  </a:lnTo>
                  <a:lnTo>
                    <a:pt x="2183" y="1804"/>
                  </a:lnTo>
                  <a:lnTo>
                    <a:pt x="2210" y="1716"/>
                  </a:lnTo>
                  <a:lnTo>
                    <a:pt x="2227" y="1625"/>
                  </a:lnTo>
                  <a:lnTo>
                    <a:pt x="2235" y="1531"/>
                  </a:lnTo>
                  <a:lnTo>
                    <a:pt x="2227" y="1435"/>
                  </a:lnTo>
                  <a:lnTo>
                    <a:pt x="2210" y="1344"/>
                  </a:lnTo>
                  <a:lnTo>
                    <a:pt x="2183" y="1257"/>
                  </a:lnTo>
                  <a:lnTo>
                    <a:pt x="2145" y="1175"/>
                  </a:lnTo>
                  <a:lnTo>
                    <a:pt x="2098" y="1098"/>
                  </a:lnTo>
                  <a:lnTo>
                    <a:pt x="2043" y="1026"/>
                  </a:lnTo>
                  <a:lnTo>
                    <a:pt x="1979" y="963"/>
                  </a:lnTo>
                  <a:lnTo>
                    <a:pt x="1910" y="909"/>
                  </a:lnTo>
                  <a:lnTo>
                    <a:pt x="1833" y="861"/>
                  </a:lnTo>
                  <a:lnTo>
                    <a:pt x="1750" y="824"/>
                  </a:lnTo>
                  <a:lnTo>
                    <a:pt x="1664" y="795"/>
                  </a:lnTo>
                  <a:lnTo>
                    <a:pt x="1571" y="778"/>
                  </a:lnTo>
                  <a:lnTo>
                    <a:pt x="1477" y="772"/>
                  </a:lnTo>
                  <a:close/>
                  <a:moveTo>
                    <a:pt x="1223" y="0"/>
                  </a:moveTo>
                  <a:lnTo>
                    <a:pt x="1731" y="0"/>
                  </a:lnTo>
                  <a:lnTo>
                    <a:pt x="1779" y="6"/>
                  </a:lnTo>
                  <a:lnTo>
                    <a:pt x="1821" y="21"/>
                  </a:lnTo>
                  <a:lnTo>
                    <a:pt x="1862" y="46"/>
                  </a:lnTo>
                  <a:lnTo>
                    <a:pt x="1893" y="79"/>
                  </a:lnTo>
                  <a:lnTo>
                    <a:pt x="1918" y="118"/>
                  </a:lnTo>
                  <a:lnTo>
                    <a:pt x="1933" y="162"/>
                  </a:lnTo>
                  <a:lnTo>
                    <a:pt x="1939" y="210"/>
                  </a:lnTo>
                  <a:lnTo>
                    <a:pt x="1939" y="426"/>
                  </a:lnTo>
                  <a:lnTo>
                    <a:pt x="2008" y="457"/>
                  </a:lnTo>
                  <a:lnTo>
                    <a:pt x="2073" y="493"/>
                  </a:lnTo>
                  <a:lnTo>
                    <a:pt x="2137" y="535"/>
                  </a:lnTo>
                  <a:lnTo>
                    <a:pt x="2199" y="580"/>
                  </a:lnTo>
                  <a:lnTo>
                    <a:pt x="2389" y="470"/>
                  </a:lnTo>
                  <a:lnTo>
                    <a:pt x="2422" y="455"/>
                  </a:lnTo>
                  <a:lnTo>
                    <a:pt x="2458" y="445"/>
                  </a:lnTo>
                  <a:lnTo>
                    <a:pt x="2493" y="441"/>
                  </a:lnTo>
                  <a:lnTo>
                    <a:pt x="2535" y="445"/>
                  </a:lnTo>
                  <a:lnTo>
                    <a:pt x="2577" y="458"/>
                  </a:lnTo>
                  <a:lnTo>
                    <a:pt x="2614" y="480"/>
                  </a:lnTo>
                  <a:lnTo>
                    <a:pt x="2647" y="508"/>
                  </a:lnTo>
                  <a:lnTo>
                    <a:pt x="2674" y="545"/>
                  </a:lnTo>
                  <a:lnTo>
                    <a:pt x="2928" y="986"/>
                  </a:lnTo>
                  <a:lnTo>
                    <a:pt x="2945" y="1023"/>
                  </a:lnTo>
                  <a:lnTo>
                    <a:pt x="2953" y="1063"/>
                  </a:lnTo>
                  <a:lnTo>
                    <a:pt x="2954" y="1103"/>
                  </a:lnTo>
                  <a:lnTo>
                    <a:pt x="2949" y="1144"/>
                  </a:lnTo>
                  <a:lnTo>
                    <a:pt x="2933" y="1182"/>
                  </a:lnTo>
                  <a:lnTo>
                    <a:pt x="2912" y="1217"/>
                  </a:lnTo>
                  <a:lnTo>
                    <a:pt x="2885" y="1246"/>
                  </a:lnTo>
                  <a:lnTo>
                    <a:pt x="2851" y="1271"/>
                  </a:lnTo>
                  <a:lnTo>
                    <a:pt x="2660" y="1381"/>
                  </a:lnTo>
                  <a:lnTo>
                    <a:pt x="2666" y="1431"/>
                  </a:lnTo>
                  <a:lnTo>
                    <a:pt x="2672" y="1481"/>
                  </a:lnTo>
                  <a:lnTo>
                    <a:pt x="2676" y="1531"/>
                  </a:lnTo>
                  <a:lnTo>
                    <a:pt x="2672" y="1581"/>
                  </a:lnTo>
                  <a:lnTo>
                    <a:pt x="2666" y="1629"/>
                  </a:lnTo>
                  <a:lnTo>
                    <a:pt x="2660" y="1679"/>
                  </a:lnTo>
                  <a:lnTo>
                    <a:pt x="2851" y="1791"/>
                  </a:lnTo>
                  <a:lnTo>
                    <a:pt x="2885" y="1814"/>
                  </a:lnTo>
                  <a:lnTo>
                    <a:pt x="2912" y="1845"/>
                  </a:lnTo>
                  <a:lnTo>
                    <a:pt x="2933" y="1879"/>
                  </a:lnTo>
                  <a:lnTo>
                    <a:pt x="2949" y="1916"/>
                  </a:lnTo>
                  <a:lnTo>
                    <a:pt x="2954" y="1956"/>
                  </a:lnTo>
                  <a:lnTo>
                    <a:pt x="2954" y="1997"/>
                  </a:lnTo>
                  <a:lnTo>
                    <a:pt x="2945" y="2037"/>
                  </a:lnTo>
                  <a:lnTo>
                    <a:pt x="2928" y="2076"/>
                  </a:lnTo>
                  <a:lnTo>
                    <a:pt x="2674" y="2515"/>
                  </a:lnTo>
                  <a:lnTo>
                    <a:pt x="2651" y="2547"/>
                  </a:lnTo>
                  <a:lnTo>
                    <a:pt x="2620" y="2576"/>
                  </a:lnTo>
                  <a:lnTo>
                    <a:pt x="2585" y="2597"/>
                  </a:lnTo>
                  <a:lnTo>
                    <a:pt x="2547" y="2613"/>
                  </a:lnTo>
                  <a:lnTo>
                    <a:pt x="2493" y="2619"/>
                  </a:lnTo>
                  <a:lnTo>
                    <a:pt x="2458" y="2617"/>
                  </a:lnTo>
                  <a:lnTo>
                    <a:pt x="2422" y="2607"/>
                  </a:lnTo>
                  <a:lnTo>
                    <a:pt x="2389" y="2592"/>
                  </a:lnTo>
                  <a:lnTo>
                    <a:pt x="2199" y="2482"/>
                  </a:lnTo>
                  <a:lnTo>
                    <a:pt x="2137" y="2526"/>
                  </a:lnTo>
                  <a:lnTo>
                    <a:pt x="2073" y="2567"/>
                  </a:lnTo>
                  <a:lnTo>
                    <a:pt x="2008" y="2603"/>
                  </a:lnTo>
                  <a:lnTo>
                    <a:pt x="1939" y="2636"/>
                  </a:lnTo>
                  <a:lnTo>
                    <a:pt x="1939" y="2852"/>
                  </a:lnTo>
                  <a:lnTo>
                    <a:pt x="1933" y="2898"/>
                  </a:lnTo>
                  <a:lnTo>
                    <a:pt x="1918" y="2942"/>
                  </a:lnTo>
                  <a:lnTo>
                    <a:pt x="1893" y="2981"/>
                  </a:lnTo>
                  <a:lnTo>
                    <a:pt x="1862" y="3013"/>
                  </a:lnTo>
                  <a:lnTo>
                    <a:pt x="1821" y="3038"/>
                  </a:lnTo>
                  <a:lnTo>
                    <a:pt x="1779" y="3054"/>
                  </a:lnTo>
                  <a:lnTo>
                    <a:pt x="1731" y="3060"/>
                  </a:lnTo>
                  <a:lnTo>
                    <a:pt x="1223" y="3060"/>
                  </a:lnTo>
                  <a:lnTo>
                    <a:pt x="1175" y="3054"/>
                  </a:lnTo>
                  <a:lnTo>
                    <a:pt x="1133" y="3038"/>
                  </a:lnTo>
                  <a:lnTo>
                    <a:pt x="1092" y="3013"/>
                  </a:lnTo>
                  <a:lnTo>
                    <a:pt x="1062" y="2981"/>
                  </a:lnTo>
                  <a:lnTo>
                    <a:pt x="1037" y="2942"/>
                  </a:lnTo>
                  <a:lnTo>
                    <a:pt x="1021" y="2898"/>
                  </a:lnTo>
                  <a:lnTo>
                    <a:pt x="1015" y="2852"/>
                  </a:lnTo>
                  <a:lnTo>
                    <a:pt x="1015" y="2636"/>
                  </a:lnTo>
                  <a:lnTo>
                    <a:pt x="946" y="2603"/>
                  </a:lnTo>
                  <a:lnTo>
                    <a:pt x="881" y="2567"/>
                  </a:lnTo>
                  <a:lnTo>
                    <a:pt x="817" y="2526"/>
                  </a:lnTo>
                  <a:lnTo>
                    <a:pt x="756" y="2482"/>
                  </a:lnTo>
                  <a:lnTo>
                    <a:pt x="577" y="2584"/>
                  </a:lnTo>
                  <a:lnTo>
                    <a:pt x="542" y="2534"/>
                  </a:lnTo>
                  <a:lnTo>
                    <a:pt x="502" y="2490"/>
                  </a:lnTo>
                  <a:lnTo>
                    <a:pt x="546" y="2442"/>
                  </a:lnTo>
                  <a:lnTo>
                    <a:pt x="583" y="2388"/>
                  </a:lnTo>
                  <a:lnTo>
                    <a:pt x="613" y="2330"/>
                  </a:lnTo>
                  <a:lnTo>
                    <a:pt x="635" y="2268"/>
                  </a:lnTo>
                  <a:lnTo>
                    <a:pt x="646" y="2205"/>
                  </a:lnTo>
                  <a:lnTo>
                    <a:pt x="652" y="2141"/>
                  </a:lnTo>
                  <a:lnTo>
                    <a:pt x="648" y="2078"/>
                  </a:lnTo>
                  <a:lnTo>
                    <a:pt x="635" y="2016"/>
                  </a:lnTo>
                  <a:lnTo>
                    <a:pt x="615" y="1956"/>
                  </a:lnTo>
                  <a:lnTo>
                    <a:pt x="586" y="1899"/>
                  </a:lnTo>
                  <a:lnTo>
                    <a:pt x="385" y="1548"/>
                  </a:lnTo>
                  <a:lnTo>
                    <a:pt x="358" y="1506"/>
                  </a:lnTo>
                  <a:lnTo>
                    <a:pt x="325" y="1467"/>
                  </a:lnTo>
                  <a:lnTo>
                    <a:pt x="288" y="1433"/>
                  </a:lnTo>
                  <a:lnTo>
                    <a:pt x="294" y="1381"/>
                  </a:lnTo>
                  <a:lnTo>
                    <a:pt x="104" y="1271"/>
                  </a:lnTo>
                  <a:lnTo>
                    <a:pt x="69" y="1246"/>
                  </a:lnTo>
                  <a:lnTo>
                    <a:pt x="42" y="1215"/>
                  </a:lnTo>
                  <a:lnTo>
                    <a:pt x="21" y="1180"/>
                  </a:lnTo>
                  <a:lnTo>
                    <a:pt x="6" y="1144"/>
                  </a:lnTo>
                  <a:lnTo>
                    <a:pt x="0" y="1103"/>
                  </a:lnTo>
                  <a:lnTo>
                    <a:pt x="0" y="1063"/>
                  </a:lnTo>
                  <a:lnTo>
                    <a:pt x="9" y="1024"/>
                  </a:lnTo>
                  <a:lnTo>
                    <a:pt x="27" y="986"/>
                  </a:lnTo>
                  <a:lnTo>
                    <a:pt x="281" y="545"/>
                  </a:lnTo>
                  <a:lnTo>
                    <a:pt x="306" y="512"/>
                  </a:lnTo>
                  <a:lnTo>
                    <a:pt x="334" y="485"/>
                  </a:lnTo>
                  <a:lnTo>
                    <a:pt x="369" y="462"/>
                  </a:lnTo>
                  <a:lnTo>
                    <a:pt x="408" y="449"/>
                  </a:lnTo>
                  <a:lnTo>
                    <a:pt x="435" y="443"/>
                  </a:lnTo>
                  <a:lnTo>
                    <a:pt x="461" y="441"/>
                  </a:lnTo>
                  <a:lnTo>
                    <a:pt x="498" y="445"/>
                  </a:lnTo>
                  <a:lnTo>
                    <a:pt x="533" y="455"/>
                  </a:lnTo>
                  <a:lnTo>
                    <a:pt x="565" y="470"/>
                  </a:lnTo>
                  <a:lnTo>
                    <a:pt x="756" y="580"/>
                  </a:lnTo>
                  <a:lnTo>
                    <a:pt x="817" y="535"/>
                  </a:lnTo>
                  <a:lnTo>
                    <a:pt x="881" y="493"/>
                  </a:lnTo>
                  <a:lnTo>
                    <a:pt x="946" y="457"/>
                  </a:lnTo>
                  <a:lnTo>
                    <a:pt x="1015" y="426"/>
                  </a:lnTo>
                  <a:lnTo>
                    <a:pt x="1015" y="210"/>
                  </a:lnTo>
                  <a:lnTo>
                    <a:pt x="1021" y="162"/>
                  </a:lnTo>
                  <a:lnTo>
                    <a:pt x="1037" y="118"/>
                  </a:lnTo>
                  <a:lnTo>
                    <a:pt x="1062" y="79"/>
                  </a:lnTo>
                  <a:lnTo>
                    <a:pt x="1092" y="46"/>
                  </a:lnTo>
                  <a:lnTo>
                    <a:pt x="1133" y="21"/>
                  </a:lnTo>
                  <a:lnTo>
                    <a:pt x="1175" y="6"/>
                  </a:lnTo>
                  <a:lnTo>
                    <a:pt x="122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0" name="Freeform 144"/>
            <p:cNvSpPr>
              <a:spLocks noEditPoints="1"/>
            </p:cNvSpPr>
            <p:nvPr/>
          </p:nvSpPr>
          <p:spPr bwMode="auto">
            <a:xfrm>
              <a:off x="4761" y="2423"/>
              <a:ext cx="1173" cy="1214"/>
            </a:xfrm>
            <a:custGeom>
              <a:avLst/>
              <a:gdLst>
                <a:gd name="T0" fmla="*/ 1027 w 2345"/>
                <a:gd name="T1" fmla="*/ 779 h 2428"/>
                <a:gd name="T2" fmla="*/ 850 w 2345"/>
                <a:gd name="T3" fmla="*/ 889 h 2428"/>
                <a:gd name="T4" fmla="*/ 738 w 2345"/>
                <a:gd name="T5" fmla="*/ 1068 h 2428"/>
                <a:gd name="T6" fmla="*/ 721 w 2345"/>
                <a:gd name="T7" fmla="*/ 1288 h 2428"/>
                <a:gd name="T8" fmla="*/ 804 w 2345"/>
                <a:gd name="T9" fmla="*/ 1482 h 2428"/>
                <a:gd name="T10" fmla="*/ 962 w 2345"/>
                <a:gd name="T11" fmla="*/ 1619 h 2428"/>
                <a:gd name="T12" fmla="*/ 1171 w 2345"/>
                <a:gd name="T13" fmla="*/ 1669 h 2428"/>
                <a:gd name="T14" fmla="*/ 1383 w 2345"/>
                <a:gd name="T15" fmla="*/ 1619 h 2428"/>
                <a:gd name="T16" fmla="*/ 1541 w 2345"/>
                <a:gd name="T17" fmla="*/ 1482 h 2428"/>
                <a:gd name="T18" fmla="*/ 1623 w 2345"/>
                <a:gd name="T19" fmla="*/ 1288 h 2428"/>
                <a:gd name="T20" fmla="*/ 1606 w 2345"/>
                <a:gd name="T21" fmla="*/ 1068 h 2428"/>
                <a:gd name="T22" fmla="*/ 1496 w 2345"/>
                <a:gd name="T23" fmla="*/ 889 h 2428"/>
                <a:gd name="T24" fmla="*/ 1317 w 2345"/>
                <a:gd name="T25" fmla="*/ 779 h 2428"/>
                <a:gd name="T26" fmla="*/ 971 w 2345"/>
                <a:gd name="T27" fmla="*/ 0 h 2428"/>
                <a:gd name="T28" fmla="*/ 1458 w 2345"/>
                <a:gd name="T29" fmla="*/ 21 h 2428"/>
                <a:gd name="T30" fmla="*/ 1533 w 2345"/>
                <a:gd name="T31" fmla="*/ 121 h 2428"/>
                <a:gd name="T32" fmla="*/ 1612 w 2345"/>
                <a:gd name="T33" fmla="*/ 369 h 2428"/>
                <a:gd name="T34" fmla="*/ 1896 w 2345"/>
                <a:gd name="T35" fmla="*/ 371 h 2428"/>
                <a:gd name="T36" fmla="*/ 2012 w 2345"/>
                <a:gd name="T37" fmla="*/ 352 h 2428"/>
                <a:gd name="T38" fmla="*/ 2100 w 2345"/>
                <a:gd name="T39" fmla="*/ 402 h 2428"/>
                <a:gd name="T40" fmla="*/ 2339 w 2345"/>
                <a:gd name="T41" fmla="*/ 820 h 2428"/>
                <a:gd name="T42" fmla="*/ 2327 w 2345"/>
                <a:gd name="T43" fmla="*/ 937 h 2428"/>
                <a:gd name="T44" fmla="*/ 2262 w 2345"/>
                <a:gd name="T45" fmla="*/ 1007 h 2428"/>
                <a:gd name="T46" fmla="*/ 2122 w 2345"/>
                <a:gd name="T47" fmla="*/ 1213 h 2428"/>
                <a:gd name="T48" fmla="*/ 2262 w 2345"/>
                <a:gd name="T49" fmla="*/ 1419 h 2428"/>
                <a:gd name="T50" fmla="*/ 2335 w 2345"/>
                <a:gd name="T51" fmla="*/ 1501 h 2428"/>
                <a:gd name="T52" fmla="*/ 2339 w 2345"/>
                <a:gd name="T53" fmla="*/ 1609 h 2428"/>
                <a:gd name="T54" fmla="*/ 2102 w 2345"/>
                <a:gd name="T55" fmla="*/ 2021 h 2428"/>
                <a:gd name="T56" fmla="*/ 2021 w 2345"/>
                <a:gd name="T57" fmla="*/ 2071 h 2428"/>
                <a:gd name="T58" fmla="*/ 1921 w 2345"/>
                <a:gd name="T59" fmla="*/ 2068 h 2428"/>
                <a:gd name="T60" fmla="*/ 1679 w 2345"/>
                <a:gd name="T61" fmla="*/ 2014 h 2428"/>
                <a:gd name="T62" fmla="*/ 1539 w 2345"/>
                <a:gd name="T63" fmla="*/ 2260 h 2428"/>
                <a:gd name="T64" fmla="*/ 1491 w 2345"/>
                <a:gd name="T65" fmla="*/ 2378 h 2428"/>
                <a:gd name="T66" fmla="*/ 1373 w 2345"/>
                <a:gd name="T67" fmla="*/ 2428 h 2428"/>
                <a:gd name="T68" fmla="*/ 887 w 2345"/>
                <a:gd name="T69" fmla="*/ 2404 h 2428"/>
                <a:gd name="T70" fmla="*/ 812 w 2345"/>
                <a:gd name="T71" fmla="*/ 2304 h 2428"/>
                <a:gd name="T72" fmla="*/ 733 w 2345"/>
                <a:gd name="T73" fmla="*/ 2056 h 2428"/>
                <a:gd name="T74" fmla="*/ 448 w 2345"/>
                <a:gd name="T75" fmla="*/ 2054 h 2428"/>
                <a:gd name="T76" fmla="*/ 323 w 2345"/>
                <a:gd name="T77" fmla="*/ 2071 h 2428"/>
                <a:gd name="T78" fmla="*/ 242 w 2345"/>
                <a:gd name="T79" fmla="*/ 2021 h 2428"/>
                <a:gd name="T80" fmla="*/ 6 w 2345"/>
                <a:gd name="T81" fmla="*/ 1609 h 2428"/>
                <a:gd name="T82" fmla="*/ 11 w 2345"/>
                <a:gd name="T83" fmla="*/ 1501 h 2428"/>
                <a:gd name="T84" fmla="*/ 82 w 2345"/>
                <a:gd name="T85" fmla="*/ 1419 h 2428"/>
                <a:gd name="T86" fmla="*/ 223 w 2345"/>
                <a:gd name="T87" fmla="*/ 1213 h 2428"/>
                <a:gd name="T88" fmla="*/ 82 w 2345"/>
                <a:gd name="T89" fmla="*/ 1007 h 2428"/>
                <a:gd name="T90" fmla="*/ 11 w 2345"/>
                <a:gd name="T91" fmla="*/ 924 h 2428"/>
                <a:gd name="T92" fmla="*/ 6 w 2345"/>
                <a:gd name="T93" fmla="*/ 816 h 2428"/>
                <a:gd name="T94" fmla="*/ 242 w 2345"/>
                <a:gd name="T95" fmla="*/ 404 h 2428"/>
                <a:gd name="T96" fmla="*/ 323 w 2345"/>
                <a:gd name="T97" fmla="*/ 354 h 2428"/>
                <a:gd name="T98" fmla="*/ 423 w 2345"/>
                <a:gd name="T99" fmla="*/ 358 h 2428"/>
                <a:gd name="T100" fmla="*/ 665 w 2345"/>
                <a:gd name="T101" fmla="*/ 412 h 2428"/>
                <a:gd name="T102" fmla="*/ 806 w 2345"/>
                <a:gd name="T103" fmla="*/ 165 h 2428"/>
                <a:gd name="T104" fmla="*/ 854 w 2345"/>
                <a:gd name="T105" fmla="*/ 48 h 2428"/>
                <a:gd name="T106" fmla="*/ 971 w 2345"/>
                <a:gd name="T107" fmla="*/ 0 h 2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45" h="2428">
                  <a:moveTo>
                    <a:pt x="1171" y="756"/>
                  </a:moveTo>
                  <a:lnTo>
                    <a:pt x="1098" y="762"/>
                  </a:lnTo>
                  <a:lnTo>
                    <a:pt x="1027" y="779"/>
                  </a:lnTo>
                  <a:lnTo>
                    <a:pt x="962" y="806"/>
                  </a:lnTo>
                  <a:lnTo>
                    <a:pt x="902" y="843"/>
                  </a:lnTo>
                  <a:lnTo>
                    <a:pt x="850" y="889"/>
                  </a:lnTo>
                  <a:lnTo>
                    <a:pt x="804" y="943"/>
                  </a:lnTo>
                  <a:lnTo>
                    <a:pt x="767" y="1003"/>
                  </a:lnTo>
                  <a:lnTo>
                    <a:pt x="738" y="1068"/>
                  </a:lnTo>
                  <a:lnTo>
                    <a:pt x="721" y="1140"/>
                  </a:lnTo>
                  <a:lnTo>
                    <a:pt x="715" y="1213"/>
                  </a:lnTo>
                  <a:lnTo>
                    <a:pt x="721" y="1288"/>
                  </a:lnTo>
                  <a:lnTo>
                    <a:pt x="738" y="1357"/>
                  </a:lnTo>
                  <a:lnTo>
                    <a:pt x="767" y="1423"/>
                  </a:lnTo>
                  <a:lnTo>
                    <a:pt x="804" y="1482"/>
                  </a:lnTo>
                  <a:lnTo>
                    <a:pt x="850" y="1536"/>
                  </a:lnTo>
                  <a:lnTo>
                    <a:pt x="902" y="1582"/>
                  </a:lnTo>
                  <a:lnTo>
                    <a:pt x="962" y="1619"/>
                  </a:lnTo>
                  <a:lnTo>
                    <a:pt x="1027" y="1646"/>
                  </a:lnTo>
                  <a:lnTo>
                    <a:pt x="1098" y="1663"/>
                  </a:lnTo>
                  <a:lnTo>
                    <a:pt x="1171" y="1669"/>
                  </a:lnTo>
                  <a:lnTo>
                    <a:pt x="1246" y="1663"/>
                  </a:lnTo>
                  <a:lnTo>
                    <a:pt x="1317" y="1646"/>
                  </a:lnTo>
                  <a:lnTo>
                    <a:pt x="1383" y="1619"/>
                  </a:lnTo>
                  <a:lnTo>
                    <a:pt x="1442" y="1582"/>
                  </a:lnTo>
                  <a:lnTo>
                    <a:pt x="1496" y="1536"/>
                  </a:lnTo>
                  <a:lnTo>
                    <a:pt x="1541" y="1482"/>
                  </a:lnTo>
                  <a:lnTo>
                    <a:pt x="1579" y="1423"/>
                  </a:lnTo>
                  <a:lnTo>
                    <a:pt x="1606" y="1357"/>
                  </a:lnTo>
                  <a:lnTo>
                    <a:pt x="1623" y="1288"/>
                  </a:lnTo>
                  <a:lnTo>
                    <a:pt x="1629" y="1213"/>
                  </a:lnTo>
                  <a:lnTo>
                    <a:pt x="1623" y="1140"/>
                  </a:lnTo>
                  <a:lnTo>
                    <a:pt x="1606" y="1068"/>
                  </a:lnTo>
                  <a:lnTo>
                    <a:pt x="1579" y="1003"/>
                  </a:lnTo>
                  <a:lnTo>
                    <a:pt x="1541" y="943"/>
                  </a:lnTo>
                  <a:lnTo>
                    <a:pt x="1496" y="889"/>
                  </a:lnTo>
                  <a:lnTo>
                    <a:pt x="1442" y="843"/>
                  </a:lnTo>
                  <a:lnTo>
                    <a:pt x="1383" y="806"/>
                  </a:lnTo>
                  <a:lnTo>
                    <a:pt x="1317" y="779"/>
                  </a:lnTo>
                  <a:lnTo>
                    <a:pt x="1246" y="762"/>
                  </a:lnTo>
                  <a:lnTo>
                    <a:pt x="1171" y="756"/>
                  </a:lnTo>
                  <a:close/>
                  <a:moveTo>
                    <a:pt x="971" y="0"/>
                  </a:moveTo>
                  <a:lnTo>
                    <a:pt x="1373" y="0"/>
                  </a:lnTo>
                  <a:lnTo>
                    <a:pt x="1417" y="5"/>
                  </a:lnTo>
                  <a:lnTo>
                    <a:pt x="1458" y="21"/>
                  </a:lnTo>
                  <a:lnTo>
                    <a:pt x="1491" y="48"/>
                  </a:lnTo>
                  <a:lnTo>
                    <a:pt x="1516" y="81"/>
                  </a:lnTo>
                  <a:lnTo>
                    <a:pt x="1533" y="121"/>
                  </a:lnTo>
                  <a:lnTo>
                    <a:pt x="1539" y="165"/>
                  </a:lnTo>
                  <a:lnTo>
                    <a:pt x="1539" y="335"/>
                  </a:lnTo>
                  <a:lnTo>
                    <a:pt x="1612" y="369"/>
                  </a:lnTo>
                  <a:lnTo>
                    <a:pt x="1679" y="412"/>
                  </a:lnTo>
                  <a:lnTo>
                    <a:pt x="1744" y="458"/>
                  </a:lnTo>
                  <a:lnTo>
                    <a:pt x="1896" y="371"/>
                  </a:lnTo>
                  <a:lnTo>
                    <a:pt x="1937" y="354"/>
                  </a:lnTo>
                  <a:lnTo>
                    <a:pt x="1979" y="348"/>
                  </a:lnTo>
                  <a:lnTo>
                    <a:pt x="2012" y="352"/>
                  </a:lnTo>
                  <a:lnTo>
                    <a:pt x="2045" y="362"/>
                  </a:lnTo>
                  <a:lnTo>
                    <a:pt x="2075" y="379"/>
                  </a:lnTo>
                  <a:lnTo>
                    <a:pt x="2100" y="402"/>
                  </a:lnTo>
                  <a:lnTo>
                    <a:pt x="2122" y="431"/>
                  </a:lnTo>
                  <a:lnTo>
                    <a:pt x="2323" y="779"/>
                  </a:lnTo>
                  <a:lnTo>
                    <a:pt x="2339" y="820"/>
                  </a:lnTo>
                  <a:lnTo>
                    <a:pt x="2345" y="862"/>
                  </a:lnTo>
                  <a:lnTo>
                    <a:pt x="2341" y="907"/>
                  </a:lnTo>
                  <a:lnTo>
                    <a:pt x="2327" y="937"/>
                  </a:lnTo>
                  <a:lnTo>
                    <a:pt x="2312" y="964"/>
                  </a:lnTo>
                  <a:lnTo>
                    <a:pt x="2289" y="987"/>
                  </a:lnTo>
                  <a:lnTo>
                    <a:pt x="2262" y="1007"/>
                  </a:lnTo>
                  <a:lnTo>
                    <a:pt x="2110" y="1095"/>
                  </a:lnTo>
                  <a:lnTo>
                    <a:pt x="2118" y="1153"/>
                  </a:lnTo>
                  <a:lnTo>
                    <a:pt x="2122" y="1213"/>
                  </a:lnTo>
                  <a:lnTo>
                    <a:pt x="2118" y="1272"/>
                  </a:lnTo>
                  <a:lnTo>
                    <a:pt x="2110" y="1330"/>
                  </a:lnTo>
                  <a:lnTo>
                    <a:pt x="2262" y="1419"/>
                  </a:lnTo>
                  <a:lnTo>
                    <a:pt x="2293" y="1442"/>
                  </a:lnTo>
                  <a:lnTo>
                    <a:pt x="2318" y="1471"/>
                  </a:lnTo>
                  <a:lnTo>
                    <a:pt x="2335" y="1501"/>
                  </a:lnTo>
                  <a:lnTo>
                    <a:pt x="2343" y="1538"/>
                  </a:lnTo>
                  <a:lnTo>
                    <a:pt x="2345" y="1575"/>
                  </a:lnTo>
                  <a:lnTo>
                    <a:pt x="2339" y="1609"/>
                  </a:lnTo>
                  <a:lnTo>
                    <a:pt x="2323" y="1646"/>
                  </a:lnTo>
                  <a:lnTo>
                    <a:pt x="2122" y="1994"/>
                  </a:lnTo>
                  <a:lnTo>
                    <a:pt x="2102" y="2021"/>
                  </a:lnTo>
                  <a:lnTo>
                    <a:pt x="2079" y="2043"/>
                  </a:lnTo>
                  <a:lnTo>
                    <a:pt x="2052" y="2060"/>
                  </a:lnTo>
                  <a:lnTo>
                    <a:pt x="2021" y="2071"/>
                  </a:lnTo>
                  <a:lnTo>
                    <a:pt x="1979" y="2077"/>
                  </a:lnTo>
                  <a:lnTo>
                    <a:pt x="1950" y="2075"/>
                  </a:lnTo>
                  <a:lnTo>
                    <a:pt x="1921" y="2068"/>
                  </a:lnTo>
                  <a:lnTo>
                    <a:pt x="1896" y="2054"/>
                  </a:lnTo>
                  <a:lnTo>
                    <a:pt x="1744" y="1967"/>
                  </a:lnTo>
                  <a:lnTo>
                    <a:pt x="1679" y="2014"/>
                  </a:lnTo>
                  <a:lnTo>
                    <a:pt x="1612" y="2056"/>
                  </a:lnTo>
                  <a:lnTo>
                    <a:pt x="1539" y="2091"/>
                  </a:lnTo>
                  <a:lnTo>
                    <a:pt x="1539" y="2260"/>
                  </a:lnTo>
                  <a:lnTo>
                    <a:pt x="1533" y="2304"/>
                  </a:lnTo>
                  <a:lnTo>
                    <a:pt x="1516" y="2345"/>
                  </a:lnTo>
                  <a:lnTo>
                    <a:pt x="1491" y="2378"/>
                  </a:lnTo>
                  <a:lnTo>
                    <a:pt x="1458" y="2404"/>
                  </a:lnTo>
                  <a:lnTo>
                    <a:pt x="1417" y="2420"/>
                  </a:lnTo>
                  <a:lnTo>
                    <a:pt x="1373" y="2428"/>
                  </a:lnTo>
                  <a:lnTo>
                    <a:pt x="971" y="2428"/>
                  </a:lnTo>
                  <a:lnTo>
                    <a:pt x="927" y="2420"/>
                  </a:lnTo>
                  <a:lnTo>
                    <a:pt x="887" y="2404"/>
                  </a:lnTo>
                  <a:lnTo>
                    <a:pt x="854" y="2378"/>
                  </a:lnTo>
                  <a:lnTo>
                    <a:pt x="829" y="2345"/>
                  </a:lnTo>
                  <a:lnTo>
                    <a:pt x="812" y="2304"/>
                  </a:lnTo>
                  <a:lnTo>
                    <a:pt x="806" y="2260"/>
                  </a:lnTo>
                  <a:lnTo>
                    <a:pt x="806" y="2091"/>
                  </a:lnTo>
                  <a:lnTo>
                    <a:pt x="733" y="2056"/>
                  </a:lnTo>
                  <a:lnTo>
                    <a:pt x="665" y="2014"/>
                  </a:lnTo>
                  <a:lnTo>
                    <a:pt x="600" y="1967"/>
                  </a:lnTo>
                  <a:lnTo>
                    <a:pt x="448" y="2054"/>
                  </a:lnTo>
                  <a:lnTo>
                    <a:pt x="409" y="2071"/>
                  </a:lnTo>
                  <a:lnTo>
                    <a:pt x="365" y="2077"/>
                  </a:lnTo>
                  <a:lnTo>
                    <a:pt x="323" y="2071"/>
                  </a:lnTo>
                  <a:lnTo>
                    <a:pt x="292" y="2060"/>
                  </a:lnTo>
                  <a:lnTo>
                    <a:pt x="265" y="2043"/>
                  </a:lnTo>
                  <a:lnTo>
                    <a:pt x="242" y="2021"/>
                  </a:lnTo>
                  <a:lnTo>
                    <a:pt x="223" y="1994"/>
                  </a:lnTo>
                  <a:lnTo>
                    <a:pt x="21" y="1646"/>
                  </a:lnTo>
                  <a:lnTo>
                    <a:pt x="6" y="1609"/>
                  </a:lnTo>
                  <a:lnTo>
                    <a:pt x="0" y="1573"/>
                  </a:lnTo>
                  <a:lnTo>
                    <a:pt x="2" y="1538"/>
                  </a:lnTo>
                  <a:lnTo>
                    <a:pt x="11" y="1501"/>
                  </a:lnTo>
                  <a:lnTo>
                    <a:pt x="27" y="1469"/>
                  </a:lnTo>
                  <a:lnTo>
                    <a:pt x="52" y="1442"/>
                  </a:lnTo>
                  <a:lnTo>
                    <a:pt x="82" y="1419"/>
                  </a:lnTo>
                  <a:lnTo>
                    <a:pt x="234" y="1330"/>
                  </a:lnTo>
                  <a:lnTo>
                    <a:pt x="227" y="1272"/>
                  </a:lnTo>
                  <a:lnTo>
                    <a:pt x="223" y="1213"/>
                  </a:lnTo>
                  <a:lnTo>
                    <a:pt x="227" y="1153"/>
                  </a:lnTo>
                  <a:lnTo>
                    <a:pt x="234" y="1095"/>
                  </a:lnTo>
                  <a:lnTo>
                    <a:pt x="82" y="1007"/>
                  </a:lnTo>
                  <a:lnTo>
                    <a:pt x="52" y="984"/>
                  </a:lnTo>
                  <a:lnTo>
                    <a:pt x="27" y="955"/>
                  </a:lnTo>
                  <a:lnTo>
                    <a:pt x="11" y="924"/>
                  </a:lnTo>
                  <a:lnTo>
                    <a:pt x="2" y="887"/>
                  </a:lnTo>
                  <a:lnTo>
                    <a:pt x="0" y="853"/>
                  </a:lnTo>
                  <a:lnTo>
                    <a:pt x="6" y="816"/>
                  </a:lnTo>
                  <a:lnTo>
                    <a:pt x="21" y="779"/>
                  </a:lnTo>
                  <a:lnTo>
                    <a:pt x="223" y="431"/>
                  </a:lnTo>
                  <a:lnTo>
                    <a:pt x="242" y="404"/>
                  </a:lnTo>
                  <a:lnTo>
                    <a:pt x="265" y="383"/>
                  </a:lnTo>
                  <a:lnTo>
                    <a:pt x="292" y="366"/>
                  </a:lnTo>
                  <a:lnTo>
                    <a:pt x="323" y="354"/>
                  </a:lnTo>
                  <a:lnTo>
                    <a:pt x="367" y="348"/>
                  </a:lnTo>
                  <a:lnTo>
                    <a:pt x="394" y="350"/>
                  </a:lnTo>
                  <a:lnTo>
                    <a:pt x="423" y="358"/>
                  </a:lnTo>
                  <a:lnTo>
                    <a:pt x="448" y="371"/>
                  </a:lnTo>
                  <a:lnTo>
                    <a:pt x="600" y="458"/>
                  </a:lnTo>
                  <a:lnTo>
                    <a:pt x="665" y="412"/>
                  </a:lnTo>
                  <a:lnTo>
                    <a:pt x="733" y="369"/>
                  </a:lnTo>
                  <a:lnTo>
                    <a:pt x="806" y="335"/>
                  </a:lnTo>
                  <a:lnTo>
                    <a:pt x="806" y="165"/>
                  </a:lnTo>
                  <a:lnTo>
                    <a:pt x="812" y="121"/>
                  </a:lnTo>
                  <a:lnTo>
                    <a:pt x="829" y="81"/>
                  </a:lnTo>
                  <a:lnTo>
                    <a:pt x="854" y="48"/>
                  </a:lnTo>
                  <a:lnTo>
                    <a:pt x="887" y="21"/>
                  </a:lnTo>
                  <a:lnTo>
                    <a:pt x="927" y="5"/>
                  </a:lnTo>
                  <a:lnTo>
                    <a:pt x="9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93" name="Freeform 4848"/>
          <p:cNvSpPr>
            <a:spLocks noEditPoints="1"/>
          </p:cNvSpPr>
          <p:nvPr/>
        </p:nvSpPr>
        <p:spPr bwMode="auto">
          <a:xfrm>
            <a:off x="2885004" y="2490745"/>
            <a:ext cx="349466" cy="309979"/>
          </a:xfrm>
          <a:custGeom>
            <a:avLst/>
            <a:gdLst>
              <a:gd name="T0" fmla="*/ 198 w 354"/>
              <a:gd name="T1" fmla="*/ 12 h 314"/>
              <a:gd name="T2" fmla="*/ 194 w 354"/>
              <a:gd name="T3" fmla="*/ 8 h 314"/>
              <a:gd name="T4" fmla="*/ 184 w 354"/>
              <a:gd name="T5" fmla="*/ 0 h 314"/>
              <a:gd name="T6" fmla="*/ 178 w 354"/>
              <a:gd name="T7" fmla="*/ 0 h 314"/>
              <a:gd name="T8" fmla="*/ 166 w 354"/>
              <a:gd name="T9" fmla="*/ 4 h 314"/>
              <a:gd name="T10" fmla="*/ 158 w 354"/>
              <a:gd name="T11" fmla="*/ 12 h 314"/>
              <a:gd name="T12" fmla="*/ 4 w 354"/>
              <a:gd name="T13" fmla="*/ 278 h 314"/>
              <a:gd name="T14" fmla="*/ 0 w 354"/>
              <a:gd name="T15" fmla="*/ 290 h 314"/>
              <a:gd name="T16" fmla="*/ 4 w 354"/>
              <a:gd name="T17" fmla="*/ 302 h 314"/>
              <a:gd name="T18" fmla="*/ 8 w 354"/>
              <a:gd name="T19" fmla="*/ 306 h 314"/>
              <a:gd name="T20" fmla="*/ 18 w 354"/>
              <a:gd name="T21" fmla="*/ 312 h 314"/>
              <a:gd name="T22" fmla="*/ 330 w 354"/>
              <a:gd name="T23" fmla="*/ 314 h 314"/>
              <a:gd name="T24" fmla="*/ 338 w 354"/>
              <a:gd name="T25" fmla="*/ 312 h 314"/>
              <a:gd name="T26" fmla="*/ 348 w 354"/>
              <a:gd name="T27" fmla="*/ 306 h 314"/>
              <a:gd name="T28" fmla="*/ 352 w 354"/>
              <a:gd name="T29" fmla="*/ 302 h 314"/>
              <a:gd name="T30" fmla="*/ 354 w 354"/>
              <a:gd name="T31" fmla="*/ 290 h 314"/>
              <a:gd name="T32" fmla="*/ 352 w 354"/>
              <a:gd name="T33" fmla="*/ 278 h 314"/>
              <a:gd name="T34" fmla="*/ 42 w 354"/>
              <a:gd name="T35" fmla="*/ 280 h 314"/>
              <a:gd name="T36" fmla="*/ 314 w 354"/>
              <a:gd name="T37" fmla="*/ 280 h 314"/>
              <a:gd name="T38" fmla="*/ 160 w 354"/>
              <a:gd name="T39" fmla="*/ 142 h 314"/>
              <a:gd name="T40" fmla="*/ 158 w 354"/>
              <a:gd name="T41" fmla="*/ 132 h 314"/>
              <a:gd name="T42" fmla="*/ 160 w 354"/>
              <a:gd name="T43" fmla="*/ 126 h 314"/>
              <a:gd name="T44" fmla="*/ 164 w 354"/>
              <a:gd name="T45" fmla="*/ 122 h 314"/>
              <a:gd name="T46" fmla="*/ 178 w 354"/>
              <a:gd name="T47" fmla="*/ 118 h 314"/>
              <a:gd name="T48" fmla="*/ 186 w 354"/>
              <a:gd name="T49" fmla="*/ 118 h 314"/>
              <a:gd name="T50" fmla="*/ 192 w 354"/>
              <a:gd name="T51" fmla="*/ 122 h 314"/>
              <a:gd name="T52" fmla="*/ 198 w 354"/>
              <a:gd name="T53" fmla="*/ 132 h 314"/>
              <a:gd name="T54" fmla="*/ 196 w 354"/>
              <a:gd name="T55" fmla="*/ 142 h 314"/>
              <a:gd name="T56" fmla="*/ 172 w 354"/>
              <a:gd name="T57" fmla="*/ 206 h 314"/>
              <a:gd name="T58" fmla="*/ 178 w 354"/>
              <a:gd name="T59" fmla="*/ 218 h 314"/>
              <a:gd name="T60" fmla="*/ 186 w 354"/>
              <a:gd name="T61" fmla="*/ 220 h 314"/>
              <a:gd name="T62" fmla="*/ 190 w 354"/>
              <a:gd name="T63" fmla="*/ 224 h 314"/>
              <a:gd name="T64" fmla="*/ 194 w 354"/>
              <a:gd name="T65" fmla="*/ 230 h 314"/>
              <a:gd name="T66" fmla="*/ 196 w 354"/>
              <a:gd name="T67" fmla="*/ 238 h 314"/>
              <a:gd name="T68" fmla="*/ 194 w 354"/>
              <a:gd name="T69" fmla="*/ 244 h 314"/>
              <a:gd name="T70" fmla="*/ 190 w 354"/>
              <a:gd name="T71" fmla="*/ 250 h 314"/>
              <a:gd name="T72" fmla="*/ 186 w 354"/>
              <a:gd name="T73" fmla="*/ 254 h 314"/>
              <a:gd name="T74" fmla="*/ 178 w 354"/>
              <a:gd name="T75" fmla="*/ 256 h 314"/>
              <a:gd name="T76" fmla="*/ 170 w 354"/>
              <a:gd name="T77" fmla="*/ 254 h 314"/>
              <a:gd name="T78" fmla="*/ 166 w 354"/>
              <a:gd name="T79" fmla="*/ 250 h 314"/>
              <a:gd name="T80" fmla="*/ 162 w 354"/>
              <a:gd name="T81" fmla="*/ 244 h 314"/>
              <a:gd name="T82" fmla="*/ 160 w 354"/>
              <a:gd name="T83" fmla="*/ 238 h 314"/>
              <a:gd name="T84" fmla="*/ 162 w 354"/>
              <a:gd name="T85" fmla="*/ 230 h 314"/>
              <a:gd name="T86" fmla="*/ 166 w 354"/>
              <a:gd name="T87" fmla="*/ 224 h 314"/>
              <a:gd name="T88" fmla="*/ 178 w 354"/>
              <a:gd name="T89" fmla="*/ 218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54" h="314">
                <a:moveTo>
                  <a:pt x="352" y="278"/>
                </a:moveTo>
                <a:lnTo>
                  <a:pt x="198" y="12"/>
                </a:lnTo>
                <a:lnTo>
                  <a:pt x="198" y="12"/>
                </a:lnTo>
                <a:lnTo>
                  <a:pt x="194" y="8"/>
                </a:lnTo>
                <a:lnTo>
                  <a:pt x="190" y="4"/>
                </a:lnTo>
                <a:lnTo>
                  <a:pt x="184" y="0"/>
                </a:lnTo>
                <a:lnTo>
                  <a:pt x="178" y="0"/>
                </a:lnTo>
                <a:lnTo>
                  <a:pt x="178" y="0"/>
                </a:lnTo>
                <a:lnTo>
                  <a:pt x="172" y="0"/>
                </a:lnTo>
                <a:lnTo>
                  <a:pt x="166" y="4"/>
                </a:lnTo>
                <a:lnTo>
                  <a:pt x="162" y="8"/>
                </a:lnTo>
                <a:lnTo>
                  <a:pt x="158" y="12"/>
                </a:lnTo>
                <a:lnTo>
                  <a:pt x="4" y="278"/>
                </a:lnTo>
                <a:lnTo>
                  <a:pt x="4" y="278"/>
                </a:lnTo>
                <a:lnTo>
                  <a:pt x="2" y="282"/>
                </a:lnTo>
                <a:lnTo>
                  <a:pt x="0" y="290"/>
                </a:lnTo>
                <a:lnTo>
                  <a:pt x="2" y="296"/>
                </a:lnTo>
                <a:lnTo>
                  <a:pt x="4" y="302"/>
                </a:lnTo>
                <a:lnTo>
                  <a:pt x="4" y="302"/>
                </a:lnTo>
                <a:lnTo>
                  <a:pt x="8" y="306"/>
                </a:lnTo>
                <a:lnTo>
                  <a:pt x="12" y="310"/>
                </a:lnTo>
                <a:lnTo>
                  <a:pt x="18" y="312"/>
                </a:lnTo>
                <a:lnTo>
                  <a:pt x="26" y="314"/>
                </a:lnTo>
                <a:lnTo>
                  <a:pt x="330" y="314"/>
                </a:lnTo>
                <a:lnTo>
                  <a:pt x="330" y="314"/>
                </a:lnTo>
                <a:lnTo>
                  <a:pt x="338" y="312"/>
                </a:lnTo>
                <a:lnTo>
                  <a:pt x="342" y="310"/>
                </a:lnTo>
                <a:lnTo>
                  <a:pt x="348" y="306"/>
                </a:lnTo>
                <a:lnTo>
                  <a:pt x="352" y="302"/>
                </a:lnTo>
                <a:lnTo>
                  <a:pt x="352" y="302"/>
                </a:lnTo>
                <a:lnTo>
                  <a:pt x="354" y="296"/>
                </a:lnTo>
                <a:lnTo>
                  <a:pt x="354" y="290"/>
                </a:lnTo>
                <a:lnTo>
                  <a:pt x="354" y="282"/>
                </a:lnTo>
                <a:lnTo>
                  <a:pt x="352" y="278"/>
                </a:lnTo>
                <a:lnTo>
                  <a:pt x="352" y="278"/>
                </a:lnTo>
                <a:close/>
                <a:moveTo>
                  <a:pt x="42" y="280"/>
                </a:moveTo>
                <a:lnTo>
                  <a:pt x="178" y="44"/>
                </a:lnTo>
                <a:lnTo>
                  <a:pt x="314" y="280"/>
                </a:lnTo>
                <a:lnTo>
                  <a:pt x="42" y="280"/>
                </a:lnTo>
                <a:close/>
                <a:moveTo>
                  <a:pt x="160" y="142"/>
                </a:moveTo>
                <a:lnTo>
                  <a:pt x="160" y="142"/>
                </a:lnTo>
                <a:lnTo>
                  <a:pt x="158" y="132"/>
                </a:lnTo>
                <a:lnTo>
                  <a:pt x="158" y="132"/>
                </a:lnTo>
                <a:lnTo>
                  <a:pt x="160" y="126"/>
                </a:lnTo>
                <a:lnTo>
                  <a:pt x="164" y="122"/>
                </a:lnTo>
                <a:lnTo>
                  <a:pt x="164" y="122"/>
                </a:lnTo>
                <a:lnTo>
                  <a:pt x="170" y="118"/>
                </a:lnTo>
                <a:lnTo>
                  <a:pt x="178" y="118"/>
                </a:lnTo>
                <a:lnTo>
                  <a:pt x="178" y="118"/>
                </a:lnTo>
                <a:lnTo>
                  <a:pt x="186" y="118"/>
                </a:lnTo>
                <a:lnTo>
                  <a:pt x="192" y="122"/>
                </a:lnTo>
                <a:lnTo>
                  <a:pt x="192" y="122"/>
                </a:lnTo>
                <a:lnTo>
                  <a:pt x="196" y="126"/>
                </a:lnTo>
                <a:lnTo>
                  <a:pt x="198" y="132"/>
                </a:lnTo>
                <a:lnTo>
                  <a:pt x="198" y="132"/>
                </a:lnTo>
                <a:lnTo>
                  <a:pt x="196" y="142"/>
                </a:lnTo>
                <a:lnTo>
                  <a:pt x="184" y="206"/>
                </a:lnTo>
                <a:lnTo>
                  <a:pt x="172" y="206"/>
                </a:lnTo>
                <a:lnTo>
                  <a:pt x="160" y="142"/>
                </a:lnTo>
                <a:close/>
                <a:moveTo>
                  <a:pt x="178" y="218"/>
                </a:moveTo>
                <a:lnTo>
                  <a:pt x="178" y="218"/>
                </a:lnTo>
                <a:lnTo>
                  <a:pt x="186" y="220"/>
                </a:lnTo>
                <a:lnTo>
                  <a:pt x="186" y="220"/>
                </a:lnTo>
                <a:lnTo>
                  <a:pt x="190" y="224"/>
                </a:lnTo>
                <a:lnTo>
                  <a:pt x="190" y="224"/>
                </a:lnTo>
                <a:lnTo>
                  <a:pt x="194" y="230"/>
                </a:lnTo>
                <a:lnTo>
                  <a:pt x="194" y="230"/>
                </a:lnTo>
                <a:lnTo>
                  <a:pt x="196" y="238"/>
                </a:lnTo>
                <a:lnTo>
                  <a:pt x="196" y="238"/>
                </a:lnTo>
                <a:lnTo>
                  <a:pt x="194" y="244"/>
                </a:lnTo>
                <a:lnTo>
                  <a:pt x="194" y="244"/>
                </a:lnTo>
                <a:lnTo>
                  <a:pt x="190" y="250"/>
                </a:lnTo>
                <a:lnTo>
                  <a:pt x="190" y="250"/>
                </a:lnTo>
                <a:lnTo>
                  <a:pt x="186" y="254"/>
                </a:lnTo>
                <a:lnTo>
                  <a:pt x="186" y="254"/>
                </a:lnTo>
                <a:lnTo>
                  <a:pt x="178" y="256"/>
                </a:lnTo>
                <a:lnTo>
                  <a:pt x="178" y="256"/>
                </a:lnTo>
                <a:lnTo>
                  <a:pt x="170" y="254"/>
                </a:lnTo>
                <a:lnTo>
                  <a:pt x="170" y="254"/>
                </a:lnTo>
                <a:lnTo>
                  <a:pt x="166" y="250"/>
                </a:lnTo>
                <a:lnTo>
                  <a:pt x="166" y="250"/>
                </a:lnTo>
                <a:lnTo>
                  <a:pt x="162" y="244"/>
                </a:lnTo>
                <a:lnTo>
                  <a:pt x="162" y="244"/>
                </a:lnTo>
                <a:lnTo>
                  <a:pt x="160" y="238"/>
                </a:lnTo>
                <a:lnTo>
                  <a:pt x="160" y="238"/>
                </a:lnTo>
                <a:lnTo>
                  <a:pt x="162" y="230"/>
                </a:lnTo>
                <a:lnTo>
                  <a:pt x="166" y="224"/>
                </a:lnTo>
                <a:lnTo>
                  <a:pt x="166" y="224"/>
                </a:lnTo>
                <a:lnTo>
                  <a:pt x="170" y="220"/>
                </a:lnTo>
                <a:lnTo>
                  <a:pt x="178" y="218"/>
                </a:lnTo>
                <a:lnTo>
                  <a:pt x="178" y="21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6" name="Freeform 4831"/>
          <p:cNvSpPr>
            <a:spLocks noEditPoints="1"/>
          </p:cNvSpPr>
          <p:nvPr/>
        </p:nvSpPr>
        <p:spPr bwMode="auto">
          <a:xfrm>
            <a:off x="4527426" y="2601065"/>
            <a:ext cx="337923" cy="182345"/>
          </a:xfrm>
          <a:custGeom>
            <a:avLst/>
            <a:gdLst>
              <a:gd name="T0" fmla="*/ 300 w 404"/>
              <a:gd name="T1" fmla="*/ 166 h 218"/>
              <a:gd name="T2" fmla="*/ 288 w 404"/>
              <a:gd name="T3" fmla="*/ 172 h 218"/>
              <a:gd name="T4" fmla="*/ 272 w 404"/>
              <a:gd name="T5" fmla="*/ 184 h 218"/>
              <a:gd name="T6" fmla="*/ 252 w 404"/>
              <a:gd name="T7" fmla="*/ 170 h 218"/>
              <a:gd name="T8" fmla="*/ 244 w 404"/>
              <a:gd name="T9" fmla="*/ 186 h 218"/>
              <a:gd name="T10" fmla="*/ 232 w 404"/>
              <a:gd name="T11" fmla="*/ 188 h 218"/>
              <a:gd name="T12" fmla="*/ 226 w 404"/>
              <a:gd name="T13" fmla="*/ 188 h 218"/>
              <a:gd name="T14" fmla="*/ 216 w 404"/>
              <a:gd name="T15" fmla="*/ 166 h 218"/>
              <a:gd name="T16" fmla="*/ 192 w 404"/>
              <a:gd name="T17" fmla="*/ 154 h 218"/>
              <a:gd name="T18" fmla="*/ 178 w 404"/>
              <a:gd name="T19" fmla="*/ 142 h 218"/>
              <a:gd name="T20" fmla="*/ 160 w 404"/>
              <a:gd name="T21" fmla="*/ 138 h 218"/>
              <a:gd name="T22" fmla="*/ 134 w 404"/>
              <a:gd name="T23" fmla="*/ 120 h 218"/>
              <a:gd name="T24" fmla="*/ 106 w 404"/>
              <a:gd name="T25" fmla="*/ 136 h 218"/>
              <a:gd name="T26" fmla="*/ 74 w 404"/>
              <a:gd name="T27" fmla="*/ 124 h 218"/>
              <a:gd name="T28" fmla="*/ 94 w 404"/>
              <a:gd name="T29" fmla="*/ 42 h 218"/>
              <a:gd name="T30" fmla="*/ 138 w 404"/>
              <a:gd name="T31" fmla="*/ 38 h 218"/>
              <a:gd name="T32" fmla="*/ 134 w 404"/>
              <a:gd name="T33" fmla="*/ 66 h 218"/>
              <a:gd name="T34" fmla="*/ 150 w 404"/>
              <a:gd name="T35" fmla="*/ 88 h 218"/>
              <a:gd name="T36" fmla="*/ 178 w 404"/>
              <a:gd name="T37" fmla="*/ 92 h 218"/>
              <a:gd name="T38" fmla="*/ 288 w 404"/>
              <a:gd name="T39" fmla="*/ 92 h 218"/>
              <a:gd name="T40" fmla="*/ 294 w 404"/>
              <a:gd name="T41" fmla="*/ 100 h 218"/>
              <a:gd name="T42" fmla="*/ 320 w 404"/>
              <a:gd name="T43" fmla="*/ 144 h 218"/>
              <a:gd name="T44" fmla="*/ 134 w 404"/>
              <a:gd name="T45" fmla="*/ 132 h 218"/>
              <a:gd name="T46" fmla="*/ 118 w 404"/>
              <a:gd name="T47" fmla="*/ 142 h 218"/>
              <a:gd name="T48" fmla="*/ 102 w 404"/>
              <a:gd name="T49" fmla="*/ 190 h 218"/>
              <a:gd name="T50" fmla="*/ 118 w 404"/>
              <a:gd name="T51" fmla="*/ 198 h 218"/>
              <a:gd name="T52" fmla="*/ 130 w 404"/>
              <a:gd name="T53" fmla="*/ 204 h 218"/>
              <a:gd name="T54" fmla="*/ 146 w 404"/>
              <a:gd name="T55" fmla="*/ 214 h 218"/>
              <a:gd name="T56" fmla="*/ 162 w 404"/>
              <a:gd name="T57" fmla="*/ 204 h 218"/>
              <a:gd name="T58" fmla="*/ 174 w 404"/>
              <a:gd name="T59" fmla="*/ 216 h 218"/>
              <a:gd name="T60" fmla="*/ 188 w 404"/>
              <a:gd name="T61" fmla="*/ 218 h 218"/>
              <a:gd name="T62" fmla="*/ 208 w 404"/>
              <a:gd name="T63" fmla="*/ 194 h 218"/>
              <a:gd name="T64" fmla="*/ 202 w 404"/>
              <a:gd name="T65" fmla="*/ 168 h 218"/>
              <a:gd name="T66" fmla="*/ 182 w 404"/>
              <a:gd name="T67" fmla="*/ 170 h 218"/>
              <a:gd name="T68" fmla="*/ 172 w 404"/>
              <a:gd name="T69" fmla="*/ 152 h 218"/>
              <a:gd name="T70" fmla="*/ 156 w 404"/>
              <a:gd name="T71" fmla="*/ 150 h 218"/>
              <a:gd name="T72" fmla="*/ 146 w 404"/>
              <a:gd name="T73" fmla="*/ 138 h 218"/>
              <a:gd name="T74" fmla="*/ 378 w 404"/>
              <a:gd name="T75" fmla="*/ 0 h 218"/>
              <a:gd name="T76" fmla="*/ 394 w 404"/>
              <a:gd name="T77" fmla="*/ 160 h 218"/>
              <a:gd name="T78" fmla="*/ 402 w 404"/>
              <a:gd name="T79" fmla="*/ 70 h 218"/>
              <a:gd name="T80" fmla="*/ 26 w 404"/>
              <a:gd name="T81" fmla="*/ 0 h 218"/>
              <a:gd name="T82" fmla="*/ 0 w 404"/>
              <a:gd name="T83" fmla="*/ 96 h 218"/>
              <a:gd name="T84" fmla="*/ 18 w 404"/>
              <a:gd name="T85" fmla="*/ 178 h 218"/>
              <a:gd name="T86" fmla="*/ 96 w 404"/>
              <a:gd name="T87" fmla="*/ 154 h 218"/>
              <a:gd name="T88" fmla="*/ 68 w 404"/>
              <a:gd name="T89" fmla="*/ 142 h 218"/>
              <a:gd name="T90" fmla="*/ 74 w 404"/>
              <a:gd name="T91" fmla="*/ 170 h 218"/>
              <a:gd name="T92" fmla="*/ 88 w 404"/>
              <a:gd name="T93" fmla="*/ 172 h 218"/>
              <a:gd name="T94" fmla="*/ 306 w 404"/>
              <a:gd name="T95" fmla="*/ 34 h 218"/>
              <a:gd name="T96" fmla="*/ 230 w 404"/>
              <a:gd name="T97" fmla="*/ 8 h 218"/>
              <a:gd name="T98" fmla="*/ 192 w 404"/>
              <a:gd name="T99" fmla="*/ 2 h 218"/>
              <a:gd name="T100" fmla="*/ 190 w 404"/>
              <a:gd name="T101" fmla="*/ 0 h 218"/>
              <a:gd name="T102" fmla="*/ 182 w 404"/>
              <a:gd name="T103" fmla="*/ 2 h 218"/>
              <a:gd name="T104" fmla="*/ 148 w 404"/>
              <a:gd name="T105" fmla="*/ 44 h 218"/>
              <a:gd name="T106" fmla="*/ 156 w 404"/>
              <a:gd name="T107" fmla="*/ 78 h 218"/>
              <a:gd name="T108" fmla="*/ 180 w 404"/>
              <a:gd name="T109" fmla="*/ 78 h 218"/>
              <a:gd name="T110" fmla="*/ 292 w 404"/>
              <a:gd name="T111" fmla="*/ 82 h 218"/>
              <a:gd name="T112" fmla="*/ 304 w 404"/>
              <a:gd name="T113" fmla="*/ 94 h 218"/>
              <a:gd name="T114" fmla="*/ 328 w 404"/>
              <a:gd name="T115" fmla="*/ 116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04" h="218">
                <a:moveTo>
                  <a:pt x="310" y="162"/>
                </a:moveTo>
                <a:lnTo>
                  <a:pt x="310" y="162"/>
                </a:lnTo>
                <a:lnTo>
                  <a:pt x="306" y="164"/>
                </a:lnTo>
                <a:lnTo>
                  <a:pt x="300" y="166"/>
                </a:lnTo>
                <a:lnTo>
                  <a:pt x="300" y="166"/>
                </a:lnTo>
                <a:lnTo>
                  <a:pt x="296" y="164"/>
                </a:lnTo>
                <a:lnTo>
                  <a:pt x="290" y="162"/>
                </a:lnTo>
                <a:lnTo>
                  <a:pt x="290" y="162"/>
                </a:lnTo>
                <a:lnTo>
                  <a:pt x="290" y="168"/>
                </a:lnTo>
                <a:lnTo>
                  <a:pt x="288" y="172"/>
                </a:lnTo>
                <a:lnTo>
                  <a:pt x="286" y="176"/>
                </a:lnTo>
                <a:lnTo>
                  <a:pt x="282" y="180"/>
                </a:lnTo>
                <a:lnTo>
                  <a:pt x="282" y="180"/>
                </a:lnTo>
                <a:lnTo>
                  <a:pt x="276" y="182"/>
                </a:lnTo>
                <a:lnTo>
                  <a:pt x="272" y="184"/>
                </a:lnTo>
                <a:lnTo>
                  <a:pt x="272" y="184"/>
                </a:lnTo>
                <a:lnTo>
                  <a:pt x="262" y="180"/>
                </a:lnTo>
                <a:lnTo>
                  <a:pt x="258" y="178"/>
                </a:lnTo>
                <a:lnTo>
                  <a:pt x="256" y="174"/>
                </a:lnTo>
                <a:lnTo>
                  <a:pt x="252" y="170"/>
                </a:lnTo>
                <a:lnTo>
                  <a:pt x="252" y="170"/>
                </a:lnTo>
                <a:lnTo>
                  <a:pt x="250" y="178"/>
                </a:lnTo>
                <a:lnTo>
                  <a:pt x="248" y="182"/>
                </a:lnTo>
                <a:lnTo>
                  <a:pt x="244" y="186"/>
                </a:lnTo>
                <a:lnTo>
                  <a:pt x="244" y="186"/>
                </a:lnTo>
                <a:lnTo>
                  <a:pt x="238" y="188"/>
                </a:lnTo>
                <a:lnTo>
                  <a:pt x="234" y="188"/>
                </a:lnTo>
                <a:lnTo>
                  <a:pt x="234" y="188"/>
                </a:lnTo>
                <a:lnTo>
                  <a:pt x="232" y="188"/>
                </a:lnTo>
                <a:lnTo>
                  <a:pt x="232" y="188"/>
                </a:lnTo>
                <a:lnTo>
                  <a:pt x="230" y="188"/>
                </a:lnTo>
                <a:lnTo>
                  <a:pt x="230" y="188"/>
                </a:lnTo>
                <a:lnTo>
                  <a:pt x="228" y="188"/>
                </a:lnTo>
                <a:lnTo>
                  <a:pt x="228" y="188"/>
                </a:lnTo>
                <a:lnTo>
                  <a:pt x="226" y="188"/>
                </a:lnTo>
                <a:lnTo>
                  <a:pt x="222" y="188"/>
                </a:lnTo>
                <a:lnTo>
                  <a:pt x="222" y="188"/>
                </a:lnTo>
                <a:lnTo>
                  <a:pt x="222" y="176"/>
                </a:lnTo>
                <a:lnTo>
                  <a:pt x="222" y="176"/>
                </a:lnTo>
                <a:lnTo>
                  <a:pt x="216" y="166"/>
                </a:lnTo>
                <a:lnTo>
                  <a:pt x="208" y="158"/>
                </a:lnTo>
                <a:lnTo>
                  <a:pt x="208" y="158"/>
                </a:lnTo>
                <a:lnTo>
                  <a:pt x="200" y="156"/>
                </a:lnTo>
                <a:lnTo>
                  <a:pt x="192" y="154"/>
                </a:lnTo>
                <a:lnTo>
                  <a:pt x="192" y="154"/>
                </a:lnTo>
                <a:lnTo>
                  <a:pt x="190" y="154"/>
                </a:lnTo>
                <a:lnTo>
                  <a:pt x="190" y="154"/>
                </a:lnTo>
                <a:lnTo>
                  <a:pt x="186" y="146"/>
                </a:lnTo>
                <a:lnTo>
                  <a:pt x="178" y="142"/>
                </a:lnTo>
                <a:lnTo>
                  <a:pt x="178" y="142"/>
                </a:lnTo>
                <a:lnTo>
                  <a:pt x="170" y="138"/>
                </a:lnTo>
                <a:lnTo>
                  <a:pt x="162" y="138"/>
                </a:lnTo>
                <a:lnTo>
                  <a:pt x="162" y="138"/>
                </a:lnTo>
                <a:lnTo>
                  <a:pt x="160" y="138"/>
                </a:lnTo>
                <a:lnTo>
                  <a:pt x="160" y="138"/>
                </a:lnTo>
                <a:lnTo>
                  <a:pt x="156" y="130"/>
                </a:lnTo>
                <a:lnTo>
                  <a:pt x="148" y="124"/>
                </a:lnTo>
                <a:lnTo>
                  <a:pt x="148" y="124"/>
                </a:lnTo>
                <a:lnTo>
                  <a:pt x="142" y="122"/>
                </a:lnTo>
                <a:lnTo>
                  <a:pt x="134" y="120"/>
                </a:lnTo>
                <a:lnTo>
                  <a:pt x="134" y="120"/>
                </a:lnTo>
                <a:lnTo>
                  <a:pt x="126" y="122"/>
                </a:lnTo>
                <a:lnTo>
                  <a:pt x="118" y="124"/>
                </a:lnTo>
                <a:lnTo>
                  <a:pt x="112" y="130"/>
                </a:lnTo>
                <a:lnTo>
                  <a:pt x="106" y="136"/>
                </a:lnTo>
                <a:lnTo>
                  <a:pt x="102" y="144"/>
                </a:lnTo>
                <a:lnTo>
                  <a:pt x="80" y="132"/>
                </a:lnTo>
                <a:lnTo>
                  <a:pt x="80" y="132"/>
                </a:lnTo>
                <a:lnTo>
                  <a:pt x="76" y="128"/>
                </a:lnTo>
                <a:lnTo>
                  <a:pt x="74" y="124"/>
                </a:lnTo>
                <a:lnTo>
                  <a:pt x="72" y="120"/>
                </a:lnTo>
                <a:lnTo>
                  <a:pt x="74" y="114"/>
                </a:lnTo>
                <a:lnTo>
                  <a:pt x="92" y="46"/>
                </a:lnTo>
                <a:lnTo>
                  <a:pt x="92" y="46"/>
                </a:lnTo>
                <a:lnTo>
                  <a:pt x="94" y="42"/>
                </a:lnTo>
                <a:lnTo>
                  <a:pt x="98" y="38"/>
                </a:lnTo>
                <a:lnTo>
                  <a:pt x="102" y="36"/>
                </a:lnTo>
                <a:lnTo>
                  <a:pt x="106" y="36"/>
                </a:lnTo>
                <a:lnTo>
                  <a:pt x="140" y="34"/>
                </a:lnTo>
                <a:lnTo>
                  <a:pt x="138" y="38"/>
                </a:lnTo>
                <a:lnTo>
                  <a:pt x="138" y="38"/>
                </a:lnTo>
                <a:lnTo>
                  <a:pt x="134" y="46"/>
                </a:lnTo>
                <a:lnTo>
                  <a:pt x="132" y="52"/>
                </a:lnTo>
                <a:lnTo>
                  <a:pt x="132" y="60"/>
                </a:lnTo>
                <a:lnTo>
                  <a:pt x="134" y="66"/>
                </a:lnTo>
                <a:lnTo>
                  <a:pt x="134" y="66"/>
                </a:lnTo>
                <a:lnTo>
                  <a:pt x="136" y="72"/>
                </a:lnTo>
                <a:lnTo>
                  <a:pt x="140" y="78"/>
                </a:lnTo>
                <a:lnTo>
                  <a:pt x="144" y="84"/>
                </a:lnTo>
                <a:lnTo>
                  <a:pt x="150" y="88"/>
                </a:lnTo>
                <a:lnTo>
                  <a:pt x="150" y="88"/>
                </a:lnTo>
                <a:lnTo>
                  <a:pt x="158" y="92"/>
                </a:lnTo>
                <a:lnTo>
                  <a:pt x="168" y="92"/>
                </a:lnTo>
                <a:lnTo>
                  <a:pt x="168" y="92"/>
                </a:lnTo>
                <a:lnTo>
                  <a:pt x="178" y="92"/>
                </a:lnTo>
                <a:lnTo>
                  <a:pt x="186" y="88"/>
                </a:lnTo>
                <a:lnTo>
                  <a:pt x="194" y="82"/>
                </a:lnTo>
                <a:lnTo>
                  <a:pt x="198" y="74"/>
                </a:lnTo>
                <a:lnTo>
                  <a:pt x="212" y="52"/>
                </a:lnTo>
                <a:lnTo>
                  <a:pt x="288" y="92"/>
                </a:lnTo>
                <a:lnTo>
                  <a:pt x="288" y="92"/>
                </a:lnTo>
                <a:lnTo>
                  <a:pt x="290" y="94"/>
                </a:lnTo>
                <a:lnTo>
                  <a:pt x="294" y="98"/>
                </a:lnTo>
                <a:lnTo>
                  <a:pt x="294" y="98"/>
                </a:lnTo>
                <a:lnTo>
                  <a:pt x="294" y="100"/>
                </a:lnTo>
                <a:lnTo>
                  <a:pt x="294" y="100"/>
                </a:lnTo>
                <a:lnTo>
                  <a:pt x="296" y="100"/>
                </a:lnTo>
                <a:lnTo>
                  <a:pt x="318" y="136"/>
                </a:lnTo>
                <a:lnTo>
                  <a:pt x="318" y="136"/>
                </a:lnTo>
                <a:lnTo>
                  <a:pt x="320" y="144"/>
                </a:lnTo>
                <a:lnTo>
                  <a:pt x="320" y="150"/>
                </a:lnTo>
                <a:lnTo>
                  <a:pt x="316" y="158"/>
                </a:lnTo>
                <a:lnTo>
                  <a:pt x="310" y="162"/>
                </a:lnTo>
                <a:lnTo>
                  <a:pt x="310" y="162"/>
                </a:lnTo>
                <a:close/>
                <a:moveTo>
                  <a:pt x="134" y="132"/>
                </a:moveTo>
                <a:lnTo>
                  <a:pt x="134" y="132"/>
                </a:lnTo>
                <a:lnTo>
                  <a:pt x="128" y="132"/>
                </a:lnTo>
                <a:lnTo>
                  <a:pt x="124" y="134"/>
                </a:lnTo>
                <a:lnTo>
                  <a:pt x="120" y="138"/>
                </a:lnTo>
                <a:lnTo>
                  <a:pt x="118" y="142"/>
                </a:lnTo>
                <a:lnTo>
                  <a:pt x="102" y="170"/>
                </a:lnTo>
                <a:lnTo>
                  <a:pt x="102" y="170"/>
                </a:lnTo>
                <a:lnTo>
                  <a:pt x="98" y="176"/>
                </a:lnTo>
                <a:lnTo>
                  <a:pt x="100" y="184"/>
                </a:lnTo>
                <a:lnTo>
                  <a:pt x="102" y="190"/>
                </a:lnTo>
                <a:lnTo>
                  <a:pt x="108" y="194"/>
                </a:lnTo>
                <a:lnTo>
                  <a:pt x="108" y="194"/>
                </a:lnTo>
                <a:lnTo>
                  <a:pt x="112" y="196"/>
                </a:lnTo>
                <a:lnTo>
                  <a:pt x="118" y="198"/>
                </a:lnTo>
                <a:lnTo>
                  <a:pt x="118" y="198"/>
                </a:lnTo>
                <a:lnTo>
                  <a:pt x="122" y="196"/>
                </a:lnTo>
                <a:lnTo>
                  <a:pt x="128" y="194"/>
                </a:lnTo>
                <a:lnTo>
                  <a:pt x="128" y="194"/>
                </a:lnTo>
                <a:lnTo>
                  <a:pt x="128" y="198"/>
                </a:lnTo>
                <a:lnTo>
                  <a:pt x="130" y="204"/>
                </a:lnTo>
                <a:lnTo>
                  <a:pt x="132" y="208"/>
                </a:lnTo>
                <a:lnTo>
                  <a:pt x="138" y="212"/>
                </a:lnTo>
                <a:lnTo>
                  <a:pt x="138" y="212"/>
                </a:lnTo>
                <a:lnTo>
                  <a:pt x="142" y="214"/>
                </a:lnTo>
                <a:lnTo>
                  <a:pt x="146" y="214"/>
                </a:lnTo>
                <a:lnTo>
                  <a:pt x="146" y="214"/>
                </a:lnTo>
                <a:lnTo>
                  <a:pt x="152" y="214"/>
                </a:lnTo>
                <a:lnTo>
                  <a:pt x="156" y="212"/>
                </a:lnTo>
                <a:lnTo>
                  <a:pt x="160" y="208"/>
                </a:lnTo>
                <a:lnTo>
                  <a:pt x="162" y="204"/>
                </a:lnTo>
                <a:lnTo>
                  <a:pt x="166" y="200"/>
                </a:lnTo>
                <a:lnTo>
                  <a:pt x="166" y="200"/>
                </a:lnTo>
                <a:lnTo>
                  <a:pt x="168" y="208"/>
                </a:lnTo>
                <a:lnTo>
                  <a:pt x="170" y="212"/>
                </a:lnTo>
                <a:lnTo>
                  <a:pt x="174" y="216"/>
                </a:lnTo>
                <a:lnTo>
                  <a:pt x="174" y="216"/>
                </a:lnTo>
                <a:lnTo>
                  <a:pt x="178" y="218"/>
                </a:lnTo>
                <a:lnTo>
                  <a:pt x="184" y="218"/>
                </a:lnTo>
                <a:lnTo>
                  <a:pt x="184" y="218"/>
                </a:lnTo>
                <a:lnTo>
                  <a:pt x="188" y="218"/>
                </a:lnTo>
                <a:lnTo>
                  <a:pt x="192" y="216"/>
                </a:lnTo>
                <a:lnTo>
                  <a:pt x="196" y="212"/>
                </a:lnTo>
                <a:lnTo>
                  <a:pt x="200" y="208"/>
                </a:lnTo>
                <a:lnTo>
                  <a:pt x="208" y="194"/>
                </a:lnTo>
                <a:lnTo>
                  <a:pt x="208" y="194"/>
                </a:lnTo>
                <a:lnTo>
                  <a:pt x="210" y="188"/>
                </a:lnTo>
                <a:lnTo>
                  <a:pt x="210" y="180"/>
                </a:lnTo>
                <a:lnTo>
                  <a:pt x="206" y="174"/>
                </a:lnTo>
                <a:lnTo>
                  <a:pt x="202" y="168"/>
                </a:lnTo>
                <a:lnTo>
                  <a:pt x="202" y="168"/>
                </a:lnTo>
                <a:lnTo>
                  <a:pt x="196" y="166"/>
                </a:lnTo>
                <a:lnTo>
                  <a:pt x="192" y="166"/>
                </a:lnTo>
                <a:lnTo>
                  <a:pt x="192" y="166"/>
                </a:lnTo>
                <a:lnTo>
                  <a:pt x="186" y="168"/>
                </a:lnTo>
                <a:lnTo>
                  <a:pt x="182" y="170"/>
                </a:lnTo>
                <a:lnTo>
                  <a:pt x="182" y="170"/>
                </a:lnTo>
                <a:lnTo>
                  <a:pt x="180" y="164"/>
                </a:lnTo>
                <a:lnTo>
                  <a:pt x="180" y="160"/>
                </a:lnTo>
                <a:lnTo>
                  <a:pt x="176" y="156"/>
                </a:lnTo>
                <a:lnTo>
                  <a:pt x="172" y="152"/>
                </a:lnTo>
                <a:lnTo>
                  <a:pt x="172" y="152"/>
                </a:lnTo>
                <a:lnTo>
                  <a:pt x="168" y="150"/>
                </a:lnTo>
                <a:lnTo>
                  <a:pt x="162" y="150"/>
                </a:lnTo>
                <a:lnTo>
                  <a:pt x="162" y="150"/>
                </a:lnTo>
                <a:lnTo>
                  <a:pt x="156" y="150"/>
                </a:lnTo>
                <a:lnTo>
                  <a:pt x="152" y="152"/>
                </a:lnTo>
                <a:lnTo>
                  <a:pt x="152" y="152"/>
                </a:lnTo>
                <a:lnTo>
                  <a:pt x="152" y="148"/>
                </a:lnTo>
                <a:lnTo>
                  <a:pt x="150" y="142"/>
                </a:lnTo>
                <a:lnTo>
                  <a:pt x="146" y="138"/>
                </a:lnTo>
                <a:lnTo>
                  <a:pt x="142" y="134"/>
                </a:lnTo>
                <a:lnTo>
                  <a:pt x="142" y="134"/>
                </a:lnTo>
                <a:lnTo>
                  <a:pt x="138" y="132"/>
                </a:lnTo>
                <a:lnTo>
                  <a:pt x="134" y="132"/>
                </a:lnTo>
                <a:close/>
                <a:moveTo>
                  <a:pt x="378" y="0"/>
                </a:moveTo>
                <a:lnTo>
                  <a:pt x="316" y="18"/>
                </a:lnTo>
                <a:lnTo>
                  <a:pt x="366" y="184"/>
                </a:lnTo>
                <a:lnTo>
                  <a:pt x="386" y="178"/>
                </a:lnTo>
                <a:lnTo>
                  <a:pt x="386" y="178"/>
                </a:lnTo>
                <a:lnTo>
                  <a:pt x="394" y="160"/>
                </a:lnTo>
                <a:lnTo>
                  <a:pt x="398" y="140"/>
                </a:lnTo>
                <a:lnTo>
                  <a:pt x="402" y="118"/>
                </a:lnTo>
                <a:lnTo>
                  <a:pt x="404" y="96"/>
                </a:lnTo>
                <a:lnTo>
                  <a:pt x="404" y="96"/>
                </a:lnTo>
                <a:lnTo>
                  <a:pt x="402" y="70"/>
                </a:lnTo>
                <a:lnTo>
                  <a:pt x="398" y="46"/>
                </a:lnTo>
                <a:lnTo>
                  <a:pt x="390" y="22"/>
                </a:lnTo>
                <a:lnTo>
                  <a:pt x="378" y="0"/>
                </a:lnTo>
                <a:lnTo>
                  <a:pt x="378" y="0"/>
                </a:lnTo>
                <a:close/>
                <a:moveTo>
                  <a:pt x="26" y="0"/>
                </a:moveTo>
                <a:lnTo>
                  <a:pt x="26" y="0"/>
                </a:lnTo>
                <a:lnTo>
                  <a:pt x="14" y="22"/>
                </a:lnTo>
                <a:lnTo>
                  <a:pt x="6" y="46"/>
                </a:lnTo>
                <a:lnTo>
                  <a:pt x="2" y="70"/>
                </a:lnTo>
                <a:lnTo>
                  <a:pt x="0" y="96"/>
                </a:lnTo>
                <a:lnTo>
                  <a:pt x="0" y="96"/>
                </a:lnTo>
                <a:lnTo>
                  <a:pt x="2" y="118"/>
                </a:lnTo>
                <a:lnTo>
                  <a:pt x="6" y="140"/>
                </a:lnTo>
                <a:lnTo>
                  <a:pt x="10" y="160"/>
                </a:lnTo>
                <a:lnTo>
                  <a:pt x="18" y="178"/>
                </a:lnTo>
                <a:lnTo>
                  <a:pt x="40" y="184"/>
                </a:lnTo>
                <a:lnTo>
                  <a:pt x="88" y="18"/>
                </a:lnTo>
                <a:lnTo>
                  <a:pt x="26" y="0"/>
                </a:lnTo>
                <a:close/>
                <a:moveTo>
                  <a:pt x="90" y="164"/>
                </a:moveTo>
                <a:lnTo>
                  <a:pt x="96" y="154"/>
                </a:lnTo>
                <a:lnTo>
                  <a:pt x="74" y="142"/>
                </a:lnTo>
                <a:lnTo>
                  <a:pt x="74" y="142"/>
                </a:lnTo>
                <a:lnTo>
                  <a:pt x="70" y="138"/>
                </a:lnTo>
                <a:lnTo>
                  <a:pt x="68" y="142"/>
                </a:lnTo>
                <a:lnTo>
                  <a:pt x="68" y="142"/>
                </a:lnTo>
                <a:lnTo>
                  <a:pt x="64" y="150"/>
                </a:lnTo>
                <a:lnTo>
                  <a:pt x="66" y="158"/>
                </a:lnTo>
                <a:lnTo>
                  <a:pt x="68" y="164"/>
                </a:lnTo>
                <a:lnTo>
                  <a:pt x="74" y="170"/>
                </a:lnTo>
                <a:lnTo>
                  <a:pt x="74" y="170"/>
                </a:lnTo>
                <a:lnTo>
                  <a:pt x="80" y="172"/>
                </a:lnTo>
                <a:lnTo>
                  <a:pt x="84" y="172"/>
                </a:lnTo>
                <a:lnTo>
                  <a:pt x="84" y="172"/>
                </a:lnTo>
                <a:lnTo>
                  <a:pt x="88" y="172"/>
                </a:lnTo>
                <a:lnTo>
                  <a:pt x="88" y="172"/>
                </a:lnTo>
                <a:lnTo>
                  <a:pt x="90" y="164"/>
                </a:lnTo>
                <a:lnTo>
                  <a:pt x="90" y="164"/>
                </a:lnTo>
                <a:close/>
                <a:moveTo>
                  <a:pt x="328" y="106"/>
                </a:moveTo>
                <a:lnTo>
                  <a:pt x="306" y="34"/>
                </a:lnTo>
                <a:lnTo>
                  <a:pt x="306" y="34"/>
                </a:lnTo>
                <a:lnTo>
                  <a:pt x="304" y="30"/>
                </a:lnTo>
                <a:lnTo>
                  <a:pt x="300" y="26"/>
                </a:lnTo>
                <a:lnTo>
                  <a:pt x="296" y="24"/>
                </a:lnTo>
                <a:lnTo>
                  <a:pt x="292" y="22"/>
                </a:lnTo>
                <a:lnTo>
                  <a:pt x="230" y="8"/>
                </a:lnTo>
                <a:lnTo>
                  <a:pt x="230" y="8"/>
                </a:lnTo>
                <a:lnTo>
                  <a:pt x="230" y="8"/>
                </a:lnTo>
                <a:lnTo>
                  <a:pt x="194" y="2"/>
                </a:lnTo>
                <a:lnTo>
                  <a:pt x="194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0"/>
                </a:lnTo>
                <a:lnTo>
                  <a:pt x="190" y="0"/>
                </a:lnTo>
                <a:lnTo>
                  <a:pt x="190" y="0"/>
                </a:lnTo>
                <a:lnTo>
                  <a:pt x="190" y="0"/>
                </a:lnTo>
                <a:lnTo>
                  <a:pt x="188" y="0"/>
                </a:lnTo>
                <a:lnTo>
                  <a:pt x="188" y="0"/>
                </a:lnTo>
                <a:lnTo>
                  <a:pt x="182" y="2"/>
                </a:lnTo>
                <a:lnTo>
                  <a:pt x="176" y="4"/>
                </a:lnTo>
                <a:lnTo>
                  <a:pt x="170" y="8"/>
                </a:lnTo>
                <a:lnTo>
                  <a:pt x="166" y="12"/>
                </a:lnTo>
                <a:lnTo>
                  <a:pt x="148" y="44"/>
                </a:lnTo>
                <a:lnTo>
                  <a:pt x="148" y="44"/>
                </a:lnTo>
                <a:lnTo>
                  <a:pt x="144" y="54"/>
                </a:lnTo>
                <a:lnTo>
                  <a:pt x="146" y="62"/>
                </a:lnTo>
                <a:lnTo>
                  <a:pt x="150" y="72"/>
                </a:lnTo>
                <a:lnTo>
                  <a:pt x="156" y="78"/>
                </a:lnTo>
                <a:lnTo>
                  <a:pt x="156" y="78"/>
                </a:lnTo>
                <a:lnTo>
                  <a:pt x="162" y="80"/>
                </a:lnTo>
                <a:lnTo>
                  <a:pt x="168" y="80"/>
                </a:lnTo>
                <a:lnTo>
                  <a:pt x="168" y="80"/>
                </a:lnTo>
                <a:lnTo>
                  <a:pt x="174" y="80"/>
                </a:lnTo>
                <a:lnTo>
                  <a:pt x="180" y="78"/>
                </a:lnTo>
                <a:lnTo>
                  <a:pt x="184" y="74"/>
                </a:lnTo>
                <a:lnTo>
                  <a:pt x="188" y="68"/>
                </a:lnTo>
                <a:lnTo>
                  <a:pt x="208" y="36"/>
                </a:lnTo>
                <a:lnTo>
                  <a:pt x="292" y="82"/>
                </a:lnTo>
                <a:lnTo>
                  <a:pt x="292" y="82"/>
                </a:lnTo>
                <a:lnTo>
                  <a:pt x="298" y="86"/>
                </a:lnTo>
                <a:lnTo>
                  <a:pt x="304" y="90"/>
                </a:lnTo>
                <a:lnTo>
                  <a:pt x="304" y="90"/>
                </a:lnTo>
                <a:lnTo>
                  <a:pt x="304" y="94"/>
                </a:lnTo>
                <a:lnTo>
                  <a:pt x="304" y="94"/>
                </a:lnTo>
                <a:lnTo>
                  <a:pt x="306" y="94"/>
                </a:lnTo>
                <a:lnTo>
                  <a:pt x="324" y="124"/>
                </a:lnTo>
                <a:lnTo>
                  <a:pt x="324" y="124"/>
                </a:lnTo>
                <a:lnTo>
                  <a:pt x="326" y="120"/>
                </a:lnTo>
                <a:lnTo>
                  <a:pt x="328" y="116"/>
                </a:lnTo>
                <a:lnTo>
                  <a:pt x="330" y="110"/>
                </a:lnTo>
                <a:lnTo>
                  <a:pt x="328" y="106"/>
                </a:lnTo>
                <a:lnTo>
                  <a:pt x="328" y="10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99" name="Group 98"/>
          <p:cNvGrpSpPr/>
          <p:nvPr/>
        </p:nvGrpSpPr>
        <p:grpSpPr>
          <a:xfrm>
            <a:off x="4155926" y="3183854"/>
            <a:ext cx="243217" cy="366364"/>
            <a:chOff x="3714626" y="3920157"/>
            <a:chExt cx="376238" cy="566737"/>
          </a:xfrm>
        </p:grpSpPr>
        <p:sp>
          <p:nvSpPr>
            <p:cNvPr id="100" name="Freeform 157"/>
            <p:cNvSpPr>
              <a:spLocks/>
            </p:cNvSpPr>
            <p:nvPr/>
          </p:nvSpPr>
          <p:spPr bwMode="auto">
            <a:xfrm>
              <a:off x="3797176" y="4404344"/>
              <a:ext cx="211138" cy="82550"/>
            </a:xfrm>
            <a:custGeom>
              <a:avLst/>
              <a:gdLst>
                <a:gd name="T0" fmla="*/ 119 w 133"/>
                <a:gd name="T1" fmla="*/ 0 h 52"/>
                <a:gd name="T2" fmla="*/ 14 w 133"/>
                <a:gd name="T3" fmla="*/ 0 h 52"/>
                <a:gd name="T4" fmla="*/ 14 w 133"/>
                <a:gd name="T5" fmla="*/ 0 h 52"/>
                <a:gd name="T6" fmla="*/ 8 w 133"/>
                <a:gd name="T7" fmla="*/ 2 h 52"/>
                <a:gd name="T8" fmla="*/ 4 w 133"/>
                <a:gd name="T9" fmla="*/ 4 h 52"/>
                <a:gd name="T10" fmla="*/ 0 w 133"/>
                <a:gd name="T11" fmla="*/ 9 h 52"/>
                <a:gd name="T12" fmla="*/ 0 w 133"/>
                <a:gd name="T13" fmla="*/ 14 h 52"/>
                <a:gd name="T14" fmla="*/ 0 w 133"/>
                <a:gd name="T15" fmla="*/ 14 h 52"/>
                <a:gd name="T16" fmla="*/ 0 w 133"/>
                <a:gd name="T17" fmla="*/ 20 h 52"/>
                <a:gd name="T18" fmla="*/ 4 w 133"/>
                <a:gd name="T19" fmla="*/ 25 h 52"/>
                <a:gd name="T20" fmla="*/ 8 w 133"/>
                <a:gd name="T21" fmla="*/ 29 h 52"/>
                <a:gd name="T22" fmla="*/ 14 w 133"/>
                <a:gd name="T23" fmla="*/ 29 h 52"/>
                <a:gd name="T24" fmla="*/ 36 w 133"/>
                <a:gd name="T25" fmla="*/ 29 h 52"/>
                <a:gd name="T26" fmla="*/ 36 w 133"/>
                <a:gd name="T27" fmla="*/ 29 h 52"/>
                <a:gd name="T28" fmla="*/ 36 w 133"/>
                <a:gd name="T29" fmla="*/ 30 h 52"/>
                <a:gd name="T30" fmla="*/ 36 w 133"/>
                <a:gd name="T31" fmla="*/ 30 h 52"/>
                <a:gd name="T32" fmla="*/ 37 w 133"/>
                <a:gd name="T33" fmla="*/ 35 h 52"/>
                <a:gd name="T34" fmla="*/ 39 w 133"/>
                <a:gd name="T35" fmla="*/ 39 h 52"/>
                <a:gd name="T36" fmla="*/ 41 w 133"/>
                <a:gd name="T37" fmla="*/ 42 h 52"/>
                <a:gd name="T38" fmla="*/ 44 w 133"/>
                <a:gd name="T39" fmla="*/ 45 h 52"/>
                <a:gd name="T40" fmla="*/ 54 w 133"/>
                <a:gd name="T41" fmla="*/ 50 h 52"/>
                <a:gd name="T42" fmla="*/ 66 w 133"/>
                <a:gd name="T43" fmla="*/ 52 h 52"/>
                <a:gd name="T44" fmla="*/ 66 w 133"/>
                <a:gd name="T45" fmla="*/ 52 h 52"/>
                <a:gd name="T46" fmla="*/ 79 w 133"/>
                <a:gd name="T47" fmla="*/ 50 h 52"/>
                <a:gd name="T48" fmla="*/ 87 w 133"/>
                <a:gd name="T49" fmla="*/ 45 h 52"/>
                <a:gd name="T50" fmla="*/ 92 w 133"/>
                <a:gd name="T51" fmla="*/ 42 h 52"/>
                <a:gd name="T52" fmla="*/ 95 w 133"/>
                <a:gd name="T53" fmla="*/ 39 h 52"/>
                <a:gd name="T54" fmla="*/ 96 w 133"/>
                <a:gd name="T55" fmla="*/ 35 h 52"/>
                <a:gd name="T56" fmla="*/ 97 w 133"/>
                <a:gd name="T57" fmla="*/ 30 h 52"/>
                <a:gd name="T58" fmla="*/ 97 w 133"/>
                <a:gd name="T59" fmla="*/ 30 h 52"/>
                <a:gd name="T60" fmla="*/ 96 w 133"/>
                <a:gd name="T61" fmla="*/ 29 h 52"/>
                <a:gd name="T62" fmla="*/ 119 w 133"/>
                <a:gd name="T63" fmla="*/ 29 h 52"/>
                <a:gd name="T64" fmla="*/ 119 w 133"/>
                <a:gd name="T65" fmla="*/ 29 h 52"/>
                <a:gd name="T66" fmla="*/ 125 w 133"/>
                <a:gd name="T67" fmla="*/ 29 h 52"/>
                <a:gd name="T68" fmla="*/ 129 w 133"/>
                <a:gd name="T69" fmla="*/ 25 h 52"/>
                <a:gd name="T70" fmla="*/ 132 w 133"/>
                <a:gd name="T71" fmla="*/ 20 h 52"/>
                <a:gd name="T72" fmla="*/ 133 w 133"/>
                <a:gd name="T73" fmla="*/ 14 h 52"/>
                <a:gd name="T74" fmla="*/ 133 w 133"/>
                <a:gd name="T75" fmla="*/ 14 h 52"/>
                <a:gd name="T76" fmla="*/ 132 w 133"/>
                <a:gd name="T77" fmla="*/ 9 h 52"/>
                <a:gd name="T78" fmla="*/ 129 w 133"/>
                <a:gd name="T79" fmla="*/ 4 h 52"/>
                <a:gd name="T80" fmla="*/ 125 w 133"/>
                <a:gd name="T81" fmla="*/ 2 h 52"/>
                <a:gd name="T82" fmla="*/ 119 w 133"/>
                <a:gd name="T83" fmla="*/ 0 h 52"/>
                <a:gd name="T84" fmla="*/ 119 w 133"/>
                <a:gd name="T8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3" h="52">
                  <a:moveTo>
                    <a:pt x="119" y="0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0" y="9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4" y="25"/>
                  </a:lnTo>
                  <a:lnTo>
                    <a:pt x="8" y="29"/>
                  </a:lnTo>
                  <a:lnTo>
                    <a:pt x="14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7" y="35"/>
                  </a:lnTo>
                  <a:lnTo>
                    <a:pt x="39" y="39"/>
                  </a:lnTo>
                  <a:lnTo>
                    <a:pt x="41" y="42"/>
                  </a:lnTo>
                  <a:lnTo>
                    <a:pt x="44" y="45"/>
                  </a:lnTo>
                  <a:lnTo>
                    <a:pt x="54" y="50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79" y="50"/>
                  </a:lnTo>
                  <a:lnTo>
                    <a:pt x="87" y="45"/>
                  </a:lnTo>
                  <a:lnTo>
                    <a:pt x="92" y="42"/>
                  </a:lnTo>
                  <a:lnTo>
                    <a:pt x="95" y="39"/>
                  </a:lnTo>
                  <a:lnTo>
                    <a:pt x="96" y="35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6" y="29"/>
                  </a:lnTo>
                  <a:lnTo>
                    <a:pt x="119" y="29"/>
                  </a:lnTo>
                  <a:lnTo>
                    <a:pt x="119" y="29"/>
                  </a:lnTo>
                  <a:lnTo>
                    <a:pt x="125" y="29"/>
                  </a:lnTo>
                  <a:lnTo>
                    <a:pt x="129" y="25"/>
                  </a:lnTo>
                  <a:lnTo>
                    <a:pt x="132" y="20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2" y="9"/>
                  </a:lnTo>
                  <a:lnTo>
                    <a:pt x="129" y="4"/>
                  </a:lnTo>
                  <a:lnTo>
                    <a:pt x="125" y="2"/>
                  </a:lnTo>
                  <a:lnTo>
                    <a:pt x="119" y="0"/>
                  </a:lnTo>
                  <a:lnTo>
                    <a:pt x="1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1" name="Freeform 158"/>
            <p:cNvSpPr>
              <a:spLocks noEditPoints="1"/>
            </p:cNvSpPr>
            <p:nvPr/>
          </p:nvSpPr>
          <p:spPr bwMode="auto">
            <a:xfrm>
              <a:off x="3714626" y="3920157"/>
              <a:ext cx="376238" cy="415925"/>
            </a:xfrm>
            <a:custGeom>
              <a:avLst/>
              <a:gdLst>
                <a:gd name="T0" fmla="*/ 237 w 237"/>
                <a:gd name="T1" fmla="*/ 107 h 262"/>
                <a:gd name="T2" fmla="*/ 229 w 237"/>
                <a:gd name="T3" fmla="*/ 72 h 262"/>
                <a:gd name="T4" fmla="*/ 210 w 237"/>
                <a:gd name="T5" fmla="*/ 42 h 262"/>
                <a:gd name="T6" fmla="*/ 185 w 237"/>
                <a:gd name="T7" fmla="*/ 19 h 262"/>
                <a:gd name="T8" fmla="*/ 154 w 237"/>
                <a:gd name="T9" fmla="*/ 5 h 262"/>
                <a:gd name="T10" fmla="*/ 118 w 237"/>
                <a:gd name="T11" fmla="*/ 0 h 262"/>
                <a:gd name="T12" fmla="*/ 95 w 237"/>
                <a:gd name="T13" fmla="*/ 2 h 262"/>
                <a:gd name="T14" fmla="*/ 62 w 237"/>
                <a:gd name="T15" fmla="*/ 13 h 262"/>
                <a:gd name="T16" fmla="*/ 35 w 237"/>
                <a:gd name="T17" fmla="*/ 33 h 262"/>
                <a:gd name="T18" fmla="*/ 14 w 237"/>
                <a:gd name="T19" fmla="*/ 61 h 262"/>
                <a:gd name="T20" fmla="*/ 1 w 237"/>
                <a:gd name="T21" fmla="*/ 94 h 262"/>
                <a:gd name="T22" fmla="*/ 0 w 237"/>
                <a:gd name="T23" fmla="*/ 118 h 262"/>
                <a:gd name="T24" fmla="*/ 4 w 237"/>
                <a:gd name="T25" fmla="*/ 148 h 262"/>
                <a:gd name="T26" fmla="*/ 26 w 237"/>
                <a:gd name="T27" fmla="*/ 190 h 262"/>
                <a:gd name="T28" fmla="*/ 47 w 237"/>
                <a:gd name="T29" fmla="*/ 233 h 262"/>
                <a:gd name="T30" fmla="*/ 52 w 237"/>
                <a:gd name="T31" fmla="*/ 262 h 262"/>
                <a:gd name="T32" fmla="*/ 188 w 237"/>
                <a:gd name="T33" fmla="*/ 252 h 262"/>
                <a:gd name="T34" fmla="*/ 195 w 237"/>
                <a:gd name="T35" fmla="*/ 223 h 262"/>
                <a:gd name="T36" fmla="*/ 221 w 237"/>
                <a:gd name="T37" fmla="*/ 173 h 262"/>
                <a:gd name="T38" fmla="*/ 237 w 237"/>
                <a:gd name="T39" fmla="*/ 130 h 262"/>
                <a:gd name="T40" fmla="*/ 118 w 237"/>
                <a:gd name="T41" fmla="*/ 29 h 262"/>
                <a:gd name="T42" fmla="*/ 128 w 237"/>
                <a:gd name="T43" fmla="*/ 31 h 262"/>
                <a:gd name="T44" fmla="*/ 138 w 237"/>
                <a:gd name="T45" fmla="*/ 39 h 262"/>
                <a:gd name="T46" fmla="*/ 142 w 237"/>
                <a:gd name="T47" fmla="*/ 52 h 262"/>
                <a:gd name="T48" fmla="*/ 141 w 237"/>
                <a:gd name="T49" fmla="*/ 62 h 262"/>
                <a:gd name="T50" fmla="*/ 131 w 237"/>
                <a:gd name="T51" fmla="*/ 72 h 262"/>
                <a:gd name="T52" fmla="*/ 118 w 237"/>
                <a:gd name="T53" fmla="*/ 77 h 262"/>
                <a:gd name="T54" fmla="*/ 109 w 237"/>
                <a:gd name="T55" fmla="*/ 75 h 262"/>
                <a:gd name="T56" fmla="*/ 98 w 237"/>
                <a:gd name="T57" fmla="*/ 67 h 262"/>
                <a:gd name="T58" fmla="*/ 93 w 237"/>
                <a:gd name="T59" fmla="*/ 52 h 262"/>
                <a:gd name="T60" fmla="*/ 96 w 237"/>
                <a:gd name="T61" fmla="*/ 44 h 262"/>
                <a:gd name="T62" fmla="*/ 105 w 237"/>
                <a:gd name="T63" fmla="*/ 32 h 262"/>
                <a:gd name="T64" fmla="*/ 118 w 237"/>
                <a:gd name="T65" fmla="*/ 29 h 262"/>
                <a:gd name="T66" fmla="*/ 165 w 237"/>
                <a:gd name="T67" fmla="*/ 148 h 262"/>
                <a:gd name="T68" fmla="*/ 154 w 237"/>
                <a:gd name="T69" fmla="*/ 167 h 262"/>
                <a:gd name="T70" fmla="*/ 145 w 237"/>
                <a:gd name="T71" fmla="*/ 169 h 262"/>
                <a:gd name="T72" fmla="*/ 147 w 237"/>
                <a:gd name="T73" fmla="*/ 243 h 262"/>
                <a:gd name="T74" fmla="*/ 138 w 237"/>
                <a:gd name="T75" fmla="*/ 256 h 262"/>
                <a:gd name="T76" fmla="*/ 126 w 237"/>
                <a:gd name="T77" fmla="*/ 256 h 262"/>
                <a:gd name="T78" fmla="*/ 118 w 237"/>
                <a:gd name="T79" fmla="*/ 243 h 262"/>
                <a:gd name="T80" fmla="*/ 114 w 237"/>
                <a:gd name="T81" fmla="*/ 253 h 262"/>
                <a:gd name="T82" fmla="*/ 105 w 237"/>
                <a:gd name="T83" fmla="*/ 258 h 262"/>
                <a:gd name="T84" fmla="*/ 92 w 237"/>
                <a:gd name="T85" fmla="*/ 249 h 262"/>
                <a:gd name="T86" fmla="*/ 91 w 237"/>
                <a:gd name="T87" fmla="*/ 174 h 262"/>
                <a:gd name="T88" fmla="*/ 91 w 237"/>
                <a:gd name="T89" fmla="*/ 169 h 262"/>
                <a:gd name="T90" fmla="*/ 73 w 237"/>
                <a:gd name="T91" fmla="*/ 157 h 262"/>
                <a:gd name="T92" fmla="*/ 72 w 237"/>
                <a:gd name="T93" fmla="*/ 105 h 262"/>
                <a:gd name="T94" fmla="*/ 83 w 237"/>
                <a:gd name="T95" fmla="*/ 88 h 262"/>
                <a:gd name="T96" fmla="*/ 118 w 237"/>
                <a:gd name="T97" fmla="*/ 107 h 262"/>
                <a:gd name="T98" fmla="*/ 145 w 237"/>
                <a:gd name="T99" fmla="*/ 87 h 262"/>
                <a:gd name="T100" fmla="*/ 164 w 237"/>
                <a:gd name="T101" fmla="*/ 98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7" h="262">
                  <a:moveTo>
                    <a:pt x="237" y="118"/>
                  </a:moveTo>
                  <a:lnTo>
                    <a:pt x="237" y="118"/>
                  </a:lnTo>
                  <a:lnTo>
                    <a:pt x="237" y="107"/>
                  </a:lnTo>
                  <a:lnTo>
                    <a:pt x="234" y="94"/>
                  </a:lnTo>
                  <a:lnTo>
                    <a:pt x="231" y="82"/>
                  </a:lnTo>
                  <a:lnTo>
                    <a:pt x="229" y="72"/>
                  </a:lnTo>
                  <a:lnTo>
                    <a:pt x="223" y="61"/>
                  </a:lnTo>
                  <a:lnTo>
                    <a:pt x="217" y="52"/>
                  </a:lnTo>
                  <a:lnTo>
                    <a:pt x="210" y="42"/>
                  </a:lnTo>
                  <a:lnTo>
                    <a:pt x="203" y="33"/>
                  </a:lnTo>
                  <a:lnTo>
                    <a:pt x="194" y="26"/>
                  </a:lnTo>
                  <a:lnTo>
                    <a:pt x="185" y="19"/>
                  </a:lnTo>
                  <a:lnTo>
                    <a:pt x="175" y="13"/>
                  </a:lnTo>
                  <a:lnTo>
                    <a:pt x="165" y="9"/>
                  </a:lnTo>
                  <a:lnTo>
                    <a:pt x="154" y="5"/>
                  </a:lnTo>
                  <a:lnTo>
                    <a:pt x="142" y="2"/>
                  </a:lnTo>
                  <a:lnTo>
                    <a:pt x="131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06" y="0"/>
                  </a:lnTo>
                  <a:lnTo>
                    <a:pt x="95" y="2"/>
                  </a:lnTo>
                  <a:lnTo>
                    <a:pt x="83" y="5"/>
                  </a:lnTo>
                  <a:lnTo>
                    <a:pt x="72" y="9"/>
                  </a:lnTo>
                  <a:lnTo>
                    <a:pt x="62" y="13"/>
                  </a:lnTo>
                  <a:lnTo>
                    <a:pt x="52" y="19"/>
                  </a:lnTo>
                  <a:lnTo>
                    <a:pt x="43" y="26"/>
                  </a:lnTo>
                  <a:lnTo>
                    <a:pt x="35" y="33"/>
                  </a:lnTo>
                  <a:lnTo>
                    <a:pt x="26" y="42"/>
                  </a:lnTo>
                  <a:lnTo>
                    <a:pt x="20" y="52"/>
                  </a:lnTo>
                  <a:lnTo>
                    <a:pt x="14" y="61"/>
                  </a:lnTo>
                  <a:lnTo>
                    <a:pt x="9" y="72"/>
                  </a:lnTo>
                  <a:lnTo>
                    <a:pt x="4" y="82"/>
                  </a:lnTo>
                  <a:lnTo>
                    <a:pt x="1" y="94"/>
                  </a:lnTo>
                  <a:lnTo>
                    <a:pt x="0" y="107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30"/>
                  </a:lnTo>
                  <a:lnTo>
                    <a:pt x="1" y="138"/>
                  </a:lnTo>
                  <a:lnTo>
                    <a:pt x="4" y="148"/>
                  </a:lnTo>
                  <a:lnTo>
                    <a:pt x="7" y="157"/>
                  </a:lnTo>
                  <a:lnTo>
                    <a:pt x="16" y="174"/>
                  </a:lnTo>
                  <a:lnTo>
                    <a:pt x="26" y="190"/>
                  </a:lnTo>
                  <a:lnTo>
                    <a:pt x="35" y="207"/>
                  </a:lnTo>
                  <a:lnTo>
                    <a:pt x="43" y="225"/>
                  </a:lnTo>
                  <a:lnTo>
                    <a:pt x="47" y="233"/>
                  </a:lnTo>
                  <a:lnTo>
                    <a:pt x="49" y="242"/>
                  </a:lnTo>
                  <a:lnTo>
                    <a:pt x="52" y="252"/>
                  </a:lnTo>
                  <a:lnTo>
                    <a:pt x="52" y="262"/>
                  </a:lnTo>
                  <a:lnTo>
                    <a:pt x="187" y="262"/>
                  </a:lnTo>
                  <a:lnTo>
                    <a:pt x="187" y="262"/>
                  </a:lnTo>
                  <a:lnTo>
                    <a:pt x="188" y="252"/>
                  </a:lnTo>
                  <a:lnTo>
                    <a:pt x="190" y="242"/>
                  </a:lnTo>
                  <a:lnTo>
                    <a:pt x="193" y="233"/>
                  </a:lnTo>
                  <a:lnTo>
                    <a:pt x="195" y="223"/>
                  </a:lnTo>
                  <a:lnTo>
                    <a:pt x="203" y="206"/>
                  </a:lnTo>
                  <a:lnTo>
                    <a:pt x="213" y="190"/>
                  </a:lnTo>
                  <a:lnTo>
                    <a:pt x="221" y="173"/>
                  </a:lnTo>
                  <a:lnTo>
                    <a:pt x="230" y="157"/>
                  </a:lnTo>
                  <a:lnTo>
                    <a:pt x="236" y="138"/>
                  </a:lnTo>
                  <a:lnTo>
                    <a:pt x="237" y="130"/>
                  </a:lnTo>
                  <a:lnTo>
                    <a:pt x="237" y="118"/>
                  </a:lnTo>
                  <a:lnTo>
                    <a:pt x="237" y="118"/>
                  </a:lnTo>
                  <a:close/>
                  <a:moveTo>
                    <a:pt x="118" y="29"/>
                  </a:moveTo>
                  <a:lnTo>
                    <a:pt x="118" y="29"/>
                  </a:lnTo>
                  <a:lnTo>
                    <a:pt x="122" y="29"/>
                  </a:lnTo>
                  <a:lnTo>
                    <a:pt x="128" y="31"/>
                  </a:lnTo>
                  <a:lnTo>
                    <a:pt x="131" y="32"/>
                  </a:lnTo>
                  <a:lnTo>
                    <a:pt x="135" y="35"/>
                  </a:lnTo>
                  <a:lnTo>
                    <a:pt x="138" y="39"/>
                  </a:lnTo>
                  <a:lnTo>
                    <a:pt x="141" y="44"/>
                  </a:lnTo>
                  <a:lnTo>
                    <a:pt x="142" y="48"/>
                  </a:lnTo>
                  <a:lnTo>
                    <a:pt x="142" y="52"/>
                  </a:lnTo>
                  <a:lnTo>
                    <a:pt x="142" y="52"/>
                  </a:lnTo>
                  <a:lnTo>
                    <a:pt x="142" y="58"/>
                  </a:lnTo>
                  <a:lnTo>
                    <a:pt x="141" y="62"/>
                  </a:lnTo>
                  <a:lnTo>
                    <a:pt x="138" y="67"/>
                  </a:lnTo>
                  <a:lnTo>
                    <a:pt x="135" y="69"/>
                  </a:lnTo>
                  <a:lnTo>
                    <a:pt x="131" y="72"/>
                  </a:lnTo>
                  <a:lnTo>
                    <a:pt x="128" y="75"/>
                  </a:lnTo>
                  <a:lnTo>
                    <a:pt x="122" y="77"/>
                  </a:lnTo>
                  <a:lnTo>
                    <a:pt x="118" y="77"/>
                  </a:lnTo>
                  <a:lnTo>
                    <a:pt x="118" y="77"/>
                  </a:lnTo>
                  <a:lnTo>
                    <a:pt x="114" y="77"/>
                  </a:lnTo>
                  <a:lnTo>
                    <a:pt x="109" y="75"/>
                  </a:lnTo>
                  <a:lnTo>
                    <a:pt x="105" y="72"/>
                  </a:lnTo>
                  <a:lnTo>
                    <a:pt x="101" y="69"/>
                  </a:lnTo>
                  <a:lnTo>
                    <a:pt x="98" y="67"/>
                  </a:lnTo>
                  <a:lnTo>
                    <a:pt x="96" y="62"/>
                  </a:lnTo>
                  <a:lnTo>
                    <a:pt x="95" y="58"/>
                  </a:lnTo>
                  <a:lnTo>
                    <a:pt x="93" y="52"/>
                  </a:lnTo>
                  <a:lnTo>
                    <a:pt x="93" y="52"/>
                  </a:lnTo>
                  <a:lnTo>
                    <a:pt x="95" y="48"/>
                  </a:lnTo>
                  <a:lnTo>
                    <a:pt x="96" y="44"/>
                  </a:lnTo>
                  <a:lnTo>
                    <a:pt x="98" y="39"/>
                  </a:lnTo>
                  <a:lnTo>
                    <a:pt x="101" y="35"/>
                  </a:lnTo>
                  <a:lnTo>
                    <a:pt x="105" y="32"/>
                  </a:lnTo>
                  <a:lnTo>
                    <a:pt x="109" y="31"/>
                  </a:lnTo>
                  <a:lnTo>
                    <a:pt x="114" y="29"/>
                  </a:lnTo>
                  <a:lnTo>
                    <a:pt x="118" y="29"/>
                  </a:lnTo>
                  <a:lnTo>
                    <a:pt x="118" y="29"/>
                  </a:lnTo>
                  <a:close/>
                  <a:moveTo>
                    <a:pt x="165" y="148"/>
                  </a:moveTo>
                  <a:lnTo>
                    <a:pt x="165" y="148"/>
                  </a:lnTo>
                  <a:lnTo>
                    <a:pt x="164" y="157"/>
                  </a:lnTo>
                  <a:lnTo>
                    <a:pt x="160" y="163"/>
                  </a:lnTo>
                  <a:lnTo>
                    <a:pt x="154" y="167"/>
                  </a:lnTo>
                  <a:lnTo>
                    <a:pt x="145" y="169"/>
                  </a:lnTo>
                  <a:lnTo>
                    <a:pt x="145" y="169"/>
                  </a:lnTo>
                  <a:lnTo>
                    <a:pt x="145" y="169"/>
                  </a:lnTo>
                  <a:lnTo>
                    <a:pt x="147" y="174"/>
                  </a:lnTo>
                  <a:lnTo>
                    <a:pt x="147" y="243"/>
                  </a:lnTo>
                  <a:lnTo>
                    <a:pt x="147" y="243"/>
                  </a:lnTo>
                  <a:lnTo>
                    <a:pt x="145" y="249"/>
                  </a:lnTo>
                  <a:lnTo>
                    <a:pt x="142" y="253"/>
                  </a:lnTo>
                  <a:lnTo>
                    <a:pt x="138" y="256"/>
                  </a:lnTo>
                  <a:lnTo>
                    <a:pt x="132" y="258"/>
                  </a:lnTo>
                  <a:lnTo>
                    <a:pt x="132" y="258"/>
                  </a:lnTo>
                  <a:lnTo>
                    <a:pt x="126" y="256"/>
                  </a:lnTo>
                  <a:lnTo>
                    <a:pt x="122" y="253"/>
                  </a:lnTo>
                  <a:lnTo>
                    <a:pt x="119" y="249"/>
                  </a:lnTo>
                  <a:lnTo>
                    <a:pt x="118" y="243"/>
                  </a:lnTo>
                  <a:lnTo>
                    <a:pt x="118" y="243"/>
                  </a:lnTo>
                  <a:lnTo>
                    <a:pt x="118" y="249"/>
                  </a:lnTo>
                  <a:lnTo>
                    <a:pt x="114" y="253"/>
                  </a:lnTo>
                  <a:lnTo>
                    <a:pt x="109" y="256"/>
                  </a:lnTo>
                  <a:lnTo>
                    <a:pt x="105" y="258"/>
                  </a:lnTo>
                  <a:lnTo>
                    <a:pt x="105" y="258"/>
                  </a:lnTo>
                  <a:lnTo>
                    <a:pt x="99" y="256"/>
                  </a:lnTo>
                  <a:lnTo>
                    <a:pt x="95" y="253"/>
                  </a:lnTo>
                  <a:lnTo>
                    <a:pt x="92" y="249"/>
                  </a:lnTo>
                  <a:lnTo>
                    <a:pt x="91" y="243"/>
                  </a:lnTo>
                  <a:lnTo>
                    <a:pt x="91" y="174"/>
                  </a:lnTo>
                  <a:lnTo>
                    <a:pt x="91" y="174"/>
                  </a:lnTo>
                  <a:lnTo>
                    <a:pt x="91" y="169"/>
                  </a:lnTo>
                  <a:lnTo>
                    <a:pt x="91" y="169"/>
                  </a:lnTo>
                  <a:lnTo>
                    <a:pt x="91" y="169"/>
                  </a:lnTo>
                  <a:lnTo>
                    <a:pt x="83" y="167"/>
                  </a:lnTo>
                  <a:lnTo>
                    <a:pt x="78" y="163"/>
                  </a:lnTo>
                  <a:lnTo>
                    <a:pt x="73" y="157"/>
                  </a:lnTo>
                  <a:lnTo>
                    <a:pt x="72" y="148"/>
                  </a:lnTo>
                  <a:lnTo>
                    <a:pt x="72" y="105"/>
                  </a:lnTo>
                  <a:lnTo>
                    <a:pt x="72" y="105"/>
                  </a:lnTo>
                  <a:lnTo>
                    <a:pt x="73" y="98"/>
                  </a:lnTo>
                  <a:lnTo>
                    <a:pt x="78" y="92"/>
                  </a:lnTo>
                  <a:lnTo>
                    <a:pt x="83" y="88"/>
                  </a:lnTo>
                  <a:lnTo>
                    <a:pt x="91" y="87"/>
                  </a:lnTo>
                  <a:lnTo>
                    <a:pt x="98" y="87"/>
                  </a:lnTo>
                  <a:lnTo>
                    <a:pt x="118" y="107"/>
                  </a:lnTo>
                  <a:lnTo>
                    <a:pt x="138" y="87"/>
                  </a:lnTo>
                  <a:lnTo>
                    <a:pt x="145" y="87"/>
                  </a:lnTo>
                  <a:lnTo>
                    <a:pt x="145" y="87"/>
                  </a:lnTo>
                  <a:lnTo>
                    <a:pt x="154" y="88"/>
                  </a:lnTo>
                  <a:lnTo>
                    <a:pt x="160" y="92"/>
                  </a:lnTo>
                  <a:lnTo>
                    <a:pt x="164" y="98"/>
                  </a:lnTo>
                  <a:lnTo>
                    <a:pt x="165" y="105"/>
                  </a:lnTo>
                  <a:lnTo>
                    <a:pt x="165" y="1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2" name="Freeform 159"/>
            <p:cNvSpPr>
              <a:spLocks/>
            </p:cNvSpPr>
            <p:nvPr/>
          </p:nvSpPr>
          <p:spPr bwMode="auto">
            <a:xfrm>
              <a:off x="3794001" y="4356719"/>
              <a:ext cx="214313" cy="31750"/>
            </a:xfrm>
            <a:custGeom>
              <a:avLst/>
              <a:gdLst>
                <a:gd name="T0" fmla="*/ 135 w 135"/>
                <a:gd name="T1" fmla="*/ 10 h 20"/>
                <a:gd name="T2" fmla="*/ 135 w 135"/>
                <a:gd name="T3" fmla="*/ 10 h 20"/>
                <a:gd name="T4" fmla="*/ 134 w 135"/>
                <a:gd name="T5" fmla="*/ 14 h 20"/>
                <a:gd name="T6" fmla="*/ 133 w 135"/>
                <a:gd name="T7" fmla="*/ 17 h 20"/>
                <a:gd name="T8" fmla="*/ 130 w 135"/>
                <a:gd name="T9" fmla="*/ 19 h 20"/>
                <a:gd name="T10" fmla="*/ 125 w 135"/>
                <a:gd name="T11" fmla="*/ 20 h 20"/>
                <a:gd name="T12" fmla="*/ 10 w 135"/>
                <a:gd name="T13" fmla="*/ 20 h 20"/>
                <a:gd name="T14" fmla="*/ 10 w 135"/>
                <a:gd name="T15" fmla="*/ 20 h 20"/>
                <a:gd name="T16" fmla="*/ 8 w 135"/>
                <a:gd name="T17" fmla="*/ 19 h 20"/>
                <a:gd name="T18" fmla="*/ 3 w 135"/>
                <a:gd name="T19" fmla="*/ 17 h 20"/>
                <a:gd name="T20" fmla="*/ 2 w 135"/>
                <a:gd name="T21" fmla="*/ 14 h 20"/>
                <a:gd name="T22" fmla="*/ 0 w 135"/>
                <a:gd name="T23" fmla="*/ 10 h 20"/>
                <a:gd name="T24" fmla="*/ 0 w 135"/>
                <a:gd name="T25" fmla="*/ 10 h 20"/>
                <a:gd name="T26" fmla="*/ 0 w 135"/>
                <a:gd name="T27" fmla="*/ 10 h 20"/>
                <a:gd name="T28" fmla="*/ 2 w 135"/>
                <a:gd name="T29" fmla="*/ 6 h 20"/>
                <a:gd name="T30" fmla="*/ 3 w 135"/>
                <a:gd name="T31" fmla="*/ 3 h 20"/>
                <a:gd name="T32" fmla="*/ 8 w 135"/>
                <a:gd name="T33" fmla="*/ 1 h 20"/>
                <a:gd name="T34" fmla="*/ 10 w 135"/>
                <a:gd name="T35" fmla="*/ 0 h 20"/>
                <a:gd name="T36" fmla="*/ 125 w 135"/>
                <a:gd name="T37" fmla="*/ 0 h 20"/>
                <a:gd name="T38" fmla="*/ 125 w 135"/>
                <a:gd name="T39" fmla="*/ 0 h 20"/>
                <a:gd name="T40" fmla="*/ 130 w 135"/>
                <a:gd name="T41" fmla="*/ 1 h 20"/>
                <a:gd name="T42" fmla="*/ 133 w 135"/>
                <a:gd name="T43" fmla="*/ 3 h 20"/>
                <a:gd name="T44" fmla="*/ 134 w 135"/>
                <a:gd name="T45" fmla="*/ 6 h 20"/>
                <a:gd name="T46" fmla="*/ 135 w 135"/>
                <a:gd name="T47" fmla="*/ 10 h 20"/>
                <a:gd name="T48" fmla="*/ 135 w 135"/>
                <a:gd name="T4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5" h="20">
                  <a:moveTo>
                    <a:pt x="135" y="10"/>
                  </a:moveTo>
                  <a:lnTo>
                    <a:pt x="135" y="10"/>
                  </a:lnTo>
                  <a:lnTo>
                    <a:pt x="134" y="14"/>
                  </a:lnTo>
                  <a:lnTo>
                    <a:pt x="133" y="17"/>
                  </a:lnTo>
                  <a:lnTo>
                    <a:pt x="130" y="19"/>
                  </a:lnTo>
                  <a:lnTo>
                    <a:pt x="125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8" y="19"/>
                  </a:lnTo>
                  <a:lnTo>
                    <a:pt x="3" y="17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6"/>
                  </a:lnTo>
                  <a:lnTo>
                    <a:pt x="3" y="3"/>
                  </a:lnTo>
                  <a:lnTo>
                    <a:pt x="8" y="1"/>
                  </a:lnTo>
                  <a:lnTo>
                    <a:pt x="10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30" y="1"/>
                  </a:lnTo>
                  <a:lnTo>
                    <a:pt x="133" y="3"/>
                  </a:lnTo>
                  <a:lnTo>
                    <a:pt x="134" y="6"/>
                  </a:lnTo>
                  <a:lnTo>
                    <a:pt x="135" y="10"/>
                  </a:lnTo>
                  <a:lnTo>
                    <a:pt x="135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03" name="Group 165"/>
          <p:cNvGrpSpPr>
            <a:grpSpLocks noChangeAspect="1"/>
          </p:cNvGrpSpPr>
          <p:nvPr/>
        </p:nvGrpSpPr>
        <p:grpSpPr bwMode="auto">
          <a:xfrm>
            <a:off x="3286345" y="3237900"/>
            <a:ext cx="358672" cy="280493"/>
            <a:chOff x="-1919" y="3510"/>
            <a:chExt cx="679" cy="531"/>
          </a:xfrm>
          <a:solidFill>
            <a:schemeClr val="bg1"/>
          </a:solidFill>
        </p:grpSpPr>
        <p:sp>
          <p:nvSpPr>
            <p:cNvPr id="104" name="Freeform 167"/>
            <p:cNvSpPr>
              <a:spLocks/>
            </p:cNvSpPr>
            <p:nvPr/>
          </p:nvSpPr>
          <p:spPr bwMode="auto">
            <a:xfrm>
              <a:off x="-1803" y="3980"/>
              <a:ext cx="447" cy="61"/>
            </a:xfrm>
            <a:custGeom>
              <a:avLst/>
              <a:gdLst>
                <a:gd name="T0" fmla="*/ 154 w 2237"/>
                <a:gd name="T1" fmla="*/ 0 h 304"/>
                <a:gd name="T2" fmla="*/ 2082 w 2237"/>
                <a:gd name="T3" fmla="*/ 0 h 304"/>
                <a:gd name="T4" fmla="*/ 2113 w 2237"/>
                <a:gd name="T5" fmla="*/ 3 h 304"/>
                <a:gd name="T6" fmla="*/ 2142 w 2237"/>
                <a:gd name="T7" fmla="*/ 12 h 304"/>
                <a:gd name="T8" fmla="*/ 2168 w 2237"/>
                <a:gd name="T9" fmla="*/ 27 h 304"/>
                <a:gd name="T10" fmla="*/ 2191 w 2237"/>
                <a:gd name="T11" fmla="*/ 45 h 304"/>
                <a:gd name="T12" fmla="*/ 2210 w 2237"/>
                <a:gd name="T13" fmla="*/ 68 h 304"/>
                <a:gd name="T14" fmla="*/ 2224 w 2237"/>
                <a:gd name="T15" fmla="*/ 93 h 304"/>
                <a:gd name="T16" fmla="*/ 2234 w 2237"/>
                <a:gd name="T17" fmla="*/ 122 h 304"/>
                <a:gd name="T18" fmla="*/ 2237 w 2237"/>
                <a:gd name="T19" fmla="*/ 153 h 304"/>
                <a:gd name="T20" fmla="*/ 2234 w 2237"/>
                <a:gd name="T21" fmla="*/ 183 h 304"/>
                <a:gd name="T22" fmla="*/ 2224 w 2237"/>
                <a:gd name="T23" fmla="*/ 212 h 304"/>
                <a:gd name="T24" fmla="*/ 2210 w 2237"/>
                <a:gd name="T25" fmla="*/ 237 h 304"/>
                <a:gd name="T26" fmla="*/ 2191 w 2237"/>
                <a:gd name="T27" fmla="*/ 260 h 304"/>
                <a:gd name="T28" fmla="*/ 2168 w 2237"/>
                <a:gd name="T29" fmla="*/ 278 h 304"/>
                <a:gd name="T30" fmla="*/ 2142 w 2237"/>
                <a:gd name="T31" fmla="*/ 293 h 304"/>
                <a:gd name="T32" fmla="*/ 2113 w 2237"/>
                <a:gd name="T33" fmla="*/ 301 h 304"/>
                <a:gd name="T34" fmla="*/ 2082 w 2237"/>
                <a:gd name="T35" fmla="*/ 304 h 304"/>
                <a:gd name="T36" fmla="*/ 154 w 2237"/>
                <a:gd name="T37" fmla="*/ 304 h 304"/>
                <a:gd name="T38" fmla="*/ 123 w 2237"/>
                <a:gd name="T39" fmla="*/ 301 h 304"/>
                <a:gd name="T40" fmla="*/ 93 w 2237"/>
                <a:gd name="T41" fmla="*/ 293 h 304"/>
                <a:gd name="T42" fmla="*/ 68 w 2237"/>
                <a:gd name="T43" fmla="*/ 278 h 304"/>
                <a:gd name="T44" fmla="*/ 45 w 2237"/>
                <a:gd name="T45" fmla="*/ 260 h 304"/>
                <a:gd name="T46" fmla="*/ 26 w 2237"/>
                <a:gd name="T47" fmla="*/ 237 h 304"/>
                <a:gd name="T48" fmla="*/ 11 w 2237"/>
                <a:gd name="T49" fmla="*/ 212 h 304"/>
                <a:gd name="T50" fmla="*/ 3 w 2237"/>
                <a:gd name="T51" fmla="*/ 183 h 304"/>
                <a:gd name="T52" fmla="*/ 0 w 2237"/>
                <a:gd name="T53" fmla="*/ 153 h 304"/>
                <a:gd name="T54" fmla="*/ 3 w 2237"/>
                <a:gd name="T55" fmla="*/ 122 h 304"/>
                <a:gd name="T56" fmla="*/ 11 w 2237"/>
                <a:gd name="T57" fmla="*/ 93 h 304"/>
                <a:gd name="T58" fmla="*/ 26 w 2237"/>
                <a:gd name="T59" fmla="*/ 68 h 304"/>
                <a:gd name="T60" fmla="*/ 45 w 2237"/>
                <a:gd name="T61" fmla="*/ 45 h 304"/>
                <a:gd name="T62" fmla="*/ 68 w 2237"/>
                <a:gd name="T63" fmla="*/ 27 h 304"/>
                <a:gd name="T64" fmla="*/ 93 w 2237"/>
                <a:gd name="T65" fmla="*/ 12 h 304"/>
                <a:gd name="T66" fmla="*/ 123 w 2237"/>
                <a:gd name="T67" fmla="*/ 3 h 304"/>
                <a:gd name="T68" fmla="*/ 154 w 2237"/>
                <a:gd name="T69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37" h="304">
                  <a:moveTo>
                    <a:pt x="154" y="0"/>
                  </a:moveTo>
                  <a:lnTo>
                    <a:pt x="2082" y="0"/>
                  </a:lnTo>
                  <a:lnTo>
                    <a:pt x="2113" y="3"/>
                  </a:lnTo>
                  <a:lnTo>
                    <a:pt x="2142" y="12"/>
                  </a:lnTo>
                  <a:lnTo>
                    <a:pt x="2168" y="27"/>
                  </a:lnTo>
                  <a:lnTo>
                    <a:pt x="2191" y="45"/>
                  </a:lnTo>
                  <a:lnTo>
                    <a:pt x="2210" y="68"/>
                  </a:lnTo>
                  <a:lnTo>
                    <a:pt x="2224" y="93"/>
                  </a:lnTo>
                  <a:lnTo>
                    <a:pt x="2234" y="122"/>
                  </a:lnTo>
                  <a:lnTo>
                    <a:pt x="2237" y="153"/>
                  </a:lnTo>
                  <a:lnTo>
                    <a:pt x="2234" y="183"/>
                  </a:lnTo>
                  <a:lnTo>
                    <a:pt x="2224" y="212"/>
                  </a:lnTo>
                  <a:lnTo>
                    <a:pt x="2210" y="237"/>
                  </a:lnTo>
                  <a:lnTo>
                    <a:pt x="2191" y="260"/>
                  </a:lnTo>
                  <a:lnTo>
                    <a:pt x="2168" y="278"/>
                  </a:lnTo>
                  <a:lnTo>
                    <a:pt x="2142" y="293"/>
                  </a:lnTo>
                  <a:lnTo>
                    <a:pt x="2113" y="301"/>
                  </a:lnTo>
                  <a:lnTo>
                    <a:pt x="2082" y="304"/>
                  </a:lnTo>
                  <a:lnTo>
                    <a:pt x="154" y="304"/>
                  </a:lnTo>
                  <a:lnTo>
                    <a:pt x="123" y="301"/>
                  </a:lnTo>
                  <a:lnTo>
                    <a:pt x="93" y="293"/>
                  </a:lnTo>
                  <a:lnTo>
                    <a:pt x="68" y="278"/>
                  </a:lnTo>
                  <a:lnTo>
                    <a:pt x="45" y="260"/>
                  </a:lnTo>
                  <a:lnTo>
                    <a:pt x="26" y="237"/>
                  </a:lnTo>
                  <a:lnTo>
                    <a:pt x="11" y="212"/>
                  </a:lnTo>
                  <a:lnTo>
                    <a:pt x="3" y="183"/>
                  </a:lnTo>
                  <a:lnTo>
                    <a:pt x="0" y="153"/>
                  </a:lnTo>
                  <a:lnTo>
                    <a:pt x="3" y="122"/>
                  </a:lnTo>
                  <a:lnTo>
                    <a:pt x="11" y="93"/>
                  </a:lnTo>
                  <a:lnTo>
                    <a:pt x="26" y="68"/>
                  </a:lnTo>
                  <a:lnTo>
                    <a:pt x="45" y="45"/>
                  </a:lnTo>
                  <a:lnTo>
                    <a:pt x="68" y="27"/>
                  </a:lnTo>
                  <a:lnTo>
                    <a:pt x="93" y="12"/>
                  </a:lnTo>
                  <a:lnTo>
                    <a:pt x="123" y="3"/>
                  </a:lnTo>
                  <a:lnTo>
                    <a:pt x="1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5" name="Freeform 168"/>
            <p:cNvSpPr>
              <a:spLocks/>
            </p:cNvSpPr>
            <p:nvPr/>
          </p:nvSpPr>
          <p:spPr bwMode="auto">
            <a:xfrm>
              <a:off x="-1811" y="3730"/>
              <a:ext cx="46" cy="121"/>
            </a:xfrm>
            <a:custGeom>
              <a:avLst/>
              <a:gdLst>
                <a:gd name="T0" fmla="*/ 117 w 232"/>
                <a:gd name="T1" fmla="*/ 0 h 607"/>
                <a:gd name="T2" fmla="*/ 143 w 232"/>
                <a:gd name="T3" fmla="*/ 3 h 607"/>
                <a:gd name="T4" fmla="*/ 168 w 232"/>
                <a:gd name="T5" fmla="*/ 12 h 607"/>
                <a:gd name="T6" fmla="*/ 190 w 232"/>
                <a:gd name="T7" fmla="*/ 25 h 607"/>
                <a:gd name="T8" fmla="*/ 207 w 232"/>
                <a:gd name="T9" fmla="*/ 43 h 607"/>
                <a:gd name="T10" fmla="*/ 221 w 232"/>
                <a:gd name="T11" fmla="*/ 64 h 607"/>
                <a:gd name="T12" fmla="*/ 229 w 232"/>
                <a:gd name="T13" fmla="*/ 88 h 607"/>
                <a:gd name="T14" fmla="*/ 232 w 232"/>
                <a:gd name="T15" fmla="*/ 114 h 607"/>
                <a:gd name="T16" fmla="*/ 232 w 232"/>
                <a:gd name="T17" fmla="*/ 494 h 607"/>
                <a:gd name="T18" fmla="*/ 229 w 232"/>
                <a:gd name="T19" fmla="*/ 520 h 607"/>
                <a:gd name="T20" fmla="*/ 221 w 232"/>
                <a:gd name="T21" fmla="*/ 544 h 607"/>
                <a:gd name="T22" fmla="*/ 207 w 232"/>
                <a:gd name="T23" fmla="*/ 565 h 607"/>
                <a:gd name="T24" fmla="*/ 190 w 232"/>
                <a:gd name="T25" fmla="*/ 583 h 607"/>
                <a:gd name="T26" fmla="*/ 168 w 232"/>
                <a:gd name="T27" fmla="*/ 596 h 607"/>
                <a:gd name="T28" fmla="*/ 143 w 232"/>
                <a:gd name="T29" fmla="*/ 605 h 607"/>
                <a:gd name="T30" fmla="*/ 117 w 232"/>
                <a:gd name="T31" fmla="*/ 607 h 607"/>
                <a:gd name="T32" fmla="*/ 90 w 232"/>
                <a:gd name="T33" fmla="*/ 605 h 607"/>
                <a:gd name="T34" fmla="*/ 66 w 232"/>
                <a:gd name="T35" fmla="*/ 596 h 607"/>
                <a:gd name="T36" fmla="*/ 44 w 232"/>
                <a:gd name="T37" fmla="*/ 583 h 607"/>
                <a:gd name="T38" fmla="*/ 26 w 232"/>
                <a:gd name="T39" fmla="*/ 565 h 607"/>
                <a:gd name="T40" fmla="*/ 13 w 232"/>
                <a:gd name="T41" fmla="*/ 544 h 607"/>
                <a:gd name="T42" fmla="*/ 4 w 232"/>
                <a:gd name="T43" fmla="*/ 520 h 607"/>
                <a:gd name="T44" fmla="*/ 0 w 232"/>
                <a:gd name="T45" fmla="*/ 494 h 607"/>
                <a:gd name="T46" fmla="*/ 0 w 232"/>
                <a:gd name="T47" fmla="*/ 114 h 607"/>
                <a:gd name="T48" fmla="*/ 4 w 232"/>
                <a:gd name="T49" fmla="*/ 88 h 607"/>
                <a:gd name="T50" fmla="*/ 13 w 232"/>
                <a:gd name="T51" fmla="*/ 64 h 607"/>
                <a:gd name="T52" fmla="*/ 26 w 232"/>
                <a:gd name="T53" fmla="*/ 43 h 607"/>
                <a:gd name="T54" fmla="*/ 44 w 232"/>
                <a:gd name="T55" fmla="*/ 25 h 607"/>
                <a:gd name="T56" fmla="*/ 66 w 232"/>
                <a:gd name="T57" fmla="*/ 12 h 607"/>
                <a:gd name="T58" fmla="*/ 90 w 232"/>
                <a:gd name="T59" fmla="*/ 3 h 607"/>
                <a:gd name="T60" fmla="*/ 117 w 232"/>
                <a:gd name="T61" fmla="*/ 0 h 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2" h="607">
                  <a:moveTo>
                    <a:pt x="117" y="0"/>
                  </a:moveTo>
                  <a:lnTo>
                    <a:pt x="143" y="3"/>
                  </a:lnTo>
                  <a:lnTo>
                    <a:pt x="168" y="12"/>
                  </a:lnTo>
                  <a:lnTo>
                    <a:pt x="190" y="25"/>
                  </a:lnTo>
                  <a:lnTo>
                    <a:pt x="207" y="43"/>
                  </a:lnTo>
                  <a:lnTo>
                    <a:pt x="221" y="64"/>
                  </a:lnTo>
                  <a:lnTo>
                    <a:pt x="229" y="88"/>
                  </a:lnTo>
                  <a:lnTo>
                    <a:pt x="232" y="114"/>
                  </a:lnTo>
                  <a:lnTo>
                    <a:pt x="232" y="494"/>
                  </a:lnTo>
                  <a:lnTo>
                    <a:pt x="229" y="520"/>
                  </a:lnTo>
                  <a:lnTo>
                    <a:pt x="221" y="544"/>
                  </a:lnTo>
                  <a:lnTo>
                    <a:pt x="207" y="565"/>
                  </a:lnTo>
                  <a:lnTo>
                    <a:pt x="190" y="583"/>
                  </a:lnTo>
                  <a:lnTo>
                    <a:pt x="168" y="596"/>
                  </a:lnTo>
                  <a:lnTo>
                    <a:pt x="143" y="605"/>
                  </a:lnTo>
                  <a:lnTo>
                    <a:pt x="117" y="607"/>
                  </a:lnTo>
                  <a:lnTo>
                    <a:pt x="90" y="605"/>
                  </a:lnTo>
                  <a:lnTo>
                    <a:pt x="66" y="596"/>
                  </a:lnTo>
                  <a:lnTo>
                    <a:pt x="44" y="583"/>
                  </a:lnTo>
                  <a:lnTo>
                    <a:pt x="26" y="565"/>
                  </a:lnTo>
                  <a:lnTo>
                    <a:pt x="13" y="544"/>
                  </a:lnTo>
                  <a:lnTo>
                    <a:pt x="4" y="520"/>
                  </a:lnTo>
                  <a:lnTo>
                    <a:pt x="0" y="494"/>
                  </a:lnTo>
                  <a:lnTo>
                    <a:pt x="0" y="114"/>
                  </a:lnTo>
                  <a:lnTo>
                    <a:pt x="4" y="88"/>
                  </a:lnTo>
                  <a:lnTo>
                    <a:pt x="13" y="64"/>
                  </a:lnTo>
                  <a:lnTo>
                    <a:pt x="26" y="43"/>
                  </a:lnTo>
                  <a:lnTo>
                    <a:pt x="44" y="25"/>
                  </a:lnTo>
                  <a:lnTo>
                    <a:pt x="66" y="12"/>
                  </a:lnTo>
                  <a:lnTo>
                    <a:pt x="90" y="3"/>
                  </a:lnTo>
                  <a:lnTo>
                    <a:pt x="1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6" name="Freeform 169"/>
            <p:cNvSpPr>
              <a:spLocks/>
            </p:cNvSpPr>
            <p:nvPr/>
          </p:nvSpPr>
          <p:spPr bwMode="auto">
            <a:xfrm>
              <a:off x="-1734" y="3699"/>
              <a:ext cx="46" cy="152"/>
            </a:xfrm>
            <a:custGeom>
              <a:avLst/>
              <a:gdLst>
                <a:gd name="T0" fmla="*/ 116 w 232"/>
                <a:gd name="T1" fmla="*/ 0 h 759"/>
                <a:gd name="T2" fmla="*/ 142 w 232"/>
                <a:gd name="T3" fmla="*/ 3 h 759"/>
                <a:gd name="T4" fmla="*/ 167 w 232"/>
                <a:gd name="T5" fmla="*/ 12 h 759"/>
                <a:gd name="T6" fmla="*/ 188 w 232"/>
                <a:gd name="T7" fmla="*/ 25 h 759"/>
                <a:gd name="T8" fmla="*/ 207 w 232"/>
                <a:gd name="T9" fmla="*/ 43 h 759"/>
                <a:gd name="T10" fmla="*/ 220 w 232"/>
                <a:gd name="T11" fmla="*/ 64 h 759"/>
                <a:gd name="T12" fmla="*/ 229 w 232"/>
                <a:gd name="T13" fmla="*/ 88 h 759"/>
                <a:gd name="T14" fmla="*/ 232 w 232"/>
                <a:gd name="T15" fmla="*/ 115 h 759"/>
                <a:gd name="T16" fmla="*/ 232 w 232"/>
                <a:gd name="T17" fmla="*/ 646 h 759"/>
                <a:gd name="T18" fmla="*/ 229 w 232"/>
                <a:gd name="T19" fmla="*/ 672 h 759"/>
                <a:gd name="T20" fmla="*/ 220 w 232"/>
                <a:gd name="T21" fmla="*/ 696 h 759"/>
                <a:gd name="T22" fmla="*/ 207 w 232"/>
                <a:gd name="T23" fmla="*/ 717 h 759"/>
                <a:gd name="T24" fmla="*/ 188 w 232"/>
                <a:gd name="T25" fmla="*/ 735 h 759"/>
                <a:gd name="T26" fmla="*/ 167 w 232"/>
                <a:gd name="T27" fmla="*/ 748 h 759"/>
                <a:gd name="T28" fmla="*/ 142 w 232"/>
                <a:gd name="T29" fmla="*/ 757 h 759"/>
                <a:gd name="T30" fmla="*/ 116 w 232"/>
                <a:gd name="T31" fmla="*/ 759 h 759"/>
                <a:gd name="T32" fmla="*/ 89 w 232"/>
                <a:gd name="T33" fmla="*/ 757 h 759"/>
                <a:gd name="T34" fmla="*/ 66 w 232"/>
                <a:gd name="T35" fmla="*/ 748 h 759"/>
                <a:gd name="T36" fmla="*/ 44 w 232"/>
                <a:gd name="T37" fmla="*/ 735 h 759"/>
                <a:gd name="T38" fmla="*/ 26 w 232"/>
                <a:gd name="T39" fmla="*/ 717 h 759"/>
                <a:gd name="T40" fmla="*/ 13 w 232"/>
                <a:gd name="T41" fmla="*/ 696 h 759"/>
                <a:gd name="T42" fmla="*/ 3 w 232"/>
                <a:gd name="T43" fmla="*/ 672 h 759"/>
                <a:gd name="T44" fmla="*/ 0 w 232"/>
                <a:gd name="T45" fmla="*/ 646 h 759"/>
                <a:gd name="T46" fmla="*/ 0 w 232"/>
                <a:gd name="T47" fmla="*/ 115 h 759"/>
                <a:gd name="T48" fmla="*/ 3 w 232"/>
                <a:gd name="T49" fmla="*/ 88 h 759"/>
                <a:gd name="T50" fmla="*/ 13 w 232"/>
                <a:gd name="T51" fmla="*/ 64 h 759"/>
                <a:gd name="T52" fmla="*/ 26 w 232"/>
                <a:gd name="T53" fmla="*/ 43 h 759"/>
                <a:gd name="T54" fmla="*/ 44 w 232"/>
                <a:gd name="T55" fmla="*/ 25 h 759"/>
                <a:gd name="T56" fmla="*/ 66 w 232"/>
                <a:gd name="T57" fmla="*/ 12 h 759"/>
                <a:gd name="T58" fmla="*/ 89 w 232"/>
                <a:gd name="T59" fmla="*/ 3 h 759"/>
                <a:gd name="T60" fmla="*/ 116 w 232"/>
                <a:gd name="T61" fmla="*/ 0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2" h="759">
                  <a:moveTo>
                    <a:pt x="116" y="0"/>
                  </a:moveTo>
                  <a:lnTo>
                    <a:pt x="142" y="3"/>
                  </a:lnTo>
                  <a:lnTo>
                    <a:pt x="167" y="12"/>
                  </a:lnTo>
                  <a:lnTo>
                    <a:pt x="188" y="25"/>
                  </a:lnTo>
                  <a:lnTo>
                    <a:pt x="207" y="43"/>
                  </a:lnTo>
                  <a:lnTo>
                    <a:pt x="220" y="64"/>
                  </a:lnTo>
                  <a:lnTo>
                    <a:pt x="229" y="88"/>
                  </a:lnTo>
                  <a:lnTo>
                    <a:pt x="232" y="115"/>
                  </a:lnTo>
                  <a:lnTo>
                    <a:pt x="232" y="646"/>
                  </a:lnTo>
                  <a:lnTo>
                    <a:pt x="229" y="672"/>
                  </a:lnTo>
                  <a:lnTo>
                    <a:pt x="220" y="696"/>
                  </a:lnTo>
                  <a:lnTo>
                    <a:pt x="207" y="717"/>
                  </a:lnTo>
                  <a:lnTo>
                    <a:pt x="188" y="735"/>
                  </a:lnTo>
                  <a:lnTo>
                    <a:pt x="167" y="748"/>
                  </a:lnTo>
                  <a:lnTo>
                    <a:pt x="142" y="757"/>
                  </a:lnTo>
                  <a:lnTo>
                    <a:pt x="116" y="759"/>
                  </a:lnTo>
                  <a:lnTo>
                    <a:pt x="89" y="757"/>
                  </a:lnTo>
                  <a:lnTo>
                    <a:pt x="66" y="748"/>
                  </a:lnTo>
                  <a:lnTo>
                    <a:pt x="44" y="735"/>
                  </a:lnTo>
                  <a:lnTo>
                    <a:pt x="26" y="717"/>
                  </a:lnTo>
                  <a:lnTo>
                    <a:pt x="13" y="696"/>
                  </a:lnTo>
                  <a:lnTo>
                    <a:pt x="3" y="672"/>
                  </a:lnTo>
                  <a:lnTo>
                    <a:pt x="0" y="646"/>
                  </a:lnTo>
                  <a:lnTo>
                    <a:pt x="0" y="115"/>
                  </a:lnTo>
                  <a:lnTo>
                    <a:pt x="3" y="88"/>
                  </a:lnTo>
                  <a:lnTo>
                    <a:pt x="13" y="64"/>
                  </a:lnTo>
                  <a:lnTo>
                    <a:pt x="26" y="43"/>
                  </a:lnTo>
                  <a:lnTo>
                    <a:pt x="44" y="25"/>
                  </a:lnTo>
                  <a:lnTo>
                    <a:pt x="66" y="12"/>
                  </a:lnTo>
                  <a:lnTo>
                    <a:pt x="89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7" name="Freeform 170"/>
            <p:cNvSpPr>
              <a:spLocks/>
            </p:cNvSpPr>
            <p:nvPr/>
          </p:nvSpPr>
          <p:spPr bwMode="auto">
            <a:xfrm>
              <a:off x="-1657" y="3669"/>
              <a:ext cx="46" cy="182"/>
            </a:xfrm>
            <a:custGeom>
              <a:avLst/>
              <a:gdLst>
                <a:gd name="T0" fmla="*/ 115 w 230"/>
                <a:gd name="T1" fmla="*/ 0 h 911"/>
                <a:gd name="T2" fmla="*/ 141 w 230"/>
                <a:gd name="T3" fmla="*/ 3 h 911"/>
                <a:gd name="T4" fmla="*/ 166 w 230"/>
                <a:gd name="T5" fmla="*/ 12 h 911"/>
                <a:gd name="T6" fmla="*/ 187 w 230"/>
                <a:gd name="T7" fmla="*/ 25 h 911"/>
                <a:gd name="T8" fmla="*/ 206 w 230"/>
                <a:gd name="T9" fmla="*/ 43 h 911"/>
                <a:gd name="T10" fmla="*/ 219 w 230"/>
                <a:gd name="T11" fmla="*/ 64 h 911"/>
                <a:gd name="T12" fmla="*/ 227 w 230"/>
                <a:gd name="T13" fmla="*/ 88 h 911"/>
                <a:gd name="T14" fmla="*/ 230 w 230"/>
                <a:gd name="T15" fmla="*/ 114 h 911"/>
                <a:gd name="T16" fmla="*/ 230 w 230"/>
                <a:gd name="T17" fmla="*/ 798 h 911"/>
                <a:gd name="T18" fmla="*/ 227 w 230"/>
                <a:gd name="T19" fmla="*/ 824 h 911"/>
                <a:gd name="T20" fmla="*/ 219 w 230"/>
                <a:gd name="T21" fmla="*/ 848 h 911"/>
                <a:gd name="T22" fmla="*/ 206 w 230"/>
                <a:gd name="T23" fmla="*/ 869 h 911"/>
                <a:gd name="T24" fmla="*/ 187 w 230"/>
                <a:gd name="T25" fmla="*/ 887 h 911"/>
                <a:gd name="T26" fmla="*/ 166 w 230"/>
                <a:gd name="T27" fmla="*/ 900 h 911"/>
                <a:gd name="T28" fmla="*/ 141 w 230"/>
                <a:gd name="T29" fmla="*/ 909 h 911"/>
                <a:gd name="T30" fmla="*/ 115 w 230"/>
                <a:gd name="T31" fmla="*/ 911 h 911"/>
                <a:gd name="T32" fmla="*/ 88 w 230"/>
                <a:gd name="T33" fmla="*/ 909 h 911"/>
                <a:gd name="T34" fmla="*/ 64 w 230"/>
                <a:gd name="T35" fmla="*/ 900 h 911"/>
                <a:gd name="T36" fmla="*/ 42 w 230"/>
                <a:gd name="T37" fmla="*/ 887 h 911"/>
                <a:gd name="T38" fmla="*/ 25 w 230"/>
                <a:gd name="T39" fmla="*/ 869 h 911"/>
                <a:gd name="T40" fmla="*/ 11 w 230"/>
                <a:gd name="T41" fmla="*/ 848 h 911"/>
                <a:gd name="T42" fmla="*/ 3 w 230"/>
                <a:gd name="T43" fmla="*/ 824 h 911"/>
                <a:gd name="T44" fmla="*/ 0 w 230"/>
                <a:gd name="T45" fmla="*/ 798 h 911"/>
                <a:gd name="T46" fmla="*/ 0 w 230"/>
                <a:gd name="T47" fmla="*/ 114 h 911"/>
                <a:gd name="T48" fmla="*/ 3 w 230"/>
                <a:gd name="T49" fmla="*/ 88 h 911"/>
                <a:gd name="T50" fmla="*/ 11 w 230"/>
                <a:gd name="T51" fmla="*/ 64 h 911"/>
                <a:gd name="T52" fmla="*/ 25 w 230"/>
                <a:gd name="T53" fmla="*/ 43 h 911"/>
                <a:gd name="T54" fmla="*/ 42 w 230"/>
                <a:gd name="T55" fmla="*/ 25 h 911"/>
                <a:gd name="T56" fmla="*/ 64 w 230"/>
                <a:gd name="T57" fmla="*/ 12 h 911"/>
                <a:gd name="T58" fmla="*/ 88 w 230"/>
                <a:gd name="T59" fmla="*/ 3 h 911"/>
                <a:gd name="T60" fmla="*/ 115 w 230"/>
                <a:gd name="T61" fmla="*/ 0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0" h="911">
                  <a:moveTo>
                    <a:pt x="115" y="0"/>
                  </a:moveTo>
                  <a:lnTo>
                    <a:pt x="141" y="3"/>
                  </a:lnTo>
                  <a:lnTo>
                    <a:pt x="166" y="12"/>
                  </a:lnTo>
                  <a:lnTo>
                    <a:pt x="187" y="25"/>
                  </a:lnTo>
                  <a:lnTo>
                    <a:pt x="206" y="43"/>
                  </a:lnTo>
                  <a:lnTo>
                    <a:pt x="219" y="64"/>
                  </a:lnTo>
                  <a:lnTo>
                    <a:pt x="227" y="88"/>
                  </a:lnTo>
                  <a:lnTo>
                    <a:pt x="230" y="114"/>
                  </a:lnTo>
                  <a:lnTo>
                    <a:pt x="230" y="798"/>
                  </a:lnTo>
                  <a:lnTo>
                    <a:pt x="227" y="824"/>
                  </a:lnTo>
                  <a:lnTo>
                    <a:pt x="219" y="848"/>
                  </a:lnTo>
                  <a:lnTo>
                    <a:pt x="206" y="869"/>
                  </a:lnTo>
                  <a:lnTo>
                    <a:pt x="187" y="887"/>
                  </a:lnTo>
                  <a:lnTo>
                    <a:pt x="166" y="900"/>
                  </a:lnTo>
                  <a:lnTo>
                    <a:pt x="141" y="909"/>
                  </a:lnTo>
                  <a:lnTo>
                    <a:pt x="115" y="911"/>
                  </a:lnTo>
                  <a:lnTo>
                    <a:pt x="88" y="909"/>
                  </a:lnTo>
                  <a:lnTo>
                    <a:pt x="64" y="900"/>
                  </a:lnTo>
                  <a:lnTo>
                    <a:pt x="42" y="887"/>
                  </a:lnTo>
                  <a:lnTo>
                    <a:pt x="25" y="869"/>
                  </a:lnTo>
                  <a:lnTo>
                    <a:pt x="11" y="848"/>
                  </a:lnTo>
                  <a:lnTo>
                    <a:pt x="3" y="824"/>
                  </a:lnTo>
                  <a:lnTo>
                    <a:pt x="0" y="798"/>
                  </a:lnTo>
                  <a:lnTo>
                    <a:pt x="0" y="114"/>
                  </a:lnTo>
                  <a:lnTo>
                    <a:pt x="3" y="88"/>
                  </a:lnTo>
                  <a:lnTo>
                    <a:pt x="11" y="64"/>
                  </a:lnTo>
                  <a:lnTo>
                    <a:pt x="25" y="43"/>
                  </a:lnTo>
                  <a:lnTo>
                    <a:pt x="42" y="25"/>
                  </a:lnTo>
                  <a:lnTo>
                    <a:pt x="64" y="12"/>
                  </a:lnTo>
                  <a:lnTo>
                    <a:pt x="88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8" name="Freeform 171"/>
            <p:cNvSpPr>
              <a:spLocks/>
            </p:cNvSpPr>
            <p:nvPr/>
          </p:nvSpPr>
          <p:spPr bwMode="auto">
            <a:xfrm>
              <a:off x="-1919" y="3510"/>
              <a:ext cx="679" cy="440"/>
            </a:xfrm>
            <a:custGeom>
              <a:avLst/>
              <a:gdLst>
                <a:gd name="T0" fmla="*/ 3240 w 3394"/>
                <a:gd name="T1" fmla="*/ 0 h 2203"/>
                <a:gd name="T2" fmla="*/ 3300 w 3394"/>
                <a:gd name="T3" fmla="*/ 11 h 2203"/>
                <a:gd name="T4" fmla="*/ 3349 w 3394"/>
                <a:gd name="T5" fmla="*/ 44 h 2203"/>
                <a:gd name="T6" fmla="*/ 3382 w 3394"/>
                <a:gd name="T7" fmla="*/ 92 h 2203"/>
                <a:gd name="T8" fmla="*/ 3394 w 3394"/>
                <a:gd name="T9" fmla="*/ 152 h 2203"/>
                <a:gd name="T10" fmla="*/ 3187 w 3394"/>
                <a:gd name="T11" fmla="*/ 1669 h 2203"/>
                <a:gd name="T12" fmla="*/ 3245 w 3394"/>
                <a:gd name="T13" fmla="*/ 1543 h 2203"/>
                <a:gd name="T14" fmla="*/ 3281 w 3394"/>
                <a:gd name="T15" fmla="*/ 1409 h 2203"/>
                <a:gd name="T16" fmla="*/ 3294 w 3394"/>
                <a:gd name="T17" fmla="*/ 1271 h 2203"/>
                <a:gd name="T18" fmla="*/ 3282 w 3394"/>
                <a:gd name="T19" fmla="*/ 1139 h 2203"/>
                <a:gd name="T20" fmla="*/ 3251 w 3394"/>
                <a:gd name="T21" fmla="*/ 1012 h 2203"/>
                <a:gd name="T22" fmla="*/ 3199 w 3394"/>
                <a:gd name="T23" fmla="*/ 894 h 2203"/>
                <a:gd name="T24" fmla="*/ 3128 w 3394"/>
                <a:gd name="T25" fmla="*/ 783 h 2203"/>
                <a:gd name="T26" fmla="*/ 3085 w 3394"/>
                <a:gd name="T27" fmla="*/ 304 h 2203"/>
                <a:gd name="T28" fmla="*/ 309 w 3394"/>
                <a:gd name="T29" fmla="*/ 1899 h 2203"/>
                <a:gd name="T30" fmla="*/ 1989 w 3394"/>
                <a:gd name="T31" fmla="*/ 1937 h 2203"/>
                <a:gd name="T32" fmla="*/ 2097 w 3394"/>
                <a:gd name="T33" fmla="*/ 2001 h 2203"/>
                <a:gd name="T34" fmla="*/ 2214 w 3394"/>
                <a:gd name="T35" fmla="*/ 2048 h 2203"/>
                <a:gd name="T36" fmla="*/ 2338 w 3394"/>
                <a:gd name="T37" fmla="*/ 2077 h 2203"/>
                <a:gd name="T38" fmla="*/ 2465 w 3394"/>
                <a:gd name="T39" fmla="*/ 2086 h 2203"/>
                <a:gd name="T40" fmla="*/ 2607 w 3394"/>
                <a:gd name="T41" fmla="*/ 2074 h 2203"/>
                <a:gd name="T42" fmla="*/ 2743 w 3394"/>
                <a:gd name="T43" fmla="*/ 2039 h 2203"/>
                <a:gd name="T44" fmla="*/ 2871 w 3394"/>
                <a:gd name="T45" fmla="*/ 1980 h 2203"/>
                <a:gd name="T46" fmla="*/ 3089 w 3394"/>
                <a:gd name="T47" fmla="*/ 2195 h 2203"/>
                <a:gd name="T48" fmla="*/ 3098 w 3394"/>
                <a:gd name="T49" fmla="*/ 2203 h 2203"/>
                <a:gd name="T50" fmla="*/ 124 w 3394"/>
                <a:gd name="T51" fmla="*/ 2199 h 2203"/>
                <a:gd name="T52" fmla="*/ 69 w 3394"/>
                <a:gd name="T53" fmla="*/ 2177 h 2203"/>
                <a:gd name="T54" fmla="*/ 26 w 3394"/>
                <a:gd name="T55" fmla="*/ 2135 h 2203"/>
                <a:gd name="T56" fmla="*/ 3 w 3394"/>
                <a:gd name="T57" fmla="*/ 2081 h 2203"/>
                <a:gd name="T58" fmla="*/ 0 w 3394"/>
                <a:gd name="T59" fmla="*/ 152 h 2203"/>
                <a:gd name="T60" fmla="*/ 12 w 3394"/>
                <a:gd name="T61" fmla="*/ 93 h 2203"/>
                <a:gd name="T62" fmla="*/ 46 w 3394"/>
                <a:gd name="T63" fmla="*/ 44 h 2203"/>
                <a:gd name="T64" fmla="*/ 95 w 3394"/>
                <a:gd name="T65" fmla="*/ 11 h 2203"/>
                <a:gd name="T66" fmla="*/ 155 w 3394"/>
                <a:gd name="T67" fmla="*/ 0 h 2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94" h="2203">
                  <a:moveTo>
                    <a:pt x="155" y="0"/>
                  </a:moveTo>
                  <a:lnTo>
                    <a:pt x="3240" y="0"/>
                  </a:lnTo>
                  <a:lnTo>
                    <a:pt x="3271" y="3"/>
                  </a:lnTo>
                  <a:lnTo>
                    <a:pt x="3300" y="11"/>
                  </a:lnTo>
                  <a:lnTo>
                    <a:pt x="3326" y="26"/>
                  </a:lnTo>
                  <a:lnTo>
                    <a:pt x="3349" y="44"/>
                  </a:lnTo>
                  <a:lnTo>
                    <a:pt x="3368" y="67"/>
                  </a:lnTo>
                  <a:lnTo>
                    <a:pt x="3382" y="92"/>
                  </a:lnTo>
                  <a:lnTo>
                    <a:pt x="3391" y="121"/>
                  </a:lnTo>
                  <a:lnTo>
                    <a:pt x="3394" y="152"/>
                  </a:lnTo>
                  <a:lnTo>
                    <a:pt x="3394" y="1874"/>
                  </a:lnTo>
                  <a:lnTo>
                    <a:pt x="3187" y="1669"/>
                  </a:lnTo>
                  <a:lnTo>
                    <a:pt x="3219" y="1608"/>
                  </a:lnTo>
                  <a:lnTo>
                    <a:pt x="3245" y="1543"/>
                  </a:lnTo>
                  <a:lnTo>
                    <a:pt x="3266" y="1478"/>
                  </a:lnTo>
                  <a:lnTo>
                    <a:pt x="3281" y="1409"/>
                  </a:lnTo>
                  <a:lnTo>
                    <a:pt x="3291" y="1341"/>
                  </a:lnTo>
                  <a:lnTo>
                    <a:pt x="3294" y="1271"/>
                  </a:lnTo>
                  <a:lnTo>
                    <a:pt x="3291" y="1205"/>
                  </a:lnTo>
                  <a:lnTo>
                    <a:pt x="3282" y="1139"/>
                  </a:lnTo>
                  <a:lnTo>
                    <a:pt x="3269" y="1075"/>
                  </a:lnTo>
                  <a:lnTo>
                    <a:pt x="3251" y="1012"/>
                  </a:lnTo>
                  <a:lnTo>
                    <a:pt x="3227" y="952"/>
                  </a:lnTo>
                  <a:lnTo>
                    <a:pt x="3199" y="894"/>
                  </a:lnTo>
                  <a:lnTo>
                    <a:pt x="3166" y="836"/>
                  </a:lnTo>
                  <a:lnTo>
                    <a:pt x="3128" y="783"/>
                  </a:lnTo>
                  <a:lnTo>
                    <a:pt x="3085" y="732"/>
                  </a:lnTo>
                  <a:lnTo>
                    <a:pt x="3085" y="304"/>
                  </a:lnTo>
                  <a:lnTo>
                    <a:pt x="309" y="304"/>
                  </a:lnTo>
                  <a:lnTo>
                    <a:pt x="309" y="1899"/>
                  </a:lnTo>
                  <a:lnTo>
                    <a:pt x="1938" y="1899"/>
                  </a:lnTo>
                  <a:lnTo>
                    <a:pt x="1989" y="1937"/>
                  </a:lnTo>
                  <a:lnTo>
                    <a:pt x="2042" y="1971"/>
                  </a:lnTo>
                  <a:lnTo>
                    <a:pt x="2097" y="2001"/>
                  </a:lnTo>
                  <a:lnTo>
                    <a:pt x="2155" y="2027"/>
                  </a:lnTo>
                  <a:lnTo>
                    <a:pt x="2214" y="2048"/>
                  </a:lnTo>
                  <a:lnTo>
                    <a:pt x="2275" y="2064"/>
                  </a:lnTo>
                  <a:lnTo>
                    <a:pt x="2338" y="2077"/>
                  </a:lnTo>
                  <a:lnTo>
                    <a:pt x="2401" y="2084"/>
                  </a:lnTo>
                  <a:lnTo>
                    <a:pt x="2465" y="2086"/>
                  </a:lnTo>
                  <a:lnTo>
                    <a:pt x="2537" y="2083"/>
                  </a:lnTo>
                  <a:lnTo>
                    <a:pt x="2607" y="2074"/>
                  </a:lnTo>
                  <a:lnTo>
                    <a:pt x="2675" y="2059"/>
                  </a:lnTo>
                  <a:lnTo>
                    <a:pt x="2743" y="2039"/>
                  </a:lnTo>
                  <a:lnTo>
                    <a:pt x="2808" y="2012"/>
                  </a:lnTo>
                  <a:lnTo>
                    <a:pt x="2871" y="1980"/>
                  </a:lnTo>
                  <a:lnTo>
                    <a:pt x="3085" y="2191"/>
                  </a:lnTo>
                  <a:lnTo>
                    <a:pt x="3089" y="2195"/>
                  </a:lnTo>
                  <a:lnTo>
                    <a:pt x="3094" y="2198"/>
                  </a:lnTo>
                  <a:lnTo>
                    <a:pt x="3098" y="2203"/>
                  </a:lnTo>
                  <a:lnTo>
                    <a:pt x="155" y="2203"/>
                  </a:lnTo>
                  <a:lnTo>
                    <a:pt x="124" y="2199"/>
                  </a:lnTo>
                  <a:lnTo>
                    <a:pt x="95" y="2190"/>
                  </a:lnTo>
                  <a:lnTo>
                    <a:pt x="69" y="2177"/>
                  </a:lnTo>
                  <a:lnTo>
                    <a:pt x="46" y="2158"/>
                  </a:lnTo>
                  <a:lnTo>
                    <a:pt x="26" y="2135"/>
                  </a:lnTo>
                  <a:lnTo>
                    <a:pt x="12" y="2109"/>
                  </a:lnTo>
                  <a:lnTo>
                    <a:pt x="3" y="2081"/>
                  </a:lnTo>
                  <a:lnTo>
                    <a:pt x="0" y="2051"/>
                  </a:lnTo>
                  <a:lnTo>
                    <a:pt x="0" y="152"/>
                  </a:lnTo>
                  <a:lnTo>
                    <a:pt x="3" y="121"/>
                  </a:lnTo>
                  <a:lnTo>
                    <a:pt x="12" y="93"/>
                  </a:lnTo>
                  <a:lnTo>
                    <a:pt x="26" y="67"/>
                  </a:lnTo>
                  <a:lnTo>
                    <a:pt x="46" y="44"/>
                  </a:lnTo>
                  <a:lnTo>
                    <a:pt x="69" y="26"/>
                  </a:lnTo>
                  <a:lnTo>
                    <a:pt x="95" y="11"/>
                  </a:lnTo>
                  <a:lnTo>
                    <a:pt x="124" y="3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9" name="Freeform 172"/>
            <p:cNvSpPr>
              <a:spLocks noEditPoints="1"/>
            </p:cNvSpPr>
            <p:nvPr/>
          </p:nvSpPr>
          <p:spPr bwMode="auto">
            <a:xfrm>
              <a:off x="-1561" y="3631"/>
              <a:ext cx="304" cy="299"/>
            </a:xfrm>
            <a:custGeom>
              <a:avLst/>
              <a:gdLst>
                <a:gd name="T0" fmla="*/ 568 w 1520"/>
                <a:gd name="T1" fmla="*/ 146 h 1495"/>
                <a:gd name="T2" fmla="*/ 422 w 1520"/>
                <a:gd name="T3" fmla="*/ 198 h 1495"/>
                <a:gd name="T4" fmla="*/ 295 w 1520"/>
                <a:gd name="T5" fmla="*/ 291 h 1495"/>
                <a:gd name="T6" fmla="*/ 202 w 1520"/>
                <a:gd name="T7" fmla="*/ 415 h 1495"/>
                <a:gd name="T8" fmla="*/ 149 w 1520"/>
                <a:gd name="T9" fmla="*/ 560 h 1495"/>
                <a:gd name="T10" fmla="*/ 141 w 1520"/>
                <a:gd name="T11" fmla="*/ 715 h 1495"/>
                <a:gd name="T12" fmla="*/ 179 w 1520"/>
                <a:gd name="T13" fmla="*/ 865 h 1495"/>
                <a:gd name="T14" fmla="*/ 260 w 1520"/>
                <a:gd name="T15" fmla="*/ 997 h 1495"/>
                <a:gd name="T16" fmla="*/ 377 w 1520"/>
                <a:gd name="T17" fmla="*/ 1101 h 1495"/>
                <a:gd name="T18" fmla="*/ 518 w 1520"/>
                <a:gd name="T19" fmla="*/ 1168 h 1495"/>
                <a:gd name="T20" fmla="*/ 673 w 1520"/>
                <a:gd name="T21" fmla="*/ 1190 h 1495"/>
                <a:gd name="T22" fmla="*/ 829 w 1520"/>
                <a:gd name="T23" fmla="*/ 1168 h 1495"/>
                <a:gd name="T24" fmla="*/ 971 w 1520"/>
                <a:gd name="T25" fmla="*/ 1101 h 1495"/>
                <a:gd name="T26" fmla="*/ 1088 w 1520"/>
                <a:gd name="T27" fmla="*/ 997 h 1495"/>
                <a:gd name="T28" fmla="*/ 1168 w 1520"/>
                <a:gd name="T29" fmla="*/ 865 h 1495"/>
                <a:gd name="T30" fmla="*/ 1207 w 1520"/>
                <a:gd name="T31" fmla="*/ 715 h 1495"/>
                <a:gd name="T32" fmla="*/ 1198 w 1520"/>
                <a:gd name="T33" fmla="*/ 560 h 1495"/>
                <a:gd name="T34" fmla="*/ 1146 w 1520"/>
                <a:gd name="T35" fmla="*/ 415 h 1495"/>
                <a:gd name="T36" fmla="*/ 1053 w 1520"/>
                <a:gd name="T37" fmla="*/ 291 h 1495"/>
                <a:gd name="T38" fmla="*/ 926 w 1520"/>
                <a:gd name="T39" fmla="*/ 198 h 1495"/>
                <a:gd name="T40" fmla="*/ 779 w 1520"/>
                <a:gd name="T41" fmla="*/ 146 h 1495"/>
                <a:gd name="T42" fmla="*/ 673 w 1520"/>
                <a:gd name="T43" fmla="*/ 0 h 1495"/>
                <a:gd name="T44" fmla="*/ 849 w 1520"/>
                <a:gd name="T45" fmla="*/ 23 h 1495"/>
                <a:gd name="T46" fmla="*/ 1010 w 1520"/>
                <a:gd name="T47" fmla="*/ 88 h 1495"/>
                <a:gd name="T48" fmla="*/ 1151 w 1520"/>
                <a:gd name="T49" fmla="*/ 195 h 1495"/>
                <a:gd name="T50" fmla="*/ 1258 w 1520"/>
                <a:gd name="T51" fmla="*/ 332 h 1495"/>
                <a:gd name="T52" fmla="*/ 1324 w 1520"/>
                <a:gd name="T53" fmla="*/ 490 h 1495"/>
                <a:gd name="T54" fmla="*/ 1347 w 1520"/>
                <a:gd name="T55" fmla="*/ 663 h 1495"/>
                <a:gd name="T56" fmla="*/ 1322 w 1520"/>
                <a:gd name="T57" fmla="*/ 841 h 1495"/>
                <a:gd name="T58" fmla="*/ 1251 w 1520"/>
                <a:gd name="T59" fmla="*/ 1004 h 1495"/>
                <a:gd name="T60" fmla="*/ 1211 w 1520"/>
                <a:gd name="T61" fmla="*/ 1132 h 1495"/>
                <a:gd name="T62" fmla="*/ 1256 w 1520"/>
                <a:gd name="T63" fmla="*/ 1142 h 1495"/>
                <a:gd name="T64" fmla="*/ 1511 w 1520"/>
                <a:gd name="T65" fmla="*/ 1395 h 1495"/>
                <a:gd name="T66" fmla="*/ 1517 w 1520"/>
                <a:gd name="T67" fmla="*/ 1445 h 1495"/>
                <a:gd name="T68" fmla="*/ 1485 w 1520"/>
                <a:gd name="T69" fmla="*/ 1487 h 1495"/>
                <a:gd name="T70" fmla="*/ 1433 w 1520"/>
                <a:gd name="T71" fmla="*/ 1493 h 1495"/>
                <a:gd name="T72" fmla="*/ 1170 w 1520"/>
                <a:gd name="T73" fmla="*/ 1248 h 1495"/>
                <a:gd name="T74" fmla="*/ 1151 w 1520"/>
                <a:gd name="T75" fmla="*/ 1208 h 1495"/>
                <a:gd name="T76" fmla="*/ 1070 w 1520"/>
                <a:gd name="T77" fmla="*/ 1198 h 1495"/>
                <a:gd name="T78" fmla="*/ 911 w 1520"/>
                <a:gd name="T79" fmla="*/ 1283 h 1495"/>
                <a:gd name="T80" fmla="*/ 735 w 1520"/>
                <a:gd name="T81" fmla="*/ 1323 h 1495"/>
                <a:gd name="T82" fmla="*/ 556 w 1520"/>
                <a:gd name="T83" fmla="*/ 1316 h 1495"/>
                <a:gd name="T84" fmla="*/ 390 w 1520"/>
                <a:gd name="T85" fmla="*/ 1264 h 1495"/>
                <a:gd name="T86" fmla="*/ 242 w 1520"/>
                <a:gd name="T87" fmla="*/ 1172 h 1495"/>
                <a:gd name="T88" fmla="*/ 122 w 1520"/>
                <a:gd name="T89" fmla="*/ 1043 h 1495"/>
                <a:gd name="T90" fmla="*/ 40 w 1520"/>
                <a:gd name="T91" fmla="*/ 890 h 1495"/>
                <a:gd name="T92" fmla="*/ 3 w 1520"/>
                <a:gd name="T93" fmla="*/ 722 h 1495"/>
                <a:gd name="T94" fmla="*/ 10 w 1520"/>
                <a:gd name="T95" fmla="*/ 547 h 1495"/>
                <a:gd name="T96" fmla="*/ 63 w 1520"/>
                <a:gd name="T97" fmla="*/ 383 h 1495"/>
                <a:gd name="T98" fmla="*/ 157 w 1520"/>
                <a:gd name="T99" fmla="*/ 238 h 1495"/>
                <a:gd name="T100" fmla="*/ 288 w 1520"/>
                <a:gd name="T101" fmla="*/ 119 h 1495"/>
                <a:gd name="T102" fmla="*/ 443 w 1520"/>
                <a:gd name="T103" fmla="*/ 40 h 1495"/>
                <a:gd name="T104" fmla="*/ 614 w 1520"/>
                <a:gd name="T105" fmla="*/ 2 h 1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20" h="1495">
                  <a:moveTo>
                    <a:pt x="673" y="136"/>
                  </a:moveTo>
                  <a:lnTo>
                    <a:pt x="620" y="138"/>
                  </a:lnTo>
                  <a:lnTo>
                    <a:pt x="568" y="146"/>
                  </a:lnTo>
                  <a:lnTo>
                    <a:pt x="518" y="159"/>
                  </a:lnTo>
                  <a:lnTo>
                    <a:pt x="469" y="176"/>
                  </a:lnTo>
                  <a:lnTo>
                    <a:pt x="422" y="198"/>
                  </a:lnTo>
                  <a:lnTo>
                    <a:pt x="377" y="224"/>
                  </a:lnTo>
                  <a:lnTo>
                    <a:pt x="335" y="255"/>
                  </a:lnTo>
                  <a:lnTo>
                    <a:pt x="295" y="291"/>
                  </a:lnTo>
                  <a:lnTo>
                    <a:pt x="260" y="330"/>
                  </a:lnTo>
                  <a:lnTo>
                    <a:pt x="229" y="371"/>
                  </a:lnTo>
                  <a:lnTo>
                    <a:pt x="202" y="415"/>
                  </a:lnTo>
                  <a:lnTo>
                    <a:pt x="179" y="462"/>
                  </a:lnTo>
                  <a:lnTo>
                    <a:pt x="161" y="510"/>
                  </a:lnTo>
                  <a:lnTo>
                    <a:pt x="149" y="560"/>
                  </a:lnTo>
                  <a:lnTo>
                    <a:pt x="141" y="611"/>
                  </a:lnTo>
                  <a:lnTo>
                    <a:pt x="138" y="663"/>
                  </a:lnTo>
                  <a:lnTo>
                    <a:pt x="141" y="715"/>
                  </a:lnTo>
                  <a:lnTo>
                    <a:pt x="149" y="767"/>
                  </a:lnTo>
                  <a:lnTo>
                    <a:pt x="161" y="817"/>
                  </a:lnTo>
                  <a:lnTo>
                    <a:pt x="179" y="865"/>
                  </a:lnTo>
                  <a:lnTo>
                    <a:pt x="202" y="911"/>
                  </a:lnTo>
                  <a:lnTo>
                    <a:pt x="229" y="955"/>
                  </a:lnTo>
                  <a:lnTo>
                    <a:pt x="260" y="997"/>
                  </a:lnTo>
                  <a:lnTo>
                    <a:pt x="295" y="1036"/>
                  </a:lnTo>
                  <a:lnTo>
                    <a:pt x="335" y="1071"/>
                  </a:lnTo>
                  <a:lnTo>
                    <a:pt x="377" y="1101"/>
                  </a:lnTo>
                  <a:lnTo>
                    <a:pt x="422" y="1128"/>
                  </a:lnTo>
                  <a:lnTo>
                    <a:pt x="469" y="1150"/>
                  </a:lnTo>
                  <a:lnTo>
                    <a:pt x="518" y="1168"/>
                  </a:lnTo>
                  <a:lnTo>
                    <a:pt x="568" y="1180"/>
                  </a:lnTo>
                  <a:lnTo>
                    <a:pt x="620" y="1187"/>
                  </a:lnTo>
                  <a:lnTo>
                    <a:pt x="673" y="1190"/>
                  </a:lnTo>
                  <a:lnTo>
                    <a:pt x="726" y="1187"/>
                  </a:lnTo>
                  <a:lnTo>
                    <a:pt x="779" y="1180"/>
                  </a:lnTo>
                  <a:lnTo>
                    <a:pt x="829" y="1168"/>
                  </a:lnTo>
                  <a:lnTo>
                    <a:pt x="879" y="1150"/>
                  </a:lnTo>
                  <a:lnTo>
                    <a:pt x="926" y="1128"/>
                  </a:lnTo>
                  <a:lnTo>
                    <a:pt x="971" y="1101"/>
                  </a:lnTo>
                  <a:lnTo>
                    <a:pt x="1013" y="1071"/>
                  </a:lnTo>
                  <a:lnTo>
                    <a:pt x="1053" y="1036"/>
                  </a:lnTo>
                  <a:lnTo>
                    <a:pt x="1088" y="997"/>
                  </a:lnTo>
                  <a:lnTo>
                    <a:pt x="1119" y="955"/>
                  </a:lnTo>
                  <a:lnTo>
                    <a:pt x="1146" y="911"/>
                  </a:lnTo>
                  <a:lnTo>
                    <a:pt x="1168" y="865"/>
                  </a:lnTo>
                  <a:lnTo>
                    <a:pt x="1186" y="817"/>
                  </a:lnTo>
                  <a:lnTo>
                    <a:pt x="1198" y="767"/>
                  </a:lnTo>
                  <a:lnTo>
                    <a:pt x="1207" y="715"/>
                  </a:lnTo>
                  <a:lnTo>
                    <a:pt x="1209" y="663"/>
                  </a:lnTo>
                  <a:lnTo>
                    <a:pt x="1207" y="611"/>
                  </a:lnTo>
                  <a:lnTo>
                    <a:pt x="1198" y="560"/>
                  </a:lnTo>
                  <a:lnTo>
                    <a:pt x="1186" y="510"/>
                  </a:lnTo>
                  <a:lnTo>
                    <a:pt x="1168" y="462"/>
                  </a:lnTo>
                  <a:lnTo>
                    <a:pt x="1146" y="415"/>
                  </a:lnTo>
                  <a:lnTo>
                    <a:pt x="1119" y="371"/>
                  </a:lnTo>
                  <a:lnTo>
                    <a:pt x="1088" y="330"/>
                  </a:lnTo>
                  <a:lnTo>
                    <a:pt x="1053" y="291"/>
                  </a:lnTo>
                  <a:lnTo>
                    <a:pt x="1013" y="255"/>
                  </a:lnTo>
                  <a:lnTo>
                    <a:pt x="971" y="224"/>
                  </a:lnTo>
                  <a:lnTo>
                    <a:pt x="926" y="198"/>
                  </a:lnTo>
                  <a:lnTo>
                    <a:pt x="879" y="176"/>
                  </a:lnTo>
                  <a:lnTo>
                    <a:pt x="829" y="159"/>
                  </a:lnTo>
                  <a:lnTo>
                    <a:pt x="779" y="146"/>
                  </a:lnTo>
                  <a:lnTo>
                    <a:pt x="726" y="138"/>
                  </a:lnTo>
                  <a:lnTo>
                    <a:pt x="673" y="136"/>
                  </a:lnTo>
                  <a:close/>
                  <a:moveTo>
                    <a:pt x="673" y="0"/>
                  </a:moveTo>
                  <a:lnTo>
                    <a:pt x="734" y="2"/>
                  </a:lnTo>
                  <a:lnTo>
                    <a:pt x="792" y="10"/>
                  </a:lnTo>
                  <a:lnTo>
                    <a:pt x="849" y="23"/>
                  </a:lnTo>
                  <a:lnTo>
                    <a:pt x="904" y="40"/>
                  </a:lnTo>
                  <a:lnTo>
                    <a:pt x="958" y="61"/>
                  </a:lnTo>
                  <a:lnTo>
                    <a:pt x="1010" y="88"/>
                  </a:lnTo>
                  <a:lnTo>
                    <a:pt x="1059" y="119"/>
                  </a:lnTo>
                  <a:lnTo>
                    <a:pt x="1106" y="155"/>
                  </a:lnTo>
                  <a:lnTo>
                    <a:pt x="1151" y="195"/>
                  </a:lnTo>
                  <a:lnTo>
                    <a:pt x="1190" y="238"/>
                  </a:lnTo>
                  <a:lnTo>
                    <a:pt x="1226" y="284"/>
                  </a:lnTo>
                  <a:lnTo>
                    <a:pt x="1258" y="332"/>
                  </a:lnTo>
                  <a:lnTo>
                    <a:pt x="1285" y="383"/>
                  </a:lnTo>
                  <a:lnTo>
                    <a:pt x="1306" y="436"/>
                  </a:lnTo>
                  <a:lnTo>
                    <a:pt x="1324" y="490"/>
                  </a:lnTo>
                  <a:lnTo>
                    <a:pt x="1337" y="547"/>
                  </a:lnTo>
                  <a:lnTo>
                    <a:pt x="1345" y="604"/>
                  </a:lnTo>
                  <a:lnTo>
                    <a:pt x="1347" y="663"/>
                  </a:lnTo>
                  <a:lnTo>
                    <a:pt x="1344" y="724"/>
                  </a:lnTo>
                  <a:lnTo>
                    <a:pt x="1337" y="783"/>
                  </a:lnTo>
                  <a:lnTo>
                    <a:pt x="1322" y="841"/>
                  </a:lnTo>
                  <a:lnTo>
                    <a:pt x="1303" y="898"/>
                  </a:lnTo>
                  <a:lnTo>
                    <a:pt x="1279" y="952"/>
                  </a:lnTo>
                  <a:lnTo>
                    <a:pt x="1251" y="1004"/>
                  </a:lnTo>
                  <a:lnTo>
                    <a:pt x="1217" y="1053"/>
                  </a:lnTo>
                  <a:lnTo>
                    <a:pt x="1179" y="1100"/>
                  </a:lnTo>
                  <a:lnTo>
                    <a:pt x="1211" y="1132"/>
                  </a:lnTo>
                  <a:lnTo>
                    <a:pt x="1226" y="1132"/>
                  </a:lnTo>
                  <a:lnTo>
                    <a:pt x="1241" y="1135"/>
                  </a:lnTo>
                  <a:lnTo>
                    <a:pt x="1256" y="1142"/>
                  </a:lnTo>
                  <a:lnTo>
                    <a:pt x="1268" y="1151"/>
                  </a:lnTo>
                  <a:lnTo>
                    <a:pt x="1500" y="1381"/>
                  </a:lnTo>
                  <a:lnTo>
                    <a:pt x="1511" y="1395"/>
                  </a:lnTo>
                  <a:lnTo>
                    <a:pt x="1517" y="1411"/>
                  </a:lnTo>
                  <a:lnTo>
                    <a:pt x="1520" y="1428"/>
                  </a:lnTo>
                  <a:lnTo>
                    <a:pt x="1517" y="1445"/>
                  </a:lnTo>
                  <a:lnTo>
                    <a:pt x="1511" y="1462"/>
                  </a:lnTo>
                  <a:lnTo>
                    <a:pt x="1500" y="1476"/>
                  </a:lnTo>
                  <a:lnTo>
                    <a:pt x="1485" y="1487"/>
                  </a:lnTo>
                  <a:lnTo>
                    <a:pt x="1469" y="1493"/>
                  </a:lnTo>
                  <a:lnTo>
                    <a:pt x="1451" y="1495"/>
                  </a:lnTo>
                  <a:lnTo>
                    <a:pt x="1433" y="1493"/>
                  </a:lnTo>
                  <a:lnTo>
                    <a:pt x="1417" y="1487"/>
                  </a:lnTo>
                  <a:lnTo>
                    <a:pt x="1402" y="1476"/>
                  </a:lnTo>
                  <a:lnTo>
                    <a:pt x="1170" y="1248"/>
                  </a:lnTo>
                  <a:lnTo>
                    <a:pt x="1160" y="1235"/>
                  </a:lnTo>
                  <a:lnTo>
                    <a:pt x="1154" y="1222"/>
                  </a:lnTo>
                  <a:lnTo>
                    <a:pt x="1151" y="1208"/>
                  </a:lnTo>
                  <a:lnTo>
                    <a:pt x="1151" y="1192"/>
                  </a:lnTo>
                  <a:lnTo>
                    <a:pt x="1118" y="1161"/>
                  </a:lnTo>
                  <a:lnTo>
                    <a:pt x="1070" y="1198"/>
                  </a:lnTo>
                  <a:lnTo>
                    <a:pt x="1020" y="1231"/>
                  </a:lnTo>
                  <a:lnTo>
                    <a:pt x="967" y="1260"/>
                  </a:lnTo>
                  <a:lnTo>
                    <a:pt x="911" y="1283"/>
                  </a:lnTo>
                  <a:lnTo>
                    <a:pt x="854" y="1302"/>
                  </a:lnTo>
                  <a:lnTo>
                    <a:pt x="796" y="1315"/>
                  </a:lnTo>
                  <a:lnTo>
                    <a:pt x="735" y="1323"/>
                  </a:lnTo>
                  <a:lnTo>
                    <a:pt x="673" y="1326"/>
                  </a:lnTo>
                  <a:lnTo>
                    <a:pt x="614" y="1323"/>
                  </a:lnTo>
                  <a:lnTo>
                    <a:pt x="556" y="1316"/>
                  </a:lnTo>
                  <a:lnTo>
                    <a:pt x="499" y="1304"/>
                  </a:lnTo>
                  <a:lnTo>
                    <a:pt x="443" y="1287"/>
                  </a:lnTo>
                  <a:lnTo>
                    <a:pt x="390" y="1264"/>
                  </a:lnTo>
                  <a:lnTo>
                    <a:pt x="338" y="1238"/>
                  </a:lnTo>
                  <a:lnTo>
                    <a:pt x="288" y="1207"/>
                  </a:lnTo>
                  <a:lnTo>
                    <a:pt x="242" y="1172"/>
                  </a:lnTo>
                  <a:lnTo>
                    <a:pt x="197" y="1132"/>
                  </a:lnTo>
                  <a:lnTo>
                    <a:pt x="157" y="1089"/>
                  </a:lnTo>
                  <a:lnTo>
                    <a:pt x="122" y="1043"/>
                  </a:lnTo>
                  <a:lnTo>
                    <a:pt x="90" y="994"/>
                  </a:lnTo>
                  <a:lnTo>
                    <a:pt x="63" y="943"/>
                  </a:lnTo>
                  <a:lnTo>
                    <a:pt x="40" y="890"/>
                  </a:lnTo>
                  <a:lnTo>
                    <a:pt x="23" y="835"/>
                  </a:lnTo>
                  <a:lnTo>
                    <a:pt x="10" y="779"/>
                  </a:lnTo>
                  <a:lnTo>
                    <a:pt x="3" y="722"/>
                  </a:lnTo>
                  <a:lnTo>
                    <a:pt x="0" y="663"/>
                  </a:lnTo>
                  <a:lnTo>
                    <a:pt x="3" y="604"/>
                  </a:lnTo>
                  <a:lnTo>
                    <a:pt x="10" y="547"/>
                  </a:lnTo>
                  <a:lnTo>
                    <a:pt x="23" y="490"/>
                  </a:lnTo>
                  <a:lnTo>
                    <a:pt x="40" y="436"/>
                  </a:lnTo>
                  <a:lnTo>
                    <a:pt x="63" y="383"/>
                  </a:lnTo>
                  <a:lnTo>
                    <a:pt x="90" y="332"/>
                  </a:lnTo>
                  <a:lnTo>
                    <a:pt x="122" y="284"/>
                  </a:lnTo>
                  <a:lnTo>
                    <a:pt x="157" y="238"/>
                  </a:lnTo>
                  <a:lnTo>
                    <a:pt x="197" y="195"/>
                  </a:lnTo>
                  <a:lnTo>
                    <a:pt x="242" y="155"/>
                  </a:lnTo>
                  <a:lnTo>
                    <a:pt x="288" y="119"/>
                  </a:lnTo>
                  <a:lnTo>
                    <a:pt x="338" y="88"/>
                  </a:lnTo>
                  <a:lnTo>
                    <a:pt x="390" y="61"/>
                  </a:lnTo>
                  <a:lnTo>
                    <a:pt x="443" y="40"/>
                  </a:lnTo>
                  <a:lnTo>
                    <a:pt x="499" y="23"/>
                  </a:lnTo>
                  <a:lnTo>
                    <a:pt x="556" y="10"/>
                  </a:lnTo>
                  <a:lnTo>
                    <a:pt x="614" y="2"/>
                  </a:lnTo>
                  <a:lnTo>
                    <a:pt x="6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5494555" y="4733821"/>
            <a:ext cx="3147057" cy="1435041"/>
            <a:chOff x="5362575" y="4669556"/>
            <a:chExt cx="3279037" cy="1495223"/>
          </a:xfrm>
        </p:grpSpPr>
        <p:sp>
          <p:nvSpPr>
            <p:cNvPr id="17" name="Rectangle 16"/>
            <p:cNvSpPr/>
            <p:nvPr/>
          </p:nvSpPr>
          <p:spPr>
            <a:xfrm>
              <a:off x="5841965" y="4669556"/>
              <a:ext cx="2320255" cy="63611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Оценка цифровой зрелости</a:t>
              </a:r>
              <a:endParaRPr lang="ru-RU" sz="8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5362575" y="5528191"/>
              <a:ext cx="958782" cy="636588"/>
            </a:xfrm>
            <a:prstGeom prst="rect">
              <a:avLst/>
            </a:prstGeom>
            <a:solidFill>
              <a:srgbClr val="A7A49B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Веб-страница компании</a:t>
              </a:r>
              <a:endParaRPr lang="ru-RU" sz="8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522702" y="5528191"/>
              <a:ext cx="958782" cy="636588"/>
            </a:xfrm>
            <a:prstGeom prst="rect">
              <a:avLst/>
            </a:prstGeom>
            <a:solidFill>
              <a:srgbClr val="A7A49B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Веб-страницы конкурентов</a:t>
              </a:r>
              <a:endParaRPr lang="ru-RU" sz="8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7682830" y="5528191"/>
              <a:ext cx="958782" cy="636588"/>
            </a:xfrm>
            <a:prstGeom prst="rect">
              <a:avLst/>
            </a:prstGeom>
            <a:solidFill>
              <a:srgbClr val="A7A49B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Анализ клиента в сравнении с передовыми игроками</a:t>
              </a:r>
              <a:endParaRPr lang="ru-RU" sz="800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24" name="Title 1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ценка цифровой и аналитической зрелости компании для выявления областей, требующих улучшений</a:t>
            </a:r>
            <a:r>
              <a:rPr dirty="0"/>
              <a:t/>
            </a:r>
            <a:br>
              <a:rPr dirty="0"/>
            </a:br>
            <a:endParaRPr lang="ru-RU" dirty="0"/>
          </a:p>
        </p:txBody>
      </p:sp>
      <p:cxnSp>
        <p:nvCxnSpPr>
          <p:cNvPr id="92" name="Elbow Connector 91"/>
          <p:cNvCxnSpPr/>
          <p:nvPr/>
        </p:nvCxnSpPr>
        <p:spPr>
          <a:xfrm rot="5400000" flipH="1" flipV="1">
            <a:off x="6404586" y="4894401"/>
            <a:ext cx="213561" cy="111343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Elbow Connector 93"/>
          <p:cNvCxnSpPr/>
          <p:nvPr/>
        </p:nvCxnSpPr>
        <p:spPr>
          <a:xfrm rot="16200000" flipH="1">
            <a:off x="7518020" y="4894399"/>
            <a:ext cx="213561" cy="1113433"/>
          </a:xfrm>
          <a:prstGeom prst="bentConnector3">
            <a:avLst/>
          </a:prstGeom>
          <a:ln w="190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/>
        </p:nvCxnSpPr>
        <p:spPr>
          <a:xfrm>
            <a:off x="7068083" y="5344336"/>
            <a:ext cx="0" cy="213561"/>
          </a:xfrm>
          <a:prstGeom prst="line">
            <a:avLst/>
          </a:prstGeom>
          <a:ln w="190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0194" name="Picture 8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961" y="2500361"/>
            <a:ext cx="681940" cy="247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1" name="Rectangle 17"/>
          <p:cNvSpPr>
            <a:spLocks/>
          </p:cNvSpPr>
          <p:nvPr/>
        </p:nvSpPr>
        <p:spPr bwMode="auto">
          <a:xfrm>
            <a:off x="84103" y="224009"/>
            <a:ext cx="855653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Наш клиент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5191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1"/>
          <p:cNvSpPr txBox="1">
            <a:spLocks/>
          </p:cNvSpPr>
          <p:nvPr/>
        </p:nvSpPr>
        <p:spPr>
          <a:xfrm>
            <a:off x="457200" y="304800"/>
            <a:ext cx="8394699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800" dirty="0" smtClean="0">
                <a:solidFill>
                  <a:srgbClr val="FFFFFF"/>
                </a:solidFill>
              </a:rPr>
              <a:t>Анализ данных о рисках</a:t>
            </a:r>
            <a:endParaRPr lang="ru-RU" sz="6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368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891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/>
          <p:cNvSpPr/>
          <p:nvPr/>
        </p:nvSpPr>
        <p:spPr bwMode="ltGray">
          <a:xfrm>
            <a:off x="1472896" y="1231923"/>
            <a:ext cx="2217272" cy="2417049"/>
          </a:xfrm>
          <a:prstGeom prst="rect">
            <a:avLst/>
          </a:prstGeom>
          <a:solidFill>
            <a:srgbClr val="A7A49B">
              <a:alpha val="5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6" name="Rectangle 65"/>
          <p:cNvSpPr/>
          <p:nvPr/>
        </p:nvSpPr>
        <p:spPr bwMode="ltGray">
          <a:xfrm>
            <a:off x="3932960" y="1231923"/>
            <a:ext cx="2217272" cy="2417049"/>
          </a:xfrm>
          <a:prstGeom prst="rect">
            <a:avLst/>
          </a:prstGeom>
          <a:solidFill>
            <a:srgbClr val="A7A49B">
              <a:alpha val="5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7" name="Rectangle 66"/>
          <p:cNvSpPr/>
          <p:nvPr/>
        </p:nvSpPr>
        <p:spPr bwMode="ltGray">
          <a:xfrm>
            <a:off x="6393023" y="1231923"/>
            <a:ext cx="2217272" cy="2417049"/>
          </a:xfrm>
          <a:prstGeom prst="rect">
            <a:avLst/>
          </a:prstGeom>
          <a:solidFill>
            <a:srgbClr val="A7A49B">
              <a:alpha val="5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599002"/>
            <a:ext cx="738960" cy="2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Обработка в режиме реального времени</a:t>
            </a:r>
            <a:endParaRPr lang="ru-RU" sz="8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0" name="Rectangle 17"/>
          <p:cNvSpPr>
            <a:spLocks/>
          </p:cNvSpPr>
          <p:nvPr/>
        </p:nvSpPr>
        <p:spPr bwMode="auto">
          <a:xfrm>
            <a:off x="154143" y="3241601"/>
            <a:ext cx="643288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Данные</a:t>
            </a:r>
            <a:endParaRPr lang="ru-RU" sz="1050" b="1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350975" y="3949924"/>
            <a:ext cx="697146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rgbClr val="DC6900"/>
              </a:buClr>
              <a:buSzPct val="85000"/>
              <a:defRPr/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Улучшение процесса принятия решений на базе данных и</a:t>
            </a: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минимизация убытков</a:t>
            </a:r>
            <a:endParaRPr lang="ru-RU" sz="1400" i="1" dirty="0">
              <a:solidFill>
                <a:schemeClr val="bg1"/>
              </a:solidFill>
              <a:latin typeface="+mj-lt"/>
              <a:ea typeface="ＭＳ Ｐゴシック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575692" y="1324335"/>
            <a:ext cx="2011681" cy="10766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  <a:buClr>
                <a:srgbClr val="DC6900"/>
              </a:buClr>
              <a:buSzPct val="85000"/>
              <a:defRPr/>
            </a:pP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Получение представления о концентрации рисков</a:t>
            </a: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с использованием спутниковых данных, изображений и других внешних источников данных</a:t>
            </a:r>
            <a:endParaRPr lang="ru-RU" sz="1200" i="1" dirty="0">
              <a:solidFill>
                <a:schemeClr val="bg1"/>
              </a:solidFill>
              <a:latin typeface="+mj-lt"/>
              <a:ea typeface="ＭＳ Ｐゴシック" charset="-128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035915" y="1354815"/>
            <a:ext cx="2011363" cy="5852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  <a:buClr>
                <a:srgbClr val="DC6900"/>
              </a:buClr>
              <a:buSzPct val="85000"/>
              <a:defRPr/>
            </a:pPr>
            <a:r>
              <a:rPr lang="ru-RU" sz="1300" i="1" dirty="0" smtClean="0">
                <a:solidFill>
                  <a:schemeClr val="bg1"/>
                </a:solidFill>
                <a:latin typeface="+mj-lt"/>
              </a:rPr>
              <a:t>Количественная оценка</a:t>
            </a:r>
            <a:r>
              <a:rPr sz="1300" dirty="0">
                <a:solidFill>
                  <a:schemeClr val="bg1"/>
                </a:solidFill>
                <a:latin typeface="+mj-lt"/>
              </a:rPr>
              <a:t/>
            </a:r>
            <a:br>
              <a:rPr sz="1300" dirty="0">
                <a:solidFill>
                  <a:schemeClr val="bg1"/>
                </a:solidFill>
                <a:latin typeface="+mj-lt"/>
              </a:rPr>
            </a:br>
            <a:r>
              <a:rPr lang="ru-RU" sz="1300" i="1" dirty="0" smtClean="0">
                <a:solidFill>
                  <a:schemeClr val="bg1"/>
                </a:solidFill>
                <a:latin typeface="+mj-lt"/>
              </a:rPr>
              <a:t>подверженности риску</a:t>
            </a:r>
            <a:endParaRPr lang="ru-RU" sz="13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1721319" y="2785131"/>
            <a:ext cx="1720426" cy="688193"/>
            <a:chOff x="1726728" y="2974913"/>
            <a:chExt cx="1720426" cy="688193"/>
          </a:xfrm>
        </p:grpSpPr>
        <p:sp>
          <p:nvSpPr>
            <p:cNvPr id="35" name="Freeform 4968"/>
            <p:cNvSpPr>
              <a:spLocks noEditPoints="1"/>
            </p:cNvSpPr>
            <p:nvPr/>
          </p:nvSpPr>
          <p:spPr bwMode="auto">
            <a:xfrm>
              <a:off x="1726728" y="3043694"/>
              <a:ext cx="488358" cy="507160"/>
            </a:xfrm>
            <a:custGeom>
              <a:avLst/>
              <a:gdLst>
                <a:gd name="T0" fmla="*/ 354 w 396"/>
                <a:gd name="T1" fmla="*/ 78 h 400"/>
                <a:gd name="T2" fmla="*/ 198 w 396"/>
                <a:gd name="T3" fmla="*/ 0 h 400"/>
                <a:gd name="T4" fmla="*/ 130 w 396"/>
                <a:gd name="T5" fmla="*/ 14 h 400"/>
                <a:gd name="T6" fmla="*/ 38 w 396"/>
                <a:gd name="T7" fmla="*/ 82 h 400"/>
                <a:gd name="T8" fmla="*/ 0 w 396"/>
                <a:gd name="T9" fmla="*/ 190 h 400"/>
                <a:gd name="T10" fmla="*/ 18 w 396"/>
                <a:gd name="T11" fmla="*/ 282 h 400"/>
                <a:gd name="T12" fmla="*/ 110 w 396"/>
                <a:gd name="T13" fmla="*/ 378 h 400"/>
                <a:gd name="T14" fmla="*/ 232 w 396"/>
                <a:gd name="T15" fmla="*/ 396 h 400"/>
                <a:gd name="T16" fmla="*/ 318 w 396"/>
                <a:gd name="T17" fmla="*/ 358 h 400"/>
                <a:gd name="T18" fmla="*/ 386 w 396"/>
                <a:gd name="T19" fmla="*/ 266 h 400"/>
                <a:gd name="T20" fmla="*/ 390 w 396"/>
                <a:gd name="T21" fmla="*/ 152 h 400"/>
                <a:gd name="T22" fmla="*/ 360 w 396"/>
                <a:gd name="T23" fmla="*/ 232 h 400"/>
                <a:gd name="T24" fmla="*/ 322 w 396"/>
                <a:gd name="T25" fmla="*/ 174 h 400"/>
                <a:gd name="T26" fmla="*/ 354 w 396"/>
                <a:gd name="T27" fmla="*/ 120 h 400"/>
                <a:gd name="T28" fmla="*/ 372 w 396"/>
                <a:gd name="T29" fmla="*/ 198 h 400"/>
                <a:gd name="T30" fmla="*/ 326 w 396"/>
                <a:gd name="T31" fmla="*/ 122 h 400"/>
                <a:gd name="T32" fmla="*/ 248 w 396"/>
                <a:gd name="T33" fmla="*/ 110 h 400"/>
                <a:gd name="T34" fmla="*/ 248 w 396"/>
                <a:gd name="T35" fmla="*/ 42 h 400"/>
                <a:gd name="T36" fmla="*/ 318 w 396"/>
                <a:gd name="T37" fmla="*/ 74 h 400"/>
                <a:gd name="T38" fmla="*/ 24 w 396"/>
                <a:gd name="T39" fmla="*/ 180 h 400"/>
                <a:gd name="T40" fmla="*/ 58 w 396"/>
                <a:gd name="T41" fmla="*/ 94 h 400"/>
                <a:gd name="T42" fmla="*/ 88 w 396"/>
                <a:gd name="T43" fmla="*/ 158 h 400"/>
                <a:gd name="T44" fmla="*/ 66 w 396"/>
                <a:gd name="T45" fmla="*/ 234 h 400"/>
                <a:gd name="T46" fmla="*/ 28 w 396"/>
                <a:gd name="T47" fmla="*/ 190 h 400"/>
                <a:gd name="T48" fmla="*/ 176 w 396"/>
                <a:gd name="T49" fmla="*/ 58 h 400"/>
                <a:gd name="T50" fmla="*/ 230 w 396"/>
                <a:gd name="T51" fmla="*/ 44 h 400"/>
                <a:gd name="T52" fmla="*/ 240 w 396"/>
                <a:gd name="T53" fmla="*/ 92 h 400"/>
                <a:gd name="T54" fmla="*/ 186 w 396"/>
                <a:gd name="T55" fmla="*/ 28 h 400"/>
                <a:gd name="T56" fmla="*/ 162 w 396"/>
                <a:gd name="T57" fmla="*/ 28 h 400"/>
                <a:gd name="T58" fmla="*/ 118 w 396"/>
                <a:gd name="T59" fmla="*/ 62 h 400"/>
                <a:gd name="T60" fmla="*/ 130 w 396"/>
                <a:gd name="T61" fmla="*/ 38 h 400"/>
                <a:gd name="T62" fmla="*/ 124 w 396"/>
                <a:gd name="T63" fmla="*/ 78 h 400"/>
                <a:gd name="T64" fmla="*/ 96 w 396"/>
                <a:gd name="T65" fmla="*/ 144 h 400"/>
                <a:gd name="T66" fmla="*/ 74 w 396"/>
                <a:gd name="T67" fmla="*/ 100 h 400"/>
                <a:gd name="T68" fmla="*/ 170 w 396"/>
                <a:gd name="T69" fmla="*/ 148 h 400"/>
                <a:gd name="T70" fmla="*/ 136 w 396"/>
                <a:gd name="T71" fmla="*/ 122 h 400"/>
                <a:gd name="T72" fmla="*/ 226 w 396"/>
                <a:gd name="T73" fmla="*/ 116 h 400"/>
                <a:gd name="T74" fmla="*/ 166 w 396"/>
                <a:gd name="T75" fmla="*/ 88 h 400"/>
                <a:gd name="T76" fmla="*/ 176 w 396"/>
                <a:gd name="T77" fmla="*/ 164 h 400"/>
                <a:gd name="T78" fmla="*/ 140 w 396"/>
                <a:gd name="T79" fmla="*/ 252 h 400"/>
                <a:gd name="T80" fmla="*/ 108 w 396"/>
                <a:gd name="T81" fmla="*/ 208 h 400"/>
                <a:gd name="T82" fmla="*/ 218 w 396"/>
                <a:gd name="T83" fmla="*/ 144 h 400"/>
                <a:gd name="T84" fmla="*/ 302 w 396"/>
                <a:gd name="T85" fmla="*/ 176 h 400"/>
                <a:gd name="T86" fmla="*/ 86 w 396"/>
                <a:gd name="T87" fmla="*/ 260 h 400"/>
                <a:gd name="T88" fmla="*/ 94 w 396"/>
                <a:gd name="T89" fmla="*/ 328 h 400"/>
                <a:gd name="T90" fmla="*/ 40 w 396"/>
                <a:gd name="T91" fmla="*/ 274 h 400"/>
                <a:gd name="T92" fmla="*/ 36 w 396"/>
                <a:gd name="T93" fmla="*/ 232 h 400"/>
                <a:gd name="T94" fmla="*/ 112 w 396"/>
                <a:gd name="T95" fmla="*/ 332 h 400"/>
                <a:gd name="T96" fmla="*/ 120 w 396"/>
                <a:gd name="T97" fmla="*/ 266 h 400"/>
                <a:gd name="T98" fmla="*/ 192 w 396"/>
                <a:gd name="T99" fmla="*/ 260 h 400"/>
                <a:gd name="T100" fmla="*/ 142 w 396"/>
                <a:gd name="T101" fmla="*/ 338 h 400"/>
                <a:gd name="T102" fmla="*/ 224 w 396"/>
                <a:gd name="T103" fmla="*/ 250 h 400"/>
                <a:gd name="T104" fmla="*/ 324 w 396"/>
                <a:gd name="T105" fmla="*/ 202 h 400"/>
                <a:gd name="T106" fmla="*/ 350 w 396"/>
                <a:gd name="T107" fmla="*/ 248 h 400"/>
                <a:gd name="T108" fmla="*/ 128 w 396"/>
                <a:gd name="T109" fmla="*/ 360 h 400"/>
                <a:gd name="T110" fmla="*/ 160 w 396"/>
                <a:gd name="T111" fmla="*/ 356 h 400"/>
                <a:gd name="T112" fmla="*/ 250 w 396"/>
                <a:gd name="T113" fmla="*/ 366 h 400"/>
                <a:gd name="T114" fmla="*/ 144 w 396"/>
                <a:gd name="T115" fmla="*/ 366 h 400"/>
                <a:gd name="T116" fmla="*/ 284 w 396"/>
                <a:gd name="T117" fmla="*/ 322 h 400"/>
                <a:gd name="T118" fmla="*/ 354 w 396"/>
                <a:gd name="T119" fmla="*/ 278 h 400"/>
                <a:gd name="T120" fmla="*/ 294 w 396"/>
                <a:gd name="T121" fmla="*/ 3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6" h="400">
                  <a:moveTo>
                    <a:pt x="384" y="132"/>
                  </a:moveTo>
                  <a:lnTo>
                    <a:pt x="384" y="132"/>
                  </a:lnTo>
                  <a:lnTo>
                    <a:pt x="378" y="118"/>
                  </a:lnTo>
                  <a:lnTo>
                    <a:pt x="372" y="104"/>
                  </a:lnTo>
                  <a:lnTo>
                    <a:pt x="364" y="90"/>
                  </a:lnTo>
                  <a:lnTo>
                    <a:pt x="354" y="78"/>
                  </a:lnTo>
                  <a:lnTo>
                    <a:pt x="334" y="54"/>
                  </a:lnTo>
                  <a:lnTo>
                    <a:pt x="310" y="36"/>
                  </a:lnTo>
                  <a:lnTo>
                    <a:pt x="286" y="22"/>
                  </a:lnTo>
                  <a:lnTo>
                    <a:pt x="258" y="10"/>
                  </a:lnTo>
                  <a:lnTo>
                    <a:pt x="228" y="4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64" y="4"/>
                  </a:lnTo>
                  <a:lnTo>
                    <a:pt x="146" y="8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12" y="20"/>
                  </a:lnTo>
                  <a:lnTo>
                    <a:pt x="94" y="30"/>
                  </a:lnTo>
                  <a:lnTo>
                    <a:pt x="78" y="42"/>
                  </a:lnTo>
                  <a:lnTo>
                    <a:pt x="62" y="54"/>
                  </a:lnTo>
                  <a:lnTo>
                    <a:pt x="50" y="68"/>
                  </a:lnTo>
                  <a:lnTo>
                    <a:pt x="38" y="82"/>
                  </a:lnTo>
                  <a:lnTo>
                    <a:pt x="26" y="98"/>
                  </a:lnTo>
                  <a:lnTo>
                    <a:pt x="18" y="116"/>
                  </a:lnTo>
                  <a:lnTo>
                    <a:pt x="10" y="134"/>
                  </a:lnTo>
                  <a:lnTo>
                    <a:pt x="4" y="152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10"/>
                  </a:lnTo>
                  <a:lnTo>
                    <a:pt x="2" y="228"/>
                  </a:lnTo>
                  <a:lnTo>
                    <a:pt x="6" y="24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8" y="282"/>
                  </a:lnTo>
                  <a:lnTo>
                    <a:pt x="24" y="296"/>
                  </a:lnTo>
                  <a:lnTo>
                    <a:pt x="32" y="310"/>
                  </a:lnTo>
                  <a:lnTo>
                    <a:pt x="42" y="322"/>
                  </a:lnTo>
                  <a:lnTo>
                    <a:pt x="62" y="344"/>
                  </a:lnTo>
                  <a:lnTo>
                    <a:pt x="86" y="364"/>
                  </a:lnTo>
                  <a:lnTo>
                    <a:pt x="110" y="378"/>
                  </a:lnTo>
                  <a:lnTo>
                    <a:pt x="138" y="390"/>
                  </a:lnTo>
                  <a:lnTo>
                    <a:pt x="168" y="396"/>
                  </a:lnTo>
                  <a:lnTo>
                    <a:pt x="198" y="400"/>
                  </a:lnTo>
                  <a:lnTo>
                    <a:pt x="198" y="400"/>
                  </a:lnTo>
                  <a:lnTo>
                    <a:pt x="216" y="398"/>
                  </a:lnTo>
                  <a:lnTo>
                    <a:pt x="232" y="396"/>
                  </a:lnTo>
                  <a:lnTo>
                    <a:pt x="250" y="392"/>
                  </a:lnTo>
                  <a:lnTo>
                    <a:pt x="266" y="386"/>
                  </a:lnTo>
                  <a:lnTo>
                    <a:pt x="266" y="386"/>
                  </a:lnTo>
                  <a:lnTo>
                    <a:pt x="284" y="380"/>
                  </a:lnTo>
                  <a:lnTo>
                    <a:pt x="302" y="370"/>
                  </a:lnTo>
                  <a:lnTo>
                    <a:pt x="318" y="358"/>
                  </a:lnTo>
                  <a:lnTo>
                    <a:pt x="334" y="346"/>
                  </a:lnTo>
                  <a:lnTo>
                    <a:pt x="346" y="332"/>
                  </a:lnTo>
                  <a:lnTo>
                    <a:pt x="358" y="316"/>
                  </a:lnTo>
                  <a:lnTo>
                    <a:pt x="370" y="300"/>
                  </a:lnTo>
                  <a:lnTo>
                    <a:pt x="378" y="284"/>
                  </a:lnTo>
                  <a:lnTo>
                    <a:pt x="386" y="266"/>
                  </a:lnTo>
                  <a:lnTo>
                    <a:pt x="392" y="248"/>
                  </a:lnTo>
                  <a:lnTo>
                    <a:pt x="394" y="230"/>
                  </a:lnTo>
                  <a:lnTo>
                    <a:pt x="396" y="210"/>
                  </a:lnTo>
                  <a:lnTo>
                    <a:pt x="396" y="190"/>
                  </a:lnTo>
                  <a:lnTo>
                    <a:pt x="394" y="170"/>
                  </a:lnTo>
                  <a:lnTo>
                    <a:pt x="390" y="152"/>
                  </a:lnTo>
                  <a:lnTo>
                    <a:pt x="384" y="132"/>
                  </a:lnTo>
                  <a:lnTo>
                    <a:pt x="384" y="132"/>
                  </a:lnTo>
                  <a:close/>
                  <a:moveTo>
                    <a:pt x="372" y="198"/>
                  </a:moveTo>
                  <a:lnTo>
                    <a:pt x="372" y="198"/>
                  </a:lnTo>
                  <a:lnTo>
                    <a:pt x="368" y="214"/>
                  </a:lnTo>
                  <a:lnTo>
                    <a:pt x="360" y="232"/>
                  </a:lnTo>
                  <a:lnTo>
                    <a:pt x="360" y="232"/>
                  </a:lnTo>
                  <a:lnTo>
                    <a:pt x="352" y="216"/>
                  </a:lnTo>
                  <a:lnTo>
                    <a:pt x="344" y="202"/>
                  </a:lnTo>
                  <a:lnTo>
                    <a:pt x="334" y="188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32" y="156"/>
                  </a:lnTo>
                  <a:lnTo>
                    <a:pt x="338" y="138"/>
                  </a:lnTo>
                  <a:lnTo>
                    <a:pt x="342" y="120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54" y="12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6" y="154"/>
                  </a:lnTo>
                  <a:lnTo>
                    <a:pt x="370" y="168"/>
                  </a:lnTo>
                  <a:lnTo>
                    <a:pt x="372" y="198"/>
                  </a:lnTo>
                  <a:lnTo>
                    <a:pt x="372" y="198"/>
                  </a:lnTo>
                  <a:close/>
                  <a:moveTo>
                    <a:pt x="322" y="82"/>
                  </a:moveTo>
                  <a:lnTo>
                    <a:pt x="322" y="82"/>
                  </a:lnTo>
                  <a:lnTo>
                    <a:pt x="326" y="92"/>
                  </a:lnTo>
                  <a:lnTo>
                    <a:pt x="328" y="102"/>
                  </a:lnTo>
                  <a:lnTo>
                    <a:pt x="328" y="112"/>
                  </a:lnTo>
                  <a:lnTo>
                    <a:pt x="326" y="122"/>
                  </a:lnTo>
                  <a:lnTo>
                    <a:pt x="320" y="14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282" y="136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56" y="96"/>
                  </a:lnTo>
                  <a:lnTo>
                    <a:pt x="258" y="82"/>
                  </a:lnTo>
                  <a:lnTo>
                    <a:pt x="258" y="68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48" y="42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80" y="46"/>
                  </a:lnTo>
                  <a:lnTo>
                    <a:pt x="300" y="58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22" y="82"/>
                  </a:lnTo>
                  <a:lnTo>
                    <a:pt x="322" y="82"/>
                  </a:lnTo>
                  <a:close/>
                  <a:moveTo>
                    <a:pt x="28" y="190"/>
                  </a:moveTo>
                  <a:lnTo>
                    <a:pt x="28" y="190"/>
                  </a:lnTo>
                  <a:lnTo>
                    <a:pt x="24" y="180"/>
                  </a:lnTo>
                  <a:lnTo>
                    <a:pt x="24" y="180"/>
                  </a:lnTo>
                  <a:lnTo>
                    <a:pt x="28" y="156"/>
                  </a:lnTo>
                  <a:lnTo>
                    <a:pt x="36" y="134"/>
                  </a:lnTo>
                  <a:lnTo>
                    <a:pt x="46" y="11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110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8" y="138"/>
                  </a:lnTo>
                  <a:lnTo>
                    <a:pt x="76" y="150"/>
                  </a:lnTo>
                  <a:lnTo>
                    <a:pt x="88" y="158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92" y="20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66" y="234"/>
                  </a:lnTo>
                  <a:lnTo>
                    <a:pt x="50" y="222"/>
                  </a:lnTo>
                  <a:lnTo>
                    <a:pt x="42" y="216"/>
                  </a:lnTo>
                  <a:lnTo>
                    <a:pt x="36" y="208"/>
                  </a:lnTo>
                  <a:lnTo>
                    <a:pt x="32" y="200"/>
                  </a:lnTo>
                  <a:lnTo>
                    <a:pt x="28" y="190"/>
                  </a:lnTo>
                  <a:lnTo>
                    <a:pt x="28" y="190"/>
                  </a:lnTo>
                  <a:close/>
                  <a:moveTo>
                    <a:pt x="234" y="102"/>
                  </a:moveTo>
                  <a:lnTo>
                    <a:pt x="234" y="102"/>
                  </a:lnTo>
                  <a:lnTo>
                    <a:pt x="200" y="8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76" y="58"/>
                  </a:lnTo>
                  <a:lnTo>
                    <a:pt x="188" y="48"/>
                  </a:lnTo>
                  <a:lnTo>
                    <a:pt x="198" y="40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20" y="38"/>
                  </a:lnTo>
                  <a:lnTo>
                    <a:pt x="230" y="44"/>
                  </a:lnTo>
                  <a:lnTo>
                    <a:pt x="236" y="52"/>
                  </a:lnTo>
                  <a:lnTo>
                    <a:pt x="240" y="60"/>
                  </a:lnTo>
                  <a:lnTo>
                    <a:pt x="240" y="60"/>
                  </a:lnTo>
                  <a:lnTo>
                    <a:pt x="242" y="70"/>
                  </a:lnTo>
                  <a:lnTo>
                    <a:pt x="242" y="82"/>
                  </a:lnTo>
                  <a:lnTo>
                    <a:pt x="240" y="92"/>
                  </a:lnTo>
                  <a:lnTo>
                    <a:pt x="234" y="102"/>
                  </a:lnTo>
                  <a:lnTo>
                    <a:pt x="234" y="102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70" y="42"/>
                  </a:lnTo>
                  <a:lnTo>
                    <a:pt x="156" y="58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130" y="38"/>
                  </a:moveTo>
                  <a:lnTo>
                    <a:pt x="140" y="64"/>
                  </a:lnTo>
                  <a:lnTo>
                    <a:pt x="140" y="64"/>
                  </a:lnTo>
                  <a:lnTo>
                    <a:pt x="118" y="6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06" y="52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30" y="38"/>
                  </a:lnTo>
                  <a:lnTo>
                    <a:pt x="130" y="38"/>
                  </a:lnTo>
                  <a:close/>
                  <a:moveTo>
                    <a:pt x="82" y="80"/>
                  </a:moveTo>
                  <a:lnTo>
                    <a:pt x="82" y="80"/>
                  </a:lnTo>
                  <a:lnTo>
                    <a:pt x="94" y="78"/>
                  </a:lnTo>
                  <a:lnTo>
                    <a:pt x="108" y="76"/>
                  </a:lnTo>
                  <a:lnTo>
                    <a:pt x="124" y="78"/>
                  </a:lnTo>
                  <a:lnTo>
                    <a:pt x="140" y="80"/>
                  </a:lnTo>
                  <a:lnTo>
                    <a:pt x="140" y="80"/>
                  </a:lnTo>
                  <a:lnTo>
                    <a:pt x="122" y="114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96" y="144"/>
                  </a:lnTo>
                  <a:lnTo>
                    <a:pt x="88" y="138"/>
                  </a:lnTo>
                  <a:lnTo>
                    <a:pt x="80" y="13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10"/>
                  </a:lnTo>
                  <a:lnTo>
                    <a:pt x="74" y="100"/>
                  </a:lnTo>
                  <a:lnTo>
                    <a:pt x="76" y="90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50" y="94"/>
                  </a:moveTo>
                  <a:lnTo>
                    <a:pt x="170" y="148"/>
                  </a:lnTo>
                  <a:lnTo>
                    <a:pt x="170" y="148"/>
                  </a:lnTo>
                  <a:lnTo>
                    <a:pt x="154" y="152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36" y="122"/>
                  </a:lnTo>
                  <a:lnTo>
                    <a:pt x="150" y="94"/>
                  </a:lnTo>
                  <a:lnTo>
                    <a:pt x="150" y="94"/>
                  </a:lnTo>
                  <a:close/>
                  <a:moveTo>
                    <a:pt x="166" y="88"/>
                  </a:moveTo>
                  <a:lnTo>
                    <a:pt x="166" y="88"/>
                  </a:lnTo>
                  <a:lnTo>
                    <a:pt x="196" y="100"/>
                  </a:lnTo>
                  <a:lnTo>
                    <a:pt x="226" y="116"/>
                  </a:lnTo>
                  <a:lnTo>
                    <a:pt x="226" y="116"/>
                  </a:lnTo>
                  <a:lnTo>
                    <a:pt x="218" y="124"/>
                  </a:lnTo>
                  <a:lnTo>
                    <a:pt x="208" y="132"/>
                  </a:lnTo>
                  <a:lnTo>
                    <a:pt x="198" y="138"/>
                  </a:lnTo>
                  <a:lnTo>
                    <a:pt x="186" y="144"/>
                  </a:lnTo>
                  <a:lnTo>
                    <a:pt x="166" y="88"/>
                  </a:lnTo>
                  <a:close/>
                  <a:moveTo>
                    <a:pt x="118" y="168"/>
                  </a:moveTo>
                  <a:lnTo>
                    <a:pt x="118" y="168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56" y="168"/>
                  </a:lnTo>
                  <a:lnTo>
                    <a:pt x="176" y="164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188" y="246"/>
                  </a:lnTo>
                  <a:lnTo>
                    <a:pt x="172" y="248"/>
                  </a:lnTo>
                  <a:lnTo>
                    <a:pt x="156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20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8" y="208"/>
                  </a:lnTo>
                  <a:lnTo>
                    <a:pt x="118" y="168"/>
                  </a:lnTo>
                  <a:lnTo>
                    <a:pt x="118" y="168"/>
                  </a:lnTo>
                  <a:close/>
                  <a:moveTo>
                    <a:pt x="192" y="158"/>
                  </a:moveTo>
                  <a:lnTo>
                    <a:pt x="192" y="158"/>
                  </a:lnTo>
                  <a:lnTo>
                    <a:pt x="206" y="152"/>
                  </a:lnTo>
                  <a:lnTo>
                    <a:pt x="218" y="144"/>
                  </a:lnTo>
                  <a:lnTo>
                    <a:pt x="230" y="134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72" y="148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286" y="194"/>
                  </a:lnTo>
                  <a:lnTo>
                    <a:pt x="266" y="210"/>
                  </a:lnTo>
                  <a:lnTo>
                    <a:pt x="244" y="224"/>
                  </a:lnTo>
                  <a:lnTo>
                    <a:pt x="220" y="236"/>
                  </a:lnTo>
                  <a:lnTo>
                    <a:pt x="192" y="158"/>
                  </a:lnTo>
                  <a:close/>
                  <a:moveTo>
                    <a:pt x="86" y="260"/>
                  </a:moveTo>
                  <a:lnTo>
                    <a:pt x="86" y="260"/>
                  </a:lnTo>
                  <a:lnTo>
                    <a:pt x="86" y="278"/>
                  </a:lnTo>
                  <a:lnTo>
                    <a:pt x="88" y="296"/>
                  </a:lnTo>
                  <a:lnTo>
                    <a:pt x="90" y="312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78" y="32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54" y="298"/>
                  </a:lnTo>
                  <a:lnTo>
                    <a:pt x="46" y="286"/>
                  </a:lnTo>
                  <a:lnTo>
                    <a:pt x="40" y="274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8" y="240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36" y="232"/>
                  </a:lnTo>
                  <a:lnTo>
                    <a:pt x="50" y="244"/>
                  </a:lnTo>
                  <a:lnTo>
                    <a:pt x="68" y="252"/>
                  </a:lnTo>
                  <a:lnTo>
                    <a:pt x="86" y="260"/>
                  </a:lnTo>
                  <a:lnTo>
                    <a:pt x="86" y="260"/>
                  </a:lnTo>
                  <a:close/>
                  <a:moveTo>
                    <a:pt x="112" y="332"/>
                  </a:moveTo>
                  <a:lnTo>
                    <a:pt x="112" y="332"/>
                  </a:lnTo>
                  <a:lnTo>
                    <a:pt x="108" y="316"/>
                  </a:lnTo>
                  <a:lnTo>
                    <a:pt x="104" y="300"/>
                  </a:lnTo>
                  <a:lnTo>
                    <a:pt x="102" y="282"/>
                  </a:lnTo>
                  <a:lnTo>
                    <a:pt x="102" y="264"/>
                  </a:lnTo>
                  <a:lnTo>
                    <a:pt x="102" y="264"/>
                  </a:lnTo>
                  <a:lnTo>
                    <a:pt x="120" y="266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56" y="266"/>
                  </a:lnTo>
                  <a:lnTo>
                    <a:pt x="174" y="264"/>
                  </a:lnTo>
                  <a:lnTo>
                    <a:pt x="192" y="260"/>
                  </a:lnTo>
                  <a:lnTo>
                    <a:pt x="210" y="256"/>
                  </a:lnTo>
                  <a:lnTo>
                    <a:pt x="236" y="326"/>
                  </a:lnTo>
                  <a:lnTo>
                    <a:pt x="236" y="326"/>
                  </a:lnTo>
                  <a:lnTo>
                    <a:pt x="204" y="334"/>
                  </a:lnTo>
                  <a:lnTo>
                    <a:pt x="172" y="338"/>
                  </a:lnTo>
                  <a:lnTo>
                    <a:pt x="142" y="338"/>
                  </a:lnTo>
                  <a:lnTo>
                    <a:pt x="112" y="334"/>
                  </a:lnTo>
                  <a:lnTo>
                    <a:pt x="112" y="334"/>
                  </a:lnTo>
                  <a:lnTo>
                    <a:pt x="112" y="332"/>
                  </a:lnTo>
                  <a:lnTo>
                    <a:pt x="112" y="332"/>
                  </a:lnTo>
                  <a:close/>
                  <a:moveTo>
                    <a:pt x="224" y="250"/>
                  </a:moveTo>
                  <a:lnTo>
                    <a:pt x="224" y="250"/>
                  </a:lnTo>
                  <a:lnTo>
                    <a:pt x="252" y="238"/>
                  </a:lnTo>
                  <a:lnTo>
                    <a:pt x="274" y="224"/>
                  </a:lnTo>
                  <a:lnTo>
                    <a:pt x="296" y="206"/>
                  </a:lnTo>
                  <a:lnTo>
                    <a:pt x="312" y="188"/>
                  </a:lnTo>
                  <a:lnTo>
                    <a:pt x="312" y="188"/>
                  </a:lnTo>
                  <a:lnTo>
                    <a:pt x="324" y="202"/>
                  </a:lnTo>
                  <a:lnTo>
                    <a:pt x="334" y="216"/>
                  </a:lnTo>
                  <a:lnTo>
                    <a:pt x="342" y="232"/>
                  </a:lnTo>
                  <a:lnTo>
                    <a:pt x="348" y="246"/>
                  </a:lnTo>
                  <a:lnTo>
                    <a:pt x="348" y="246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30" y="270"/>
                  </a:lnTo>
                  <a:lnTo>
                    <a:pt x="306" y="290"/>
                  </a:lnTo>
                  <a:lnTo>
                    <a:pt x="280" y="308"/>
                  </a:lnTo>
                  <a:lnTo>
                    <a:pt x="250" y="322"/>
                  </a:lnTo>
                  <a:lnTo>
                    <a:pt x="224" y="250"/>
                  </a:lnTo>
                  <a:close/>
                  <a:moveTo>
                    <a:pt x="128" y="360"/>
                  </a:moveTo>
                  <a:lnTo>
                    <a:pt x="128" y="360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40" y="354"/>
                  </a:lnTo>
                  <a:lnTo>
                    <a:pt x="160" y="356"/>
                  </a:lnTo>
                  <a:lnTo>
                    <a:pt x="160" y="356"/>
                  </a:lnTo>
                  <a:lnTo>
                    <a:pt x="180" y="354"/>
                  </a:lnTo>
                  <a:lnTo>
                    <a:pt x="200" y="352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4" y="372"/>
                  </a:lnTo>
                  <a:lnTo>
                    <a:pt x="198" y="376"/>
                  </a:lnTo>
                  <a:lnTo>
                    <a:pt x="198" y="376"/>
                  </a:lnTo>
                  <a:lnTo>
                    <a:pt x="180" y="374"/>
                  </a:lnTo>
                  <a:lnTo>
                    <a:pt x="162" y="372"/>
                  </a:lnTo>
                  <a:lnTo>
                    <a:pt x="144" y="366"/>
                  </a:lnTo>
                  <a:lnTo>
                    <a:pt x="128" y="360"/>
                  </a:lnTo>
                  <a:lnTo>
                    <a:pt x="128" y="360"/>
                  </a:lnTo>
                  <a:close/>
                  <a:moveTo>
                    <a:pt x="266" y="362"/>
                  </a:moveTo>
                  <a:lnTo>
                    <a:pt x="256" y="336"/>
                  </a:lnTo>
                  <a:lnTo>
                    <a:pt x="256" y="336"/>
                  </a:lnTo>
                  <a:lnTo>
                    <a:pt x="284" y="322"/>
                  </a:lnTo>
                  <a:lnTo>
                    <a:pt x="310" y="306"/>
                  </a:lnTo>
                  <a:lnTo>
                    <a:pt x="334" y="288"/>
                  </a:lnTo>
                  <a:lnTo>
                    <a:pt x="354" y="268"/>
                  </a:lnTo>
                  <a:lnTo>
                    <a:pt x="354" y="268"/>
                  </a:lnTo>
                  <a:lnTo>
                    <a:pt x="354" y="278"/>
                  </a:lnTo>
                  <a:lnTo>
                    <a:pt x="354" y="278"/>
                  </a:lnTo>
                  <a:lnTo>
                    <a:pt x="348" y="292"/>
                  </a:lnTo>
                  <a:lnTo>
                    <a:pt x="338" y="304"/>
                  </a:lnTo>
                  <a:lnTo>
                    <a:pt x="328" y="316"/>
                  </a:lnTo>
                  <a:lnTo>
                    <a:pt x="318" y="328"/>
                  </a:lnTo>
                  <a:lnTo>
                    <a:pt x="306" y="338"/>
                  </a:lnTo>
                  <a:lnTo>
                    <a:pt x="294" y="346"/>
                  </a:lnTo>
                  <a:lnTo>
                    <a:pt x="280" y="354"/>
                  </a:lnTo>
                  <a:lnTo>
                    <a:pt x="266" y="362"/>
                  </a:lnTo>
                  <a:lnTo>
                    <a:pt x="266" y="3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>
                <a:defRPr/>
              </a:pPr>
              <a:endParaRPr lang="en-US" sz="800" kern="0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8" name="Freeform 88"/>
            <p:cNvSpPr>
              <a:spLocks/>
            </p:cNvSpPr>
            <p:nvPr/>
          </p:nvSpPr>
          <p:spPr bwMode="auto">
            <a:xfrm>
              <a:off x="2890551" y="3082718"/>
              <a:ext cx="556603" cy="384246"/>
            </a:xfrm>
            <a:custGeom>
              <a:avLst/>
              <a:gdLst>
                <a:gd name="T0" fmla="*/ 3895 w 6125"/>
                <a:gd name="T1" fmla="*/ 17 h 4150"/>
                <a:gd name="T2" fmla="*/ 4222 w 6125"/>
                <a:gd name="T3" fmla="*/ 97 h 4150"/>
                <a:gd name="T4" fmla="*/ 4499 w 6125"/>
                <a:gd name="T5" fmla="*/ 240 h 4150"/>
                <a:gd name="T6" fmla="*/ 4729 w 6125"/>
                <a:gd name="T7" fmla="*/ 433 h 4150"/>
                <a:gd name="T8" fmla="*/ 4909 w 6125"/>
                <a:gd name="T9" fmla="*/ 667 h 4150"/>
                <a:gd name="T10" fmla="*/ 5041 w 6125"/>
                <a:gd name="T11" fmla="*/ 936 h 4150"/>
                <a:gd name="T12" fmla="*/ 5127 w 6125"/>
                <a:gd name="T13" fmla="*/ 1232 h 4150"/>
                <a:gd name="T14" fmla="*/ 5166 w 6125"/>
                <a:gd name="T15" fmla="*/ 1542 h 4150"/>
                <a:gd name="T16" fmla="*/ 5162 w 6125"/>
                <a:gd name="T17" fmla="*/ 1752 h 4150"/>
                <a:gd name="T18" fmla="*/ 5474 w 6125"/>
                <a:gd name="T19" fmla="*/ 1863 h 4150"/>
                <a:gd name="T20" fmla="*/ 5738 w 6125"/>
                <a:gd name="T21" fmla="*/ 2051 h 4150"/>
                <a:gd name="T22" fmla="*/ 5944 w 6125"/>
                <a:gd name="T23" fmla="*/ 2300 h 4150"/>
                <a:gd name="T24" fmla="*/ 6078 w 6125"/>
                <a:gd name="T25" fmla="*/ 2601 h 4150"/>
                <a:gd name="T26" fmla="*/ 6125 w 6125"/>
                <a:gd name="T27" fmla="*/ 2937 h 4150"/>
                <a:gd name="T28" fmla="*/ 6076 w 6125"/>
                <a:gd name="T29" fmla="*/ 3277 h 4150"/>
                <a:gd name="T30" fmla="*/ 5941 w 6125"/>
                <a:gd name="T31" fmla="*/ 3580 h 4150"/>
                <a:gd name="T32" fmla="*/ 5732 w 6125"/>
                <a:gd name="T33" fmla="*/ 3832 h 4150"/>
                <a:gd name="T34" fmla="*/ 5465 w 6125"/>
                <a:gd name="T35" fmla="*/ 4020 h 4150"/>
                <a:gd name="T36" fmla="*/ 5151 w 6125"/>
                <a:gd name="T37" fmla="*/ 4128 h 4150"/>
                <a:gd name="T38" fmla="*/ 1202 w 6125"/>
                <a:gd name="T39" fmla="*/ 4150 h 4150"/>
                <a:gd name="T40" fmla="*/ 864 w 6125"/>
                <a:gd name="T41" fmla="*/ 4102 h 4150"/>
                <a:gd name="T42" fmla="*/ 565 w 6125"/>
                <a:gd name="T43" fmla="*/ 3964 h 4150"/>
                <a:gd name="T44" fmla="*/ 314 w 6125"/>
                <a:gd name="T45" fmla="*/ 3754 h 4150"/>
                <a:gd name="T46" fmla="*/ 130 w 6125"/>
                <a:gd name="T47" fmla="*/ 3485 h 4150"/>
                <a:gd name="T48" fmla="*/ 22 w 6125"/>
                <a:gd name="T49" fmla="*/ 3167 h 4150"/>
                <a:gd name="T50" fmla="*/ 6 w 6125"/>
                <a:gd name="T51" fmla="*/ 2818 h 4150"/>
                <a:gd name="T52" fmla="*/ 87 w 6125"/>
                <a:gd name="T53" fmla="*/ 2484 h 4150"/>
                <a:gd name="T54" fmla="*/ 256 w 6125"/>
                <a:gd name="T55" fmla="*/ 2192 h 4150"/>
                <a:gd name="T56" fmla="*/ 496 w 6125"/>
                <a:gd name="T57" fmla="*/ 1960 h 4150"/>
                <a:gd name="T58" fmla="*/ 792 w 6125"/>
                <a:gd name="T59" fmla="*/ 1800 h 4150"/>
                <a:gd name="T60" fmla="*/ 1005 w 6125"/>
                <a:gd name="T61" fmla="*/ 1678 h 4150"/>
                <a:gd name="T62" fmla="*/ 1022 w 6125"/>
                <a:gd name="T63" fmla="*/ 1436 h 4150"/>
                <a:gd name="T64" fmla="*/ 1120 w 6125"/>
                <a:gd name="T65" fmla="*/ 1200 h 4150"/>
                <a:gd name="T66" fmla="*/ 1288 w 6125"/>
                <a:gd name="T67" fmla="*/ 1013 h 4150"/>
                <a:gd name="T68" fmla="*/ 1507 w 6125"/>
                <a:gd name="T69" fmla="*/ 890 h 4150"/>
                <a:gd name="T70" fmla="*/ 1763 w 6125"/>
                <a:gd name="T71" fmla="*/ 845 h 4150"/>
                <a:gd name="T72" fmla="*/ 2031 w 6125"/>
                <a:gd name="T73" fmla="*/ 894 h 4150"/>
                <a:gd name="T74" fmla="*/ 2256 w 6125"/>
                <a:gd name="T75" fmla="*/ 1026 h 4150"/>
                <a:gd name="T76" fmla="*/ 2362 w 6125"/>
                <a:gd name="T77" fmla="*/ 801 h 4150"/>
                <a:gd name="T78" fmla="*/ 2486 w 6125"/>
                <a:gd name="T79" fmla="*/ 589 h 4150"/>
                <a:gd name="T80" fmla="*/ 2635 w 6125"/>
                <a:gd name="T81" fmla="*/ 398 h 4150"/>
                <a:gd name="T82" fmla="*/ 2817 w 6125"/>
                <a:gd name="T83" fmla="*/ 234 h 4150"/>
                <a:gd name="T84" fmla="*/ 3040 w 6125"/>
                <a:gd name="T85" fmla="*/ 110 h 4150"/>
                <a:gd name="T86" fmla="*/ 3315 w 6125"/>
                <a:gd name="T87" fmla="*/ 28 h 4150"/>
                <a:gd name="T88" fmla="*/ 3648 w 6125"/>
                <a:gd name="T89" fmla="*/ 0 h 4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125" h="4150">
                  <a:moveTo>
                    <a:pt x="3648" y="0"/>
                  </a:moveTo>
                  <a:lnTo>
                    <a:pt x="3774" y="4"/>
                  </a:lnTo>
                  <a:lnTo>
                    <a:pt x="3895" y="17"/>
                  </a:lnTo>
                  <a:lnTo>
                    <a:pt x="4008" y="35"/>
                  </a:lnTo>
                  <a:lnTo>
                    <a:pt x="4118" y="63"/>
                  </a:lnTo>
                  <a:lnTo>
                    <a:pt x="4222" y="97"/>
                  </a:lnTo>
                  <a:lnTo>
                    <a:pt x="4320" y="138"/>
                  </a:lnTo>
                  <a:lnTo>
                    <a:pt x="4413" y="186"/>
                  </a:lnTo>
                  <a:lnTo>
                    <a:pt x="4499" y="240"/>
                  </a:lnTo>
                  <a:lnTo>
                    <a:pt x="4580" y="297"/>
                  </a:lnTo>
                  <a:lnTo>
                    <a:pt x="4658" y="362"/>
                  </a:lnTo>
                  <a:lnTo>
                    <a:pt x="4729" y="433"/>
                  </a:lnTo>
                  <a:lnTo>
                    <a:pt x="4794" y="507"/>
                  </a:lnTo>
                  <a:lnTo>
                    <a:pt x="4854" y="585"/>
                  </a:lnTo>
                  <a:lnTo>
                    <a:pt x="4909" y="667"/>
                  </a:lnTo>
                  <a:lnTo>
                    <a:pt x="4958" y="754"/>
                  </a:lnTo>
                  <a:lnTo>
                    <a:pt x="5002" y="844"/>
                  </a:lnTo>
                  <a:lnTo>
                    <a:pt x="5041" y="936"/>
                  </a:lnTo>
                  <a:lnTo>
                    <a:pt x="5075" y="1033"/>
                  </a:lnTo>
                  <a:lnTo>
                    <a:pt x="5103" y="1131"/>
                  </a:lnTo>
                  <a:lnTo>
                    <a:pt x="5127" y="1232"/>
                  </a:lnTo>
                  <a:lnTo>
                    <a:pt x="5145" y="1334"/>
                  </a:lnTo>
                  <a:lnTo>
                    <a:pt x="5156" y="1438"/>
                  </a:lnTo>
                  <a:lnTo>
                    <a:pt x="5166" y="1542"/>
                  </a:lnTo>
                  <a:lnTo>
                    <a:pt x="5168" y="1648"/>
                  </a:lnTo>
                  <a:lnTo>
                    <a:pt x="5166" y="1700"/>
                  </a:lnTo>
                  <a:lnTo>
                    <a:pt x="5162" y="1752"/>
                  </a:lnTo>
                  <a:lnTo>
                    <a:pt x="5270" y="1780"/>
                  </a:lnTo>
                  <a:lnTo>
                    <a:pt x="5374" y="1817"/>
                  </a:lnTo>
                  <a:lnTo>
                    <a:pt x="5474" y="1863"/>
                  </a:lnTo>
                  <a:lnTo>
                    <a:pt x="5567" y="1917"/>
                  </a:lnTo>
                  <a:lnTo>
                    <a:pt x="5656" y="1980"/>
                  </a:lnTo>
                  <a:lnTo>
                    <a:pt x="5738" y="2051"/>
                  </a:lnTo>
                  <a:lnTo>
                    <a:pt x="5814" y="2127"/>
                  </a:lnTo>
                  <a:lnTo>
                    <a:pt x="5883" y="2211"/>
                  </a:lnTo>
                  <a:lnTo>
                    <a:pt x="5944" y="2300"/>
                  </a:lnTo>
                  <a:lnTo>
                    <a:pt x="5996" y="2397"/>
                  </a:lnTo>
                  <a:lnTo>
                    <a:pt x="6041" y="2497"/>
                  </a:lnTo>
                  <a:lnTo>
                    <a:pt x="6078" y="2601"/>
                  </a:lnTo>
                  <a:lnTo>
                    <a:pt x="6102" y="2710"/>
                  </a:lnTo>
                  <a:lnTo>
                    <a:pt x="6119" y="2822"/>
                  </a:lnTo>
                  <a:lnTo>
                    <a:pt x="6125" y="2937"/>
                  </a:lnTo>
                  <a:lnTo>
                    <a:pt x="6119" y="3054"/>
                  </a:lnTo>
                  <a:lnTo>
                    <a:pt x="6102" y="3167"/>
                  </a:lnTo>
                  <a:lnTo>
                    <a:pt x="6076" y="3277"/>
                  </a:lnTo>
                  <a:lnTo>
                    <a:pt x="6041" y="3383"/>
                  </a:lnTo>
                  <a:lnTo>
                    <a:pt x="5994" y="3485"/>
                  </a:lnTo>
                  <a:lnTo>
                    <a:pt x="5941" y="3580"/>
                  </a:lnTo>
                  <a:lnTo>
                    <a:pt x="5879" y="3671"/>
                  </a:lnTo>
                  <a:lnTo>
                    <a:pt x="5811" y="3754"/>
                  </a:lnTo>
                  <a:lnTo>
                    <a:pt x="5732" y="3832"/>
                  </a:lnTo>
                  <a:lnTo>
                    <a:pt x="5649" y="3903"/>
                  </a:lnTo>
                  <a:lnTo>
                    <a:pt x="5560" y="3964"/>
                  </a:lnTo>
                  <a:lnTo>
                    <a:pt x="5465" y="4020"/>
                  </a:lnTo>
                  <a:lnTo>
                    <a:pt x="5365" y="4065"/>
                  </a:lnTo>
                  <a:lnTo>
                    <a:pt x="5261" y="4102"/>
                  </a:lnTo>
                  <a:lnTo>
                    <a:pt x="5151" y="4128"/>
                  </a:lnTo>
                  <a:lnTo>
                    <a:pt x="5038" y="4145"/>
                  </a:lnTo>
                  <a:lnTo>
                    <a:pt x="4922" y="4150"/>
                  </a:lnTo>
                  <a:lnTo>
                    <a:pt x="1202" y="4150"/>
                  </a:lnTo>
                  <a:lnTo>
                    <a:pt x="1087" y="4145"/>
                  </a:lnTo>
                  <a:lnTo>
                    <a:pt x="974" y="4128"/>
                  </a:lnTo>
                  <a:lnTo>
                    <a:pt x="864" y="4102"/>
                  </a:lnTo>
                  <a:lnTo>
                    <a:pt x="760" y="4065"/>
                  </a:lnTo>
                  <a:lnTo>
                    <a:pt x="660" y="4020"/>
                  </a:lnTo>
                  <a:lnTo>
                    <a:pt x="565" y="3964"/>
                  </a:lnTo>
                  <a:lnTo>
                    <a:pt x="476" y="3903"/>
                  </a:lnTo>
                  <a:lnTo>
                    <a:pt x="392" y="3832"/>
                  </a:lnTo>
                  <a:lnTo>
                    <a:pt x="314" y="3754"/>
                  </a:lnTo>
                  <a:lnTo>
                    <a:pt x="245" y="3671"/>
                  </a:lnTo>
                  <a:lnTo>
                    <a:pt x="184" y="3580"/>
                  </a:lnTo>
                  <a:lnTo>
                    <a:pt x="130" y="3485"/>
                  </a:lnTo>
                  <a:lnTo>
                    <a:pt x="84" y="3383"/>
                  </a:lnTo>
                  <a:lnTo>
                    <a:pt x="48" y="3277"/>
                  </a:lnTo>
                  <a:lnTo>
                    <a:pt x="22" y="3167"/>
                  </a:lnTo>
                  <a:lnTo>
                    <a:pt x="6" y="3054"/>
                  </a:lnTo>
                  <a:lnTo>
                    <a:pt x="0" y="2937"/>
                  </a:lnTo>
                  <a:lnTo>
                    <a:pt x="6" y="2818"/>
                  </a:lnTo>
                  <a:lnTo>
                    <a:pt x="22" y="2703"/>
                  </a:lnTo>
                  <a:lnTo>
                    <a:pt x="50" y="2592"/>
                  </a:lnTo>
                  <a:lnTo>
                    <a:pt x="87" y="2484"/>
                  </a:lnTo>
                  <a:lnTo>
                    <a:pt x="136" y="2382"/>
                  </a:lnTo>
                  <a:lnTo>
                    <a:pt x="191" y="2283"/>
                  </a:lnTo>
                  <a:lnTo>
                    <a:pt x="256" y="2192"/>
                  </a:lnTo>
                  <a:lnTo>
                    <a:pt x="329" y="2107"/>
                  </a:lnTo>
                  <a:lnTo>
                    <a:pt x="409" y="2029"/>
                  </a:lnTo>
                  <a:lnTo>
                    <a:pt x="496" y="1960"/>
                  </a:lnTo>
                  <a:lnTo>
                    <a:pt x="589" y="1897"/>
                  </a:lnTo>
                  <a:lnTo>
                    <a:pt x="688" y="1845"/>
                  </a:lnTo>
                  <a:lnTo>
                    <a:pt x="792" y="1800"/>
                  </a:lnTo>
                  <a:lnTo>
                    <a:pt x="899" y="1767"/>
                  </a:lnTo>
                  <a:lnTo>
                    <a:pt x="1013" y="1743"/>
                  </a:lnTo>
                  <a:lnTo>
                    <a:pt x="1005" y="1678"/>
                  </a:lnTo>
                  <a:lnTo>
                    <a:pt x="1002" y="1611"/>
                  </a:lnTo>
                  <a:lnTo>
                    <a:pt x="1007" y="1522"/>
                  </a:lnTo>
                  <a:lnTo>
                    <a:pt x="1022" y="1436"/>
                  </a:lnTo>
                  <a:lnTo>
                    <a:pt x="1046" y="1353"/>
                  </a:lnTo>
                  <a:lnTo>
                    <a:pt x="1080" y="1274"/>
                  </a:lnTo>
                  <a:lnTo>
                    <a:pt x="1120" y="1200"/>
                  </a:lnTo>
                  <a:lnTo>
                    <a:pt x="1169" y="1131"/>
                  </a:lnTo>
                  <a:lnTo>
                    <a:pt x="1225" y="1068"/>
                  </a:lnTo>
                  <a:lnTo>
                    <a:pt x="1288" y="1013"/>
                  </a:lnTo>
                  <a:lnTo>
                    <a:pt x="1355" y="964"/>
                  </a:lnTo>
                  <a:lnTo>
                    <a:pt x="1429" y="923"/>
                  </a:lnTo>
                  <a:lnTo>
                    <a:pt x="1507" y="890"/>
                  </a:lnTo>
                  <a:lnTo>
                    <a:pt x="1589" y="866"/>
                  </a:lnTo>
                  <a:lnTo>
                    <a:pt x="1674" y="851"/>
                  </a:lnTo>
                  <a:lnTo>
                    <a:pt x="1763" y="845"/>
                  </a:lnTo>
                  <a:lnTo>
                    <a:pt x="1856" y="851"/>
                  </a:lnTo>
                  <a:lnTo>
                    <a:pt x="1946" y="868"/>
                  </a:lnTo>
                  <a:lnTo>
                    <a:pt x="2031" y="894"/>
                  </a:lnTo>
                  <a:lnTo>
                    <a:pt x="2111" y="929"/>
                  </a:lnTo>
                  <a:lnTo>
                    <a:pt x="2185" y="974"/>
                  </a:lnTo>
                  <a:lnTo>
                    <a:pt x="2256" y="1026"/>
                  </a:lnTo>
                  <a:lnTo>
                    <a:pt x="2289" y="949"/>
                  </a:lnTo>
                  <a:lnTo>
                    <a:pt x="2325" y="875"/>
                  </a:lnTo>
                  <a:lnTo>
                    <a:pt x="2362" y="801"/>
                  </a:lnTo>
                  <a:lnTo>
                    <a:pt x="2401" y="728"/>
                  </a:lnTo>
                  <a:lnTo>
                    <a:pt x="2444" y="658"/>
                  </a:lnTo>
                  <a:lnTo>
                    <a:pt x="2486" y="589"/>
                  </a:lnTo>
                  <a:lnTo>
                    <a:pt x="2533" y="522"/>
                  </a:lnTo>
                  <a:lnTo>
                    <a:pt x="2583" y="457"/>
                  </a:lnTo>
                  <a:lnTo>
                    <a:pt x="2635" y="398"/>
                  </a:lnTo>
                  <a:lnTo>
                    <a:pt x="2691" y="340"/>
                  </a:lnTo>
                  <a:lnTo>
                    <a:pt x="2752" y="286"/>
                  </a:lnTo>
                  <a:lnTo>
                    <a:pt x="2817" y="234"/>
                  </a:lnTo>
                  <a:lnTo>
                    <a:pt x="2886" y="188"/>
                  </a:lnTo>
                  <a:lnTo>
                    <a:pt x="2960" y="147"/>
                  </a:lnTo>
                  <a:lnTo>
                    <a:pt x="3040" y="110"/>
                  </a:lnTo>
                  <a:lnTo>
                    <a:pt x="3125" y="76"/>
                  </a:lnTo>
                  <a:lnTo>
                    <a:pt x="3217" y="50"/>
                  </a:lnTo>
                  <a:lnTo>
                    <a:pt x="3315" y="28"/>
                  </a:lnTo>
                  <a:lnTo>
                    <a:pt x="3419" y="13"/>
                  </a:lnTo>
                  <a:lnTo>
                    <a:pt x="3531" y="4"/>
                  </a:lnTo>
                  <a:lnTo>
                    <a:pt x="364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9" name="Freeform 4959"/>
            <p:cNvSpPr>
              <a:spLocks noEditPoints="1"/>
            </p:cNvSpPr>
            <p:nvPr/>
          </p:nvSpPr>
          <p:spPr bwMode="auto">
            <a:xfrm>
              <a:off x="2336937" y="2974913"/>
              <a:ext cx="440602" cy="364070"/>
            </a:xfrm>
            <a:custGeom>
              <a:avLst/>
              <a:gdLst>
                <a:gd name="T0" fmla="*/ 348 w 360"/>
                <a:gd name="T1" fmla="*/ 0 h 280"/>
                <a:gd name="T2" fmla="*/ 8 w 360"/>
                <a:gd name="T3" fmla="*/ 0 h 280"/>
                <a:gd name="T4" fmla="*/ 0 w 360"/>
                <a:gd name="T5" fmla="*/ 8 h 280"/>
                <a:gd name="T6" fmla="*/ 8 w 360"/>
                <a:gd name="T7" fmla="*/ 242 h 280"/>
                <a:gd name="T8" fmla="*/ 180 w 360"/>
                <a:gd name="T9" fmla="*/ 280 h 280"/>
                <a:gd name="T10" fmla="*/ 358 w 360"/>
                <a:gd name="T11" fmla="*/ 238 h 280"/>
                <a:gd name="T12" fmla="*/ 360 w 360"/>
                <a:gd name="T13" fmla="*/ 4 h 280"/>
                <a:gd name="T14" fmla="*/ 20 w 360"/>
                <a:gd name="T15" fmla="*/ 224 h 280"/>
                <a:gd name="T16" fmla="*/ 200 w 360"/>
                <a:gd name="T17" fmla="*/ 54 h 280"/>
                <a:gd name="T18" fmla="*/ 334 w 360"/>
                <a:gd name="T19" fmla="*/ 26 h 280"/>
                <a:gd name="T20" fmla="*/ 338 w 360"/>
                <a:gd name="T21" fmla="*/ 36 h 280"/>
                <a:gd name="T22" fmla="*/ 204 w 360"/>
                <a:gd name="T23" fmla="*/ 72 h 280"/>
                <a:gd name="T24" fmla="*/ 196 w 360"/>
                <a:gd name="T25" fmla="*/ 72 h 280"/>
                <a:gd name="T26" fmla="*/ 194 w 360"/>
                <a:gd name="T27" fmla="*/ 58 h 280"/>
                <a:gd name="T28" fmla="*/ 200 w 360"/>
                <a:gd name="T29" fmla="*/ 90 h 280"/>
                <a:gd name="T30" fmla="*/ 270 w 360"/>
                <a:gd name="T31" fmla="*/ 76 h 280"/>
                <a:gd name="T32" fmla="*/ 274 w 360"/>
                <a:gd name="T33" fmla="*/ 86 h 280"/>
                <a:gd name="T34" fmla="*/ 204 w 360"/>
                <a:gd name="T35" fmla="*/ 108 h 280"/>
                <a:gd name="T36" fmla="*/ 196 w 360"/>
                <a:gd name="T37" fmla="*/ 106 h 280"/>
                <a:gd name="T38" fmla="*/ 194 w 360"/>
                <a:gd name="T39" fmla="*/ 94 h 280"/>
                <a:gd name="T40" fmla="*/ 340 w 360"/>
                <a:gd name="T41" fmla="*/ 168 h 280"/>
                <a:gd name="T42" fmla="*/ 336 w 360"/>
                <a:gd name="T43" fmla="*/ 174 h 280"/>
                <a:gd name="T44" fmla="*/ 326 w 360"/>
                <a:gd name="T45" fmla="*/ 172 h 280"/>
                <a:gd name="T46" fmla="*/ 284 w 360"/>
                <a:gd name="T47" fmla="*/ 192 h 280"/>
                <a:gd name="T48" fmla="*/ 210 w 360"/>
                <a:gd name="T49" fmla="*/ 242 h 280"/>
                <a:gd name="T50" fmla="*/ 196 w 360"/>
                <a:gd name="T51" fmla="*/ 246 h 280"/>
                <a:gd name="T52" fmla="*/ 192 w 360"/>
                <a:gd name="T53" fmla="*/ 236 h 280"/>
                <a:gd name="T54" fmla="*/ 234 w 360"/>
                <a:gd name="T55" fmla="*/ 156 h 280"/>
                <a:gd name="T56" fmla="*/ 280 w 360"/>
                <a:gd name="T57" fmla="*/ 170 h 280"/>
                <a:gd name="T58" fmla="*/ 290 w 360"/>
                <a:gd name="T59" fmla="*/ 134 h 280"/>
                <a:gd name="T60" fmla="*/ 298 w 360"/>
                <a:gd name="T61" fmla="*/ 124 h 280"/>
                <a:gd name="T62" fmla="*/ 336 w 360"/>
                <a:gd name="T63" fmla="*/ 124 h 280"/>
                <a:gd name="T64" fmla="*/ 340 w 360"/>
                <a:gd name="T65" fmla="*/ 168 h 280"/>
                <a:gd name="T66" fmla="*/ 46 w 360"/>
                <a:gd name="T67" fmla="*/ 68 h 280"/>
                <a:gd name="T68" fmla="*/ 38 w 360"/>
                <a:gd name="T69" fmla="*/ 60 h 280"/>
                <a:gd name="T70" fmla="*/ 42 w 360"/>
                <a:gd name="T71" fmla="*/ 50 h 280"/>
                <a:gd name="T72" fmla="*/ 140 w 360"/>
                <a:gd name="T73" fmla="*/ 68 h 280"/>
                <a:gd name="T74" fmla="*/ 148 w 360"/>
                <a:gd name="T75" fmla="*/ 80 h 280"/>
                <a:gd name="T76" fmla="*/ 138 w 360"/>
                <a:gd name="T77" fmla="*/ 88 h 280"/>
                <a:gd name="T78" fmla="*/ 70 w 360"/>
                <a:gd name="T79" fmla="*/ 126 h 280"/>
                <a:gd name="T80" fmla="*/ 44 w 360"/>
                <a:gd name="T81" fmla="*/ 142 h 280"/>
                <a:gd name="T82" fmla="*/ 38 w 360"/>
                <a:gd name="T83" fmla="*/ 168 h 280"/>
                <a:gd name="T84" fmla="*/ 50 w 360"/>
                <a:gd name="T85" fmla="*/ 202 h 280"/>
                <a:gd name="T86" fmla="*/ 78 w 360"/>
                <a:gd name="T87" fmla="*/ 218 h 280"/>
                <a:gd name="T88" fmla="*/ 98 w 360"/>
                <a:gd name="T89" fmla="*/ 212 h 280"/>
                <a:gd name="T90" fmla="*/ 116 w 360"/>
                <a:gd name="T91" fmla="*/ 186 h 280"/>
                <a:gd name="T92" fmla="*/ 128 w 360"/>
                <a:gd name="T93" fmla="*/ 166 h 280"/>
                <a:gd name="T94" fmla="*/ 116 w 360"/>
                <a:gd name="T95" fmla="*/ 132 h 280"/>
                <a:gd name="T96" fmla="*/ 88 w 360"/>
                <a:gd name="T97" fmla="*/ 114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0" h="280">
                  <a:moveTo>
                    <a:pt x="356" y="2"/>
                  </a:moveTo>
                  <a:lnTo>
                    <a:pt x="356" y="2"/>
                  </a:lnTo>
                  <a:lnTo>
                    <a:pt x="352" y="0"/>
                  </a:lnTo>
                  <a:lnTo>
                    <a:pt x="348" y="0"/>
                  </a:lnTo>
                  <a:lnTo>
                    <a:pt x="180" y="38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38"/>
                  </a:lnTo>
                  <a:lnTo>
                    <a:pt x="8" y="242"/>
                  </a:lnTo>
                  <a:lnTo>
                    <a:pt x="178" y="280"/>
                  </a:lnTo>
                  <a:lnTo>
                    <a:pt x="178" y="280"/>
                  </a:lnTo>
                  <a:lnTo>
                    <a:pt x="180" y="280"/>
                  </a:lnTo>
                  <a:lnTo>
                    <a:pt x="180" y="280"/>
                  </a:lnTo>
                  <a:lnTo>
                    <a:pt x="182" y="280"/>
                  </a:lnTo>
                  <a:lnTo>
                    <a:pt x="352" y="242"/>
                  </a:lnTo>
                  <a:lnTo>
                    <a:pt x="352" y="242"/>
                  </a:lnTo>
                  <a:lnTo>
                    <a:pt x="358" y="238"/>
                  </a:lnTo>
                  <a:lnTo>
                    <a:pt x="360" y="232"/>
                  </a:lnTo>
                  <a:lnTo>
                    <a:pt x="360" y="8"/>
                  </a:lnTo>
                  <a:lnTo>
                    <a:pt x="360" y="8"/>
                  </a:lnTo>
                  <a:lnTo>
                    <a:pt x="360" y="4"/>
                  </a:lnTo>
                  <a:lnTo>
                    <a:pt x="356" y="2"/>
                  </a:lnTo>
                  <a:lnTo>
                    <a:pt x="356" y="2"/>
                  </a:lnTo>
                  <a:close/>
                  <a:moveTo>
                    <a:pt x="170" y="258"/>
                  </a:moveTo>
                  <a:lnTo>
                    <a:pt x="20" y="224"/>
                  </a:lnTo>
                  <a:lnTo>
                    <a:pt x="20" y="22"/>
                  </a:lnTo>
                  <a:lnTo>
                    <a:pt x="170" y="56"/>
                  </a:lnTo>
                  <a:lnTo>
                    <a:pt x="170" y="258"/>
                  </a:lnTo>
                  <a:close/>
                  <a:moveTo>
                    <a:pt x="200" y="54"/>
                  </a:moveTo>
                  <a:lnTo>
                    <a:pt x="326" y="24"/>
                  </a:lnTo>
                  <a:lnTo>
                    <a:pt x="326" y="24"/>
                  </a:lnTo>
                  <a:lnTo>
                    <a:pt x="330" y="24"/>
                  </a:lnTo>
                  <a:lnTo>
                    <a:pt x="334" y="26"/>
                  </a:lnTo>
                  <a:lnTo>
                    <a:pt x="336" y="28"/>
                  </a:lnTo>
                  <a:lnTo>
                    <a:pt x="338" y="32"/>
                  </a:lnTo>
                  <a:lnTo>
                    <a:pt x="338" y="32"/>
                  </a:lnTo>
                  <a:lnTo>
                    <a:pt x="338" y="36"/>
                  </a:lnTo>
                  <a:lnTo>
                    <a:pt x="336" y="40"/>
                  </a:lnTo>
                  <a:lnTo>
                    <a:pt x="334" y="42"/>
                  </a:lnTo>
                  <a:lnTo>
                    <a:pt x="330" y="44"/>
                  </a:lnTo>
                  <a:lnTo>
                    <a:pt x="204" y="72"/>
                  </a:lnTo>
                  <a:lnTo>
                    <a:pt x="204" y="72"/>
                  </a:lnTo>
                  <a:lnTo>
                    <a:pt x="202" y="74"/>
                  </a:lnTo>
                  <a:lnTo>
                    <a:pt x="202" y="74"/>
                  </a:lnTo>
                  <a:lnTo>
                    <a:pt x="196" y="72"/>
                  </a:lnTo>
                  <a:lnTo>
                    <a:pt x="192" y="66"/>
                  </a:lnTo>
                  <a:lnTo>
                    <a:pt x="192" y="66"/>
                  </a:lnTo>
                  <a:lnTo>
                    <a:pt x="192" y="62"/>
                  </a:lnTo>
                  <a:lnTo>
                    <a:pt x="194" y="58"/>
                  </a:lnTo>
                  <a:lnTo>
                    <a:pt x="196" y="56"/>
                  </a:lnTo>
                  <a:lnTo>
                    <a:pt x="200" y="54"/>
                  </a:lnTo>
                  <a:lnTo>
                    <a:pt x="200" y="54"/>
                  </a:lnTo>
                  <a:close/>
                  <a:moveTo>
                    <a:pt x="200" y="90"/>
                  </a:moveTo>
                  <a:lnTo>
                    <a:pt x="262" y="74"/>
                  </a:lnTo>
                  <a:lnTo>
                    <a:pt x="262" y="74"/>
                  </a:lnTo>
                  <a:lnTo>
                    <a:pt x="266" y="74"/>
                  </a:lnTo>
                  <a:lnTo>
                    <a:pt x="270" y="76"/>
                  </a:lnTo>
                  <a:lnTo>
                    <a:pt x="274" y="78"/>
                  </a:lnTo>
                  <a:lnTo>
                    <a:pt x="274" y="82"/>
                  </a:lnTo>
                  <a:lnTo>
                    <a:pt x="274" y="82"/>
                  </a:lnTo>
                  <a:lnTo>
                    <a:pt x="274" y="86"/>
                  </a:lnTo>
                  <a:lnTo>
                    <a:pt x="274" y="90"/>
                  </a:lnTo>
                  <a:lnTo>
                    <a:pt x="270" y="92"/>
                  </a:lnTo>
                  <a:lnTo>
                    <a:pt x="268" y="94"/>
                  </a:lnTo>
                  <a:lnTo>
                    <a:pt x="204" y="108"/>
                  </a:lnTo>
                  <a:lnTo>
                    <a:pt x="204" y="108"/>
                  </a:lnTo>
                  <a:lnTo>
                    <a:pt x="202" y="108"/>
                  </a:lnTo>
                  <a:lnTo>
                    <a:pt x="202" y="108"/>
                  </a:lnTo>
                  <a:lnTo>
                    <a:pt x="196" y="106"/>
                  </a:lnTo>
                  <a:lnTo>
                    <a:pt x="192" y="102"/>
                  </a:lnTo>
                  <a:lnTo>
                    <a:pt x="192" y="102"/>
                  </a:lnTo>
                  <a:lnTo>
                    <a:pt x="192" y="98"/>
                  </a:lnTo>
                  <a:lnTo>
                    <a:pt x="194" y="94"/>
                  </a:lnTo>
                  <a:lnTo>
                    <a:pt x="196" y="90"/>
                  </a:lnTo>
                  <a:lnTo>
                    <a:pt x="200" y="90"/>
                  </a:lnTo>
                  <a:lnTo>
                    <a:pt x="200" y="90"/>
                  </a:lnTo>
                  <a:close/>
                  <a:moveTo>
                    <a:pt x="340" y="168"/>
                  </a:moveTo>
                  <a:lnTo>
                    <a:pt x="340" y="168"/>
                  </a:lnTo>
                  <a:lnTo>
                    <a:pt x="340" y="172"/>
                  </a:lnTo>
                  <a:lnTo>
                    <a:pt x="336" y="174"/>
                  </a:lnTo>
                  <a:lnTo>
                    <a:pt x="336" y="174"/>
                  </a:lnTo>
                  <a:lnTo>
                    <a:pt x="332" y="176"/>
                  </a:lnTo>
                  <a:lnTo>
                    <a:pt x="332" y="176"/>
                  </a:lnTo>
                  <a:lnTo>
                    <a:pt x="330" y="174"/>
                  </a:lnTo>
                  <a:lnTo>
                    <a:pt x="326" y="172"/>
                  </a:lnTo>
                  <a:lnTo>
                    <a:pt x="316" y="162"/>
                  </a:lnTo>
                  <a:lnTo>
                    <a:pt x="288" y="190"/>
                  </a:lnTo>
                  <a:lnTo>
                    <a:pt x="288" y="190"/>
                  </a:lnTo>
                  <a:lnTo>
                    <a:pt x="284" y="192"/>
                  </a:lnTo>
                  <a:lnTo>
                    <a:pt x="278" y="192"/>
                  </a:lnTo>
                  <a:lnTo>
                    <a:pt x="246" y="178"/>
                  </a:lnTo>
                  <a:lnTo>
                    <a:pt x="210" y="242"/>
                  </a:lnTo>
                  <a:lnTo>
                    <a:pt x="210" y="242"/>
                  </a:lnTo>
                  <a:lnTo>
                    <a:pt x="206" y="246"/>
                  </a:lnTo>
                  <a:lnTo>
                    <a:pt x="200" y="248"/>
                  </a:lnTo>
                  <a:lnTo>
                    <a:pt x="200" y="248"/>
                  </a:lnTo>
                  <a:lnTo>
                    <a:pt x="196" y="246"/>
                  </a:lnTo>
                  <a:lnTo>
                    <a:pt x="196" y="246"/>
                  </a:lnTo>
                  <a:lnTo>
                    <a:pt x="194" y="244"/>
                  </a:lnTo>
                  <a:lnTo>
                    <a:pt x="192" y="240"/>
                  </a:lnTo>
                  <a:lnTo>
                    <a:pt x="192" y="236"/>
                  </a:lnTo>
                  <a:lnTo>
                    <a:pt x="192" y="234"/>
                  </a:lnTo>
                  <a:lnTo>
                    <a:pt x="232" y="160"/>
                  </a:lnTo>
                  <a:lnTo>
                    <a:pt x="232" y="160"/>
                  </a:lnTo>
                  <a:lnTo>
                    <a:pt x="234" y="156"/>
                  </a:lnTo>
                  <a:lnTo>
                    <a:pt x="238" y="154"/>
                  </a:lnTo>
                  <a:lnTo>
                    <a:pt x="242" y="154"/>
                  </a:lnTo>
                  <a:lnTo>
                    <a:pt x="246" y="154"/>
                  </a:lnTo>
                  <a:lnTo>
                    <a:pt x="280" y="170"/>
                  </a:lnTo>
                  <a:lnTo>
                    <a:pt x="302" y="148"/>
                  </a:lnTo>
                  <a:lnTo>
                    <a:pt x="292" y="138"/>
                  </a:lnTo>
                  <a:lnTo>
                    <a:pt x="292" y="138"/>
                  </a:lnTo>
                  <a:lnTo>
                    <a:pt x="290" y="134"/>
                  </a:lnTo>
                  <a:lnTo>
                    <a:pt x="290" y="128"/>
                  </a:lnTo>
                  <a:lnTo>
                    <a:pt x="290" y="128"/>
                  </a:lnTo>
                  <a:lnTo>
                    <a:pt x="292" y="126"/>
                  </a:lnTo>
                  <a:lnTo>
                    <a:pt x="298" y="124"/>
                  </a:lnTo>
                  <a:lnTo>
                    <a:pt x="298" y="124"/>
                  </a:lnTo>
                  <a:lnTo>
                    <a:pt x="332" y="124"/>
                  </a:lnTo>
                  <a:lnTo>
                    <a:pt x="332" y="124"/>
                  </a:lnTo>
                  <a:lnTo>
                    <a:pt x="336" y="124"/>
                  </a:lnTo>
                  <a:lnTo>
                    <a:pt x="338" y="126"/>
                  </a:lnTo>
                  <a:lnTo>
                    <a:pt x="340" y="128"/>
                  </a:lnTo>
                  <a:lnTo>
                    <a:pt x="340" y="132"/>
                  </a:lnTo>
                  <a:lnTo>
                    <a:pt x="340" y="168"/>
                  </a:lnTo>
                  <a:close/>
                  <a:moveTo>
                    <a:pt x="138" y="88"/>
                  </a:moveTo>
                  <a:lnTo>
                    <a:pt x="138" y="88"/>
                  </a:lnTo>
                  <a:lnTo>
                    <a:pt x="136" y="8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2" y="66"/>
                  </a:lnTo>
                  <a:lnTo>
                    <a:pt x="40" y="62"/>
                  </a:lnTo>
                  <a:lnTo>
                    <a:pt x="38" y="60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40" y="52"/>
                  </a:lnTo>
                  <a:lnTo>
                    <a:pt x="42" y="50"/>
                  </a:lnTo>
                  <a:lnTo>
                    <a:pt x="46" y="48"/>
                  </a:lnTo>
                  <a:lnTo>
                    <a:pt x="50" y="48"/>
                  </a:lnTo>
                  <a:lnTo>
                    <a:pt x="140" y="68"/>
                  </a:lnTo>
                  <a:lnTo>
                    <a:pt x="140" y="68"/>
                  </a:lnTo>
                  <a:lnTo>
                    <a:pt x="144" y="70"/>
                  </a:lnTo>
                  <a:lnTo>
                    <a:pt x="146" y="72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0"/>
                  </a:lnTo>
                  <a:lnTo>
                    <a:pt x="144" y="86"/>
                  </a:lnTo>
                  <a:lnTo>
                    <a:pt x="138" y="88"/>
                  </a:lnTo>
                  <a:lnTo>
                    <a:pt x="138" y="88"/>
                  </a:lnTo>
                  <a:close/>
                  <a:moveTo>
                    <a:pt x="78" y="172"/>
                  </a:moveTo>
                  <a:lnTo>
                    <a:pt x="78" y="126"/>
                  </a:lnTo>
                  <a:lnTo>
                    <a:pt x="78" y="126"/>
                  </a:lnTo>
                  <a:lnTo>
                    <a:pt x="70" y="126"/>
                  </a:lnTo>
                  <a:lnTo>
                    <a:pt x="62" y="128"/>
                  </a:lnTo>
                  <a:lnTo>
                    <a:pt x="56" y="132"/>
                  </a:lnTo>
                  <a:lnTo>
                    <a:pt x="50" y="136"/>
                  </a:lnTo>
                  <a:lnTo>
                    <a:pt x="44" y="142"/>
                  </a:lnTo>
                  <a:lnTo>
                    <a:pt x="42" y="150"/>
                  </a:lnTo>
                  <a:lnTo>
                    <a:pt x="40" y="158"/>
                  </a:lnTo>
                  <a:lnTo>
                    <a:pt x="38" y="168"/>
                  </a:lnTo>
                  <a:lnTo>
                    <a:pt x="38" y="168"/>
                  </a:lnTo>
                  <a:lnTo>
                    <a:pt x="40" y="176"/>
                  </a:lnTo>
                  <a:lnTo>
                    <a:pt x="42" y="186"/>
                  </a:lnTo>
                  <a:lnTo>
                    <a:pt x="44" y="194"/>
                  </a:lnTo>
                  <a:lnTo>
                    <a:pt x="50" y="202"/>
                  </a:lnTo>
                  <a:lnTo>
                    <a:pt x="56" y="208"/>
                  </a:lnTo>
                  <a:lnTo>
                    <a:pt x="62" y="212"/>
                  </a:lnTo>
                  <a:lnTo>
                    <a:pt x="70" y="216"/>
                  </a:lnTo>
                  <a:lnTo>
                    <a:pt x="78" y="218"/>
                  </a:lnTo>
                  <a:lnTo>
                    <a:pt x="78" y="218"/>
                  </a:lnTo>
                  <a:lnTo>
                    <a:pt x="84" y="218"/>
                  </a:lnTo>
                  <a:lnTo>
                    <a:pt x="92" y="216"/>
                  </a:lnTo>
                  <a:lnTo>
                    <a:pt x="98" y="212"/>
                  </a:lnTo>
                  <a:lnTo>
                    <a:pt x="104" y="208"/>
                  </a:lnTo>
                  <a:lnTo>
                    <a:pt x="110" y="202"/>
                  </a:lnTo>
                  <a:lnTo>
                    <a:pt x="114" y="194"/>
                  </a:lnTo>
                  <a:lnTo>
                    <a:pt x="116" y="186"/>
                  </a:lnTo>
                  <a:lnTo>
                    <a:pt x="116" y="176"/>
                  </a:lnTo>
                  <a:lnTo>
                    <a:pt x="78" y="172"/>
                  </a:lnTo>
                  <a:close/>
                  <a:moveTo>
                    <a:pt x="128" y="166"/>
                  </a:moveTo>
                  <a:lnTo>
                    <a:pt x="128" y="166"/>
                  </a:lnTo>
                  <a:lnTo>
                    <a:pt x="126" y="156"/>
                  </a:lnTo>
                  <a:lnTo>
                    <a:pt x="124" y="146"/>
                  </a:lnTo>
                  <a:lnTo>
                    <a:pt x="122" y="138"/>
                  </a:lnTo>
                  <a:lnTo>
                    <a:pt x="116" y="132"/>
                  </a:lnTo>
                  <a:lnTo>
                    <a:pt x="110" y="126"/>
                  </a:lnTo>
                  <a:lnTo>
                    <a:pt x="104" y="120"/>
                  </a:lnTo>
                  <a:lnTo>
                    <a:pt x="96" y="116"/>
                  </a:lnTo>
                  <a:lnTo>
                    <a:pt x="88" y="114"/>
                  </a:lnTo>
                  <a:lnTo>
                    <a:pt x="88" y="160"/>
                  </a:lnTo>
                  <a:lnTo>
                    <a:pt x="128" y="16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2285660" y="3392172"/>
              <a:ext cx="543155" cy="270934"/>
              <a:chOff x="4591616" y="3384615"/>
              <a:chExt cx="519401" cy="252000"/>
            </a:xfrm>
          </p:grpSpPr>
          <p:sp>
            <p:nvSpPr>
              <p:cNvPr id="47" name="Freeform 434"/>
              <p:cNvSpPr>
                <a:spLocks noChangeAspect="1" noEditPoints="1"/>
              </p:cNvSpPr>
              <p:nvPr/>
            </p:nvSpPr>
            <p:spPr bwMode="auto">
              <a:xfrm>
                <a:off x="4591616" y="3384615"/>
                <a:ext cx="252000" cy="252000"/>
              </a:xfrm>
              <a:custGeom>
                <a:avLst/>
                <a:gdLst>
                  <a:gd name="T0" fmla="*/ 0 w 256"/>
                  <a:gd name="T1" fmla="*/ 0 h 256"/>
                  <a:gd name="T2" fmla="*/ 0 w 256"/>
                  <a:gd name="T3" fmla="*/ 256 h 256"/>
                  <a:gd name="T4" fmla="*/ 256 w 256"/>
                  <a:gd name="T5" fmla="*/ 256 h 256"/>
                  <a:gd name="T6" fmla="*/ 256 w 256"/>
                  <a:gd name="T7" fmla="*/ 0 h 256"/>
                  <a:gd name="T8" fmla="*/ 0 w 256"/>
                  <a:gd name="T9" fmla="*/ 0 h 256"/>
                  <a:gd name="T10" fmla="*/ 154 w 256"/>
                  <a:gd name="T11" fmla="*/ 128 h 256"/>
                  <a:gd name="T12" fmla="*/ 136 w 256"/>
                  <a:gd name="T13" fmla="*/ 128 h 256"/>
                  <a:gd name="T14" fmla="*/ 136 w 256"/>
                  <a:gd name="T15" fmla="*/ 128 h 256"/>
                  <a:gd name="T16" fmla="*/ 136 w 256"/>
                  <a:gd name="T17" fmla="*/ 192 h 256"/>
                  <a:gd name="T18" fmla="*/ 110 w 256"/>
                  <a:gd name="T19" fmla="*/ 192 h 256"/>
                  <a:gd name="T20" fmla="*/ 110 w 256"/>
                  <a:gd name="T21" fmla="*/ 192 h 256"/>
                  <a:gd name="T22" fmla="*/ 110 w 256"/>
                  <a:gd name="T23" fmla="*/ 128 h 256"/>
                  <a:gd name="T24" fmla="*/ 98 w 256"/>
                  <a:gd name="T25" fmla="*/ 128 h 256"/>
                  <a:gd name="T26" fmla="*/ 98 w 256"/>
                  <a:gd name="T27" fmla="*/ 106 h 256"/>
                  <a:gd name="T28" fmla="*/ 110 w 256"/>
                  <a:gd name="T29" fmla="*/ 106 h 256"/>
                  <a:gd name="T30" fmla="*/ 110 w 256"/>
                  <a:gd name="T31" fmla="*/ 90 h 256"/>
                  <a:gd name="T32" fmla="*/ 110 w 256"/>
                  <a:gd name="T33" fmla="*/ 90 h 256"/>
                  <a:gd name="T34" fmla="*/ 112 w 256"/>
                  <a:gd name="T35" fmla="*/ 82 h 256"/>
                  <a:gd name="T36" fmla="*/ 116 w 256"/>
                  <a:gd name="T37" fmla="*/ 74 h 256"/>
                  <a:gd name="T38" fmla="*/ 118 w 256"/>
                  <a:gd name="T39" fmla="*/ 70 h 256"/>
                  <a:gd name="T40" fmla="*/ 124 w 256"/>
                  <a:gd name="T41" fmla="*/ 66 h 256"/>
                  <a:gd name="T42" fmla="*/ 130 w 256"/>
                  <a:gd name="T43" fmla="*/ 64 h 256"/>
                  <a:gd name="T44" fmla="*/ 136 w 256"/>
                  <a:gd name="T45" fmla="*/ 64 h 256"/>
                  <a:gd name="T46" fmla="*/ 156 w 256"/>
                  <a:gd name="T47" fmla="*/ 64 h 256"/>
                  <a:gd name="T48" fmla="*/ 156 w 256"/>
                  <a:gd name="T49" fmla="*/ 86 h 256"/>
                  <a:gd name="T50" fmla="*/ 156 w 256"/>
                  <a:gd name="T51" fmla="*/ 86 h 256"/>
                  <a:gd name="T52" fmla="*/ 142 w 256"/>
                  <a:gd name="T53" fmla="*/ 86 h 256"/>
                  <a:gd name="T54" fmla="*/ 142 w 256"/>
                  <a:gd name="T55" fmla="*/ 86 h 256"/>
                  <a:gd name="T56" fmla="*/ 138 w 256"/>
                  <a:gd name="T57" fmla="*/ 86 h 256"/>
                  <a:gd name="T58" fmla="*/ 138 w 256"/>
                  <a:gd name="T59" fmla="*/ 88 h 256"/>
                  <a:gd name="T60" fmla="*/ 136 w 256"/>
                  <a:gd name="T61" fmla="*/ 92 h 256"/>
                  <a:gd name="T62" fmla="*/ 136 w 256"/>
                  <a:gd name="T63" fmla="*/ 106 h 256"/>
                  <a:gd name="T64" fmla="*/ 156 w 256"/>
                  <a:gd name="T65" fmla="*/ 106 h 256"/>
                  <a:gd name="T66" fmla="*/ 154 w 256"/>
                  <a:gd name="T67" fmla="*/ 128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56" h="256">
                    <a:moveTo>
                      <a:pt x="0" y="0"/>
                    </a:moveTo>
                    <a:lnTo>
                      <a:pt x="0" y="256"/>
                    </a:lnTo>
                    <a:lnTo>
                      <a:pt x="256" y="256"/>
                    </a:lnTo>
                    <a:lnTo>
                      <a:pt x="256" y="0"/>
                    </a:lnTo>
                    <a:lnTo>
                      <a:pt x="0" y="0"/>
                    </a:lnTo>
                    <a:close/>
                    <a:moveTo>
                      <a:pt x="154" y="128"/>
                    </a:moveTo>
                    <a:lnTo>
                      <a:pt x="136" y="128"/>
                    </a:lnTo>
                    <a:lnTo>
                      <a:pt x="136" y="128"/>
                    </a:lnTo>
                    <a:lnTo>
                      <a:pt x="136" y="192"/>
                    </a:lnTo>
                    <a:lnTo>
                      <a:pt x="110" y="192"/>
                    </a:lnTo>
                    <a:lnTo>
                      <a:pt x="110" y="192"/>
                    </a:lnTo>
                    <a:lnTo>
                      <a:pt x="110" y="128"/>
                    </a:lnTo>
                    <a:lnTo>
                      <a:pt x="98" y="128"/>
                    </a:lnTo>
                    <a:lnTo>
                      <a:pt x="98" y="106"/>
                    </a:lnTo>
                    <a:lnTo>
                      <a:pt x="110" y="106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2" y="82"/>
                    </a:lnTo>
                    <a:lnTo>
                      <a:pt x="116" y="74"/>
                    </a:lnTo>
                    <a:lnTo>
                      <a:pt x="118" y="70"/>
                    </a:lnTo>
                    <a:lnTo>
                      <a:pt x="124" y="66"/>
                    </a:lnTo>
                    <a:lnTo>
                      <a:pt x="130" y="64"/>
                    </a:lnTo>
                    <a:lnTo>
                      <a:pt x="136" y="64"/>
                    </a:lnTo>
                    <a:lnTo>
                      <a:pt x="156" y="64"/>
                    </a:lnTo>
                    <a:lnTo>
                      <a:pt x="156" y="86"/>
                    </a:lnTo>
                    <a:lnTo>
                      <a:pt x="156" y="86"/>
                    </a:lnTo>
                    <a:lnTo>
                      <a:pt x="142" y="86"/>
                    </a:lnTo>
                    <a:lnTo>
                      <a:pt x="142" y="86"/>
                    </a:lnTo>
                    <a:lnTo>
                      <a:pt x="138" y="86"/>
                    </a:lnTo>
                    <a:lnTo>
                      <a:pt x="138" y="88"/>
                    </a:lnTo>
                    <a:lnTo>
                      <a:pt x="136" y="92"/>
                    </a:lnTo>
                    <a:lnTo>
                      <a:pt x="136" y="106"/>
                    </a:lnTo>
                    <a:lnTo>
                      <a:pt x="156" y="106"/>
                    </a:lnTo>
                    <a:lnTo>
                      <a:pt x="154" y="12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48" name="Freeform 437"/>
              <p:cNvSpPr>
                <a:spLocks noChangeAspect="1" noEditPoints="1"/>
              </p:cNvSpPr>
              <p:nvPr/>
            </p:nvSpPr>
            <p:spPr bwMode="auto">
              <a:xfrm>
                <a:off x="4859017" y="3384615"/>
                <a:ext cx="252000" cy="252000"/>
              </a:xfrm>
              <a:custGeom>
                <a:avLst/>
                <a:gdLst>
                  <a:gd name="T0" fmla="*/ 0 w 256"/>
                  <a:gd name="T1" fmla="*/ 256 h 256"/>
                  <a:gd name="T2" fmla="*/ 256 w 256"/>
                  <a:gd name="T3" fmla="*/ 0 h 256"/>
                  <a:gd name="T4" fmla="*/ 94 w 256"/>
                  <a:gd name="T5" fmla="*/ 188 h 256"/>
                  <a:gd name="T6" fmla="*/ 66 w 256"/>
                  <a:gd name="T7" fmla="*/ 106 h 256"/>
                  <a:gd name="T8" fmla="*/ 94 w 256"/>
                  <a:gd name="T9" fmla="*/ 188 h 256"/>
                  <a:gd name="T10" fmla="*/ 80 w 256"/>
                  <a:gd name="T11" fmla="*/ 96 h 256"/>
                  <a:gd name="T12" fmla="*/ 74 w 256"/>
                  <a:gd name="T13" fmla="*/ 94 h 256"/>
                  <a:gd name="T14" fmla="*/ 66 w 256"/>
                  <a:gd name="T15" fmla="*/ 86 h 256"/>
                  <a:gd name="T16" fmla="*/ 64 w 256"/>
                  <a:gd name="T17" fmla="*/ 80 h 256"/>
                  <a:gd name="T18" fmla="*/ 68 w 256"/>
                  <a:gd name="T19" fmla="*/ 70 h 256"/>
                  <a:gd name="T20" fmla="*/ 80 w 256"/>
                  <a:gd name="T21" fmla="*/ 66 h 256"/>
                  <a:gd name="T22" fmla="*/ 86 w 256"/>
                  <a:gd name="T23" fmla="*/ 68 h 256"/>
                  <a:gd name="T24" fmla="*/ 94 w 256"/>
                  <a:gd name="T25" fmla="*/ 76 h 256"/>
                  <a:gd name="T26" fmla="*/ 94 w 256"/>
                  <a:gd name="T27" fmla="*/ 80 h 256"/>
                  <a:gd name="T28" fmla="*/ 90 w 256"/>
                  <a:gd name="T29" fmla="*/ 90 h 256"/>
                  <a:gd name="T30" fmla="*/ 80 w 256"/>
                  <a:gd name="T31" fmla="*/ 96 h 256"/>
                  <a:gd name="T32" fmla="*/ 192 w 256"/>
                  <a:gd name="T33" fmla="*/ 188 h 256"/>
                  <a:gd name="T34" fmla="*/ 164 w 256"/>
                  <a:gd name="T35" fmla="*/ 144 h 256"/>
                  <a:gd name="T36" fmla="*/ 164 w 256"/>
                  <a:gd name="T37" fmla="*/ 138 h 256"/>
                  <a:gd name="T38" fmla="*/ 158 w 256"/>
                  <a:gd name="T39" fmla="*/ 128 h 256"/>
                  <a:gd name="T40" fmla="*/ 150 w 256"/>
                  <a:gd name="T41" fmla="*/ 126 h 256"/>
                  <a:gd name="T42" fmla="*/ 142 w 256"/>
                  <a:gd name="T43" fmla="*/ 130 h 256"/>
                  <a:gd name="T44" fmla="*/ 136 w 256"/>
                  <a:gd name="T45" fmla="*/ 136 h 256"/>
                  <a:gd name="T46" fmla="*/ 136 w 256"/>
                  <a:gd name="T47" fmla="*/ 188 h 256"/>
                  <a:gd name="T48" fmla="*/ 108 w 256"/>
                  <a:gd name="T49" fmla="*/ 188 h 256"/>
                  <a:gd name="T50" fmla="*/ 136 w 256"/>
                  <a:gd name="T51" fmla="*/ 106 h 256"/>
                  <a:gd name="T52" fmla="*/ 136 w 256"/>
                  <a:gd name="T53" fmla="*/ 118 h 256"/>
                  <a:gd name="T54" fmla="*/ 144 w 256"/>
                  <a:gd name="T55" fmla="*/ 110 h 256"/>
                  <a:gd name="T56" fmla="*/ 160 w 256"/>
                  <a:gd name="T57" fmla="*/ 104 h 256"/>
                  <a:gd name="T58" fmla="*/ 168 w 256"/>
                  <a:gd name="T59" fmla="*/ 106 h 256"/>
                  <a:gd name="T60" fmla="*/ 178 w 256"/>
                  <a:gd name="T61" fmla="*/ 110 h 256"/>
                  <a:gd name="T62" fmla="*/ 186 w 256"/>
                  <a:gd name="T63" fmla="*/ 118 h 256"/>
                  <a:gd name="T64" fmla="*/ 192 w 256"/>
                  <a:gd name="T65" fmla="*/ 132 h 256"/>
                  <a:gd name="T66" fmla="*/ 192 w 256"/>
                  <a:gd name="T67" fmla="*/ 188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56" h="256">
                    <a:moveTo>
                      <a:pt x="0" y="0"/>
                    </a:moveTo>
                    <a:lnTo>
                      <a:pt x="0" y="256"/>
                    </a:lnTo>
                    <a:lnTo>
                      <a:pt x="256" y="256"/>
                    </a:lnTo>
                    <a:lnTo>
                      <a:pt x="256" y="0"/>
                    </a:lnTo>
                    <a:lnTo>
                      <a:pt x="0" y="0"/>
                    </a:lnTo>
                    <a:close/>
                    <a:moveTo>
                      <a:pt x="94" y="188"/>
                    </a:moveTo>
                    <a:lnTo>
                      <a:pt x="66" y="188"/>
                    </a:lnTo>
                    <a:lnTo>
                      <a:pt x="66" y="106"/>
                    </a:lnTo>
                    <a:lnTo>
                      <a:pt x="94" y="106"/>
                    </a:lnTo>
                    <a:lnTo>
                      <a:pt x="94" y="188"/>
                    </a:lnTo>
                    <a:close/>
                    <a:moveTo>
                      <a:pt x="80" y="96"/>
                    </a:moveTo>
                    <a:lnTo>
                      <a:pt x="80" y="96"/>
                    </a:lnTo>
                    <a:lnTo>
                      <a:pt x="80" y="96"/>
                    </a:lnTo>
                    <a:lnTo>
                      <a:pt x="74" y="94"/>
                    </a:lnTo>
                    <a:lnTo>
                      <a:pt x="68" y="90"/>
                    </a:lnTo>
                    <a:lnTo>
                      <a:pt x="66" y="86"/>
                    </a:lnTo>
                    <a:lnTo>
                      <a:pt x="64" y="80"/>
                    </a:lnTo>
                    <a:lnTo>
                      <a:pt x="64" y="80"/>
                    </a:lnTo>
                    <a:lnTo>
                      <a:pt x="66" y="76"/>
                    </a:lnTo>
                    <a:lnTo>
                      <a:pt x="68" y="70"/>
                    </a:lnTo>
                    <a:lnTo>
                      <a:pt x="74" y="68"/>
                    </a:lnTo>
                    <a:lnTo>
                      <a:pt x="80" y="66"/>
                    </a:lnTo>
                    <a:lnTo>
                      <a:pt x="80" y="66"/>
                    </a:lnTo>
                    <a:lnTo>
                      <a:pt x="86" y="68"/>
                    </a:lnTo>
                    <a:lnTo>
                      <a:pt x="90" y="70"/>
                    </a:lnTo>
                    <a:lnTo>
                      <a:pt x="94" y="76"/>
                    </a:lnTo>
                    <a:lnTo>
                      <a:pt x="94" y="80"/>
                    </a:lnTo>
                    <a:lnTo>
                      <a:pt x="94" y="80"/>
                    </a:lnTo>
                    <a:lnTo>
                      <a:pt x="94" y="86"/>
                    </a:lnTo>
                    <a:lnTo>
                      <a:pt x="90" y="90"/>
                    </a:lnTo>
                    <a:lnTo>
                      <a:pt x="86" y="94"/>
                    </a:lnTo>
                    <a:lnTo>
                      <a:pt x="80" y="96"/>
                    </a:lnTo>
                    <a:lnTo>
                      <a:pt x="80" y="96"/>
                    </a:lnTo>
                    <a:close/>
                    <a:moveTo>
                      <a:pt x="192" y="188"/>
                    </a:moveTo>
                    <a:lnTo>
                      <a:pt x="164" y="188"/>
                    </a:lnTo>
                    <a:lnTo>
                      <a:pt x="164" y="144"/>
                    </a:lnTo>
                    <a:lnTo>
                      <a:pt x="164" y="144"/>
                    </a:lnTo>
                    <a:lnTo>
                      <a:pt x="164" y="138"/>
                    </a:lnTo>
                    <a:lnTo>
                      <a:pt x="162" y="132"/>
                    </a:lnTo>
                    <a:lnTo>
                      <a:pt x="158" y="128"/>
                    </a:lnTo>
                    <a:lnTo>
                      <a:pt x="150" y="126"/>
                    </a:lnTo>
                    <a:lnTo>
                      <a:pt x="150" y="126"/>
                    </a:lnTo>
                    <a:lnTo>
                      <a:pt x="146" y="126"/>
                    </a:lnTo>
                    <a:lnTo>
                      <a:pt x="142" y="130"/>
                    </a:lnTo>
                    <a:lnTo>
                      <a:pt x="136" y="136"/>
                    </a:lnTo>
                    <a:lnTo>
                      <a:pt x="136" y="136"/>
                    </a:lnTo>
                    <a:lnTo>
                      <a:pt x="136" y="142"/>
                    </a:lnTo>
                    <a:lnTo>
                      <a:pt x="136" y="188"/>
                    </a:lnTo>
                    <a:lnTo>
                      <a:pt x="108" y="188"/>
                    </a:lnTo>
                    <a:lnTo>
                      <a:pt x="108" y="188"/>
                    </a:lnTo>
                    <a:lnTo>
                      <a:pt x="108" y="106"/>
                    </a:lnTo>
                    <a:lnTo>
                      <a:pt x="136" y="106"/>
                    </a:lnTo>
                    <a:lnTo>
                      <a:pt x="136" y="118"/>
                    </a:lnTo>
                    <a:lnTo>
                      <a:pt x="136" y="118"/>
                    </a:lnTo>
                    <a:lnTo>
                      <a:pt x="140" y="114"/>
                    </a:lnTo>
                    <a:lnTo>
                      <a:pt x="144" y="110"/>
                    </a:lnTo>
                    <a:lnTo>
                      <a:pt x="152" y="106"/>
                    </a:lnTo>
                    <a:lnTo>
                      <a:pt x="160" y="104"/>
                    </a:lnTo>
                    <a:lnTo>
                      <a:pt x="160" y="104"/>
                    </a:lnTo>
                    <a:lnTo>
                      <a:pt x="168" y="106"/>
                    </a:lnTo>
                    <a:lnTo>
                      <a:pt x="174" y="106"/>
                    </a:lnTo>
                    <a:lnTo>
                      <a:pt x="178" y="110"/>
                    </a:lnTo>
                    <a:lnTo>
                      <a:pt x="184" y="114"/>
                    </a:lnTo>
                    <a:lnTo>
                      <a:pt x="186" y="118"/>
                    </a:lnTo>
                    <a:lnTo>
                      <a:pt x="190" y="126"/>
                    </a:lnTo>
                    <a:lnTo>
                      <a:pt x="192" y="132"/>
                    </a:lnTo>
                    <a:lnTo>
                      <a:pt x="192" y="142"/>
                    </a:lnTo>
                    <a:lnTo>
                      <a:pt x="192" y="18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51" name="TextBox 50"/>
          <p:cNvSpPr txBox="1"/>
          <p:nvPr/>
        </p:nvSpPr>
        <p:spPr>
          <a:xfrm flipH="1">
            <a:off x="6495978" y="1354815"/>
            <a:ext cx="2011363" cy="6450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  <a:buClr>
                <a:srgbClr val="DC6900"/>
              </a:buClr>
              <a:buSzPct val="85000"/>
              <a:defRPr/>
            </a:pPr>
            <a:r>
              <a:rPr lang="ru-RU" sz="1300" i="1" dirty="0" smtClean="0">
                <a:solidFill>
                  <a:schemeClr val="bg1"/>
                </a:solidFill>
                <a:latin typeface="+mj-lt"/>
              </a:rPr>
              <a:t>Выявление основных показателей рисков</a:t>
            </a:r>
            <a:endParaRPr lang="ru-RU" sz="13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488180" y="5802942"/>
            <a:ext cx="4122115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Проведение всех расчетов за несколько минут</a:t>
            </a:r>
            <a:r>
              <a:rPr dirty="0">
                <a:solidFill>
                  <a:schemeClr val="bg1"/>
                </a:solidFill>
                <a:latin typeface="+mj-lt"/>
              </a:rPr>
              <a:t/>
            </a:r>
            <a:br>
              <a:rPr dirty="0">
                <a:solidFill>
                  <a:schemeClr val="bg1"/>
                </a:solidFill>
                <a:latin typeface="+mj-lt"/>
              </a:rPr>
            </a:b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и подготовка отчетов практически в режиме реального времени</a:t>
            </a:r>
            <a:endParaRPr lang="ru-RU" sz="14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5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7858" y="4620207"/>
            <a:ext cx="1884363" cy="1095375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30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6" t="3194" r="4704" b="6753"/>
          <a:stretch/>
        </p:blipFill>
        <p:spPr bwMode="auto">
          <a:xfrm>
            <a:off x="4771895" y="4620207"/>
            <a:ext cx="1884363" cy="109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5932" y="4620128"/>
            <a:ext cx="1884363" cy="10954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Freeform 4990"/>
          <p:cNvSpPr>
            <a:spLocks noEditPoints="1"/>
          </p:cNvSpPr>
          <p:nvPr/>
        </p:nvSpPr>
        <p:spPr bwMode="auto">
          <a:xfrm>
            <a:off x="4633368" y="2161423"/>
            <a:ext cx="816456" cy="1134736"/>
          </a:xfrm>
          <a:custGeom>
            <a:avLst/>
            <a:gdLst>
              <a:gd name="T0" fmla="*/ 0 w 236"/>
              <a:gd name="T1" fmla="*/ 16 h 328"/>
              <a:gd name="T2" fmla="*/ 220 w 236"/>
              <a:gd name="T3" fmla="*/ 328 h 328"/>
              <a:gd name="T4" fmla="*/ 236 w 236"/>
              <a:gd name="T5" fmla="*/ 16 h 328"/>
              <a:gd name="T6" fmla="*/ 66 w 236"/>
              <a:gd name="T7" fmla="*/ 290 h 328"/>
              <a:gd name="T8" fmla="*/ 40 w 236"/>
              <a:gd name="T9" fmla="*/ 300 h 328"/>
              <a:gd name="T10" fmla="*/ 36 w 236"/>
              <a:gd name="T11" fmla="*/ 270 h 328"/>
              <a:gd name="T12" fmla="*/ 64 w 236"/>
              <a:gd name="T13" fmla="*/ 274 h 328"/>
              <a:gd name="T14" fmla="*/ 60 w 236"/>
              <a:gd name="T15" fmla="*/ 252 h 328"/>
              <a:gd name="T16" fmla="*/ 34 w 236"/>
              <a:gd name="T17" fmla="*/ 244 h 328"/>
              <a:gd name="T18" fmla="*/ 56 w 236"/>
              <a:gd name="T19" fmla="*/ 220 h 328"/>
              <a:gd name="T20" fmla="*/ 66 w 236"/>
              <a:gd name="T21" fmla="*/ 196 h 328"/>
              <a:gd name="T22" fmla="*/ 44 w 236"/>
              <a:gd name="T23" fmla="*/ 206 h 328"/>
              <a:gd name="T24" fmla="*/ 34 w 236"/>
              <a:gd name="T25" fmla="*/ 180 h 328"/>
              <a:gd name="T26" fmla="*/ 62 w 236"/>
              <a:gd name="T27" fmla="*/ 178 h 328"/>
              <a:gd name="T28" fmla="*/ 62 w 236"/>
              <a:gd name="T29" fmla="*/ 158 h 328"/>
              <a:gd name="T30" fmla="*/ 34 w 236"/>
              <a:gd name="T31" fmla="*/ 154 h 328"/>
              <a:gd name="T32" fmla="*/ 44 w 236"/>
              <a:gd name="T33" fmla="*/ 128 h 328"/>
              <a:gd name="T34" fmla="*/ 66 w 236"/>
              <a:gd name="T35" fmla="*/ 150 h 328"/>
              <a:gd name="T36" fmla="*/ 88 w 236"/>
              <a:gd name="T37" fmla="*/ 300 h 328"/>
              <a:gd name="T38" fmla="*/ 78 w 236"/>
              <a:gd name="T39" fmla="*/ 278 h 328"/>
              <a:gd name="T40" fmla="*/ 106 w 236"/>
              <a:gd name="T41" fmla="*/ 268 h 328"/>
              <a:gd name="T42" fmla="*/ 110 w 236"/>
              <a:gd name="T43" fmla="*/ 248 h 328"/>
              <a:gd name="T44" fmla="*/ 82 w 236"/>
              <a:gd name="T45" fmla="*/ 250 h 328"/>
              <a:gd name="T46" fmla="*/ 86 w 236"/>
              <a:gd name="T47" fmla="*/ 222 h 328"/>
              <a:gd name="T48" fmla="*/ 112 w 236"/>
              <a:gd name="T49" fmla="*/ 230 h 328"/>
              <a:gd name="T50" fmla="*/ 102 w 236"/>
              <a:gd name="T51" fmla="*/ 206 h 328"/>
              <a:gd name="T52" fmla="*/ 78 w 236"/>
              <a:gd name="T53" fmla="*/ 184 h 328"/>
              <a:gd name="T54" fmla="*/ 102 w 236"/>
              <a:gd name="T55" fmla="*/ 174 h 328"/>
              <a:gd name="T56" fmla="*/ 112 w 236"/>
              <a:gd name="T57" fmla="*/ 150 h 328"/>
              <a:gd name="T58" fmla="*/ 86 w 236"/>
              <a:gd name="T59" fmla="*/ 160 h 328"/>
              <a:gd name="T60" fmla="*/ 82 w 236"/>
              <a:gd name="T61" fmla="*/ 130 h 328"/>
              <a:gd name="T62" fmla="*/ 110 w 236"/>
              <a:gd name="T63" fmla="*/ 134 h 328"/>
              <a:gd name="T64" fmla="*/ 150 w 236"/>
              <a:gd name="T65" fmla="*/ 300 h 328"/>
              <a:gd name="T66" fmla="*/ 124 w 236"/>
              <a:gd name="T67" fmla="*/ 290 h 328"/>
              <a:gd name="T68" fmla="*/ 148 w 236"/>
              <a:gd name="T69" fmla="*/ 268 h 328"/>
              <a:gd name="T70" fmla="*/ 158 w 236"/>
              <a:gd name="T71" fmla="*/ 244 h 328"/>
              <a:gd name="T72" fmla="*/ 134 w 236"/>
              <a:gd name="T73" fmla="*/ 254 h 328"/>
              <a:gd name="T74" fmla="*/ 126 w 236"/>
              <a:gd name="T75" fmla="*/ 226 h 328"/>
              <a:gd name="T76" fmla="*/ 154 w 236"/>
              <a:gd name="T77" fmla="*/ 224 h 328"/>
              <a:gd name="T78" fmla="*/ 154 w 236"/>
              <a:gd name="T79" fmla="*/ 204 h 328"/>
              <a:gd name="T80" fmla="*/ 126 w 236"/>
              <a:gd name="T81" fmla="*/ 200 h 328"/>
              <a:gd name="T82" fmla="*/ 134 w 236"/>
              <a:gd name="T83" fmla="*/ 174 h 328"/>
              <a:gd name="T84" fmla="*/ 158 w 236"/>
              <a:gd name="T85" fmla="*/ 196 h 328"/>
              <a:gd name="T86" fmla="*/ 134 w 236"/>
              <a:gd name="T87" fmla="*/ 160 h 328"/>
              <a:gd name="T88" fmla="*/ 124 w 236"/>
              <a:gd name="T89" fmla="*/ 138 h 328"/>
              <a:gd name="T90" fmla="*/ 150 w 236"/>
              <a:gd name="T91" fmla="*/ 128 h 328"/>
              <a:gd name="T92" fmla="*/ 202 w 236"/>
              <a:gd name="T93" fmla="*/ 290 h 328"/>
              <a:gd name="T94" fmla="*/ 176 w 236"/>
              <a:gd name="T95" fmla="*/ 300 h 328"/>
              <a:gd name="T96" fmla="*/ 172 w 236"/>
              <a:gd name="T97" fmla="*/ 226 h 328"/>
              <a:gd name="T98" fmla="*/ 200 w 236"/>
              <a:gd name="T99" fmla="*/ 224 h 328"/>
              <a:gd name="T100" fmla="*/ 200 w 236"/>
              <a:gd name="T101" fmla="*/ 204 h 328"/>
              <a:gd name="T102" fmla="*/ 172 w 236"/>
              <a:gd name="T103" fmla="*/ 200 h 328"/>
              <a:gd name="T104" fmla="*/ 180 w 236"/>
              <a:gd name="T105" fmla="*/ 174 h 328"/>
              <a:gd name="T106" fmla="*/ 202 w 236"/>
              <a:gd name="T107" fmla="*/ 196 h 328"/>
              <a:gd name="T108" fmla="*/ 180 w 236"/>
              <a:gd name="T109" fmla="*/ 160 h 328"/>
              <a:gd name="T110" fmla="*/ 170 w 236"/>
              <a:gd name="T111" fmla="*/ 138 h 328"/>
              <a:gd name="T112" fmla="*/ 196 w 236"/>
              <a:gd name="T113" fmla="*/ 128 h 328"/>
              <a:gd name="T114" fmla="*/ 202 w 236"/>
              <a:gd name="T115" fmla="*/ 88 h 328"/>
              <a:gd name="T116" fmla="*/ 36 w 236"/>
              <a:gd name="T117" fmla="*/ 92 h 328"/>
              <a:gd name="T118" fmla="*/ 40 w 236"/>
              <a:gd name="T119" fmla="*/ 48 h 328"/>
              <a:gd name="T120" fmla="*/ 202 w 236"/>
              <a:gd name="T121" fmla="*/ 56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36" h="328">
                <a:moveTo>
                  <a:pt x="220" y="0"/>
                </a:move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6" y="6"/>
                </a:lnTo>
                <a:lnTo>
                  <a:pt x="2" y="10"/>
                </a:lnTo>
                <a:lnTo>
                  <a:pt x="0" y="16"/>
                </a:lnTo>
                <a:lnTo>
                  <a:pt x="0" y="312"/>
                </a:lnTo>
                <a:lnTo>
                  <a:pt x="0" y="312"/>
                </a:lnTo>
                <a:lnTo>
                  <a:pt x="2" y="318"/>
                </a:lnTo>
                <a:lnTo>
                  <a:pt x="6" y="322"/>
                </a:lnTo>
                <a:lnTo>
                  <a:pt x="10" y="326"/>
                </a:lnTo>
                <a:lnTo>
                  <a:pt x="16" y="328"/>
                </a:lnTo>
                <a:lnTo>
                  <a:pt x="220" y="328"/>
                </a:lnTo>
                <a:lnTo>
                  <a:pt x="220" y="328"/>
                </a:lnTo>
                <a:lnTo>
                  <a:pt x="226" y="326"/>
                </a:lnTo>
                <a:lnTo>
                  <a:pt x="230" y="322"/>
                </a:lnTo>
                <a:lnTo>
                  <a:pt x="234" y="318"/>
                </a:lnTo>
                <a:lnTo>
                  <a:pt x="236" y="312"/>
                </a:lnTo>
                <a:lnTo>
                  <a:pt x="236" y="16"/>
                </a:lnTo>
                <a:lnTo>
                  <a:pt x="236" y="16"/>
                </a:lnTo>
                <a:lnTo>
                  <a:pt x="234" y="10"/>
                </a:lnTo>
                <a:lnTo>
                  <a:pt x="230" y="6"/>
                </a:lnTo>
                <a:lnTo>
                  <a:pt x="226" y="2"/>
                </a:lnTo>
                <a:lnTo>
                  <a:pt x="220" y="0"/>
                </a:lnTo>
                <a:lnTo>
                  <a:pt x="220" y="0"/>
                </a:lnTo>
                <a:close/>
                <a:moveTo>
                  <a:pt x="66" y="290"/>
                </a:moveTo>
                <a:lnTo>
                  <a:pt x="66" y="290"/>
                </a:lnTo>
                <a:lnTo>
                  <a:pt x="64" y="294"/>
                </a:lnTo>
                <a:lnTo>
                  <a:pt x="62" y="296"/>
                </a:lnTo>
                <a:lnTo>
                  <a:pt x="60" y="300"/>
                </a:lnTo>
                <a:lnTo>
                  <a:pt x="56" y="300"/>
                </a:lnTo>
                <a:lnTo>
                  <a:pt x="44" y="300"/>
                </a:lnTo>
                <a:lnTo>
                  <a:pt x="44" y="300"/>
                </a:lnTo>
                <a:lnTo>
                  <a:pt x="40" y="300"/>
                </a:lnTo>
                <a:lnTo>
                  <a:pt x="36" y="296"/>
                </a:lnTo>
                <a:lnTo>
                  <a:pt x="34" y="294"/>
                </a:lnTo>
                <a:lnTo>
                  <a:pt x="34" y="290"/>
                </a:lnTo>
                <a:lnTo>
                  <a:pt x="34" y="278"/>
                </a:lnTo>
                <a:lnTo>
                  <a:pt x="34" y="278"/>
                </a:lnTo>
                <a:lnTo>
                  <a:pt x="34" y="274"/>
                </a:lnTo>
                <a:lnTo>
                  <a:pt x="36" y="270"/>
                </a:lnTo>
                <a:lnTo>
                  <a:pt x="40" y="268"/>
                </a:lnTo>
                <a:lnTo>
                  <a:pt x="44" y="268"/>
                </a:lnTo>
                <a:lnTo>
                  <a:pt x="56" y="268"/>
                </a:lnTo>
                <a:lnTo>
                  <a:pt x="56" y="268"/>
                </a:lnTo>
                <a:lnTo>
                  <a:pt x="60" y="268"/>
                </a:lnTo>
                <a:lnTo>
                  <a:pt x="62" y="270"/>
                </a:lnTo>
                <a:lnTo>
                  <a:pt x="64" y="274"/>
                </a:lnTo>
                <a:lnTo>
                  <a:pt x="66" y="278"/>
                </a:lnTo>
                <a:lnTo>
                  <a:pt x="66" y="290"/>
                </a:lnTo>
                <a:close/>
                <a:moveTo>
                  <a:pt x="66" y="244"/>
                </a:moveTo>
                <a:lnTo>
                  <a:pt x="66" y="244"/>
                </a:lnTo>
                <a:lnTo>
                  <a:pt x="64" y="248"/>
                </a:lnTo>
                <a:lnTo>
                  <a:pt x="62" y="250"/>
                </a:lnTo>
                <a:lnTo>
                  <a:pt x="60" y="252"/>
                </a:lnTo>
                <a:lnTo>
                  <a:pt x="56" y="254"/>
                </a:lnTo>
                <a:lnTo>
                  <a:pt x="44" y="254"/>
                </a:lnTo>
                <a:lnTo>
                  <a:pt x="44" y="254"/>
                </a:lnTo>
                <a:lnTo>
                  <a:pt x="40" y="252"/>
                </a:lnTo>
                <a:lnTo>
                  <a:pt x="36" y="250"/>
                </a:lnTo>
                <a:lnTo>
                  <a:pt x="34" y="248"/>
                </a:lnTo>
                <a:lnTo>
                  <a:pt x="34" y="244"/>
                </a:lnTo>
                <a:lnTo>
                  <a:pt x="34" y="230"/>
                </a:lnTo>
                <a:lnTo>
                  <a:pt x="34" y="230"/>
                </a:lnTo>
                <a:lnTo>
                  <a:pt x="34" y="226"/>
                </a:lnTo>
                <a:lnTo>
                  <a:pt x="36" y="224"/>
                </a:lnTo>
                <a:lnTo>
                  <a:pt x="40" y="222"/>
                </a:lnTo>
                <a:lnTo>
                  <a:pt x="44" y="220"/>
                </a:lnTo>
                <a:lnTo>
                  <a:pt x="56" y="220"/>
                </a:lnTo>
                <a:lnTo>
                  <a:pt x="56" y="220"/>
                </a:lnTo>
                <a:lnTo>
                  <a:pt x="60" y="222"/>
                </a:lnTo>
                <a:lnTo>
                  <a:pt x="62" y="224"/>
                </a:lnTo>
                <a:lnTo>
                  <a:pt x="64" y="226"/>
                </a:lnTo>
                <a:lnTo>
                  <a:pt x="66" y="230"/>
                </a:lnTo>
                <a:lnTo>
                  <a:pt x="66" y="244"/>
                </a:lnTo>
                <a:close/>
                <a:moveTo>
                  <a:pt x="66" y="196"/>
                </a:moveTo>
                <a:lnTo>
                  <a:pt x="66" y="196"/>
                </a:lnTo>
                <a:lnTo>
                  <a:pt x="64" y="200"/>
                </a:lnTo>
                <a:lnTo>
                  <a:pt x="62" y="204"/>
                </a:lnTo>
                <a:lnTo>
                  <a:pt x="60" y="206"/>
                </a:lnTo>
                <a:lnTo>
                  <a:pt x="56" y="206"/>
                </a:lnTo>
                <a:lnTo>
                  <a:pt x="44" y="206"/>
                </a:lnTo>
                <a:lnTo>
                  <a:pt x="44" y="206"/>
                </a:lnTo>
                <a:lnTo>
                  <a:pt x="40" y="206"/>
                </a:lnTo>
                <a:lnTo>
                  <a:pt x="36" y="204"/>
                </a:lnTo>
                <a:lnTo>
                  <a:pt x="34" y="200"/>
                </a:lnTo>
                <a:lnTo>
                  <a:pt x="34" y="196"/>
                </a:lnTo>
                <a:lnTo>
                  <a:pt x="34" y="184"/>
                </a:lnTo>
                <a:lnTo>
                  <a:pt x="34" y="184"/>
                </a:lnTo>
                <a:lnTo>
                  <a:pt x="34" y="180"/>
                </a:lnTo>
                <a:lnTo>
                  <a:pt x="36" y="178"/>
                </a:lnTo>
                <a:lnTo>
                  <a:pt x="40" y="176"/>
                </a:lnTo>
                <a:lnTo>
                  <a:pt x="44" y="174"/>
                </a:lnTo>
                <a:lnTo>
                  <a:pt x="56" y="174"/>
                </a:lnTo>
                <a:lnTo>
                  <a:pt x="56" y="174"/>
                </a:lnTo>
                <a:lnTo>
                  <a:pt x="60" y="176"/>
                </a:lnTo>
                <a:lnTo>
                  <a:pt x="62" y="178"/>
                </a:lnTo>
                <a:lnTo>
                  <a:pt x="64" y="180"/>
                </a:lnTo>
                <a:lnTo>
                  <a:pt x="66" y="184"/>
                </a:lnTo>
                <a:lnTo>
                  <a:pt x="66" y="196"/>
                </a:lnTo>
                <a:close/>
                <a:moveTo>
                  <a:pt x="66" y="150"/>
                </a:moveTo>
                <a:lnTo>
                  <a:pt x="66" y="150"/>
                </a:lnTo>
                <a:lnTo>
                  <a:pt x="64" y="154"/>
                </a:lnTo>
                <a:lnTo>
                  <a:pt x="62" y="158"/>
                </a:lnTo>
                <a:lnTo>
                  <a:pt x="60" y="160"/>
                </a:lnTo>
                <a:lnTo>
                  <a:pt x="56" y="160"/>
                </a:lnTo>
                <a:lnTo>
                  <a:pt x="44" y="160"/>
                </a:lnTo>
                <a:lnTo>
                  <a:pt x="44" y="160"/>
                </a:lnTo>
                <a:lnTo>
                  <a:pt x="40" y="160"/>
                </a:lnTo>
                <a:lnTo>
                  <a:pt x="36" y="158"/>
                </a:lnTo>
                <a:lnTo>
                  <a:pt x="34" y="154"/>
                </a:lnTo>
                <a:lnTo>
                  <a:pt x="34" y="150"/>
                </a:lnTo>
                <a:lnTo>
                  <a:pt x="34" y="138"/>
                </a:lnTo>
                <a:lnTo>
                  <a:pt x="34" y="138"/>
                </a:lnTo>
                <a:lnTo>
                  <a:pt x="34" y="134"/>
                </a:lnTo>
                <a:lnTo>
                  <a:pt x="36" y="130"/>
                </a:lnTo>
                <a:lnTo>
                  <a:pt x="40" y="128"/>
                </a:lnTo>
                <a:lnTo>
                  <a:pt x="44" y="128"/>
                </a:lnTo>
                <a:lnTo>
                  <a:pt x="56" y="128"/>
                </a:lnTo>
                <a:lnTo>
                  <a:pt x="56" y="128"/>
                </a:lnTo>
                <a:lnTo>
                  <a:pt x="60" y="128"/>
                </a:lnTo>
                <a:lnTo>
                  <a:pt x="62" y="130"/>
                </a:lnTo>
                <a:lnTo>
                  <a:pt x="64" y="134"/>
                </a:lnTo>
                <a:lnTo>
                  <a:pt x="66" y="138"/>
                </a:lnTo>
                <a:lnTo>
                  <a:pt x="66" y="150"/>
                </a:lnTo>
                <a:close/>
                <a:moveTo>
                  <a:pt x="112" y="290"/>
                </a:moveTo>
                <a:lnTo>
                  <a:pt x="112" y="290"/>
                </a:lnTo>
                <a:lnTo>
                  <a:pt x="110" y="294"/>
                </a:lnTo>
                <a:lnTo>
                  <a:pt x="108" y="296"/>
                </a:lnTo>
                <a:lnTo>
                  <a:pt x="106" y="300"/>
                </a:lnTo>
                <a:lnTo>
                  <a:pt x="102" y="300"/>
                </a:lnTo>
                <a:lnTo>
                  <a:pt x="88" y="300"/>
                </a:lnTo>
                <a:lnTo>
                  <a:pt x="88" y="300"/>
                </a:lnTo>
                <a:lnTo>
                  <a:pt x="86" y="300"/>
                </a:lnTo>
                <a:lnTo>
                  <a:pt x="82" y="296"/>
                </a:lnTo>
                <a:lnTo>
                  <a:pt x="80" y="294"/>
                </a:lnTo>
                <a:lnTo>
                  <a:pt x="78" y="290"/>
                </a:lnTo>
                <a:lnTo>
                  <a:pt x="78" y="278"/>
                </a:lnTo>
                <a:lnTo>
                  <a:pt x="78" y="278"/>
                </a:lnTo>
                <a:lnTo>
                  <a:pt x="80" y="274"/>
                </a:lnTo>
                <a:lnTo>
                  <a:pt x="82" y="270"/>
                </a:lnTo>
                <a:lnTo>
                  <a:pt x="86" y="268"/>
                </a:lnTo>
                <a:lnTo>
                  <a:pt x="88" y="268"/>
                </a:lnTo>
                <a:lnTo>
                  <a:pt x="102" y="268"/>
                </a:lnTo>
                <a:lnTo>
                  <a:pt x="102" y="268"/>
                </a:lnTo>
                <a:lnTo>
                  <a:pt x="106" y="268"/>
                </a:lnTo>
                <a:lnTo>
                  <a:pt x="108" y="270"/>
                </a:lnTo>
                <a:lnTo>
                  <a:pt x="110" y="274"/>
                </a:lnTo>
                <a:lnTo>
                  <a:pt x="112" y="278"/>
                </a:lnTo>
                <a:lnTo>
                  <a:pt x="112" y="290"/>
                </a:lnTo>
                <a:close/>
                <a:moveTo>
                  <a:pt x="112" y="244"/>
                </a:moveTo>
                <a:lnTo>
                  <a:pt x="112" y="244"/>
                </a:lnTo>
                <a:lnTo>
                  <a:pt x="110" y="248"/>
                </a:lnTo>
                <a:lnTo>
                  <a:pt x="108" y="250"/>
                </a:lnTo>
                <a:lnTo>
                  <a:pt x="106" y="252"/>
                </a:lnTo>
                <a:lnTo>
                  <a:pt x="102" y="254"/>
                </a:lnTo>
                <a:lnTo>
                  <a:pt x="88" y="254"/>
                </a:lnTo>
                <a:lnTo>
                  <a:pt x="88" y="254"/>
                </a:lnTo>
                <a:lnTo>
                  <a:pt x="86" y="252"/>
                </a:lnTo>
                <a:lnTo>
                  <a:pt x="82" y="250"/>
                </a:lnTo>
                <a:lnTo>
                  <a:pt x="80" y="248"/>
                </a:lnTo>
                <a:lnTo>
                  <a:pt x="78" y="244"/>
                </a:lnTo>
                <a:lnTo>
                  <a:pt x="78" y="230"/>
                </a:lnTo>
                <a:lnTo>
                  <a:pt x="78" y="230"/>
                </a:lnTo>
                <a:lnTo>
                  <a:pt x="80" y="226"/>
                </a:lnTo>
                <a:lnTo>
                  <a:pt x="82" y="224"/>
                </a:lnTo>
                <a:lnTo>
                  <a:pt x="86" y="222"/>
                </a:lnTo>
                <a:lnTo>
                  <a:pt x="88" y="220"/>
                </a:lnTo>
                <a:lnTo>
                  <a:pt x="102" y="220"/>
                </a:lnTo>
                <a:lnTo>
                  <a:pt x="102" y="220"/>
                </a:lnTo>
                <a:lnTo>
                  <a:pt x="106" y="222"/>
                </a:lnTo>
                <a:lnTo>
                  <a:pt x="108" y="224"/>
                </a:lnTo>
                <a:lnTo>
                  <a:pt x="110" y="226"/>
                </a:lnTo>
                <a:lnTo>
                  <a:pt x="112" y="230"/>
                </a:lnTo>
                <a:lnTo>
                  <a:pt x="112" y="244"/>
                </a:lnTo>
                <a:close/>
                <a:moveTo>
                  <a:pt x="112" y="196"/>
                </a:moveTo>
                <a:lnTo>
                  <a:pt x="112" y="196"/>
                </a:lnTo>
                <a:lnTo>
                  <a:pt x="110" y="200"/>
                </a:lnTo>
                <a:lnTo>
                  <a:pt x="108" y="204"/>
                </a:lnTo>
                <a:lnTo>
                  <a:pt x="106" y="206"/>
                </a:lnTo>
                <a:lnTo>
                  <a:pt x="102" y="206"/>
                </a:lnTo>
                <a:lnTo>
                  <a:pt x="88" y="206"/>
                </a:lnTo>
                <a:lnTo>
                  <a:pt x="88" y="206"/>
                </a:lnTo>
                <a:lnTo>
                  <a:pt x="86" y="206"/>
                </a:lnTo>
                <a:lnTo>
                  <a:pt x="82" y="204"/>
                </a:lnTo>
                <a:lnTo>
                  <a:pt x="80" y="200"/>
                </a:lnTo>
                <a:lnTo>
                  <a:pt x="78" y="196"/>
                </a:lnTo>
                <a:lnTo>
                  <a:pt x="78" y="184"/>
                </a:lnTo>
                <a:lnTo>
                  <a:pt x="78" y="184"/>
                </a:lnTo>
                <a:lnTo>
                  <a:pt x="80" y="180"/>
                </a:lnTo>
                <a:lnTo>
                  <a:pt x="82" y="178"/>
                </a:lnTo>
                <a:lnTo>
                  <a:pt x="86" y="176"/>
                </a:lnTo>
                <a:lnTo>
                  <a:pt x="88" y="174"/>
                </a:lnTo>
                <a:lnTo>
                  <a:pt x="102" y="174"/>
                </a:lnTo>
                <a:lnTo>
                  <a:pt x="102" y="174"/>
                </a:lnTo>
                <a:lnTo>
                  <a:pt x="106" y="176"/>
                </a:lnTo>
                <a:lnTo>
                  <a:pt x="108" y="178"/>
                </a:lnTo>
                <a:lnTo>
                  <a:pt x="110" y="180"/>
                </a:lnTo>
                <a:lnTo>
                  <a:pt x="112" y="184"/>
                </a:lnTo>
                <a:lnTo>
                  <a:pt x="112" y="196"/>
                </a:lnTo>
                <a:close/>
                <a:moveTo>
                  <a:pt x="112" y="150"/>
                </a:moveTo>
                <a:lnTo>
                  <a:pt x="112" y="150"/>
                </a:lnTo>
                <a:lnTo>
                  <a:pt x="110" y="154"/>
                </a:lnTo>
                <a:lnTo>
                  <a:pt x="108" y="158"/>
                </a:lnTo>
                <a:lnTo>
                  <a:pt x="106" y="160"/>
                </a:lnTo>
                <a:lnTo>
                  <a:pt x="102" y="160"/>
                </a:lnTo>
                <a:lnTo>
                  <a:pt x="88" y="160"/>
                </a:lnTo>
                <a:lnTo>
                  <a:pt x="88" y="160"/>
                </a:lnTo>
                <a:lnTo>
                  <a:pt x="86" y="160"/>
                </a:lnTo>
                <a:lnTo>
                  <a:pt x="82" y="158"/>
                </a:lnTo>
                <a:lnTo>
                  <a:pt x="80" y="154"/>
                </a:lnTo>
                <a:lnTo>
                  <a:pt x="78" y="150"/>
                </a:lnTo>
                <a:lnTo>
                  <a:pt x="78" y="138"/>
                </a:lnTo>
                <a:lnTo>
                  <a:pt x="78" y="138"/>
                </a:lnTo>
                <a:lnTo>
                  <a:pt x="80" y="134"/>
                </a:lnTo>
                <a:lnTo>
                  <a:pt x="82" y="130"/>
                </a:lnTo>
                <a:lnTo>
                  <a:pt x="86" y="128"/>
                </a:lnTo>
                <a:lnTo>
                  <a:pt x="88" y="128"/>
                </a:lnTo>
                <a:lnTo>
                  <a:pt x="102" y="128"/>
                </a:lnTo>
                <a:lnTo>
                  <a:pt x="102" y="128"/>
                </a:lnTo>
                <a:lnTo>
                  <a:pt x="106" y="128"/>
                </a:lnTo>
                <a:lnTo>
                  <a:pt x="108" y="130"/>
                </a:lnTo>
                <a:lnTo>
                  <a:pt x="110" y="134"/>
                </a:lnTo>
                <a:lnTo>
                  <a:pt x="112" y="138"/>
                </a:lnTo>
                <a:lnTo>
                  <a:pt x="112" y="150"/>
                </a:lnTo>
                <a:close/>
                <a:moveTo>
                  <a:pt x="158" y="290"/>
                </a:moveTo>
                <a:lnTo>
                  <a:pt x="158" y="290"/>
                </a:lnTo>
                <a:lnTo>
                  <a:pt x="156" y="294"/>
                </a:lnTo>
                <a:lnTo>
                  <a:pt x="154" y="296"/>
                </a:lnTo>
                <a:lnTo>
                  <a:pt x="150" y="300"/>
                </a:lnTo>
                <a:lnTo>
                  <a:pt x="148" y="300"/>
                </a:lnTo>
                <a:lnTo>
                  <a:pt x="134" y="300"/>
                </a:lnTo>
                <a:lnTo>
                  <a:pt x="134" y="300"/>
                </a:lnTo>
                <a:lnTo>
                  <a:pt x="130" y="300"/>
                </a:lnTo>
                <a:lnTo>
                  <a:pt x="128" y="296"/>
                </a:lnTo>
                <a:lnTo>
                  <a:pt x="126" y="294"/>
                </a:lnTo>
                <a:lnTo>
                  <a:pt x="124" y="290"/>
                </a:lnTo>
                <a:lnTo>
                  <a:pt x="124" y="278"/>
                </a:lnTo>
                <a:lnTo>
                  <a:pt x="124" y="278"/>
                </a:lnTo>
                <a:lnTo>
                  <a:pt x="126" y="274"/>
                </a:lnTo>
                <a:lnTo>
                  <a:pt x="128" y="270"/>
                </a:lnTo>
                <a:lnTo>
                  <a:pt x="130" y="268"/>
                </a:lnTo>
                <a:lnTo>
                  <a:pt x="134" y="268"/>
                </a:lnTo>
                <a:lnTo>
                  <a:pt x="148" y="268"/>
                </a:lnTo>
                <a:lnTo>
                  <a:pt x="148" y="268"/>
                </a:lnTo>
                <a:lnTo>
                  <a:pt x="150" y="268"/>
                </a:lnTo>
                <a:lnTo>
                  <a:pt x="154" y="270"/>
                </a:lnTo>
                <a:lnTo>
                  <a:pt x="156" y="274"/>
                </a:lnTo>
                <a:lnTo>
                  <a:pt x="158" y="278"/>
                </a:lnTo>
                <a:lnTo>
                  <a:pt x="158" y="290"/>
                </a:lnTo>
                <a:close/>
                <a:moveTo>
                  <a:pt x="158" y="244"/>
                </a:moveTo>
                <a:lnTo>
                  <a:pt x="158" y="244"/>
                </a:lnTo>
                <a:lnTo>
                  <a:pt x="156" y="248"/>
                </a:lnTo>
                <a:lnTo>
                  <a:pt x="154" y="250"/>
                </a:lnTo>
                <a:lnTo>
                  <a:pt x="150" y="252"/>
                </a:lnTo>
                <a:lnTo>
                  <a:pt x="148" y="254"/>
                </a:lnTo>
                <a:lnTo>
                  <a:pt x="134" y="254"/>
                </a:lnTo>
                <a:lnTo>
                  <a:pt x="134" y="254"/>
                </a:lnTo>
                <a:lnTo>
                  <a:pt x="130" y="252"/>
                </a:lnTo>
                <a:lnTo>
                  <a:pt x="128" y="250"/>
                </a:lnTo>
                <a:lnTo>
                  <a:pt x="126" y="248"/>
                </a:lnTo>
                <a:lnTo>
                  <a:pt x="124" y="244"/>
                </a:lnTo>
                <a:lnTo>
                  <a:pt x="124" y="230"/>
                </a:lnTo>
                <a:lnTo>
                  <a:pt x="124" y="230"/>
                </a:lnTo>
                <a:lnTo>
                  <a:pt x="126" y="226"/>
                </a:lnTo>
                <a:lnTo>
                  <a:pt x="128" y="224"/>
                </a:lnTo>
                <a:lnTo>
                  <a:pt x="130" y="222"/>
                </a:lnTo>
                <a:lnTo>
                  <a:pt x="134" y="220"/>
                </a:lnTo>
                <a:lnTo>
                  <a:pt x="148" y="220"/>
                </a:lnTo>
                <a:lnTo>
                  <a:pt x="148" y="220"/>
                </a:lnTo>
                <a:lnTo>
                  <a:pt x="150" y="222"/>
                </a:lnTo>
                <a:lnTo>
                  <a:pt x="154" y="224"/>
                </a:lnTo>
                <a:lnTo>
                  <a:pt x="156" y="226"/>
                </a:lnTo>
                <a:lnTo>
                  <a:pt x="158" y="230"/>
                </a:lnTo>
                <a:lnTo>
                  <a:pt x="158" y="244"/>
                </a:lnTo>
                <a:close/>
                <a:moveTo>
                  <a:pt x="158" y="196"/>
                </a:moveTo>
                <a:lnTo>
                  <a:pt x="158" y="196"/>
                </a:lnTo>
                <a:lnTo>
                  <a:pt x="156" y="200"/>
                </a:lnTo>
                <a:lnTo>
                  <a:pt x="154" y="204"/>
                </a:lnTo>
                <a:lnTo>
                  <a:pt x="150" y="206"/>
                </a:lnTo>
                <a:lnTo>
                  <a:pt x="148" y="206"/>
                </a:lnTo>
                <a:lnTo>
                  <a:pt x="134" y="206"/>
                </a:lnTo>
                <a:lnTo>
                  <a:pt x="134" y="206"/>
                </a:lnTo>
                <a:lnTo>
                  <a:pt x="130" y="206"/>
                </a:lnTo>
                <a:lnTo>
                  <a:pt x="128" y="204"/>
                </a:lnTo>
                <a:lnTo>
                  <a:pt x="126" y="200"/>
                </a:lnTo>
                <a:lnTo>
                  <a:pt x="124" y="196"/>
                </a:lnTo>
                <a:lnTo>
                  <a:pt x="124" y="184"/>
                </a:lnTo>
                <a:lnTo>
                  <a:pt x="124" y="184"/>
                </a:lnTo>
                <a:lnTo>
                  <a:pt x="126" y="180"/>
                </a:lnTo>
                <a:lnTo>
                  <a:pt x="128" y="178"/>
                </a:lnTo>
                <a:lnTo>
                  <a:pt x="130" y="176"/>
                </a:lnTo>
                <a:lnTo>
                  <a:pt x="134" y="174"/>
                </a:lnTo>
                <a:lnTo>
                  <a:pt x="148" y="174"/>
                </a:lnTo>
                <a:lnTo>
                  <a:pt x="148" y="174"/>
                </a:lnTo>
                <a:lnTo>
                  <a:pt x="150" y="176"/>
                </a:lnTo>
                <a:lnTo>
                  <a:pt x="154" y="178"/>
                </a:lnTo>
                <a:lnTo>
                  <a:pt x="156" y="180"/>
                </a:lnTo>
                <a:lnTo>
                  <a:pt x="158" y="184"/>
                </a:lnTo>
                <a:lnTo>
                  <a:pt x="158" y="196"/>
                </a:lnTo>
                <a:close/>
                <a:moveTo>
                  <a:pt x="158" y="150"/>
                </a:moveTo>
                <a:lnTo>
                  <a:pt x="158" y="150"/>
                </a:lnTo>
                <a:lnTo>
                  <a:pt x="156" y="154"/>
                </a:lnTo>
                <a:lnTo>
                  <a:pt x="154" y="158"/>
                </a:lnTo>
                <a:lnTo>
                  <a:pt x="150" y="160"/>
                </a:lnTo>
                <a:lnTo>
                  <a:pt x="148" y="160"/>
                </a:lnTo>
                <a:lnTo>
                  <a:pt x="134" y="160"/>
                </a:lnTo>
                <a:lnTo>
                  <a:pt x="134" y="160"/>
                </a:lnTo>
                <a:lnTo>
                  <a:pt x="130" y="160"/>
                </a:lnTo>
                <a:lnTo>
                  <a:pt x="128" y="158"/>
                </a:lnTo>
                <a:lnTo>
                  <a:pt x="126" y="154"/>
                </a:lnTo>
                <a:lnTo>
                  <a:pt x="124" y="150"/>
                </a:lnTo>
                <a:lnTo>
                  <a:pt x="124" y="138"/>
                </a:lnTo>
                <a:lnTo>
                  <a:pt x="124" y="138"/>
                </a:lnTo>
                <a:lnTo>
                  <a:pt x="126" y="134"/>
                </a:lnTo>
                <a:lnTo>
                  <a:pt x="128" y="130"/>
                </a:lnTo>
                <a:lnTo>
                  <a:pt x="130" y="128"/>
                </a:lnTo>
                <a:lnTo>
                  <a:pt x="134" y="128"/>
                </a:lnTo>
                <a:lnTo>
                  <a:pt x="148" y="128"/>
                </a:lnTo>
                <a:lnTo>
                  <a:pt x="148" y="128"/>
                </a:lnTo>
                <a:lnTo>
                  <a:pt x="150" y="128"/>
                </a:lnTo>
                <a:lnTo>
                  <a:pt x="154" y="130"/>
                </a:lnTo>
                <a:lnTo>
                  <a:pt x="156" y="134"/>
                </a:lnTo>
                <a:lnTo>
                  <a:pt x="158" y="138"/>
                </a:lnTo>
                <a:lnTo>
                  <a:pt x="158" y="150"/>
                </a:lnTo>
                <a:close/>
                <a:moveTo>
                  <a:pt x="202" y="244"/>
                </a:moveTo>
                <a:lnTo>
                  <a:pt x="202" y="290"/>
                </a:lnTo>
                <a:lnTo>
                  <a:pt x="202" y="290"/>
                </a:lnTo>
                <a:lnTo>
                  <a:pt x="202" y="294"/>
                </a:lnTo>
                <a:lnTo>
                  <a:pt x="200" y="296"/>
                </a:lnTo>
                <a:lnTo>
                  <a:pt x="196" y="300"/>
                </a:lnTo>
                <a:lnTo>
                  <a:pt x="192" y="300"/>
                </a:lnTo>
                <a:lnTo>
                  <a:pt x="180" y="300"/>
                </a:lnTo>
                <a:lnTo>
                  <a:pt x="180" y="300"/>
                </a:lnTo>
                <a:lnTo>
                  <a:pt x="176" y="300"/>
                </a:lnTo>
                <a:lnTo>
                  <a:pt x="174" y="296"/>
                </a:lnTo>
                <a:lnTo>
                  <a:pt x="172" y="294"/>
                </a:lnTo>
                <a:lnTo>
                  <a:pt x="170" y="290"/>
                </a:lnTo>
                <a:lnTo>
                  <a:pt x="170" y="244"/>
                </a:lnTo>
                <a:lnTo>
                  <a:pt x="170" y="230"/>
                </a:lnTo>
                <a:lnTo>
                  <a:pt x="170" y="230"/>
                </a:lnTo>
                <a:lnTo>
                  <a:pt x="172" y="226"/>
                </a:lnTo>
                <a:lnTo>
                  <a:pt x="174" y="224"/>
                </a:lnTo>
                <a:lnTo>
                  <a:pt x="176" y="222"/>
                </a:lnTo>
                <a:lnTo>
                  <a:pt x="180" y="220"/>
                </a:lnTo>
                <a:lnTo>
                  <a:pt x="192" y="220"/>
                </a:lnTo>
                <a:lnTo>
                  <a:pt x="192" y="220"/>
                </a:lnTo>
                <a:lnTo>
                  <a:pt x="196" y="222"/>
                </a:lnTo>
                <a:lnTo>
                  <a:pt x="200" y="224"/>
                </a:lnTo>
                <a:lnTo>
                  <a:pt x="202" y="226"/>
                </a:lnTo>
                <a:lnTo>
                  <a:pt x="202" y="230"/>
                </a:lnTo>
                <a:lnTo>
                  <a:pt x="202" y="244"/>
                </a:lnTo>
                <a:close/>
                <a:moveTo>
                  <a:pt x="202" y="196"/>
                </a:moveTo>
                <a:lnTo>
                  <a:pt x="202" y="196"/>
                </a:lnTo>
                <a:lnTo>
                  <a:pt x="202" y="200"/>
                </a:lnTo>
                <a:lnTo>
                  <a:pt x="200" y="204"/>
                </a:lnTo>
                <a:lnTo>
                  <a:pt x="196" y="206"/>
                </a:lnTo>
                <a:lnTo>
                  <a:pt x="192" y="206"/>
                </a:lnTo>
                <a:lnTo>
                  <a:pt x="180" y="206"/>
                </a:lnTo>
                <a:lnTo>
                  <a:pt x="180" y="206"/>
                </a:lnTo>
                <a:lnTo>
                  <a:pt x="176" y="206"/>
                </a:lnTo>
                <a:lnTo>
                  <a:pt x="174" y="204"/>
                </a:lnTo>
                <a:lnTo>
                  <a:pt x="172" y="200"/>
                </a:lnTo>
                <a:lnTo>
                  <a:pt x="170" y="196"/>
                </a:lnTo>
                <a:lnTo>
                  <a:pt x="170" y="184"/>
                </a:lnTo>
                <a:lnTo>
                  <a:pt x="170" y="184"/>
                </a:lnTo>
                <a:lnTo>
                  <a:pt x="172" y="180"/>
                </a:lnTo>
                <a:lnTo>
                  <a:pt x="174" y="178"/>
                </a:lnTo>
                <a:lnTo>
                  <a:pt x="176" y="176"/>
                </a:lnTo>
                <a:lnTo>
                  <a:pt x="180" y="174"/>
                </a:lnTo>
                <a:lnTo>
                  <a:pt x="192" y="174"/>
                </a:lnTo>
                <a:lnTo>
                  <a:pt x="192" y="174"/>
                </a:lnTo>
                <a:lnTo>
                  <a:pt x="196" y="176"/>
                </a:lnTo>
                <a:lnTo>
                  <a:pt x="200" y="178"/>
                </a:lnTo>
                <a:lnTo>
                  <a:pt x="202" y="180"/>
                </a:lnTo>
                <a:lnTo>
                  <a:pt x="202" y="184"/>
                </a:lnTo>
                <a:lnTo>
                  <a:pt x="202" y="196"/>
                </a:lnTo>
                <a:close/>
                <a:moveTo>
                  <a:pt x="202" y="150"/>
                </a:moveTo>
                <a:lnTo>
                  <a:pt x="202" y="150"/>
                </a:lnTo>
                <a:lnTo>
                  <a:pt x="202" y="154"/>
                </a:lnTo>
                <a:lnTo>
                  <a:pt x="200" y="158"/>
                </a:lnTo>
                <a:lnTo>
                  <a:pt x="196" y="160"/>
                </a:lnTo>
                <a:lnTo>
                  <a:pt x="192" y="160"/>
                </a:lnTo>
                <a:lnTo>
                  <a:pt x="180" y="160"/>
                </a:lnTo>
                <a:lnTo>
                  <a:pt x="180" y="160"/>
                </a:lnTo>
                <a:lnTo>
                  <a:pt x="176" y="160"/>
                </a:lnTo>
                <a:lnTo>
                  <a:pt x="174" y="158"/>
                </a:lnTo>
                <a:lnTo>
                  <a:pt x="172" y="154"/>
                </a:lnTo>
                <a:lnTo>
                  <a:pt x="170" y="150"/>
                </a:lnTo>
                <a:lnTo>
                  <a:pt x="170" y="138"/>
                </a:lnTo>
                <a:lnTo>
                  <a:pt x="170" y="138"/>
                </a:lnTo>
                <a:lnTo>
                  <a:pt x="172" y="134"/>
                </a:lnTo>
                <a:lnTo>
                  <a:pt x="174" y="130"/>
                </a:lnTo>
                <a:lnTo>
                  <a:pt x="176" y="128"/>
                </a:lnTo>
                <a:lnTo>
                  <a:pt x="180" y="128"/>
                </a:lnTo>
                <a:lnTo>
                  <a:pt x="192" y="128"/>
                </a:lnTo>
                <a:lnTo>
                  <a:pt x="192" y="128"/>
                </a:lnTo>
                <a:lnTo>
                  <a:pt x="196" y="128"/>
                </a:lnTo>
                <a:lnTo>
                  <a:pt x="200" y="130"/>
                </a:lnTo>
                <a:lnTo>
                  <a:pt x="202" y="134"/>
                </a:lnTo>
                <a:lnTo>
                  <a:pt x="202" y="138"/>
                </a:lnTo>
                <a:lnTo>
                  <a:pt x="202" y="150"/>
                </a:lnTo>
                <a:close/>
                <a:moveTo>
                  <a:pt x="202" y="84"/>
                </a:moveTo>
                <a:lnTo>
                  <a:pt x="202" y="84"/>
                </a:lnTo>
                <a:lnTo>
                  <a:pt x="202" y="88"/>
                </a:lnTo>
                <a:lnTo>
                  <a:pt x="200" y="92"/>
                </a:lnTo>
                <a:lnTo>
                  <a:pt x="196" y="94"/>
                </a:lnTo>
                <a:lnTo>
                  <a:pt x="192" y="94"/>
                </a:lnTo>
                <a:lnTo>
                  <a:pt x="44" y="94"/>
                </a:lnTo>
                <a:lnTo>
                  <a:pt x="44" y="94"/>
                </a:lnTo>
                <a:lnTo>
                  <a:pt x="40" y="94"/>
                </a:lnTo>
                <a:lnTo>
                  <a:pt x="36" y="92"/>
                </a:lnTo>
                <a:lnTo>
                  <a:pt x="34" y="88"/>
                </a:lnTo>
                <a:lnTo>
                  <a:pt x="34" y="84"/>
                </a:lnTo>
                <a:lnTo>
                  <a:pt x="34" y="56"/>
                </a:lnTo>
                <a:lnTo>
                  <a:pt x="34" y="56"/>
                </a:lnTo>
                <a:lnTo>
                  <a:pt x="34" y="52"/>
                </a:lnTo>
                <a:lnTo>
                  <a:pt x="36" y="50"/>
                </a:lnTo>
                <a:lnTo>
                  <a:pt x="40" y="48"/>
                </a:lnTo>
                <a:lnTo>
                  <a:pt x="44" y="46"/>
                </a:lnTo>
                <a:lnTo>
                  <a:pt x="192" y="46"/>
                </a:lnTo>
                <a:lnTo>
                  <a:pt x="192" y="46"/>
                </a:lnTo>
                <a:lnTo>
                  <a:pt x="196" y="48"/>
                </a:lnTo>
                <a:lnTo>
                  <a:pt x="200" y="50"/>
                </a:lnTo>
                <a:lnTo>
                  <a:pt x="202" y="52"/>
                </a:lnTo>
                <a:lnTo>
                  <a:pt x="202" y="56"/>
                </a:lnTo>
                <a:lnTo>
                  <a:pt x="202" y="8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804710" y="2218890"/>
            <a:ext cx="1393898" cy="1075444"/>
            <a:chOff x="7123369" y="2512179"/>
            <a:chExt cx="1033226" cy="797172"/>
          </a:xfrm>
        </p:grpSpPr>
        <p:sp>
          <p:nvSpPr>
            <p:cNvPr id="62" name="Freeform 4848"/>
            <p:cNvSpPr>
              <a:spLocks noEditPoints="1"/>
            </p:cNvSpPr>
            <p:nvPr/>
          </p:nvSpPr>
          <p:spPr bwMode="auto">
            <a:xfrm>
              <a:off x="7257873" y="2512179"/>
              <a:ext cx="898722" cy="797172"/>
            </a:xfrm>
            <a:custGeom>
              <a:avLst/>
              <a:gdLst>
                <a:gd name="T0" fmla="*/ 198 w 354"/>
                <a:gd name="T1" fmla="*/ 12 h 314"/>
                <a:gd name="T2" fmla="*/ 194 w 354"/>
                <a:gd name="T3" fmla="*/ 8 h 314"/>
                <a:gd name="T4" fmla="*/ 184 w 354"/>
                <a:gd name="T5" fmla="*/ 0 h 314"/>
                <a:gd name="T6" fmla="*/ 178 w 354"/>
                <a:gd name="T7" fmla="*/ 0 h 314"/>
                <a:gd name="T8" fmla="*/ 166 w 354"/>
                <a:gd name="T9" fmla="*/ 4 h 314"/>
                <a:gd name="T10" fmla="*/ 158 w 354"/>
                <a:gd name="T11" fmla="*/ 12 h 314"/>
                <a:gd name="T12" fmla="*/ 4 w 354"/>
                <a:gd name="T13" fmla="*/ 278 h 314"/>
                <a:gd name="T14" fmla="*/ 0 w 354"/>
                <a:gd name="T15" fmla="*/ 290 h 314"/>
                <a:gd name="T16" fmla="*/ 4 w 354"/>
                <a:gd name="T17" fmla="*/ 302 h 314"/>
                <a:gd name="T18" fmla="*/ 8 w 354"/>
                <a:gd name="T19" fmla="*/ 306 h 314"/>
                <a:gd name="T20" fmla="*/ 18 w 354"/>
                <a:gd name="T21" fmla="*/ 312 h 314"/>
                <a:gd name="T22" fmla="*/ 330 w 354"/>
                <a:gd name="T23" fmla="*/ 314 h 314"/>
                <a:gd name="T24" fmla="*/ 338 w 354"/>
                <a:gd name="T25" fmla="*/ 312 h 314"/>
                <a:gd name="T26" fmla="*/ 348 w 354"/>
                <a:gd name="T27" fmla="*/ 306 h 314"/>
                <a:gd name="T28" fmla="*/ 352 w 354"/>
                <a:gd name="T29" fmla="*/ 302 h 314"/>
                <a:gd name="T30" fmla="*/ 354 w 354"/>
                <a:gd name="T31" fmla="*/ 290 h 314"/>
                <a:gd name="T32" fmla="*/ 352 w 354"/>
                <a:gd name="T33" fmla="*/ 278 h 314"/>
                <a:gd name="T34" fmla="*/ 42 w 354"/>
                <a:gd name="T35" fmla="*/ 280 h 314"/>
                <a:gd name="T36" fmla="*/ 314 w 354"/>
                <a:gd name="T37" fmla="*/ 280 h 314"/>
                <a:gd name="T38" fmla="*/ 160 w 354"/>
                <a:gd name="T39" fmla="*/ 142 h 314"/>
                <a:gd name="T40" fmla="*/ 158 w 354"/>
                <a:gd name="T41" fmla="*/ 132 h 314"/>
                <a:gd name="T42" fmla="*/ 160 w 354"/>
                <a:gd name="T43" fmla="*/ 126 h 314"/>
                <a:gd name="T44" fmla="*/ 164 w 354"/>
                <a:gd name="T45" fmla="*/ 122 h 314"/>
                <a:gd name="T46" fmla="*/ 178 w 354"/>
                <a:gd name="T47" fmla="*/ 118 h 314"/>
                <a:gd name="T48" fmla="*/ 186 w 354"/>
                <a:gd name="T49" fmla="*/ 118 h 314"/>
                <a:gd name="T50" fmla="*/ 192 w 354"/>
                <a:gd name="T51" fmla="*/ 122 h 314"/>
                <a:gd name="T52" fmla="*/ 198 w 354"/>
                <a:gd name="T53" fmla="*/ 132 h 314"/>
                <a:gd name="T54" fmla="*/ 196 w 354"/>
                <a:gd name="T55" fmla="*/ 142 h 314"/>
                <a:gd name="T56" fmla="*/ 172 w 354"/>
                <a:gd name="T57" fmla="*/ 206 h 314"/>
                <a:gd name="T58" fmla="*/ 178 w 354"/>
                <a:gd name="T59" fmla="*/ 218 h 314"/>
                <a:gd name="T60" fmla="*/ 186 w 354"/>
                <a:gd name="T61" fmla="*/ 220 h 314"/>
                <a:gd name="T62" fmla="*/ 190 w 354"/>
                <a:gd name="T63" fmla="*/ 224 h 314"/>
                <a:gd name="T64" fmla="*/ 194 w 354"/>
                <a:gd name="T65" fmla="*/ 230 h 314"/>
                <a:gd name="T66" fmla="*/ 196 w 354"/>
                <a:gd name="T67" fmla="*/ 238 h 314"/>
                <a:gd name="T68" fmla="*/ 194 w 354"/>
                <a:gd name="T69" fmla="*/ 244 h 314"/>
                <a:gd name="T70" fmla="*/ 190 w 354"/>
                <a:gd name="T71" fmla="*/ 250 h 314"/>
                <a:gd name="T72" fmla="*/ 186 w 354"/>
                <a:gd name="T73" fmla="*/ 254 h 314"/>
                <a:gd name="T74" fmla="*/ 178 w 354"/>
                <a:gd name="T75" fmla="*/ 256 h 314"/>
                <a:gd name="T76" fmla="*/ 170 w 354"/>
                <a:gd name="T77" fmla="*/ 254 h 314"/>
                <a:gd name="T78" fmla="*/ 166 w 354"/>
                <a:gd name="T79" fmla="*/ 250 h 314"/>
                <a:gd name="T80" fmla="*/ 162 w 354"/>
                <a:gd name="T81" fmla="*/ 244 h 314"/>
                <a:gd name="T82" fmla="*/ 160 w 354"/>
                <a:gd name="T83" fmla="*/ 238 h 314"/>
                <a:gd name="T84" fmla="*/ 162 w 354"/>
                <a:gd name="T85" fmla="*/ 230 h 314"/>
                <a:gd name="T86" fmla="*/ 166 w 354"/>
                <a:gd name="T87" fmla="*/ 224 h 314"/>
                <a:gd name="T88" fmla="*/ 178 w 354"/>
                <a:gd name="T89" fmla="*/ 218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54" h="314">
                  <a:moveTo>
                    <a:pt x="352" y="278"/>
                  </a:moveTo>
                  <a:lnTo>
                    <a:pt x="198" y="12"/>
                  </a:lnTo>
                  <a:lnTo>
                    <a:pt x="198" y="12"/>
                  </a:lnTo>
                  <a:lnTo>
                    <a:pt x="194" y="8"/>
                  </a:lnTo>
                  <a:lnTo>
                    <a:pt x="190" y="4"/>
                  </a:lnTo>
                  <a:lnTo>
                    <a:pt x="184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2" y="0"/>
                  </a:lnTo>
                  <a:lnTo>
                    <a:pt x="166" y="4"/>
                  </a:lnTo>
                  <a:lnTo>
                    <a:pt x="162" y="8"/>
                  </a:lnTo>
                  <a:lnTo>
                    <a:pt x="158" y="12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2" y="282"/>
                  </a:lnTo>
                  <a:lnTo>
                    <a:pt x="0" y="290"/>
                  </a:lnTo>
                  <a:lnTo>
                    <a:pt x="2" y="296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8" y="306"/>
                  </a:lnTo>
                  <a:lnTo>
                    <a:pt x="12" y="310"/>
                  </a:lnTo>
                  <a:lnTo>
                    <a:pt x="18" y="312"/>
                  </a:lnTo>
                  <a:lnTo>
                    <a:pt x="26" y="314"/>
                  </a:lnTo>
                  <a:lnTo>
                    <a:pt x="330" y="314"/>
                  </a:lnTo>
                  <a:lnTo>
                    <a:pt x="330" y="314"/>
                  </a:lnTo>
                  <a:lnTo>
                    <a:pt x="338" y="312"/>
                  </a:lnTo>
                  <a:lnTo>
                    <a:pt x="342" y="310"/>
                  </a:lnTo>
                  <a:lnTo>
                    <a:pt x="348" y="306"/>
                  </a:lnTo>
                  <a:lnTo>
                    <a:pt x="352" y="302"/>
                  </a:lnTo>
                  <a:lnTo>
                    <a:pt x="352" y="302"/>
                  </a:lnTo>
                  <a:lnTo>
                    <a:pt x="354" y="296"/>
                  </a:lnTo>
                  <a:lnTo>
                    <a:pt x="354" y="290"/>
                  </a:lnTo>
                  <a:lnTo>
                    <a:pt x="354" y="282"/>
                  </a:lnTo>
                  <a:lnTo>
                    <a:pt x="352" y="278"/>
                  </a:lnTo>
                  <a:lnTo>
                    <a:pt x="352" y="278"/>
                  </a:lnTo>
                  <a:close/>
                  <a:moveTo>
                    <a:pt x="42" y="280"/>
                  </a:moveTo>
                  <a:lnTo>
                    <a:pt x="178" y="44"/>
                  </a:lnTo>
                  <a:lnTo>
                    <a:pt x="314" y="280"/>
                  </a:lnTo>
                  <a:lnTo>
                    <a:pt x="42" y="280"/>
                  </a:lnTo>
                  <a:close/>
                  <a:moveTo>
                    <a:pt x="160" y="142"/>
                  </a:moveTo>
                  <a:lnTo>
                    <a:pt x="160" y="142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60" y="126"/>
                  </a:lnTo>
                  <a:lnTo>
                    <a:pt x="164" y="122"/>
                  </a:lnTo>
                  <a:lnTo>
                    <a:pt x="164" y="122"/>
                  </a:lnTo>
                  <a:lnTo>
                    <a:pt x="170" y="118"/>
                  </a:lnTo>
                  <a:lnTo>
                    <a:pt x="178" y="118"/>
                  </a:lnTo>
                  <a:lnTo>
                    <a:pt x="178" y="118"/>
                  </a:lnTo>
                  <a:lnTo>
                    <a:pt x="186" y="118"/>
                  </a:lnTo>
                  <a:lnTo>
                    <a:pt x="192" y="122"/>
                  </a:lnTo>
                  <a:lnTo>
                    <a:pt x="192" y="122"/>
                  </a:lnTo>
                  <a:lnTo>
                    <a:pt x="196" y="126"/>
                  </a:lnTo>
                  <a:lnTo>
                    <a:pt x="198" y="132"/>
                  </a:lnTo>
                  <a:lnTo>
                    <a:pt x="198" y="132"/>
                  </a:lnTo>
                  <a:lnTo>
                    <a:pt x="196" y="142"/>
                  </a:lnTo>
                  <a:lnTo>
                    <a:pt x="184" y="206"/>
                  </a:lnTo>
                  <a:lnTo>
                    <a:pt x="172" y="206"/>
                  </a:lnTo>
                  <a:lnTo>
                    <a:pt x="160" y="142"/>
                  </a:lnTo>
                  <a:close/>
                  <a:moveTo>
                    <a:pt x="178" y="218"/>
                  </a:moveTo>
                  <a:lnTo>
                    <a:pt x="178" y="218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90" y="224"/>
                  </a:lnTo>
                  <a:lnTo>
                    <a:pt x="190" y="224"/>
                  </a:lnTo>
                  <a:lnTo>
                    <a:pt x="194" y="230"/>
                  </a:lnTo>
                  <a:lnTo>
                    <a:pt x="194" y="230"/>
                  </a:lnTo>
                  <a:lnTo>
                    <a:pt x="196" y="238"/>
                  </a:lnTo>
                  <a:lnTo>
                    <a:pt x="196" y="238"/>
                  </a:lnTo>
                  <a:lnTo>
                    <a:pt x="194" y="244"/>
                  </a:lnTo>
                  <a:lnTo>
                    <a:pt x="194" y="244"/>
                  </a:lnTo>
                  <a:lnTo>
                    <a:pt x="190" y="250"/>
                  </a:lnTo>
                  <a:lnTo>
                    <a:pt x="190" y="250"/>
                  </a:lnTo>
                  <a:lnTo>
                    <a:pt x="186" y="254"/>
                  </a:lnTo>
                  <a:lnTo>
                    <a:pt x="186" y="254"/>
                  </a:lnTo>
                  <a:lnTo>
                    <a:pt x="178" y="256"/>
                  </a:lnTo>
                  <a:lnTo>
                    <a:pt x="178" y="256"/>
                  </a:lnTo>
                  <a:lnTo>
                    <a:pt x="170" y="254"/>
                  </a:lnTo>
                  <a:lnTo>
                    <a:pt x="170" y="254"/>
                  </a:lnTo>
                  <a:lnTo>
                    <a:pt x="166" y="250"/>
                  </a:lnTo>
                  <a:lnTo>
                    <a:pt x="166" y="250"/>
                  </a:lnTo>
                  <a:lnTo>
                    <a:pt x="162" y="244"/>
                  </a:lnTo>
                  <a:lnTo>
                    <a:pt x="162" y="244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2" y="230"/>
                  </a:lnTo>
                  <a:lnTo>
                    <a:pt x="166" y="224"/>
                  </a:lnTo>
                  <a:lnTo>
                    <a:pt x="166" y="224"/>
                  </a:lnTo>
                  <a:lnTo>
                    <a:pt x="170" y="220"/>
                  </a:lnTo>
                  <a:lnTo>
                    <a:pt x="178" y="218"/>
                  </a:lnTo>
                  <a:lnTo>
                    <a:pt x="178" y="21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" name="Oval 3"/>
            <p:cNvSpPr/>
            <p:nvPr/>
          </p:nvSpPr>
          <p:spPr bwMode="ltGray">
            <a:xfrm>
              <a:off x="7167563" y="2729832"/>
              <a:ext cx="388881" cy="388881"/>
            </a:xfrm>
            <a:prstGeom prst="ellipse">
              <a:avLst/>
            </a:prstGeom>
            <a:solidFill>
              <a:srgbClr val="8E8A8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6" name="Freeform 4899"/>
            <p:cNvSpPr>
              <a:spLocks noEditPoints="1"/>
            </p:cNvSpPr>
            <p:nvPr/>
          </p:nvSpPr>
          <p:spPr bwMode="auto">
            <a:xfrm>
              <a:off x="7123369" y="2776921"/>
              <a:ext cx="392831" cy="392831"/>
            </a:xfrm>
            <a:custGeom>
              <a:avLst/>
              <a:gdLst>
                <a:gd name="T0" fmla="*/ 190 w 324"/>
                <a:gd name="T1" fmla="*/ 0 h 324"/>
                <a:gd name="T2" fmla="*/ 134 w 324"/>
                <a:gd name="T3" fmla="*/ 20 h 324"/>
                <a:gd name="T4" fmla="*/ 90 w 324"/>
                <a:gd name="T5" fmla="*/ 74 h 324"/>
                <a:gd name="T6" fmla="*/ 82 w 324"/>
                <a:gd name="T7" fmla="*/ 120 h 324"/>
                <a:gd name="T8" fmla="*/ 84 w 324"/>
                <a:gd name="T9" fmla="*/ 146 h 324"/>
                <a:gd name="T10" fmla="*/ 118 w 324"/>
                <a:gd name="T11" fmla="*/ 206 h 324"/>
                <a:gd name="T12" fmla="*/ 178 w 324"/>
                <a:gd name="T13" fmla="*/ 240 h 324"/>
                <a:gd name="T14" fmla="*/ 202 w 324"/>
                <a:gd name="T15" fmla="*/ 242 h 324"/>
                <a:gd name="T16" fmla="*/ 250 w 324"/>
                <a:gd name="T17" fmla="*/ 232 h 324"/>
                <a:gd name="T18" fmla="*/ 304 w 324"/>
                <a:gd name="T19" fmla="*/ 188 h 324"/>
                <a:gd name="T20" fmla="*/ 324 w 324"/>
                <a:gd name="T21" fmla="*/ 132 h 324"/>
                <a:gd name="T22" fmla="*/ 324 w 324"/>
                <a:gd name="T23" fmla="*/ 108 h 324"/>
                <a:gd name="T24" fmla="*/ 304 w 324"/>
                <a:gd name="T25" fmla="*/ 52 h 324"/>
                <a:gd name="T26" fmla="*/ 250 w 324"/>
                <a:gd name="T27" fmla="*/ 8 h 324"/>
                <a:gd name="T28" fmla="*/ 202 w 324"/>
                <a:gd name="T29" fmla="*/ 0 h 324"/>
                <a:gd name="T30" fmla="*/ 202 w 324"/>
                <a:gd name="T31" fmla="*/ 212 h 324"/>
                <a:gd name="T32" fmla="*/ 152 w 324"/>
                <a:gd name="T33" fmla="*/ 196 h 324"/>
                <a:gd name="T34" fmla="*/ 118 w 324"/>
                <a:gd name="T35" fmla="*/ 156 h 324"/>
                <a:gd name="T36" fmla="*/ 112 w 324"/>
                <a:gd name="T37" fmla="*/ 120 h 324"/>
                <a:gd name="T38" fmla="*/ 128 w 324"/>
                <a:gd name="T39" fmla="*/ 70 h 324"/>
                <a:gd name="T40" fmla="*/ 168 w 324"/>
                <a:gd name="T41" fmla="*/ 36 h 324"/>
                <a:gd name="T42" fmla="*/ 202 w 324"/>
                <a:gd name="T43" fmla="*/ 30 h 324"/>
                <a:gd name="T44" fmla="*/ 254 w 324"/>
                <a:gd name="T45" fmla="*/ 46 h 324"/>
                <a:gd name="T46" fmla="*/ 286 w 324"/>
                <a:gd name="T47" fmla="*/ 86 h 324"/>
                <a:gd name="T48" fmla="*/ 294 w 324"/>
                <a:gd name="T49" fmla="*/ 120 h 324"/>
                <a:gd name="T50" fmla="*/ 278 w 324"/>
                <a:gd name="T51" fmla="*/ 172 h 324"/>
                <a:gd name="T52" fmla="*/ 238 w 324"/>
                <a:gd name="T53" fmla="*/ 204 h 324"/>
                <a:gd name="T54" fmla="*/ 202 w 324"/>
                <a:gd name="T55" fmla="*/ 212 h 324"/>
                <a:gd name="T56" fmla="*/ 138 w 324"/>
                <a:gd name="T57" fmla="*/ 130 h 324"/>
                <a:gd name="T58" fmla="*/ 132 w 324"/>
                <a:gd name="T59" fmla="*/ 120 h 324"/>
                <a:gd name="T60" fmla="*/ 138 w 324"/>
                <a:gd name="T61" fmla="*/ 94 h 324"/>
                <a:gd name="T62" fmla="*/ 164 w 324"/>
                <a:gd name="T63" fmla="*/ 62 h 324"/>
                <a:gd name="T64" fmla="*/ 202 w 324"/>
                <a:gd name="T65" fmla="*/ 50 h 324"/>
                <a:gd name="T66" fmla="*/ 210 w 324"/>
                <a:gd name="T67" fmla="*/ 54 h 324"/>
                <a:gd name="T68" fmla="*/ 212 w 324"/>
                <a:gd name="T69" fmla="*/ 60 h 324"/>
                <a:gd name="T70" fmla="*/ 206 w 324"/>
                <a:gd name="T71" fmla="*/ 70 h 324"/>
                <a:gd name="T72" fmla="*/ 192 w 324"/>
                <a:gd name="T73" fmla="*/ 72 h 324"/>
                <a:gd name="T74" fmla="*/ 168 w 324"/>
                <a:gd name="T75" fmla="*/ 86 h 324"/>
                <a:gd name="T76" fmla="*/ 154 w 324"/>
                <a:gd name="T77" fmla="*/ 110 h 324"/>
                <a:gd name="T78" fmla="*/ 152 w 324"/>
                <a:gd name="T79" fmla="*/ 124 h 324"/>
                <a:gd name="T80" fmla="*/ 142 w 324"/>
                <a:gd name="T81" fmla="*/ 130 h 324"/>
                <a:gd name="T82" fmla="*/ 48 w 324"/>
                <a:gd name="T83" fmla="*/ 316 h 324"/>
                <a:gd name="T84" fmla="*/ 28 w 324"/>
                <a:gd name="T85" fmla="*/ 324 h 324"/>
                <a:gd name="T86" fmla="*/ 8 w 324"/>
                <a:gd name="T87" fmla="*/ 316 h 324"/>
                <a:gd name="T88" fmla="*/ 0 w 324"/>
                <a:gd name="T89" fmla="*/ 296 h 324"/>
                <a:gd name="T90" fmla="*/ 86 w 324"/>
                <a:gd name="T91" fmla="*/ 198 h 324"/>
                <a:gd name="T92" fmla="*/ 102 w 324"/>
                <a:gd name="T93" fmla="*/ 220 h 324"/>
                <a:gd name="T94" fmla="*/ 124 w 324"/>
                <a:gd name="T95" fmla="*/ 238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4" h="324">
                  <a:moveTo>
                    <a:pt x="202" y="0"/>
                  </a:moveTo>
                  <a:lnTo>
                    <a:pt x="202" y="0"/>
                  </a:lnTo>
                  <a:lnTo>
                    <a:pt x="190" y="0"/>
                  </a:lnTo>
                  <a:lnTo>
                    <a:pt x="178" y="2"/>
                  </a:lnTo>
                  <a:lnTo>
                    <a:pt x="156" y="8"/>
                  </a:lnTo>
                  <a:lnTo>
                    <a:pt x="134" y="20"/>
                  </a:lnTo>
                  <a:lnTo>
                    <a:pt x="118" y="34"/>
                  </a:lnTo>
                  <a:lnTo>
                    <a:pt x="102" y="52"/>
                  </a:lnTo>
                  <a:lnTo>
                    <a:pt x="90" y="74"/>
                  </a:lnTo>
                  <a:lnTo>
                    <a:pt x="84" y="96"/>
                  </a:lnTo>
                  <a:lnTo>
                    <a:pt x="82" y="108"/>
                  </a:lnTo>
                  <a:lnTo>
                    <a:pt x="82" y="120"/>
                  </a:lnTo>
                  <a:lnTo>
                    <a:pt x="82" y="120"/>
                  </a:lnTo>
                  <a:lnTo>
                    <a:pt x="82" y="132"/>
                  </a:lnTo>
                  <a:lnTo>
                    <a:pt x="84" y="146"/>
                  </a:lnTo>
                  <a:lnTo>
                    <a:pt x="90" y="168"/>
                  </a:lnTo>
                  <a:lnTo>
                    <a:pt x="102" y="188"/>
                  </a:lnTo>
                  <a:lnTo>
                    <a:pt x="118" y="206"/>
                  </a:lnTo>
                  <a:lnTo>
                    <a:pt x="134" y="222"/>
                  </a:lnTo>
                  <a:lnTo>
                    <a:pt x="156" y="232"/>
                  </a:lnTo>
                  <a:lnTo>
                    <a:pt x="178" y="240"/>
                  </a:lnTo>
                  <a:lnTo>
                    <a:pt x="190" y="242"/>
                  </a:lnTo>
                  <a:lnTo>
                    <a:pt x="202" y="242"/>
                  </a:lnTo>
                  <a:lnTo>
                    <a:pt x="202" y="242"/>
                  </a:lnTo>
                  <a:lnTo>
                    <a:pt x="216" y="242"/>
                  </a:lnTo>
                  <a:lnTo>
                    <a:pt x="228" y="240"/>
                  </a:lnTo>
                  <a:lnTo>
                    <a:pt x="250" y="232"/>
                  </a:lnTo>
                  <a:lnTo>
                    <a:pt x="270" y="222"/>
                  </a:lnTo>
                  <a:lnTo>
                    <a:pt x="288" y="206"/>
                  </a:lnTo>
                  <a:lnTo>
                    <a:pt x="304" y="188"/>
                  </a:lnTo>
                  <a:lnTo>
                    <a:pt x="314" y="168"/>
                  </a:lnTo>
                  <a:lnTo>
                    <a:pt x="322" y="146"/>
                  </a:lnTo>
                  <a:lnTo>
                    <a:pt x="324" y="132"/>
                  </a:lnTo>
                  <a:lnTo>
                    <a:pt x="324" y="120"/>
                  </a:lnTo>
                  <a:lnTo>
                    <a:pt x="324" y="120"/>
                  </a:lnTo>
                  <a:lnTo>
                    <a:pt x="324" y="108"/>
                  </a:lnTo>
                  <a:lnTo>
                    <a:pt x="322" y="96"/>
                  </a:lnTo>
                  <a:lnTo>
                    <a:pt x="314" y="74"/>
                  </a:lnTo>
                  <a:lnTo>
                    <a:pt x="304" y="52"/>
                  </a:lnTo>
                  <a:lnTo>
                    <a:pt x="288" y="34"/>
                  </a:lnTo>
                  <a:lnTo>
                    <a:pt x="270" y="20"/>
                  </a:lnTo>
                  <a:lnTo>
                    <a:pt x="250" y="8"/>
                  </a:lnTo>
                  <a:lnTo>
                    <a:pt x="228" y="2"/>
                  </a:lnTo>
                  <a:lnTo>
                    <a:pt x="216" y="0"/>
                  </a:lnTo>
                  <a:lnTo>
                    <a:pt x="202" y="0"/>
                  </a:lnTo>
                  <a:lnTo>
                    <a:pt x="202" y="0"/>
                  </a:lnTo>
                  <a:close/>
                  <a:moveTo>
                    <a:pt x="202" y="212"/>
                  </a:moveTo>
                  <a:lnTo>
                    <a:pt x="202" y="212"/>
                  </a:lnTo>
                  <a:lnTo>
                    <a:pt x="184" y="210"/>
                  </a:lnTo>
                  <a:lnTo>
                    <a:pt x="168" y="204"/>
                  </a:lnTo>
                  <a:lnTo>
                    <a:pt x="152" y="196"/>
                  </a:lnTo>
                  <a:lnTo>
                    <a:pt x="138" y="184"/>
                  </a:lnTo>
                  <a:lnTo>
                    <a:pt x="128" y="172"/>
                  </a:lnTo>
                  <a:lnTo>
                    <a:pt x="118" y="156"/>
                  </a:lnTo>
                  <a:lnTo>
                    <a:pt x="114" y="138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4" y="102"/>
                  </a:lnTo>
                  <a:lnTo>
                    <a:pt x="118" y="86"/>
                  </a:lnTo>
                  <a:lnTo>
                    <a:pt x="128" y="70"/>
                  </a:lnTo>
                  <a:lnTo>
                    <a:pt x="138" y="56"/>
                  </a:lnTo>
                  <a:lnTo>
                    <a:pt x="152" y="46"/>
                  </a:lnTo>
                  <a:lnTo>
                    <a:pt x="168" y="36"/>
                  </a:lnTo>
                  <a:lnTo>
                    <a:pt x="184" y="32"/>
                  </a:lnTo>
                  <a:lnTo>
                    <a:pt x="202" y="30"/>
                  </a:lnTo>
                  <a:lnTo>
                    <a:pt x="202" y="30"/>
                  </a:lnTo>
                  <a:lnTo>
                    <a:pt x="222" y="32"/>
                  </a:lnTo>
                  <a:lnTo>
                    <a:pt x="238" y="36"/>
                  </a:lnTo>
                  <a:lnTo>
                    <a:pt x="254" y="46"/>
                  </a:lnTo>
                  <a:lnTo>
                    <a:pt x="268" y="56"/>
                  </a:lnTo>
                  <a:lnTo>
                    <a:pt x="278" y="70"/>
                  </a:lnTo>
                  <a:lnTo>
                    <a:pt x="286" y="86"/>
                  </a:lnTo>
                  <a:lnTo>
                    <a:pt x="292" y="102"/>
                  </a:lnTo>
                  <a:lnTo>
                    <a:pt x="294" y="120"/>
                  </a:lnTo>
                  <a:lnTo>
                    <a:pt x="294" y="120"/>
                  </a:lnTo>
                  <a:lnTo>
                    <a:pt x="292" y="138"/>
                  </a:lnTo>
                  <a:lnTo>
                    <a:pt x="286" y="156"/>
                  </a:lnTo>
                  <a:lnTo>
                    <a:pt x="278" y="172"/>
                  </a:lnTo>
                  <a:lnTo>
                    <a:pt x="268" y="184"/>
                  </a:lnTo>
                  <a:lnTo>
                    <a:pt x="254" y="196"/>
                  </a:lnTo>
                  <a:lnTo>
                    <a:pt x="238" y="204"/>
                  </a:lnTo>
                  <a:lnTo>
                    <a:pt x="222" y="210"/>
                  </a:lnTo>
                  <a:lnTo>
                    <a:pt x="202" y="212"/>
                  </a:lnTo>
                  <a:lnTo>
                    <a:pt x="202" y="212"/>
                  </a:lnTo>
                  <a:close/>
                  <a:moveTo>
                    <a:pt x="142" y="130"/>
                  </a:moveTo>
                  <a:lnTo>
                    <a:pt x="142" y="130"/>
                  </a:lnTo>
                  <a:lnTo>
                    <a:pt x="138" y="130"/>
                  </a:lnTo>
                  <a:lnTo>
                    <a:pt x="136" y="128"/>
                  </a:lnTo>
                  <a:lnTo>
                    <a:pt x="134" y="124"/>
                  </a:lnTo>
                  <a:lnTo>
                    <a:pt x="132" y="120"/>
                  </a:lnTo>
                  <a:lnTo>
                    <a:pt x="132" y="120"/>
                  </a:lnTo>
                  <a:lnTo>
                    <a:pt x="134" y="106"/>
                  </a:lnTo>
                  <a:lnTo>
                    <a:pt x="138" y="94"/>
                  </a:lnTo>
                  <a:lnTo>
                    <a:pt x="144" y="82"/>
                  </a:lnTo>
                  <a:lnTo>
                    <a:pt x="154" y="72"/>
                  </a:lnTo>
                  <a:lnTo>
                    <a:pt x="164" y="62"/>
                  </a:lnTo>
                  <a:lnTo>
                    <a:pt x="176" y="56"/>
                  </a:lnTo>
                  <a:lnTo>
                    <a:pt x="188" y="52"/>
                  </a:lnTo>
                  <a:lnTo>
                    <a:pt x="202" y="50"/>
                  </a:lnTo>
                  <a:lnTo>
                    <a:pt x="202" y="50"/>
                  </a:lnTo>
                  <a:lnTo>
                    <a:pt x="206" y="52"/>
                  </a:lnTo>
                  <a:lnTo>
                    <a:pt x="210" y="54"/>
                  </a:lnTo>
                  <a:lnTo>
                    <a:pt x="212" y="56"/>
                  </a:lnTo>
                  <a:lnTo>
                    <a:pt x="212" y="60"/>
                  </a:lnTo>
                  <a:lnTo>
                    <a:pt x="212" y="60"/>
                  </a:lnTo>
                  <a:lnTo>
                    <a:pt x="212" y="64"/>
                  </a:lnTo>
                  <a:lnTo>
                    <a:pt x="210" y="68"/>
                  </a:lnTo>
                  <a:lnTo>
                    <a:pt x="206" y="70"/>
                  </a:lnTo>
                  <a:lnTo>
                    <a:pt x="202" y="70"/>
                  </a:lnTo>
                  <a:lnTo>
                    <a:pt x="202" y="70"/>
                  </a:lnTo>
                  <a:lnTo>
                    <a:pt x="192" y="72"/>
                  </a:lnTo>
                  <a:lnTo>
                    <a:pt x="184" y="74"/>
                  </a:lnTo>
                  <a:lnTo>
                    <a:pt x="174" y="80"/>
                  </a:lnTo>
                  <a:lnTo>
                    <a:pt x="168" y="86"/>
                  </a:lnTo>
                  <a:lnTo>
                    <a:pt x="162" y="92"/>
                  </a:lnTo>
                  <a:lnTo>
                    <a:pt x="156" y="102"/>
                  </a:lnTo>
                  <a:lnTo>
                    <a:pt x="154" y="110"/>
                  </a:lnTo>
                  <a:lnTo>
                    <a:pt x="152" y="120"/>
                  </a:lnTo>
                  <a:lnTo>
                    <a:pt x="152" y="120"/>
                  </a:lnTo>
                  <a:lnTo>
                    <a:pt x="152" y="124"/>
                  </a:lnTo>
                  <a:lnTo>
                    <a:pt x="150" y="128"/>
                  </a:lnTo>
                  <a:lnTo>
                    <a:pt x="146" y="130"/>
                  </a:lnTo>
                  <a:lnTo>
                    <a:pt x="142" y="130"/>
                  </a:lnTo>
                  <a:lnTo>
                    <a:pt x="142" y="130"/>
                  </a:lnTo>
                  <a:close/>
                  <a:moveTo>
                    <a:pt x="124" y="238"/>
                  </a:moveTo>
                  <a:lnTo>
                    <a:pt x="48" y="316"/>
                  </a:lnTo>
                  <a:lnTo>
                    <a:pt x="48" y="316"/>
                  </a:lnTo>
                  <a:lnTo>
                    <a:pt x="38" y="322"/>
                  </a:lnTo>
                  <a:lnTo>
                    <a:pt x="28" y="324"/>
                  </a:lnTo>
                  <a:lnTo>
                    <a:pt x="28" y="324"/>
                  </a:lnTo>
                  <a:lnTo>
                    <a:pt x="18" y="322"/>
                  </a:lnTo>
                  <a:lnTo>
                    <a:pt x="8" y="316"/>
                  </a:lnTo>
                  <a:lnTo>
                    <a:pt x="8" y="316"/>
                  </a:lnTo>
                  <a:lnTo>
                    <a:pt x="2" y="306"/>
                  </a:lnTo>
                  <a:lnTo>
                    <a:pt x="0" y="296"/>
                  </a:lnTo>
                  <a:lnTo>
                    <a:pt x="2" y="286"/>
                  </a:lnTo>
                  <a:lnTo>
                    <a:pt x="8" y="276"/>
                  </a:lnTo>
                  <a:lnTo>
                    <a:pt x="86" y="198"/>
                  </a:lnTo>
                  <a:lnTo>
                    <a:pt x="86" y="198"/>
                  </a:lnTo>
                  <a:lnTo>
                    <a:pt x="94" y="210"/>
                  </a:lnTo>
                  <a:lnTo>
                    <a:pt x="102" y="220"/>
                  </a:lnTo>
                  <a:lnTo>
                    <a:pt x="114" y="230"/>
                  </a:lnTo>
                  <a:lnTo>
                    <a:pt x="124" y="238"/>
                  </a:lnTo>
                  <a:lnTo>
                    <a:pt x="124" y="23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472895" y="358590"/>
            <a:ext cx="7137706" cy="914400"/>
          </a:xfrm>
        </p:spPr>
        <p:txBody>
          <a:bodyPr/>
          <a:lstStyle/>
          <a:p>
            <a:r>
              <a:rPr lang="ru-RU" smtClean="0"/>
              <a:t>Моделирование кредитных и страховых рисков с использованием внешних источников данных</a:t>
            </a:r>
            <a:r>
              <a:t/>
            </a:r>
            <a:br/>
            <a:endParaRPr lang="ru-RU" dirty="0"/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143" y="2205671"/>
            <a:ext cx="715576" cy="541893"/>
          </a:xfrm>
          <a:prstGeom prst="rect">
            <a:avLst/>
          </a:prstGeom>
        </p:spPr>
      </p:pic>
      <p:sp>
        <p:nvSpPr>
          <p:cNvPr id="55" name="Rectangle 17"/>
          <p:cNvSpPr>
            <a:spLocks/>
          </p:cNvSpPr>
          <p:nvPr/>
        </p:nvSpPr>
        <p:spPr bwMode="auto">
          <a:xfrm>
            <a:off x="142451" y="1000669"/>
            <a:ext cx="738960" cy="2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Машинное обучение</a:t>
            </a:r>
          </a:p>
        </p:txBody>
      </p:sp>
      <p:sp>
        <p:nvSpPr>
          <p:cNvPr id="57" name="Rectangle 17"/>
          <p:cNvSpPr>
            <a:spLocks/>
          </p:cNvSpPr>
          <p:nvPr/>
        </p:nvSpPr>
        <p:spPr bwMode="auto">
          <a:xfrm>
            <a:off x="142451" y="1402336"/>
            <a:ext cx="738960" cy="2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sz="800" i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rPr>
              <a:t>Text mining</a:t>
            </a:r>
            <a:endParaRPr lang="ru-RU" sz="8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58" name="Rectangle 17"/>
          <p:cNvSpPr>
            <a:spLocks/>
          </p:cNvSpPr>
          <p:nvPr/>
        </p:nvSpPr>
        <p:spPr bwMode="auto">
          <a:xfrm>
            <a:off x="142451" y="1804003"/>
            <a:ext cx="738960" cy="2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Разбивка на кластеры</a:t>
            </a:r>
            <a:endParaRPr lang="ru-RU" sz="8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grpSp>
        <p:nvGrpSpPr>
          <p:cNvPr id="86" name="Group 85"/>
          <p:cNvGrpSpPr/>
          <p:nvPr/>
        </p:nvGrpSpPr>
        <p:grpSpPr>
          <a:xfrm>
            <a:off x="148422" y="3638052"/>
            <a:ext cx="727019" cy="518198"/>
            <a:chOff x="148422" y="3578812"/>
            <a:chExt cx="727019" cy="518198"/>
          </a:xfrm>
        </p:grpSpPr>
        <p:sp>
          <p:nvSpPr>
            <p:cNvPr id="87" name="Rectangle 17"/>
            <p:cNvSpPr>
              <a:spLocks/>
            </p:cNvSpPr>
            <p:nvPr/>
          </p:nvSpPr>
          <p:spPr bwMode="auto">
            <a:xfrm>
              <a:off x="148422" y="3850789"/>
              <a:ext cx="72701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Социальные сети</a:t>
              </a:r>
            </a:p>
          </p:txBody>
        </p:sp>
        <p:grpSp>
          <p:nvGrpSpPr>
            <p:cNvPr id="88" name="Group 16"/>
            <p:cNvGrpSpPr>
              <a:grpSpLocks noChangeAspect="1"/>
            </p:cNvGrpSpPr>
            <p:nvPr/>
          </p:nvGrpSpPr>
          <p:grpSpPr bwMode="auto">
            <a:xfrm>
              <a:off x="389395" y="3578812"/>
              <a:ext cx="259829" cy="259829"/>
              <a:chOff x="-783" y="2303"/>
              <a:chExt cx="491" cy="491"/>
            </a:xfrm>
            <a:solidFill>
              <a:schemeClr val="bg1"/>
            </a:solidFill>
          </p:grpSpPr>
          <p:sp>
            <p:nvSpPr>
              <p:cNvPr id="89" name="Freeform 18"/>
              <p:cNvSpPr>
                <a:spLocks/>
              </p:cNvSpPr>
              <p:nvPr/>
            </p:nvSpPr>
            <p:spPr bwMode="auto">
              <a:xfrm>
                <a:off x="-415" y="2395"/>
                <a:ext cx="36" cy="29"/>
              </a:xfrm>
              <a:custGeom>
                <a:avLst/>
                <a:gdLst>
                  <a:gd name="T0" fmla="*/ 131 w 252"/>
                  <a:gd name="T1" fmla="*/ 0 h 201"/>
                  <a:gd name="T2" fmla="*/ 146 w 252"/>
                  <a:gd name="T3" fmla="*/ 2 h 201"/>
                  <a:gd name="T4" fmla="*/ 160 w 252"/>
                  <a:gd name="T5" fmla="*/ 5 h 201"/>
                  <a:gd name="T6" fmla="*/ 173 w 252"/>
                  <a:gd name="T7" fmla="*/ 9 h 201"/>
                  <a:gd name="T8" fmla="*/ 181 w 252"/>
                  <a:gd name="T9" fmla="*/ 10 h 201"/>
                  <a:gd name="T10" fmla="*/ 199 w 252"/>
                  <a:gd name="T11" fmla="*/ 22 h 201"/>
                  <a:gd name="T12" fmla="*/ 217 w 252"/>
                  <a:gd name="T13" fmla="*/ 35 h 201"/>
                  <a:gd name="T14" fmla="*/ 232 w 252"/>
                  <a:gd name="T15" fmla="*/ 48 h 201"/>
                  <a:gd name="T16" fmla="*/ 244 w 252"/>
                  <a:gd name="T17" fmla="*/ 63 h 201"/>
                  <a:gd name="T18" fmla="*/ 252 w 252"/>
                  <a:gd name="T19" fmla="*/ 80 h 201"/>
                  <a:gd name="T20" fmla="*/ 252 w 252"/>
                  <a:gd name="T21" fmla="*/ 101 h 201"/>
                  <a:gd name="T22" fmla="*/ 251 w 252"/>
                  <a:gd name="T23" fmla="*/ 120 h 201"/>
                  <a:gd name="T24" fmla="*/ 247 w 252"/>
                  <a:gd name="T25" fmla="*/ 137 h 201"/>
                  <a:gd name="T26" fmla="*/ 240 w 252"/>
                  <a:gd name="T27" fmla="*/ 153 h 201"/>
                  <a:gd name="T28" fmla="*/ 231 w 252"/>
                  <a:gd name="T29" fmla="*/ 167 h 201"/>
                  <a:gd name="T30" fmla="*/ 217 w 252"/>
                  <a:gd name="T31" fmla="*/ 179 h 201"/>
                  <a:gd name="T32" fmla="*/ 199 w 252"/>
                  <a:gd name="T33" fmla="*/ 188 h 201"/>
                  <a:gd name="T34" fmla="*/ 178 w 252"/>
                  <a:gd name="T35" fmla="*/ 195 h 201"/>
                  <a:gd name="T36" fmla="*/ 152 w 252"/>
                  <a:gd name="T37" fmla="*/ 199 h 201"/>
                  <a:gd name="T38" fmla="*/ 121 w 252"/>
                  <a:gd name="T39" fmla="*/ 201 h 201"/>
                  <a:gd name="T40" fmla="*/ 95 w 252"/>
                  <a:gd name="T41" fmla="*/ 199 h 201"/>
                  <a:gd name="T42" fmla="*/ 73 w 252"/>
                  <a:gd name="T43" fmla="*/ 192 h 201"/>
                  <a:gd name="T44" fmla="*/ 51 w 252"/>
                  <a:gd name="T45" fmla="*/ 182 h 201"/>
                  <a:gd name="T46" fmla="*/ 34 w 252"/>
                  <a:gd name="T47" fmla="*/ 169 h 201"/>
                  <a:gd name="T48" fmla="*/ 19 w 252"/>
                  <a:gd name="T49" fmla="*/ 154 h 201"/>
                  <a:gd name="T50" fmla="*/ 9 w 252"/>
                  <a:gd name="T51" fmla="*/ 137 h 201"/>
                  <a:gd name="T52" fmla="*/ 2 w 252"/>
                  <a:gd name="T53" fmla="*/ 119 h 201"/>
                  <a:gd name="T54" fmla="*/ 0 w 252"/>
                  <a:gd name="T55" fmla="*/ 101 h 201"/>
                  <a:gd name="T56" fmla="*/ 3 w 252"/>
                  <a:gd name="T57" fmla="*/ 79 h 201"/>
                  <a:gd name="T58" fmla="*/ 11 w 252"/>
                  <a:gd name="T59" fmla="*/ 60 h 201"/>
                  <a:gd name="T60" fmla="*/ 22 w 252"/>
                  <a:gd name="T61" fmla="*/ 43 h 201"/>
                  <a:gd name="T62" fmla="*/ 40 w 252"/>
                  <a:gd name="T63" fmla="*/ 28 h 201"/>
                  <a:gd name="T64" fmla="*/ 59 w 252"/>
                  <a:gd name="T65" fmla="*/ 16 h 201"/>
                  <a:gd name="T66" fmla="*/ 80 w 252"/>
                  <a:gd name="T67" fmla="*/ 7 h 201"/>
                  <a:gd name="T68" fmla="*/ 105 w 252"/>
                  <a:gd name="T69" fmla="*/ 2 h 201"/>
                  <a:gd name="T70" fmla="*/ 131 w 252"/>
                  <a:gd name="T71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52" h="201">
                    <a:moveTo>
                      <a:pt x="131" y="0"/>
                    </a:moveTo>
                    <a:lnTo>
                      <a:pt x="146" y="2"/>
                    </a:lnTo>
                    <a:lnTo>
                      <a:pt x="160" y="5"/>
                    </a:lnTo>
                    <a:lnTo>
                      <a:pt x="173" y="9"/>
                    </a:lnTo>
                    <a:lnTo>
                      <a:pt x="181" y="10"/>
                    </a:lnTo>
                    <a:lnTo>
                      <a:pt x="199" y="22"/>
                    </a:lnTo>
                    <a:lnTo>
                      <a:pt x="217" y="35"/>
                    </a:lnTo>
                    <a:lnTo>
                      <a:pt x="232" y="48"/>
                    </a:lnTo>
                    <a:lnTo>
                      <a:pt x="244" y="63"/>
                    </a:lnTo>
                    <a:lnTo>
                      <a:pt x="252" y="80"/>
                    </a:lnTo>
                    <a:lnTo>
                      <a:pt x="252" y="101"/>
                    </a:lnTo>
                    <a:lnTo>
                      <a:pt x="251" y="120"/>
                    </a:lnTo>
                    <a:lnTo>
                      <a:pt x="247" y="137"/>
                    </a:lnTo>
                    <a:lnTo>
                      <a:pt x="240" y="153"/>
                    </a:lnTo>
                    <a:lnTo>
                      <a:pt x="231" y="167"/>
                    </a:lnTo>
                    <a:lnTo>
                      <a:pt x="217" y="179"/>
                    </a:lnTo>
                    <a:lnTo>
                      <a:pt x="199" y="188"/>
                    </a:lnTo>
                    <a:lnTo>
                      <a:pt x="178" y="195"/>
                    </a:lnTo>
                    <a:lnTo>
                      <a:pt x="152" y="199"/>
                    </a:lnTo>
                    <a:lnTo>
                      <a:pt x="121" y="201"/>
                    </a:lnTo>
                    <a:lnTo>
                      <a:pt x="95" y="199"/>
                    </a:lnTo>
                    <a:lnTo>
                      <a:pt x="73" y="192"/>
                    </a:lnTo>
                    <a:lnTo>
                      <a:pt x="51" y="182"/>
                    </a:lnTo>
                    <a:lnTo>
                      <a:pt x="34" y="169"/>
                    </a:lnTo>
                    <a:lnTo>
                      <a:pt x="19" y="154"/>
                    </a:lnTo>
                    <a:lnTo>
                      <a:pt x="9" y="137"/>
                    </a:lnTo>
                    <a:lnTo>
                      <a:pt x="2" y="119"/>
                    </a:lnTo>
                    <a:lnTo>
                      <a:pt x="0" y="101"/>
                    </a:lnTo>
                    <a:lnTo>
                      <a:pt x="3" y="79"/>
                    </a:lnTo>
                    <a:lnTo>
                      <a:pt x="11" y="60"/>
                    </a:lnTo>
                    <a:lnTo>
                      <a:pt x="22" y="43"/>
                    </a:lnTo>
                    <a:lnTo>
                      <a:pt x="40" y="28"/>
                    </a:lnTo>
                    <a:lnTo>
                      <a:pt x="59" y="16"/>
                    </a:lnTo>
                    <a:lnTo>
                      <a:pt x="80" y="7"/>
                    </a:lnTo>
                    <a:lnTo>
                      <a:pt x="105" y="2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0" name="Freeform 19"/>
              <p:cNvSpPr>
                <a:spLocks/>
              </p:cNvSpPr>
              <p:nvPr/>
            </p:nvSpPr>
            <p:spPr bwMode="auto">
              <a:xfrm>
                <a:off x="-409" y="2347"/>
                <a:ext cx="25" cy="31"/>
              </a:xfrm>
              <a:custGeom>
                <a:avLst/>
                <a:gdLst>
                  <a:gd name="T0" fmla="*/ 73 w 175"/>
                  <a:gd name="T1" fmla="*/ 0 h 220"/>
                  <a:gd name="T2" fmla="*/ 94 w 175"/>
                  <a:gd name="T3" fmla="*/ 3 h 220"/>
                  <a:gd name="T4" fmla="*/ 113 w 175"/>
                  <a:gd name="T5" fmla="*/ 11 h 220"/>
                  <a:gd name="T6" fmla="*/ 130 w 175"/>
                  <a:gd name="T7" fmla="*/ 25 h 220"/>
                  <a:gd name="T8" fmla="*/ 145 w 175"/>
                  <a:gd name="T9" fmla="*/ 42 h 220"/>
                  <a:gd name="T10" fmla="*/ 158 w 175"/>
                  <a:gd name="T11" fmla="*/ 62 h 220"/>
                  <a:gd name="T12" fmla="*/ 168 w 175"/>
                  <a:gd name="T13" fmla="*/ 85 h 220"/>
                  <a:gd name="T14" fmla="*/ 173 w 175"/>
                  <a:gd name="T15" fmla="*/ 110 h 220"/>
                  <a:gd name="T16" fmla="*/ 175 w 175"/>
                  <a:gd name="T17" fmla="*/ 136 h 220"/>
                  <a:gd name="T18" fmla="*/ 171 w 175"/>
                  <a:gd name="T19" fmla="*/ 158 h 220"/>
                  <a:gd name="T20" fmla="*/ 163 w 175"/>
                  <a:gd name="T21" fmla="*/ 179 h 220"/>
                  <a:gd name="T22" fmla="*/ 151 w 175"/>
                  <a:gd name="T23" fmla="*/ 196 h 220"/>
                  <a:gd name="T24" fmla="*/ 137 w 175"/>
                  <a:gd name="T25" fmla="*/ 210 h 220"/>
                  <a:gd name="T26" fmla="*/ 121 w 175"/>
                  <a:gd name="T27" fmla="*/ 218 h 220"/>
                  <a:gd name="T28" fmla="*/ 104 w 175"/>
                  <a:gd name="T29" fmla="*/ 220 h 220"/>
                  <a:gd name="T30" fmla="*/ 82 w 175"/>
                  <a:gd name="T31" fmla="*/ 218 h 220"/>
                  <a:gd name="T32" fmla="*/ 63 w 175"/>
                  <a:gd name="T33" fmla="*/ 210 h 220"/>
                  <a:gd name="T34" fmla="*/ 46 w 175"/>
                  <a:gd name="T35" fmla="*/ 196 h 220"/>
                  <a:gd name="T36" fmla="*/ 31 w 175"/>
                  <a:gd name="T37" fmla="*/ 179 h 220"/>
                  <a:gd name="T38" fmla="*/ 18 w 175"/>
                  <a:gd name="T39" fmla="*/ 158 h 220"/>
                  <a:gd name="T40" fmla="*/ 9 w 175"/>
                  <a:gd name="T41" fmla="*/ 136 h 220"/>
                  <a:gd name="T42" fmla="*/ 3 w 175"/>
                  <a:gd name="T43" fmla="*/ 110 h 220"/>
                  <a:gd name="T44" fmla="*/ 0 w 175"/>
                  <a:gd name="T45" fmla="*/ 89 h 220"/>
                  <a:gd name="T46" fmla="*/ 2 w 175"/>
                  <a:gd name="T47" fmla="*/ 67 h 220"/>
                  <a:gd name="T48" fmla="*/ 7 w 175"/>
                  <a:gd name="T49" fmla="*/ 49 h 220"/>
                  <a:gd name="T50" fmla="*/ 14 w 175"/>
                  <a:gd name="T51" fmla="*/ 32 h 220"/>
                  <a:gd name="T52" fmla="*/ 26 w 175"/>
                  <a:gd name="T53" fmla="*/ 19 h 220"/>
                  <a:gd name="T54" fmla="*/ 39 w 175"/>
                  <a:gd name="T55" fmla="*/ 9 h 220"/>
                  <a:gd name="T56" fmla="*/ 55 w 175"/>
                  <a:gd name="T57" fmla="*/ 2 h 220"/>
                  <a:gd name="T58" fmla="*/ 73 w 175"/>
                  <a:gd name="T59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75" h="220">
                    <a:moveTo>
                      <a:pt x="73" y="0"/>
                    </a:moveTo>
                    <a:lnTo>
                      <a:pt x="94" y="3"/>
                    </a:lnTo>
                    <a:lnTo>
                      <a:pt x="113" y="11"/>
                    </a:lnTo>
                    <a:lnTo>
                      <a:pt x="130" y="25"/>
                    </a:lnTo>
                    <a:lnTo>
                      <a:pt x="145" y="42"/>
                    </a:lnTo>
                    <a:lnTo>
                      <a:pt x="158" y="62"/>
                    </a:lnTo>
                    <a:lnTo>
                      <a:pt x="168" y="85"/>
                    </a:lnTo>
                    <a:lnTo>
                      <a:pt x="173" y="110"/>
                    </a:lnTo>
                    <a:lnTo>
                      <a:pt x="175" y="136"/>
                    </a:lnTo>
                    <a:lnTo>
                      <a:pt x="171" y="158"/>
                    </a:lnTo>
                    <a:lnTo>
                      <a:pt x="163" y="179"/>
                    </a:lnTo>
                    <a:lnTo>
                      <a:pt x="151" y="196"/>
                    </a:lnTo>
                    <a:lnTo>
                      <a:pt x="137" y="210"/>
                    </a:lnTo>
                    <a:lnTo>
                      <a:pt x="121" y="218"/>
                    </a:lnTo>
                    <a:lnTo>
                      <a:pt x="104" y="220"/>
                    </a:lnTo>
                    <a:lnTo>
                      <a:pt x="82" y="218"/>
                    </a:lnTo>
                    <a:lnTo>
                      <a:pt x="63" y="210"/>
                    </a:lnTo>
                    <a:lnTo>
                      <a:pt x="46" y="196"/>
                    </a:lnTo>
                    <a:lnTo>
                      <a:pt x="31" y="179"/>
                    </a:lnTo>
                    <a:lnTo>
                      <a:pt x="18" y="158"/>
                    </a:lnTo>
                    <a:lnTo>
                      <a:pt x="9" y="136"/>
                    </a:lnTo>
                    <a:lnTo>
                      <a:pt x="3" y="110"/>
                    </a:lnTo>
                    <a:lnTo>
                      <a:pt x="0" y="89"/>
                    </a:lnTo>
                    <a:lnTo>
                      <a:pt x="2" y="67"/>
                    </a:lnTo>
                    <a:lnTo>
                      <a:pt x="7" y="49"/>
                    </a:lnTo>
                    <a:lnTo>
                      <a:pt x="14" y="32"/>
                    </a:lnTo>
                    <a:lnTo>
                      <a:pt x="26" y="19"/>
                    </a:lnTo>
                    <a:lnTo>
                      <a:pt x="39" y="9"/>
                    </a:lnTo>
                    <a:lnTo>
                      <a:pt x="55" y="2"/>
                    </a:lnTo>
                    <a:lnTo>
                      <a:pt x="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1" name="Freeform 20"/>
              <p:cNvSpPr>
                <a:spLocks noEditPoints="1"/>
              </p:cNvSpPr>
              <p:nvPr/>
            </p:nvSpPr>
            <p:spPr bwMode="auto">
              <a:xfrm>
                <a:off x="-461" y="2303"/>
                <a:ext cx="167" cy="167"/>
              </a:xfrm>
              <a:custGeom>
                <a:avLst/>
                <a:gdLst>
                  <a:gd name="T0" fmla="*/ 394 w 1169"/>
                  <a:gd name="T1" fmla="*/ 292 h 1165"/>
                  <a:gd name="T2" fmla="*/ 322 w 1169"/>
                  <a:gd name="T3" fmla="*/ 340 h 1165"/>
                  <a:gd name="T4" fmla="*/ 292 w 1169"/>
                  <a:gd name="T5" fmla="*/ 412 h 1165"/>
                  <a:gd name="T6" fmla="*/ 315 w 1169"/>
                  <a:gd name="T7" fmla="*/ 485 h 1165"/>
                  <a:gd name="T8" fmla="*/ 377 w 1169"/>
                  <a:gd name="T9" fmla="*/ 532 h 1165"/>
                  <a:gd name="T10" fmla="*/ 453 w 1169"/>
                  <a:gd name="T11" fmla="*/ 543 h 1165"/>
                  <a:gd name="T12" fmla="*/ 443 w 1169"/>
                  <a:gd name="T13" fmla="*/ 572 h 1165"/>
                  <a:gd name="T14" fmla="*/ 452 w 1169"/>
                  <a:gd name="T15" fmla="*/ 623 h 1165"/>
                  <a:gd name="T16" fmla="*/ 386 w 1169"/>
                  <a:gd name="T17" fmla="*/ 646 h 1165"/>
                  <a:gd name="T18" fmla="*/ 294 w 1169"/>
                  <a:gd name="T19" fmla="*/ 681 h 1165"/>
                  <a:gd name="T20" fmla="*/ 245 w 1169"/>
                  <a:gd name="T21" fmla="*/ 748 h 1165"/>
                  <a:gd name="T22" fmla="*/ 252 w 1169"/>
                  <a:gd name="T23" fmla="*/ 812 h 1165"/>
                  <a:gd name="T24" fmla="*/ 299 w 1169"/>
                  <a:gd name="T25" fmla="*/ 855 h 1165"/>
                  <a:gd name="T26" fmla="*/ 374 w 1169"/>
                  <a:gd name="T27" fmla="*/ 879 h 1165"/>
                  <a:gd name="T28" fmla="*/ 468 w 1169"/>
                  <a:gd name="T29" fmla="*/ 882 h 1165"/>
                  <a:gd name="T30" fmla="*/ 549 w 1169"/>
                  <a:gd name="T31" fmla="*/ 858 h 1165"/>
                  <a:gd name="T32" fmla="*/ 598 w 1169"/>
                  <a:gd name="T33" fmla="*/ 813 h 1165"/>
                  <a:gd name="T34" fmla="*/ 614 w 1169"/>
                  <a:gd name="T35" fmla="*/ 753 h 1165"/>
                  <a:gd name="T36" fmla="*/ 603 w 1169"/>
                  <a:gd name="T37" fmla="*/ 686 h 1165"/>
                  <a:gd name="T38" fmla="*/ 554 w 1169"/>
                  <a:gd name="T39" fmla="*/ 633 h 1165"/>
                  <a:gd name="T40" fmla="*/ 521 w 1169"/>
                  <a:gd name="T41" fmla="*/ 607 h 1165"/>
                  <a:gd name="T42" fmla="*/ 503 w 1169"/>
                  <a:gd name="T43" fmla="*/ 572 h 1165"/>
                  <a:gd name="T44" fmla="*/ 516 w 1169"/>
                  <a:gd name="T45" fmla="*/ 544 h 1165"/>
                  <a:gd name="T46" fmla="*/ 560 w 1169"/>
                  <a:gd name="T47" fmla="*/ 504 h 1165"/>
                  <a:gd name="T48" fmla="*/ 592 w 1169"/>
                  <a:gd name="T49" fmla="*/ 445 h 1165"/>
                  <a:gd name="T50" fmla="*/ 589 w 1169"/>
                  <a:gd name="T51" fmla="*/ 380 h 1165"/>
                  <a:gd name="T52" fmla="*/ 563 w 1169"/>
                  <a:gd name="T53" fmla="*/ 330 h 1165"/>
                  <a:gd name="T54" fmla="*/ 594 w 1169"/>
                  <a:gd name="T55" fmla="*/ 312 h 1165"/>
                  <a:gd name="T56" fmla="*/ 806 w 1169"/>
                  <a:gd name="T57" fmla="*/ 272 h 1165"/>
                  <a:gd name="T58" fmla="*/ 694 w 1169"/>
                  <a:gd name="T59" fmla="*/ 423 h 1165"/>
                  <a:gd name="T60" fmla="*/ 846 w 1169"/>
                  <a:gd name="T61" fmla="*/ 533 h 1165"/>
                  <a:gd name="T62" fmla="*/ 956 w 1169"/>
                  <a:gd name="T63" fmla="*/ 382 h 1165"/>
                  <a:gd name="T64" fmla="*/ 806 w 1169"/>
                  <a:gd name="T65" fmla="*/ 272 h 1165"/>
                  <a:gd name="T66" fmla="*/ 725 w 1169"/>
                  <a:gd name="T67" fmla="*/ 13 h 1165"/>
                  <a:gd name="T68" fmla="*/ 890 w 1169"/>
                  <a:gd name="T69" fmla="*/ 77 h 1165"/>
                  <a:gd name="T70" fmla="*/ 1024 w 1169"/>
                  <a:gd name="T71" fmla="*/ 185 h 1165"/>
                  <a:gd name="T72" fmla="*/ 1118 w 1169"/>
                  <a:gd name="T73" fmla="*/ 331 h 1165"/>
                  <a:gd name="T74" fmla="*/ 1166 w 1169"/>
                  <a:gd name="T75" fmla="*/ 502 h 1165"/>
                  <a:gd name="T76" fmla="*/ 1156 w 1169"/>
                  <a:gd name="T77" fmla="*/ 684 h 1165"/>
                  <a:gd name="T78" fmla="*/ 1092 w 1169"/>
                  <a:gd name="T79" fmla="*/ 847 h 1165"/>
                  <a:gd name="T80" fmla="*/ 983 w 1169"/>
                  <a:gd name="T81" fmla="*/ 980 h 1165"/>
                  <a:gd name="T82" fmla="*/ 837 w 1169"/>
                  <a:gd name="T83" fmla="*/ 1075 h 1165"/>
                  <a:gd name="T84" fmla="*/ 666 w 1169"/>
                  <a:gd name="T85" fmla="*/ 1122 h 1165"/>
                  <a:gd name="T86" fmla="*/ 495 w 1169"/>
                  <a:gd name="T87" fmla="*/ 1113 h 1165"/>
                  <a:gd name="T88" fmla="*/ 342 w 1169"/>
                  <a:gd name="T89" fmla="*/ 1055 h 1165"/>
                  <a:gd name="T90" fmla="*/ 80 w 1169"/>
                  <a:gd name="T91" fmla="*/ 1165 h 1165"/>
                  <a:gd name="T92" fmla="*/ 22 w 1169"/>
                  <a:gd name="T93" fmla="*/ 1107 h 1165"/>
                  <a:gd name="T94" fmla="*/ 143 w 1169"/>
                  <a:gd name="T95" fmla="*/ 879 h 1165"/>
                  <a:gd name="T96" fmla="*/ 75 w 1169"/>
                  <a:gd name="T97" fmla="*/ 757 h 1165"/>
                  <a:gd name="T98" fmla="*/ 43 w 1169"/>
                  <a:gd name="T99" fmla="*/ 614 h 1165"/>
                  <a:gd name="T100" fmla="*/ 53 w 1169"/>
                  <a:gd name="T101" fmla="*/ 442 h 1165"/>
                  <a:gd name="T102" fmla="*/ 117 w 1169"/>
                  <a:gd name="T103" fmla="*/ 278 h 1165"/>
                  <a:gd name="T104" fmla="*/ 226 w 1169"/>
                  <a:gd name="T105" fmla="*/ 145 h 1165"/>
                  <a:gd name="T106" fmla="*/ 371 w 1169"/>
                  <a:gd name="T107" fmla="*/ 51 h 1165"/>
                  <a:gd name="T108" fmla="*/ 543 w 1169"/>
                  <a:gd name="T109" fmla="*/ 4 h 1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69" h="1165">
                    <a:moveTo>
                      <a:pt x="453" y="282"/>
                    </a:moveTo>
                    <a:lnTo>
                      <a:pt x="423" y="285"/>
                    </a:lnTo>
                    <a:lnTo>
                      <a:pt x="394" y="292"/>
                    </a:lnTo>
                    <a:lnTo>
                      <a:pt x="367" y="304"/>
                    </a:lnTo>
                    <a:lnTo>
                      <a:pt x="342" y="320"/>
                    </a:lnTo>
                    <a:lnTo>
                      <a:pt x="322" y="340"/>
                    </a:lnTo>
                    <a:lnTo>
                      <a:pt x="306" y="362"/>
                    </a:lnTo>
                    <a:lnTo>
                      <a:pt x="296" y="386"/>
                    </a:lnTo>
                    <a:lnTo>
                      <a:pt x="292" y="412"/>
                    </a:lnTo>
                    <a:lnTo>
                      <a:pt x="295" y="438"/>
                    </a:lnTo>
                    <a:lnTo>
                      <a:pt x="302" y="462"/>
                    </a:lnTo>
                    <a:lnTo>
                      <a:pt x="315" y="485"/>
                    </a:lnTo>
                    <a:lnTo>
                      <a:pt x="333" y="504"/>
                    </a:lnTo>
                    <a:lnTo>
                      <a:pt x="353" y="520"/>
                    </a:lnTo>
                    <a:lnTo>
                      <a:pt x="377" y="532"/>
                    </a:lnTo>
                    <a:lnTo>
                      <a:pt x="403" y="540"/>
                    </a:lnTo>
                    <a:lnTo>
                      <a:pt x="433" y="543"/>
                    </a:lnTo>
                    <a:lnTo>
                      <a:pt x="453" y="543"/>
                    </a:lnTo>
                    <a:lnTo>
                      <a:pt x="446" y="553"/>
                    </a:lnTo>
                    <a:lnTo>
                      <a:pt x="443" y="563"/>
                    </a:lnTo>
                    <a:lnTo>
                      <a:pt x="443" y="572"/>
                    </a:lnTo>
                    <a:lnTo>
                      <a:pt x="444" y="588"/>
                    </a:lnTo>
                    <a:lnTo>
                      <a:pt x="448" y="605"/>
                    </a:lnTo>
                    <a:lnTo>
                      <a:pt x="452" y="623"/>
                    </a:lnTo>
                    <a:lnTo>
                      <a:pt x="453" y="643"/>
                    </a:lnTo>
                    <a:lnTo>
                      <a:pt x="423" y="643"/>
                    </a:lnTo>
                    <a:lnTo>
                      <a:pt x="386" y="646"/>
                    </a:lnTo>
                    <a:lnTo>
                      <a:pt x="352" y="654"/>
                    </a:lnTo>
                    <a:lnTo>
                      <a:pt x="321" y="665"/>
                    </a:lnTo>
                    <a:lnTo>
                      <a:pt x="294" y="681"/>
                    </a:lnTo>
                    <a:lnTo>
                      <a:pt x="272" y="702"/>
                    </a:lnTo>
                    <a:lnTo>
                      <a:pt x="255" y="723"/>
                    </a:lnTo>
                    <a:lnTo>
                      <a:pt x="245" y="748"/>
                    </a:lnTo>
                    <a:lnTo>
                      <a:pt x="241" y="773"/>
                    </a:lnTo>
                    <a:lnTo>
                      <a:pt x="245" y="794"/>
                    </a:lnTo>
                    <a:lnTo>
                      <a:pt x="252" y="812"/>
                    </a:lnTo>
                    <a:lnTo>
                      <a:pt x="264" y="828"/>
                    </a:lnTo>
                    <a:lnTo>
                      <a:pt x="280" y="843"/>
                    </a:lnTo>
                    <a:lnTo>
                      <a:pt x="299" y="855"/>
                    </a:lnTo>
                    <a:lnTo>
                      <a:pt x="322" y="865"/>
                    </a:lnTo>
                    <a:lnTo>
                      <a:pt x="348" y="873"/>
                    </a:lnTo>
                    <a:lnTo>
                      <a:pt x="374" y="879"/>
                    </a:lnTo>
                    <a:lnTo>
                      <a:pt x="403" y="882"/>
                    </a:lnTo>
                    <a:lnTo>
                      <a:pt x="433" y="884"/>
                    </a:lnTo>
                    <a:lnTo>
                      <a:pt x="468" y="882"/>
                    </a:lnTo>
                    <a:lnTo>
                      <a:pt x="498" y="877"/>
                    </a:lnTo>
                    <a:lnTo>
                      <a:pt x="526" y="869"/>
                    </a:lnTo>
                    <a:lnTo>
                      <a:pt x="549" y="858"/>
                    </a:lnTo>
                    <a:lnTo>
                      <a:pt x="569" y="845"/>
                    </a:lnTo>
                    <a:lnTo>
                      <a:pt x="585" y="830"/>
                    </a:lnTo>
                    <a:lnTo>
                      <a:pt x="598" y="813"/>
                    </a:lnTo>
                    <a:lnTo>
                      <a:pt x="607" y="794"/>
                    </a:lnTo>
                    <a:lnTo>
                      <a:pt x="613" y="775"/>
                    </a:lnTo>
                    <a:lnTo>
                      <a:pt x="614" y="753"/>
                    </a:lnTo>
                    <a:lnTo>
                      <a:pt x="613" y="730"/>
                    </a:lnTo>
                    <a:lnTo>
                      <a:pt x="610" y="706"/>
                    </a:lnTo>
                    <a:lnTo>
                      <a:pt x="603" y="686"/>
                    </a:lnTo>
                    <a:lnTo>
                      <a:pt x="591" y="667"/>
                    </a:lnTo>
                    <a:lnTo>
                      <a:pt x="575" y="649"/>
                    </a:lnTo>
                    <a:lnTo>
                      <a:pt x="554" y="633"/>
                    </a:lnTo>
                    <a:lnTo>
                      <a:pt x="543" y="626"/>
                    </a:lnTo>
                    <a:lnTo>
                      <a:pt x="532" y="617"/>
                    </a:lnTo>
                    <a:lnTo>
                      <a:pt x="521" y="607"/>
                    </a:lnTo>
                    <a:lnTo>
                      <a:pt x="512" y="595"/>
                    </a:lnTo>
                    <a:lnTo>
                      <a:pt x="505" y="583"/>
                    </a:lnTo>
                    <a:lnTo>
                      <a:pt x="503" y="572"/>
                    </a:lnTo>
                    <a:lnTo>
                      <a:pt x="504" y="562"/>
                    </a:lnTo>
                    <a:lnTo>
                      <a:pt x="509" y="552"/>
                    </a:lnTo>
                    <a:lnTo>
                      <a:pt x="516" y="544"/>
                    </a:lnTo>
                    <a:lnTo>
                      <a:pt x="528" y="534"/>
                    </a:lnTo>
                    <a:lnTo>
                      <a:pt x="544" y="522"/>
                    </a:lnTo>
                    <a:lnTo>
                      <a:pt x="560" y="504"/>
                    </a:lnTo>
                    <a:lnTo>
                      <a:pt x="574" y="486"/>
                    </a:lnTo>
                    <a:lnTo>
                      <a:pt x="585" y="467"/>
                    </a:lnTo>
                    <a:lnTo>
                      <a:pt x="592" y="445"/>
                    </a:lnTo>
                    <a:lnTo>
                      <a:pt x="594" y="423"/>
                    </a:lnTo>
                    <a:lnTo>
                      <a:pt x="593" y="401"/>
                    </a:lnTo>
                    <a:lnTo>
                      <a:pt x="589" y="380"/>
                    </a:lnTo>
                    <a:lnTo>
                      <a:pt x="583" y="361"/>
                    </a:lnTo>
                    <a:lnTo>
                      <a:pt x="574" y="344"/>
                    </a:lnTo>
                    <a:lnTo>
                      <a:pt x="563" y="330"/>
                    </a:lnTo>
                    <a:lnTo>
                      <a:pt x="549" y="318"/>
                    </a:lnTo>
                    <a:lnTo>
                      <a:pt x="533" y="312"/>
                    </a:lnTo>
                    <a:lnTo>
                      <a:pt x="594" y="312"/>
                    </a:lnTo>
                    <a:lnTo>
                      <a:pt x="634" y="282"/>
                    </a:lnTo>
                    <a:lnTo>
                      <a:pt x="453" y="282"/>
                    </a:lnTo>
                    <a:close/>
                    <a:moveTo>
                      <a:pt x="806" y="272"/>
                    </a:moveTo>
                    <a:lnTo>
                      <a:pt x="806" y="382"/>
                    </a:lnTo>
                    <a:lnTo>
                      <a:pt x="694" y="382"/>
                    </a:lnTo>
                    <a:lnTo>
                      <a:pt x="694" y="423"/>
                    </a:lnTo>
                    <a:lnTo>
                      <a:pt x="806" y="423"/>
                    </a:lnTo>
                    <a:lnTo>
                      <a:pt x="806" y="533"/>
                    </a:lnTo>
                    <a:lnTo>
                      <a:pt x="846" y="533"/>
                    </a:lnTo>
                    <a:lnTo>
                      <a:pt x="846" y="423"/>
                    </a:lnTo>
                    <a:lnTo>
                      <a:pt x="956" y="423"/>
                    </a:lnTo>
                    <a:lnTo>
                      <a:pt x="956" y="382"/>
                    </a:lnTo>
                    <a:lnTo>
                      <a:pt x="846" y="382"/>
                    </a:lnTo>
                    <a:lnTo>
                      <a:pt x="846" y="272"/>
                    </a:lnTo>
                    <a:lnTo>
                      <a:pt x="806" y="272"/>
                    </a:lnTo>
                    <a:close/>
                    <a:moveTo>
                      <a:pt x="604" y="0"/>
                    </a:moveTo>
                    <a:lnTo>
                      <a:pt x="666" y="4"/>
                    </a:lnTo>
                    <a:lnTo>
                      <a:pt x="725" y="13"/>
                    </a:lnTo>
                    <a:lnTo>
                      <a:pt x="783" y="29"/>
                    </a:lnTo>
                    <a:lnTo>
                      <a:pt x="837" y="51"/>
                    </a:lnTo>
                    <a:lnTo>
                      <a:pt x="890" y="77"/>
                    </a:lnTo>
                    <a:lnTo>
                      <a:pt x="938" y="110"/>
                    </a:lnTo>
                    <a:lnTo>
                      <a:pt x="983" y="145"/>
                    </a:lnTo>
                    <a:lnTo>
                      <a:pt x="1024" y="185"/>
                    </a:lnTo>
                    <a:lnTo>
                      <a:pt x="1060" y="230"/>
                    </a:lnTo>
                    <a:lnTo>
                      <a:pt x="1092" y="278"/>
                    </a:lnTo>
                    <a:lnTo>
                      <a:pt x="1118" y="331"/>
                    </a:lnTo>
                    <a:lnTo>
                      <a:pt x="1140" y="385"/>
                    </a:lnTo>
                    <a:lnTo>
                      <a:pt x="1156" y="442"/>
                    </a:lnTo>
                    <a:lnTo>
                      <a:pt x="1166" y="502"/>
                    </a:lnTo>
                    <a:lnTo>
                      <a:pt x="1169" y="563"/>
                    </a:lnTo>
                    <a:lnTo>
                      <a:pt x="1166" y="624"/>
                    </a:lnTo>
                    <a:lnTo>
                      <a:pt x="1156" y="684"/>
                    </a:lnTo>
                    <a:lnTo>
                      <a:pt x="1140" y="740"/>
                    </a:lnTo>
                    <a:lnTo>
                      <a:pt x="1118" y="795"/>
                    </a:lnTo>
                    <a:lnTo>
                      <a:pt x="1092" y="847"/>
                    </a:lnTo>
                    <a:lnTo>
                      <a:pt x="1060" y="895"/>
                    </a:lnTo>
                    <a:lnTo>
                      <a:pt x="1024" y="939"/>
                    </a:lnTo>
                    <a:lnTo>
                      <a:pt x="983" y="980"/>
                    </a:lnTo>
                    <a:lnTo>
                      <a:pt x="938" y="1016"/>
                    </a:lnTo>
                    <a:lnTo>
                      <a:pt x="890" y="1048"/>
                    </a:lnTo>
                    <a:lnTo>
                      <a:pt x="837" y="1075"/>
                    </a:lnTo>
                    <a:lnTo>
                      <a:pt x="783" y="1096"/>
                    </a:lnTo>
                    <a:lnTo>
                      <a:pt x="725" y="1111"/>
                    </a:lnTo>
                    <a:lnTo>
                      <a:pt x="666" y="1122"/>
                    </a:lnTo>
                    <a:lnTo>
                      <a:pt x="604" y="1125"/>
                    </a:lnTo>
                    <a:lnTo>
                      <a:pt x="548" y="1122"/>
                    </a:lnTo>
                    <a:lnTo>
                      <a:pt x="495" y="1113"/>
                    </a:lnTo>
                    <a:lnTo>
                      <a:pt x="442" y="1098"/>
                    </a:lnTo>
                    <a:lnTo>
                      <a:pt x="392" y="1079"/>
                    </a:lnTo>
                    <a:lnTo>
                      <a:pt x="342" y="1055"/>
                    </a:lnTo>
                    <a:lnTo>
                      <a:pt x="296" y="1027"/>
                    </a:lnTo>
                    <a:lnTo>
                      <a:pt x="251" y="994"/>
                    </a:lnTo>
                    <a:lnTo>
                      <a:pt x="80" y="1165"/>
                    </a:lnTo>
                    <a:lnTo>
                      <a:pt x="63" y="1148"/>
                    </a:lnTo>
                    <a:lnTo>
                      <a:pt x="44" y="1128"/>
                    </a:lnTo>
                    <a:lnTo>
                      <a:pt x="22" y="1107"/>
                    </a:lnTo>
                    <a:lnTo>
                      <a:pt x="0" y="1085"/>
                    </a:lnTo>
                    <a:lnTo>
                      <a:pt x="170" y="915"/>
                    </a:lnTo>
                    <a:lnTo>
                      <a:pt x="143" y="879"/>
                    </a:lnTo>
                    <a:lnTo>
                      <a:pt x="117" y="841"/>
                    </a:lnTo>
                    <a:lnTo>
                      <a:pt x="94" y="800"/>
                    </a:lnTo>
                    <a:lnTo>
                      <a:pt x="75" y="757"/>
                    </a:lnTo>
                    <a:lnTo>
                      <a:pt x="60" y="711"/>
                    </a:lnTo>
                    <a:lnTo>
                      <a:pt x="49" y="664"/>
                    </a:lnTo>
                    <a:lnTo>
                      <a:pt x="43" y="614"/>
                    </a:lnTo>
                    <a:lnTo>
                      <a:pt x="39" y="563"/>
                    </a:lnTo>
                    <a:lnTo>
                      <a:pt x="44" y="502"/>
                    </a:lnTo>
                    <a:lnTo>
                      <a:pt x="53" y="442"/>
                    </a:lnTo>
                    <a:lnTo>
                      <a:pt x="68" y="385"/>
                    </a:lnTo>
                    <a:lnTo>
                      <a:pt x="90" y="331"/>
                    </a:lnTo>
                    <a:lnTo>
                      <a:pt x="117" y="278"/>
                    </a:lnTo>
                    <a:lnTo>
                      <a:pt x="149" y="230"/>
                    </a:lnTo>
                    <a:lnTo>
                      <a:pt x="185" y="185"/>
                    </a:lnTo>
                    <a:lnTo>
                      <a:pt x="226" y="145"/>
                    </a:lnTo>
                    <a:lnTo>
                      <a:pt x="270" y="110"/>
                    </a:lnTo>
                    <a:lnTo>
                      <a:pt x="320" y="77"/>
                    </a:lnTo>
                    <a:lnTo>
                      <a:pt x="371" y="51"/>
                    </a:lnTo>
                    <a:lnTo>
                      <a:pt x="426" y="29"/>
                    </a:lnTo>
                    <a:lnTo>
                      <a:pt x="483" y="13"/>
                    </a:lnTo>
                    <a:lnTo>
                      <a:pt x="543" y="4"/>
                    </a:lnTo>
                    <a:lnTo>
                      <a:pt x="60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2" name="Freeform 21"/>
              <p:cNvSpPr>
                <a:spLocks noEditPoints="1"/>
              </p:cNvSpPr>
              <p:nvPr/>
            </p:nvSpPr>
            <p:spPr bwMode="auto">
              <a:xfrm>
                <a:off x="-459" y="2628"/>
                <a:ext cx="167" cy="164"/>
              </a:xfrm>
              <a:custGeom>
                <a:avLst/>
                <a:gdLst>
                  <a:gd name="T0" fmla="*/ 434 w 1170"/>
                  <a:gd name="T1" fmla="*/ 852 h 1154"/>
                  <a:gd name="T2" fmla="*/ 747 w 1170"/>
                  <a:gd name="T3" fmla="*/ 492 h 1154"/>
                  <a:gd name="T4" fmla="*/ 680 w 1170"/>
                  <a:gd name="T5" fmla="*/ 509 h 1154"/>
                  <a:gd name="T6" fmla="*/ 641 w 1170"/>
                  <a:gd name="T7" fmla="*/ 542 h 1154"/>
                  <a:gd name="T8" fmla="*/ 515 w 1170"/>
                  <a:gd name="T9" fmla="*/ 502 h 1154"/>
                  <a:gd name="T10" fmla="*/ 636 w 1170"/>
                  <a:gd name="T11" fmla="*/ 632 h 1154"/>
                  <a:gd name="T12" fmla="*/ 665 w 1170"/>
                  <a:gd name="T13" fmla="*/ 600 h 1154"/>
                  <a:gd name="T14" fmla="*/ 714 w 1170"/>
                  <a:gd name="T15" fmla="*/ 595 h 1154"/>
                  <a:gd name="T16" fmla="*/ 750 w 1170"/>
                  <a:gd name="T17" fmla="*/ 629 h 1154"/>
                  <a:gd name="T18" fmla="*/ 756 w 1170"/>
                  <a:gd name="T19" fmla="*/ 852 h 1154"/>
                  <a:gd name="T20" fmla="*/ 886 w 1170"/>
                  <a:gd name="T21" fmla="*/ 621 h 1154"/>
                  <a:gd name="T22" fmla="*/ 861 w 1170"/>
                  <a:gd name="T23" fmla="*/ 547 h 1154"/>
                  <a:gd name="T24" fmla="*/ 812 w 1170"/>
                  <a:gd name="T25" fmla="*/ 506 h 1154"/>
                  <a:gd name="T26" fmla="*/ 747 w 1170"/>
                  <a:gd name="T27" fmla="*/ 492 h 1154"/>
                  <a:gd name="T28" fmla="*/ 347 w 1170"/>
                  <a:gd name="T29" fmla="*/ 340 h 1154"/>
                  <a:gd name="T30" fmla="*/ 315 w 1170"/>
                  <a:gd name="T31" fmla="*/ 376 h 1154"/>
                  <a:gd name="T32" fmla="*/ 322 w 1170"/>
                  <a:gd name="T33" fmla="*/ 420 h 1154"/>
                  <a:gd name="T34" fmla="*/ 364 w 1170"/>
                  <a:gd name="T35" fmla="*/ 449 h 1154"/>
                  <a:gd name="T36" fmla="*/ 418 w 1170"/>
                  <a:gd name="T37" fmla="*/ 445 h 1154"/>
                  <a:gd name="T38" fmla="*/ 448 w 1170"/>
                  <a:gd name="T39" fmla="*/ 410 h 1154"/>
                  <a:gd name="T40" fmla="*/ 445 w 1170"/>
                  <a:gd name="T41" fmla="*/ 363 h 1154"/>
                  <a:gd name="T42" fmla="*/ 403 w 1170"/>
                  <a:gd name="T43" fmla="*/ 334 h 1154"/>
                  <a:gd name="T44" fmla="*/ 242 w 1170"/>
                  <a:gd name="T45" fmla="*/ 170 h 1154"/>
                  <a:gd name="T46" fmla="*/ 359 w 1170"/>
                  <a:gd name="T47" fmla="*/ 94 h 1154"/>
                  <a:gd name="T48" fmla="*/ 497 w 1170"/>
                  <a:gd name="T49" fmla="*/ 49 h 1154"/>
                  <a:gd name="T50" fmla="*/ 657 w 1170"/>
                  <a:gd name="T51" fmla="*/ 43 h 1154"/>
                  <a:gd name="T52" fmla="*/ 829 w 1170"/>
                  <a:gd name="T53" fmla="*/ 88 h 1154"/>
                  <a:gd name="T54" fmla="*/ 975 w 1170"/>
                  <a:gd name="T55" fmla="*/ 180 h 1154"/>
                  <a:gd name="T56" fmla="*/ 1086 w 1170"/>
                  <a:gd name="T57" fmla="*/ 310 h 1154"/>
                  <a:gd name="T58" fmla="*/ 1153 w 1170"/>
                  <a:gd name="T59" fmla="*/ 472 h 1154"/>
                  <a:gd name="T60" fmla="*/ 1166 w 1170"/>
                  <a:gd name="T61" fmla="*/ 653 h 1154"/>
                  <a:gd name="T62" fmla="*/ 1119 w 1170"/>
                  <a:gd name="T63" fmla="*/ 824 h 1154"/>
                  <a:gd name="T64" fmla="*/ 1025 w 1170"/>
                  <a:gd name="T65" fmla="*/ 969 h 1154"/>
                  <a:gd name="T66" fmla="*/ 890 w 1170"/>
                  <a:gd name="T67" fmla="*/ 1077 h 1154"/>
                  <a:gd name="T68" fmla="*/ 726 w 1170"/>
                  <a:gd name="T69" fmla="*/ 1141 h 1154"/>
                  <a:gd name="T70" fmla="*/ 544 w 1170"/>
                  <a:gd name="T71" fmla="*/ 1150 h 1154"/>
                  <a:gd name="T72" fmla="*/ 372 w 1170"/>
                  <a:gd name="T73" fmla="*/ 1103 h 1154"/>
                  <a:gd name="T74" fmla="*/ 227 w 1170"/>
                  <a:gd name="T75" fmla="*/ 1009 h 1154"/>
                  <a:gd name="T76" fmla="*/ 117 w 1170"/>
                  <a:gd name="T77" fmla="*/ 876 h 1154"/>
                  <a:gd name="T78" fmla="*/ 54 w 1170"/>
                  <a:gd name="T79" fmla="*/ 712 h 1154"/>
                  <a:gd name="T80" fmla="*/ 44 w 1170"/>
                  <a:gd name="T81" fmla="*/ 537 h 1154"/>
                  <a:gd name="T82" fmla="*/ 86 w 1170"/>
                  <a:gd name="T83" fmla="*/ 380 h 1154"/>
                  <a:gd name="T84" fmla="*/ 172 w 1170"/>
                  <a:gd name="T85" fmla="*/ 241 h 1154"/>
                  <a:gd name="T86" fmla="*/ 36 w 1170"/>
                  <a:gd name="T87" fmla="*/ 39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70" h="1154">
                    <a:moveTo>
                      <a:pt x="324" y="502"/>
                    </a:moveTo>
                    <a:lnTo>
                      <a:pt x="324" y="852"/>
                    </a:lnTo>
                    <a:lnTo>
                      <a:pt x="434" y="852"/>
                    </a:lnTo>
                    <a:lnTo>
                      <a:pt x="434" y="502"/>
                    </a:lnTo>
                    <a:lnTo>
                      <a:pt x="324" y="502"/>
                    </a:lnTo>
                    <a:close/>
                    <a:moveTo>
                      <a:pt x="747" y="492"/>
                    </a:moveTo>
                    <a:lnTo>
                      <a:pt x="722" y="494"/>
                    </a:lnTo>
                    <a:lnTo>
                      <a:pt x="699" y="500"/>
                    </a:lnTo>
                    <a:lnTo>
                      <a:pt x="680" y="509"/>
                    </a:lnTo>
                    <a:lnTo>
                      <a:pt x="664" y="520"/>
                    </a:lnTo>
                    <a:lnTo>
                      <a:pt x="651" y="531"/>
                    </a:lnTo>
                    <a:lnTo>
                      <a:pt x="641" y="542"/>
                    </a:lnTo>
                    <a:lnTo>
                      <a:pt x="636" y="552"/>
                    </a:lnTo>
                    <a:lnTo>
                      <a:pt x="636" y="502"/>
                    </a:lnTo>
                    <a:lnTo>
                      <a:pt x="515" y="502"/>
                    </a:lnTo>
                    <a:lnTo>
                      <a:pt x="515" y="853"/>
                    </a:lnTo>
                    <a:lnTo>
                      <a:pt x="636" y="853"/>
                    </a:lnTo>
                    <a:lnTo>
                      <a:pt x="636" y="632"/>
                    </a:lnTo>
                    <a:lnTo>
                      <a:pt x="642" y="620"/>
                    </a:lnTo>
                    <a:lnTo>
                      <a:pt x="652" y="609"/>
                    </a:lnTo>
                    <a:lnTo>
                      <a:pt x="665" y="600"/>
                    </a:lnTo>
                    <a:lnTo>
                      <a:pt x="679" y="595"/>
                    </a:lnTo>
                    <a:lnTo>
                      <a:pt x="696" y="592"/>
                    </a:lnTo>
                    <a:lnTo>
                      <a:pt x="714" y="595"/>
                    </a:lnTo>
                    <a:lnTo>
                      <a:pt x="729" y="602"/>
                    </a:lnTo>
                    <a:lnTo>
                      <a:pt x="741" y="613"/>
                    </a:lnTo>
                    <a:lnTo>
                      <a:pt x="750" y="629"/>
                    </a:lnTo>
                    <a:lnTo>
                      <a:pt x="755" y="649"/>
                    </a:lnTo>
                    <a:lnTo>
                      <a:pt x="756" y="673"/>
                    </a:lnTo>
                    <a:lnTo>
                      <a:pt x="756" y="852"/>
                    </a:lnTo>
                    <a:lnTo>
                      <a:pt x="887" y="852"/>
                    </a:lnTo>
                    <a:lnTo>
                      <a:pt x="887" y="652"/>
                    </a:lnTo>
                    <a:lnTo>
                      <a:pt x="886" y="621"/>
                    </a:lnTo>
                    <a:lnTo>
                      <a:pt x="881" y="593"/>
                    </a:lnTo>
                    <a:lnTo>
                      <a:pt x="872" y="569"/>
                    </a:lnTo>
                    <a:lnTo>
                      <a:pt x="861" y="547"/>
                    </a:lnTo>
                    <a:lnTo>
                      <a:pt x="847" y="530"/>
                    </a:lnTo>
                    <a:lnTo>
                      <a:pt x="830" y="516"/>
                    </a:lnTo>
                    <a:lnTo>
                      <a:pt x="812" y="506"/>
                    </a:lnTo>
                    <a:lnTo>
                      <a:pt x="792" y="497"/>
                    </a:lnTo>
                    <a:lnTo>
                      <a:pt x="770" y="493"/>
                    </a:lnTo>
                    <a:lnTo>
                      <a:pt x="747" y="492"/>
                    </a:lnTo>
                    <a:close/>
                    <a:moveTo>
                      <a:pt x="384" y="330"/>
                    </a:moveTo>
                    <a:lnTo>
                      <a:pt x="364" y="334"/>
                    </a:lnTo>
                    <a:lnTo>
                      <a:pt x="347" y="340"/>
                    </a:lnTo>
                    <a:lnTo>
                      <a:pt x="333" y="350"/>
                    </a:lnTo>
                    <a:lnTo>
                      <a:pt x="322" y="363"/>
                    </a:lnTo>
                    <a:lnTo>
                      <a:pt x="315" y="376"/>
                    </a:lnTo>
                    <a:lnTo>
                      <a:pt x="313" y="391"/>
                    </a:lnTo>
                    <a:lnTo>
                      <a:pt x="315" y="406"/>
                    </a:lnTo>
                    <a:lnTo>
                      <a:pt x="322" y="420"/>
                    </a:lnTo>
                    <a:lnTo>
                      <a:pt x="333" y="432"/>
                    </a:lnTo>
                    <a:lnTo>
                      <a:pt x="347" y="443"/>
                    </a:lnTo>
                    <a:lnTo>
                      <a:pt x="364" y="449"/>
                    </a:lnTo>
                    <a:lnTo>
                      <a:pt x="384" y="451"/>
                    </a:lnTo>
                    <a:lnTo>
                      <a:pt x="402" y="449"/>
                    </a:lnTo>
                    <a:lnTo>
                      <a:pt x="418" y="445"/>
                    </a:lnTo>
                    <a:lnTo>
                      <a:pt x="430" y="436"/>
                    </a:lnTo>
                    <a:lnTo>
                      <a:pt x="441" y="425"/>
                    </a:lnTo>
                    <a:lnTo>
                      <a:pt x="448" y="410"/>
                    </a:lnTo>
                    <a:lnTo>
                      <a:pt x="455" y="391"/>
                    </a:lnTo>
                    <a:lnTo>
                      <a:pt x="451" y="376"/>
                    </a:lnTo>
                    <a:lnTo>
                      <a:pt x="445" y="363"/>
                    </a:lnTo>
                    <a:lnTo>
                      <a:pt x="434" y="350"/>
                    </a:lnTo>
                    <a:lnTo>
                      <a:pt x="420" y="340"/>
                    </a:lnTo>
                    <a:lnTo>
                      <a:pt x="403" y="334"/>
                    </a:lnTo>
                    <a:lnTo>
                      <a:pt x="384" y="330"/>
                    </a:lnTo>
                    <a:close/>
                    <a:moveTo>
                      <a:pt x="71" y="0"/>
                    </a:moveTo>
                    <a:lnTo>
                      <a:pt x="242" y="170"/>
                    </a:lnTo>
                    <a:lnTo>
                      <a:pt x="278" y="141"/>
                    </a:lnTo>
                    <a:lnTo>
                      <a:pt x="317" y="116"/>
                    </a:lnTo>
                    <a:lnTo>
                      <a:pt x="359" y="94"/>
                    </a:lnTo>
                    <a:lnTo>
                      <a:pt x="404" y="75"/>
                    </a:lnTo>
                    <a:lnTo>
                      <a:pt x="450" y="60"/>
                    </a:lnTo>
                    <a:lnTo>
                      <a:pt x="497" y="49"/>
                    </a:lnTo>
                    <a:lnTo>
                      <a:pt x="546" y="42"/>
                    </a:lnTo>
                    <a:lnTo>
                      <a:pt x="595" y="40"/>
                    </a:lnTo>
                    <a:lnTo>
                      <a:pt x="657" y="43"/>
                    </a:lnTo>
                    <a:lnTo>
                      <a:pt x="716" y="52"/>
                    </a:lnTo>
                    <a:lnTo>
                      <a:pt x="774" y="67"/>
                    </a:lnTo>
                    <a:lnTo>
                      <a:pt x="829" y="88"/>
                    </a:lnTo>
                    <a:lnTo>
                      <a:pt x="881" y="113"/>
                    </a:lnTo>
                    <a:lnTo>
                      <a:pt x="929" y="144"/>
                    </a:lnTo>
                    <a:lnTo>
                      <a:pt x="975" y="180"/>
                    </a:lnTo>
                    <a:lnTo>
                      <a:pt x="1016" y="219"/>
                    </a:lnTo>
                    <a:lnTo>
                      <a:pt x="1054" y="263"/>
                    </a:lnTo>
                    <a:lnTo>
                      <a:pt x="1086" y="310"/>
                    </a:lnTo>
                    <a:lnTo>
                      <a:pt x="1114" y="361"/>
                    </a:lnTo>
                    <a:lnTo>
                      <a:pt x="1136" y="415"/>
                    </a:lnTo>
                    <a:lnTo>
                      <a:pt x="1153" y="472"/>
                    </a:lnTo>
                    <a:lnTo>
                      <a:pt x="1164" y="530"/>
                    </a:lnTo>
                    <a:lnTo>
                      <a:pt x="1170" y="591"/>
                    </a:lnTo>
                    <a:lnTo>
                      <a:pt x="1166" y="653"/>
                    </a:lnTo>
                    <a:lnTo>
                      <a:pt x="1157" y="712"/>
                    </a:lnTo>
                    <a:lnTo>
                      <a:pt x="1141" y="770"/>
                    </a:lnTo>
                    <a:lnTo>
                      <a:pt x="1119" y="824"/>
                    </a:lnTo>
                    <a:lnTo>
                      <a:pt x="1093" y="876"/>
                    </a:lnTo>
                    <a:lnTo>
                      <a:pt x="1061" y="924"/>
                    </a:lnTo>
                    <a:lnTo>
                      <a:pt x="1025" y="969"/>
                    </a:lnTo>
                    <a:lnTo>
                      <a:pt x="984" y="1009"/>
                    </a:lnTo>
                    <a:lnTo>
                      <a:pt x="939" y="1046"/>
                    </a:lnTo>
                    <a:lnTo>
                      <a:pt x="890" y="1077"/>
                    </a:lnTo>
                    <a:lnTo>
                      <a:pt x="839" y="1103"/>
                    </a:lnTo>
                    <a:lnTo>
                      <a:pt x="784" y="1125"/>
                    </a:lnTo>
                    <a:lnTo>
                      <a:pt x="726" y="1141"/>
                    </a:lnTo>
                    <a:lnTo>
                      <a:pt x="667" y="1150"/>
                    </a:lnTo>
                    <a:lnTo>
                      <a:pt x="605" y="1154"/>
                    </a:lnTo>
                    <a:lnTo>
                      <a:pt x="544" y="1150"/>
                    </a:lnTo>
                    <a:lnTo>
                      <a:pt x="485" y="1141"/>
                    </a:lnTo>
                    <a:lnTo>
                      <a:pt x="427" y="1125"/>
                    </a:lnTo>
                    <a:lnTo>
                      <a:pt x="372" y="1103"/>
                    </a:lnTo>
                    <a:lnTo>
                      <a:pt x="320" y="1077"/>
                    </a:lnTo>
                    <a:lnTo>
                      <a:pt x="272" y="1046"/>
                    </a:lnTo>
                    <a:lnTo>
                      <a:pt x="227" y="1009"/>
                    </a:lnTo>
                    <a:lnTo>
                      <a:pt x="186" y="969"/>
                    </a:lnTo>
                    <a:lnTo>
                      <a:pt x="150" y="924"/>
                    </a:lnTo>
                    <a:lnTo>
                      <a:pt x="117" y="876"/>
                    </a:lnTo>
                    <a:lnTo>
                      <a:pt x="92" y="824"/>
                    </a:lnTo>
                    <a:lnTo>
                      <a:pt x="70" y="770"/>
                    </a:lnTo>
                    <a:lnTo>
                      <a:pt x="54" y="712"/>
                    </a:lnTo>
                    <a:lnTo>
                      <a:pt x="44" y="653"/>
                    </a:lnTo>
                    <a:lnTo>
                      <a:pt x="41" y="591"/>
                    </a:lnTo>
                    <a:lnTo>
                      <a:pt x="44" y="537"/>
                    </a:lnTo>
                    <a:lnTo>
                      <a:pt x="53" y="482"/>
                    </a:lnTo>
                    <a:lnTo>
                      <a:pt x="67" y="430"/>
                    </a:lnTo>
                    <a:lnTo>
                      <a:pt x="86" y="380"/>
                    </a:lnTo>
                    <a:lnTo>
                      <a:pt x="111" y="332"/>
                    </a:lnTo>
                    <a:lnTo>
                      <a:pt x="139" y="284"/>
                    </a:lnTo>
                    <a:lnTo>
                      <a:pt x="172" y="241"/>
                    </a:lnTo>
                    <a:lnTo>
                      <a:pt x="0" y="70"/>
                    </a:lnTo>
                    <a:lnTo>
                      <a:pt x="18" y="55"/>
                    </a:lnTo>
                    <a:lnTo>
                      <a:pt x="36" y="39"/>
                    </a:lnTo>
                    <a:lnTo>
                      <a:pt x="54" y="20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3" name="Freeform 22"/>
              <p:cNvSpPr>
                <a:spLocks noEditPoints="1"/>
              </p:cNvSpPr>
              <p:nvPr/>
            </p:nvSpPr>
            <p:spPr bwMode="auto">
              <a:xfrm>
                <a:off x="-783" y="2628"/>
                <a:ext cx="167" cy="166"/>
              </a:xfrm>
              <a:custGeom>
                <a:avLst/>
                <a:gdLst>
                  <a:gd name="T0" fmla="*/ 636 w 1169"/>
                  <a:gd name="T1" fmla="*/ 391 h 1164"/>
                  <a:gd name="T2" fmla="*/ 578 w 1169"/>
                  <a:gd name="T3" fmla="*/ 439 h 1164"/>
                  <a:gd name="T4" fmla="*/ 554 w 1169"/>
                  <a:gd name="T5" fmla="*/ 511 h 1164"/>
                  <a:gd name="T6" fmla="*/ 476 w 1169"/>
                  <a:gd name="T7" fmla="*/ 533 h 1164"/>
                  <a:gd name="T8" fmla="*/ 372 w 1169"/>
                  <a:gd name="T9" fmla="*/ 488 h 1164"/>
                  <a:gd name="T10" fmla="*/ 293 w 1169"/>
                  <a:gd name="T11" fmla="*/ 411 h 1164"/>
                  <a:gd name="T12" fmla="*/ 273 w 1169"/>
                  <a:gd name="T13" fmla="*/ 472 h 1164"/>
                  <a:gd name="T14" fmla="*/ 298 w 1169"/>
                  <a:gd name="T15" fmla="*/ 539 h 1164"/>
                  <a:gd name="T16" fmla="*/ 312 w 1169"/>
                  <a:gd name="T17" fmla="*/ 569 h 1164"/>
                  <a:gd name="T18" fmla="*/ 275 w 1169"/>
                  <a:gd name="T19" fmla="*/ 576 h 1164"/>
                  <a:gd name="T20" fmla="*/ 308 w 1169"/>
                  <a:gd name="T21" fmla="*/ 639 h 1164"/>
                  <a:gd name="T22" fmla="*/ 374 w 1169"/>
                  <a:gd name="T23" fmla="*/ 673 h 1164"/>
                  <a:gd name="T24" fmla="*/ 352 w 1169"/>
                  <a:gd name="T25" fmla="*/ 717 h 1164"/>
                  <a:gd name="T26" fmla="*/ 419 w 1169"/>
                  <a:gd name="T27" fmla="*/ 759 h 1164"/>
                  <a:gd name="T28" fmla="*/ 382 w 1169"/>
                  <a:gd name="T29" fmla="*/ 793 h 1164"/>
                  <a:gd name="T30" fmla="*/ 282 w 1169"/>
                  <a:gd name="T31" fmla="*/ 813 h 1164"/>
                  <a:gd name="T32" fmla="*/ 308 w 1169"/>
                  <a:gd name="T33" fmla="*/ 846 h 1164"/>
                  <a:gd name="T34" fmla="*/ 409 w 1169"/>
                  <a:gd name="T35" fmla="*/ 871 h 1164"/>
                  <a:gd name="T36" fmla="*/ 531 w 1169"/>
                  <a:gd name="T37" fmla="*/ 863 h 1164"/>
                  <a:gd name="T38" fmla="*/ 641 w 1169"/>
                  <a:gd name="T39" fmla="*/ 817 h 1164"/>
                  <a:gd name="T40" fmla="*/ 724 w 1169"/>
                  <a:gd name="T41" fmla="*/ 742 h 1164"/>
                  <a:gd name="T42" fmla="*/ 779 w 1169"/>
                  <a:gd name="T43" fmla="*/ 648 h 1164"/>
                  <a:gd name="T44" fmla="*/ 805 w 1169"/>
                  <a:gd name="T45" fmla="*/ 545 h 1164"/>
                  <a:gd name="T46" fmla="*/ 806 w 1169"/>
                  <a:gd name="T47" fmla="*/ 502 h 1164"/>
                  <a:gd name="T48" fmla="*/ 827 w 1169"/>
                  <a:gd name="T49" fmla="*/ 488 h 1164"/>
                  <a:gd name="T50" fmla="*/ 851 w 1169"/>
                  <a:gd name="T51" fmla="*/ 448 h 1164"/>
                  <a:gd name="T52" fmla="*/ 797 w 1169"/>
                  <a:gd name="T53" fmla="*/ 461 h 1164"/>
                  <a:gd name="T54" fmla="*/ 847 w 1169"/>
                  <a:gd name="T55" fmla="*/ 412 h 1164"/>
                  <a:gd name="T56" fmla="*/ 806 w 1169"/>
                  <a:gd name="T57" fmla="*/ 411 h 1164"/>
                  <a:gd name="T58" fmla="*/ 747 w 1169"/>
                  <a:gd name="T59" fmla="*/ 398 h 1164"/>
                  <a:gd name="T60" fmla="*/ 686 w 1169"/>
                  <a:gd name="T61" fmla="*/ 381 h 1164"/>
                  <a:gd name="T62" fmla="*/ 1125 w 1169"/>
                  <a:gd name="T63" fmla="*/ 36 h 1164"/>
                  <a:gd name="T64" fmla="*/ 998 w 1169"/>
                  <a:gd name="T65" fmla="*/ 250 h 1164"/>
                  <a:gd name="T66" fmla="*/ 1075 w 1169"/>
                  <a:gd name="T67" fmla="*/ 367 h 1164"/>
                  <a:gd name="T68" fmla="*/ 1120 w 1169"/>
                  <a:gd name="T69" fmla="*/ 505 h 1164"/>
                  <a:gd name="T70" fmla="*/ 1125 w 1169"/>
                  <a:gd name="T71" fmla="*/ 663 h 1164"/>
                  <a:gd name="T72" fmla="*/ 1079 w 1169"/>
                  <a:gd name="T73" fmla="*/ 834 h 1164"/>
                  <a:gd name="T74" fmla="*/ 983 w 1169"/>
                  <a:gd name="T75" fmla="*/ 978 h 1164"/>
                  <a:gd name="T76" fmla="*/ 849 w 1169"/>
                  <a:gd name="T77" fmla="*/ 1087 h 1164"/>
                  <a:gd name="T78" fmla="*/ 686 w 1169"/>
                  <a:gd name="T79" fmla="*/ 1152 h 1164"/>
                  <a:gd name="T80" fmla="*/ 502 w 1169"/>
                  <a:gd name="T81" fmla="*/ 1161 h 1164"/>
                  <a:gd name="T82" fmla="*/ 331 w 1169"/>
                  <a:gd name="T83" fmla="*/ 1114 h 1164"/>
                  <a:gd name="T84" fmla="*/ 186 w 1169"/>
                  <a:gd name="T85" fmla="*/ 1019 h 1164"/>
                  <a:gd name="T86" fmla="*/ 77 w 1169"/>
                  <a:gd name="T87" fmla="*/ 886 h 1164"/>
                  <a:gd name="T88" fmla="*/ 13 w 1169"/>
                  <a:gd name="T89" fmla="*/ 723 h 1164"/>
                  <a:gd name="T90" fmla="*/ 3 w 1169"/>
                  <a:gd name="T91" fmla="*/ 541 h 1164"/>
                  <a:gd name="T92" fmla="*/ 50 w 1169"/>
                  <a:gd name="T93" fmla="*/ 370 h 1164"/>
                  <a:gd name="T94" fmla="*/ 145 w 1169"/>
                  <a:gd name="T95" fmla="*/ 226 h 1164"/>
                  <a:gd name="T96" fmla="*/ 279 w 1169"/>
                  <a:gd name="T97" fmla="*/ 117 h 1164"/>
                  <a:gd name="T98" fmla="*/ 443 w 1169"/>
                  <a:gd name="T99" fmla="*/ 52 h 1164"/>
                  <a:gd name="T100" fmla="*/ 620 w 1169"/>
                  <a:gd name="T101" fmla="*/ 43 h 1164"/>
                  <a:gd name="T102" fmla="*/ 777 w 1169"/>
                  <a:gd name="T103" fmla="*/ 86 h 1164"/>
                  <a:gd name="T104" fmla="*/ 917 w 1169"/>
                  <a:gd name="T105" fmla="*/ 170 h 1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69" h="1164">
                    <a:moveTo>
                      <a:pt x="686" y="381"/>
                    </a:moveTo>
                    <a:lnTo>
                      <a:pt x="659" y="384"/>
                    </a:lnTo>
                    <a:lnTo>
                      <a:pt x="636" y="391"/>
                    </a:lnTo>
                    <a:lnTo>
                      <a:pt x="613" y="404"/>
                    </a:lnTo>
                    <a:lnTo>
                      <a:pt x="594" y="420"/>
                    </a:lnTo>
                    <a:lnTo>
                      <a:pt x="578" y="439"/>
                    </a:lnTo>
                    <a:lnTo>
                      <a:pt x="565" y="462"/>
                    </a:lnTo>
                    <a:lnTo>
                      <a:pt x="557" y="485"/>
                    </a:lnTo>
                    <a:lnTo>
                      <a:pt x="554" y="511"/>
                    </a:lnTo>
                    <a:lnTo>
                      <a:pt x="554" y="541"/>
                    </a:lnTo>
                    <a:lnTo>
                      <a:pt x="514" y="539"/>
                    </a:lnTo>
                    <a:lnTo>
                      <a:pt x="476" y="533"/>
                    </a:lnTo>
                    <a:lnTo>
                      <a:pt x="439" y="522"/>
                    </a:lnTo>
                    <a:lnTo>
                      <a:pt x="405" y="507"/>
                    </a:lnTo>
                    <a:lnTo>
                      <a:pt x="372" y="488"/>
                    </a:lnTo>
                    <a:lnTo>
                      <a:pt x="343" y="465"/>
                    </a:lnTo>
                    <a:lnTo>
                      <a:pt x="317" y="439"/>
                    </a:lnTo>
                    <a:lnTo>
                      <a:pt x="293" y="411"/>
                    </a:lnTo>
                    <a:lnTo>
                      <a:pt x="282" y="431"/>
                    </a:lnTo>
                    <a:lnTo>
                      <a:pt x="276" y="451"/>
                    </a:lnTo>
                    <a:lnTo>
                      <a:pt x="273" y="472"/>
                    </a:lnTo>
                    <a:lnTo>
                      <a:pt x="276" y="495"/>
                    </a:lnTo>
                    <a:lnTo>
                      <a:pt x="284" y="519"/>
                    </a:lnTo>
                    <a:lnTo>
                      <a:pt x="298" y="539"/>
                    </a:lnTo>
                    <a:lnTo>
                      <a:pt x="314" y="557"/>
                    </a:lnTo>
                    <a:lnTo>
                      <a:pt x="333" y="572"/>
                    </a:lnTo>
                    <a:lnTo>
                      <a:pt x="312" y="569"/>
                    </a:lnTo>
                    <a:lnTo>
                      <a:pt x="292" y="561"/>
                    </a:lnTo>
                    <a:lnTo>
                      <a:pt x="273" y="552"/>
                    </a:lnTo>
                    <a:lnTo>
                      <a:pt x="275" y="576"/>
                    </a:lnTo>
                    <a:lnTo>
                      <a:pt x="281" y="600"/>
                    </a:lnTo>
                    <a:lnTo>
                      <a:pt x="293" y="621"/>
                    </a:lnTo>
                    <a:lnTo>
                      <a:pt x="308" y="639"/>
                    </a:lnTo>
                    <a:lnTo>
                      <a:pt x="326" y="654"/>
                    </a:lnTo>
                    <a:lnTo>
                      <a:pt x="349" y="665"/>
                    </a:lnTo>
                    <a:lnTo>
                      <a:pt x="374" y="673"/>
                    </a:lnTo>
                    <a:lnTo>
                      <a:pt x="323" y="673"/>
                    </a:lnTo>
                    <a:lnTo>
                      <a:pt x="335" y="696"/>
                    </a:lnTo>
                    <a:lnTo>
                      <a:pt x="352" y="717"/>
                    </a:lnTo>
                    <a:lnTo>
                      <a:pt x="371" y="736"/>
                    </a:lnTo>
                    <a:lnTo>
                      <a:pt x="394" y="750"/>
                    </a:lnTo>
                    <a:lnTo>
                      <a:pt x="419" y="759"/>
                    </a:lnTo>
                    <a:lnTo>
                      <a:pt x="443" y="762"/>
                    </a:lnTo>
                    <a:lnTo>
                      <a:pt x="413" y="779"/>
                    </a:lnTo>
                    <a:lnTo>
                      <a:pt x="382" y="793"/>
                    </a:lnTo>
                    <a:lnTo>
                      <a:pt x="351" y="804"/>
                    </a:lnTo>
                    <a:lnTo>
                      <a:pt x="318" y="810"/>
                    </a:lnTo>
                    <a:lnTo>
                      <a:pt x="282" y="813"/>
                    </a:lnTo>
                    <a:lnTo>
                      <a:pt x="252" y="813"/>
                    </a:lnTo>
                    <a:lnTo>
                      <a:pt x="279" y="831"/>
                    </a:lnTo>
                    <a:lnTo>
                      <a:pt x="308" y="846"/>
                    </a:lnTo>
                    <a:lnTo>
                      <a:pt x="340" y="858"/>
                    </a:lnTo>
                    <a:lnTo>
                      <a:pt x="374" y="866"/>
                    </a:lnTo>
                    <a:lnTo>
                      <a:pt x="409" y="871"/>
                    </a:lnTo>
                    <a:lnTo>
                      <a:pt x="443" y="872"/>
                    </a:lnTo>
                    <a:lnTo>
                      <a:pt x="488" y="870"/>
                    </a:lnTo>
                    <a:lnTo>
                      <a:pt x="531" y="863"/>
                    </a:lnTo>
                    <a:lnTo>
                      <a:pt x="570" y="852"/>
                    </a:lnTo>
                    <a:lnTo>
                      <a:pt x="607" y="836"/>
                    </a:lnTo>
                    <a:lnTo>
                      <a:pt x="641" y="817"/>
                    </a:lnTo>
                    <a:lnTo>
                      <a:pt x="671" y="794"/>
                    </a:lnTo>
                    <a:lnTo>
                      <a:pt x="699" y="770"/>
                    </a:lnTo>
                    <a:lnTo>
                      <a:pt x="724" y="742"/>
                    </a:lnTo>
                    <a:lnTo>
                      <a:pt x="745" y="712"/>
                    </a:lnTo>
                    <a:lnTo>
                      <a:pt x="764" y="681"/>
                    </a:lnTo>
                    <a:lnTo>
                      <a:pt x="779" y="648"/>
                    </a:lnTo>
                    <a:lnTo>
                      <a:pt x="791" y="615"/>
                    </a:lnTo>
                    <a:lnTo>
                      <a:pt x="800" y="581"/>
                    </a:lnTo>
                    <a:lnTo>
                      <a:pt x="805" y="545"/>
                    </a:lnTo>
                    <a:lnTo>
                      <a:pt x="806" y="511"/>
                    </a:lnTo>
                    <a:lnTo>
                      <a:pt x="806" y="503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27" y="488"/>
                    </a:lnTo>
                    <a:lnTo>
                      <a:pt x="847" y="468"/>
                    </a:lnTo>
                    <a:lnTo>
                      <a:pt x="866" y="441"/>
                    </a:lnTo>
                    <a:lnTo>
                      <a:pt x="851" y="448"/>
                    </a:lnTo>
                    <a:lnTo>
                      <a:pt x="835" y="454"/>
                    </a:lnTo>
                    <a:lnTo>
                      <a:pt x="817" y="460"/>
                    </a:lnTo>
                    <a:lnTo>
                      <a:pt x="797" y="461"/>
                    </a:lnTo>
                    <a:lnTo>
                      <a:pt x="817" y="446"/>
                    </a:lnTo>
                    <a:lnTo>
                      <a:pt x="834" y="430"/>
                    </a:lnTo>
                    <a:lnTo>
                      <a:pt x="847" y="412"/>
                    </a:lnTo>
                    <a:lnTo>
                      <a:pt x="857" y="391"/>
                    </a:lnTo>
                    <a:lnTo>
                      <a:pt x="834" y="401"/>
                    </a:lnTo>
                    <a:lnTo>
                      <a:pt x="806" y="411"/>
                    </a:lnTo>
                    <a:lnTo>
                      <a:pt x="776" y="421"/>
                    </a:lnTo>
                    <a:lnTo>
                      <a:pt x="763" y="410"/>
                    </a:lnTo>
                    <a:lnTo>
                      <a:pt x="747" y="398"/>
                    </a:lnTo>
                    <a:lnTo>
                      <a:pt x="729" y="389"/>
                    </a:lnTo>
                    <a:lnTo>
                      <a:pt x="709" y="383"/>
                    </a:lnTo>
                    <a:lnTo>
                      <a:pt x="686" y="381"/>
                    </a:lnTo>
                    <a:close/>
                    <a:moveTo>
                      <a:pt x="1089" y="0"/>
                    </a:moveTo>
                    <a:lnTo>
                      <a:pt x="1106" y="16"/>
                    </a:lnTo>
                    <a:lnTo>
                      <a:pt x="1125" y="36"/>
                    </a:lnTo>
                    <a:lnTo>
                      <a:pt x="1147" y="58"/>
                    </a:lnTo>
                    <a:lnTo>
                      <a:pt x="1169" y="80"/>
                    </a:lnTo>
                    <a:lnTo>
                      <a:pt x="998" y="250"/>
                    </a:lnTo>
                    <a:lnTo>
                      <a:pt x="1026" y="287"/>
                    </a:lnTo>
                    <a:lnTo>
                      <a:pt x="1052" y="325"/>
                    </a:lnTo>
                    <a:lnTo>
                      <a:pt x="1075" y="367"/>
                    </a:lnTo>
                    <a:lnTo>
                      <a:pt x="1094" y="412"/>
                    </a:lnTo>
                    <a:lnTo>
                      <a:pt x="1109" y="458"/>
                    </a:lnTo>
                    <a:lnTo>
                      <a:pt x="1120" y="505"/>
                    </a:lnTo>
                    <a:lnTo>
                      <a:pt x="1126" y="553"/>
                    </a:lnTo>
                    <a:lnTo>
                      <a:pt x="1128" y="602"/>
                    </a:lnTo>
                    <a:lnTo>
                      <a:pt x="1125" y="663"/>
                    </a:lnTo>
                    <a:lnTo>
                      <a:pt x="1115" y="723"/>
                    </a:lnTo>
                    <a:lnTo>
                      <a:pt x="1100" y="779"/>
                    </a:lnTo>
                    <a:lnTo>
                      <a:pt x="1079" y="834"/>
                    </a:lnTo>
                    <a:lnTo>
                      <a:pt x="1052" y="886"/>
                    </a:lnTo>
                    <a:lnTo>
                      <a:pt x="1020" y="934"/>
                    </a:lnTo>
                    <a:lnTo>
                      <a:pt x="983" y="978"/>
                    </a:lnTo>
                    <a:lnTo>
                      <a:pt x="943" y="1019"/>
                    </a:lnTo>
                    <a:lnTo>
                      <a:pt x="899" y="1055"/>
                    </a:lnTo>
                    <a:lnTo>
                      <a:pt x="849" y="1087"/>
                    </a:lnTo>
                    <a:lnTo>
                      <a:pt x="798" y="1114"/>
                    </a:lnTo>
                    <a:lnTo>
                      <a:pt x="743" y="1135"/>
                    </a:lnTo>
                    <a:lnTo>
                      <a:pt x="686" y="1152"/>
                    </a:lnTo>
                    <a:lnTo>
                      <a:pt x="626" y="1161"/>
                    </a:lnTo>
                    <a:lnTo>
                      <a:pt x="565" y="1164"/>
                    </a:lnTo>
                    <a:lnTo>
                      <a:pt x="502" y="1161"/>
                    </a:lnTo>
                    <a:lnTo>
                      <a:pt x="443" y="1152"/>
                    </a:lnTo>
                    <a:lnTo>
                      <a:pt x="385" y="1135"/>
                    </a:lnTo>
                    <a:lnTo>
                      <a:pt x="331" y="1114"/>
                    </a:lnTo>
                    <a:lnTo>
                      <a:pt x="279" y="1087"/>
                    </a:lnTo>
                    <a:lnTo>
                      <a:pt x="231" y="1055"/>
                    </a:lnTo>
                    <a:lnTo>
                      <a:pt x="186" y="1019"/>
                    </a:lnTo>
                    <a:lnTo>
                      <a:pt x="145" y="978"/>
                    </a:lnTo>
                    <a:lnTo>
                      <a:pt x="108" y="934"/>
                    </a:lnTo>
                    <a:lnTo>
                      <a:pt x="77" y="886"/>
                    </a:lnTo>
                    <a:lnTo>
                      <a:pt x="50" y="834"/>
                    </a:lnTo>
                    <a:lnTo>
                      <a:pt x="29" y="779"/>
                    </a:lnTo>
                    <a:lnTo>
                      <a:pt x="13" y="723"/>
                    </a:lnTo>
                    <a:lnTo>
                      <a:pt x="3" y="663"/>
                    </a:lnTo>
                    <a:lnTo>
                      <a:pt x="0" y="602"/>
                    </a:lnTo>
                    <a:lnTo>
                      <a:pt x="3" y="541"/>
                    </a:lnTo>
                    <a:lnTo>
                      <a:pt x="13" y="481"/>
                    </a:lnTo>
                    <a:lnTo>
                      <a:pt x="29" y="425"/>
                    </a:lnTo>
                    <a:lnTo>
                      <a:pt x="50" y="370"/>
                    </a:lnTo>
                    <a:lnTo>
                      <a:pt x="77" y="318"/>
                    </a:lnTo>
                    <a:lnTo>
                      <a:pt x="108" y="270"/>
                    </a:lnTo>
                    <a:lnTo>
                      <a:pt x="145" y="226"/>
                    </a:lnTo>
                    <a:lnTo>
                      <a:pt x="186" y="185"/>
                    </a:lnTo>
                    <a:lnTo>
                      <a:pt x="231" y="149"/>
                    </a:lnTo>
                    <a:lnTo>
                      <a:pt x="279" y="117"/>
                    </a:lnTo>
                    <a:lnTo>
                      <a:pt x="331" y="90"/>
                    </a:lnTo>
                    <a:lnTo>
                      <a:pt x="385" y="69"/>
                    </a:lnTo>
                    <a:lnTo>
                      <a:pt x="443" y="52"/>
                    </a:lnTo>
                    <a:lnTo>
                      <a:pt x="502" y="43"/>
                    </a:lnTo>
                    <a:lnTo>
                      <a:pt x="565" y="40"/>
                    </a:lnTo>
                    <a:lnTo>
                      <a:pt x="620" y="43"/>
                    </a:lnTo>
                    <a:lnTo>
                      <a:pt x="674" y="51"/>
                    </a:lnTo>
                    <a:lnTo>
                      <a:pt x="727" y="66"/>
                    </a:lnTo>
                    <a:lnTo>
                      <a:pt x="777" y="86"/>
                    </a:lnTo>
                    <a:lnTo>
                      <a:pt x="827" y="109"/>
                    </a:lnTo>
                    <a:lnTo>
                      <a:pt x="873" y="138"/>
                    </a:lnTo>
                    <a:lnTo>
                      <a:pt x="917" y="170"/>
                    </a:lnTo>
                    <a:lnTo>
                      <a:pt x="108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4" name="Freeform 23"/>
              <p:cNvSpPr>
                <a:spLocks noEditPoints="1"/>
              </p:cNvSpPr>
              <p:nvPr/>
            </p:nvSpPr>
            <p:spPr bwMode="auto">
              <a:xfrm>
                <a:off x="-783" y="2305"/>
                <a:ext cx="165" cy="165"/>
              </a:xfrm>
              <a:custGeom>
                <a:avLst/>
                <a:gdLst>
                  <a:gd name="T0" fmla="*/ 597 w 1159"/>
                  <a:gd name="T1" fmla="*/ 272 h 1154"/>
                  <a:gd name="T2" fmla="*/ 552 w 1159"/>
                  <a:gd name="T3" fmla="*/ 283 h 1154"/>
                  <a:gd name="T4" fmla="*/ 522 w 1159"/>
                  <a:gd name="T5" fmla="*/ 306 h 1154"/>
                  <a:gd name="T6" fmla="*/ 503 w 1159"/>
                  <a:gd name="T7" fmla="*/ 338 h 1154"/>
                  <a:gd name="T8" fmla="*/ 495 w 1159"/>
                  <a:gd name="T9" fmla="*/ 379 h 1154"/>
                  <a:gd name="T10" fmla="*/ 494 w 1159"/>
                  <a:gd name="T11" fmla="*/ 461 h 1154"/>
                  <a:gd name="T12" fmla="*/ 423 w 1159"/>
                  <a:gd name="T13" fmla="*/ 561 h 1154"/>
                  <a:gd name="T14" fmla="*/ 484 w 1159"/>
                  <a:gd name="T15" fmla="*/ 843 h 1154"/>
                  <a:gd name="T16" fmla="*/ 604 w 1159"/>
                  <a:gd name="T17" fmla="*/ 561 h 1154"/>
                  <a:gd name="T18" fmla="*/ 705 w 1159"/>
                  <a:gd name="T19" fmla="*/ 461 h 1154"/>
                  <a:gd name="T20" fmla="*/ 615 w 1159"/>
                  <a:gd name="T21" fmla="*/ 412 h 1154"/>
                  <a:gd name="T22" fmla="*/ 616 w 1159"/>
                  <a:gd name="T23" fmla="*/ 387 h 1154"/>
                  <a:gd name="T24" fmla="*/ 627 w 1159"/>
                  <a:gd name="T25" fmla="*/ 374 h 1154"/>
                  <a:gd name="T26" fmla="*/ 655 w 1159"/>
                  <a:gd name="T27" fmla="*/ 371 h 1154"/>
                  <a:gd name="T28" fmla="*/ 705 w 1159"/>
                  <a:gd name="T29" fmla="*/ 271 h 1154"/>
                  <a:gd name="T30" fmla="*/ 554 w 1159"/>
                  <a:gd name="T31" fmla="*/ 0 h 1154"/>
                  <a:gd name="T32" fmla="*/ 675 w 1159"/>
                  <a:gd name="T33" fmla="*/ 13 h 1154"/>
                  <a:gd name="T34" fmla="*/ 788 w 1159"/>
                  <a:gd name="T35" fmla="*/ 49 h 1154"/>
                  <a:gd name="T36" fmla="*/ 888 w 1159"/>
                  <a:gd name="T37" fmla="*/ 108 h 1154"/>
                  <a:gd name="T38" fmla="*/ 974 w 1159"/>
                  <a:gd name="T39" fmla="*/ 185 h 1154"/>
                  <a:gd name="T40" fmla="*/ 1041 w 1159"/>
                  <a:gd name="T41" fmla="*/ 278 h 1154"/>
                  <a:gd name="T42" fmla="*/ 1090 w 1159"/>
                  <a:gd name="T43" fmla="*/ 384 h 1154"/>
                  <a:gd name="T44" fmla="*/ 1115 w 1159"/>
                  <a:gd name="T45" fmla="*/ 501 h 1154"/>
                  <a:gd name="T46" fmla="*/ 1115 w 1159"/>
                  <a:gd name="T47" fmla="*/ 617 h 1154"/>
                  <a:gd name="T48" fmla="*/ 1093 w 1159"/>
                  <a:gd name="T49" fmla="*/ 723 h 1154"/>
                  <a:gd name="T50" fmla="*/ 1049 w 1159"/>
                  <a:gd name="T51" fmla="*/ 822 h 1154"/>
                  <a:gd name="T52" fmla="*/ 988 w 1159"/>
                  <a:gd name="T53" fmla="*/ 913 h 1154"/>
                  <a:gd name="T54" fmla="*/ 1142 w 1159"/>
                  <a:gd name="T55" fmla="*/ 1099 h 1154"/>
                  <a:gd name="T56" fmla="*/ 1106 w 1159"/>
                  <a:gd name="T57" fmla="*/ 1133 h 1154"/>
                  <a:gd name="T58" fmla="*/ 917 w 1159"/>
                  <a:gd name="T59" fmla="*/ 984 h 1154"/>
                  <a:gd name="T60" fmla="*/ 843 w 1159"/>
                  <a:gd name="T61" fmla="*/ 1037 h 1154"/>
                  <a:gd name="T62" fmla="*/ 756 w 1159"/>
                  <a:gd name="T63" fmla="*/ 1079 h 1154"/>
                  <a:gd name="T64" fmla="*/ 662 w 1159"/>
                  <a:gd name="T65" fmla="*/ 1105 h 1154"/>
                  <a:gd name="T66" fmla="*/ 565 w 1159"/>
                  <a:gd name="T67" fmla="*/ 1114 h 1154"/>
                  <a:gd name="T68" fmla="*/ 443 w 1159"/>
                  <a:gd name="T69" fmla="*/ 1101 h 1154"/>
                  <a:gd name="T70" fmla="*/ 331 w 1159"/>
                  <a:gd name="T71" fmla="*/ 1064 h 1154"/>
                  <a:gd name="T72" fmla="*/ 231 w 1159"/>
                  <a:gd name="T73" fmla="*/ 1006 h 1154"/>
                  <a:gd name="T74" fmla="*/ 145 w 1159"/>
                  <a:gd name="T75" fmla="*/ 930 h 1154"/>
                  <a:gd name="T76" fmla="*/ 77 w 1159"/>
                  <a:gd name="T77" fmla="*/ 838 h 1154"/>
                  <a:gd name="T78" fmla="*/ 29 w 1159"/>
                  <a:gd name="T79" fmla="*/ 735 h 1154"/>
                  <a:gd name="T80" fmla="*/ 3 w 1159"/>
                  <a:gd name="T81" fmla="*/ 621 h 1154"/>
                  <a:gd name="T82" fmla="*/ 3 w 1159"/>
                  <a:gd name="T83" fmla="*/ 505 h 1154"/>
                  <a:gd name="T84" fmla="*/ 25 w 1159"/>
                  <a:gd name="T85" fmla="*/ 395 h 1154"/>
                  <a:gd name="T86" fmla="*/ 65 w 1159"/>
                  <a:gd name="T87" fmla="*/ 294 h 1154"/>
                  <a:gd name="T88" fmla="*/ 124 w 1159"/>
                  <a:gd name="T89" fmla="*/ 204 h 1154"/>
                  <a:gd name="T90" fmla="*/ 200 w 1159"/>
                  <a:gd name="T91" fmla="*/ 128 h 1154"/>
                  <a:gd name="T92" fmla="*/ 288 w 1159"/>
                  <a:gd name="T93" fmla="*/ 68 h 1154"/>
                  <a:gd name="T94" fmla="*/ 387 w 1159"/>
                  <a:gd name="T95" fmla="*/ 25 h 1154"/>
                  <a:gd name="T96" fmla="*/ 497 w 1159"/>
                  <a:gd name="T97" fmla="*/ 2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59" h="1154">
                    <a:moveTo>
                      <a:pt x="625" y="271"/>
                    </a:moveTo>
                    <a:lnTo>
                      <a:pt x="597" y="272"/>
                    </a:lnTo>
                    <a:lnTo>
                      <a:pt x="572" y="277"/>
                    </a:lnTo>
                    <a:lnTo>
                      <a:pt x="552" y="283"/>
                    </a:lnTo>
                    <a:lnTo>
                      <a:pt x="536" y="293"/>
                    </a:lnTo>
                    <a:lnTo>
                      <a:pt x="522" y="306"/>
                    </a:lnTo>
                    <a:lnTo>
                      <a:pt x="511" y="321"/>
                    </a:lnTo>
                    <a:lnTo>
                      <a:pt x="503" y="338"/>
                    </a:lnTo>
                    <a:lnTo>
                      <a:pt x="498" y="357"/>
                    </a:lnTo>
                    <a:lnTo>
                      <a:pt x="495" y="379"/>
                    </a:lnTo>
                    <a:lnTo>
                      <a:pt x="494" y="401"/>
                    </a:lnTo>
                    <a:lnTo>
                      <a:pt x="494" y="461"/>
                    </a:lnTo>
                    <a:lnTo>
                      <a:pt x="423" y="461"/>
                    </a:lnTo>
                    <a:lnTo>
                      <a:pt x="423" y="561"/>
                    </a:lnTo>
                    <a:lnTo>
                      <a:pt x="484" y="561"/>
                    </a:lnTo>
                    <a:lnTo>
                      <a:pt x="484" y="843"/>
                    </a:lnTo>
                    <a:lnTo>
                      <a:pt x="604" y="843"/>
                    </a:lnTo>
                    <a:lnTo>
                      <a:pt x="604" y="561"/>
                    </a:lnTo>
                    <a:lnTo>
                      <a:pt x="696" y="561"/>
                    </a:lnTo>
                    <a:lnTo>
                      <a:pt x="705" y="461"/>
                    </a:lnTo>
                    <a:lnTo>
                      <a:pt x="615" y="461"/>
                    </a:lnTo>
                    <a:lnTo>
                      <a:pt x="615" y="412"/>
                    </a:lnTo>
                    <a:lnTo>
                      <a:pt x="615" y="398"/>
                    </a:lnTo>
                    <a:lnTo>
                      <a:pt x="616" y="387"/>
                    </a:lnTo>
                    <a:lnTo>
                      <a:pt x="619" y="380"/>
                    </a:lnTo>
                    <a:lnTo>
                      <a:pt x="627" y="374"/>
                    </a:lnTo>
                    <a:lnTo>
                      <a:pt x="638" y="372"/>
                    </a:lnTo>
                    <a:lnTo>
                      <a:pt x="655" y="371"/>
                    </a:lnTo>
                    <a:lnTo>
                      <a:pt x="705" y="371"/>
                    </a:lnTo>
                    <a:lnTo>
                      <a:pt x="705" y="271"/>
                    </a:lnTo>
                    <a:lnTo>
                      <a:pt x="625" y="271"/>
                    </a:lnTo>
                    <a:close/>
                    <a:moveTo>
                      <a:pt x="554" y="0"/>
                    </a:moveTo>
                    <a:lnTo>
                      <a:pt x="616" y="3"/>
                    </a:lnTo>
                    <a:lnTo>
                      <a:pt x="675" y="13"/>
                    </a:lnTo>
                    <a:lnTo>
                      <a:pt x="733" y="28"/>
                    </a:lnTo>
                    <a:lnTo>
                      <a:pt x="788" y="49"/>
                    </a:lnTo>
                    <a:lnTo>
                      <a:pt x="839" y="76"/>
                    </a:lnTo>
                    <a:lnTo>
                      <a:pt x="888" y="108"/>
                    </a:lnTo>
                    <a:lnTo>
                      <a:pt x="933" y="145"/>
                    </a:lnTo>
                    <a:lnTo>
                      <a:pt x="974" y="185"/>
                    </a:lnTo>
                    <a:lnTo>
                      <a:pt x="1010" y="230"/>
                    </a:lnTo>
                    <a:lnTo>
                      <a:pt x="1041" y="278"/>
                    </a:lnTo>
                    <a:lnTo>
                      <a:pt x="1068" y="329"/>
                    </a:lnTo>
                    <a:lnTo>
                      <a:pt x="1090" y="384"/>
                    </a:lnTo>
                    <a:lnTo>
                      <a:pt x="1106" y="441"/>
                    </a:lnTo>
                    <a:lnTo>
                      <a:pt x="1115" y="501"/>
                    </a:lnTo>
                    <a:lnTo>
                      <a:pt x="1119" y="561"/>
                    </a:lnTo>
                    <a:lnTo>
                      <a:pt x="1115" y="617"/>
                    </a:lnTo>
                    <a:lnTo>
                      <a:pt x="1107" y="670"/>
                    </a:lnTo>
                    <a:lnTo>
                      <a:pt x="1093" y="723"/>
                    </a:lnTo>
                    <a:lnTo>
                      <a:pt x="1074" y="774"/>
                    </a:lnTo>
                    <a:lnTo>
                      <a:pt x="1049" y="822"/>
                    </a:lnTo>
                    <a:lnTo>
                      <a:pt x="1021" y="869"/>
                    </a:lnTo>
                    <a:lnTo>
                      <a:pt x="988" y="913"/>
                    </a:lnTo>
                    <a:lnTo>
                      <a:pt x="1159" y="1084"/>
                    </a:lnTo>
                    <a:lnTo>
                      <a:pt x="1142" y="1099"/>
                    </a:lnTo>
                    <a:lnTo>
                      <a:pt x="1124" y="1115"/>
                    </a:lnTo>
                    <a:lnTo>
                      <a:pt x="1106" y="1133"/>
                    </a:lnTo>
                    <a:lnTo>
                      <a:pt x="1089" y="1154"/>
                    </a:lnTo>
                    <a:lnTo>
                      <a:pt x="917" y="984"/>
                    </a:lnTo>
                    <a:lnTo>
                      <a:pt x="881" y="1012"/>
                    </a:lnTo>
                    <a:lnTo>
                      <a:pt x="843" y="1037"/>
                    </a:lnTo>
                    <a:lnTo>
                      <a:pt x="801" y="1060"/>
                    </a:lnTo>
                    <a:lnTo>
                      <a:pt x="756" y="1079"/>
                    </a:lnTo>
                    <a:lnTo>
                      <a:pt x="710" y="1094"/>
                    </a:lnTo>
                    <a:lnTo>
                      <a:pt x="662" y="1105"/>
                    </a:lnTo>
                    <a:lnTo>
                      <a:pt x="614" y="1111"/>
                    </a:lnTo>
                    <a:lnTo>
                      <a:pt x="565" y="1114"/>
                    </a:lnTo>
                    <a:lnTo>
                      <a:pt x="502" y="1111"/>
                    </a:lnTo>
                    <a:lnTo>
                      <a:pt x="443" y="1101"/>
                    </a:lnTo>
                    <a:lnTo>
                      <a:pt x="385" y="1085"/>
                    </a:lnTo>
                    <a:lnTo>
                      <a:pt x="331" y="1064"/>
                    </a:lnTo>
                    <a:lnTo>
                      <a:pt x="279" y="1037"/>
                    </a:lnTo>
                    <a:lnTo>
                      <a:pt x="231" y="1006"/>
                    </a:lnTo>
                    <a:lnTo>
                      <a:pt x="186" y="970"/>
                    </a:lnTo>
                    <a:lnTo>
                      <a:pt x="145" y="930"/>
                    </a:lnTo>
                    <a:lnTo>
                      <a:pt x="108" y="886"/>
                    </a:lnTo>
                    <a:lnTo>
                      <a:pt x="77" y="838"/>
                    </a:lnTo>
                    <a:lnTo>
                      <a:pt x="50" y="788"/>
                    </a:lnTo>
                    <a:lnTo>
                      <a:pt x="29" y="735"/>
                    </a:lnTo>
                    <a:lnTo>
                      <a:pt x="13" y="679"/>
                    </a:lnTo>
                    <a:lnTo>
                      <a:pt x="3" y="621"/>
                    </a:lnTo>
                    <a:lnTo>
                      <a:pt x="0" y="561"/>
                    </a:lnTo>
                    <a:lnTo>
                      <a:pt x="3" y="505"/>
                    </a:lnTo>
                    <a:lnTo>
                      <a:pt x="11" y="448"/>
                    </a:lnTo>
                    <a:lnTo>
                      <a:pt x="25" y="395"/>
                    </a:lnTo>
                    <a:lnTo>
                      <a:pt x="43" y="342"/>
                    </a:lnTo>
                    <a:lnTo>
                      <a:pt x="65" y="294"/>
                    </a:lnTo>
                    <a:lnTo>
                      <a:pt x="93" y="247"/>
                    </a:lnTo>
                    <a:lnTo>
                      <a:pt x="124" y="204"/>
                    </a:lnTo>
                    <a:lnTo>
                      <a:pt x="160" y="164"/>
                    </a:lnTo>
                    <a:lnTo>
                      <a:pt x="200" y="128"/>
                    </a:lnTo>
                    <a:lnTo>
                      <a:pt x="241" y="95"/>
                    </a:lnTo>
                    <a:lnTo>
                      <a:pt x="288" y="68"/>
                    </a:lnTo>
                    <a:lnTo>
                      <a:pt x="336" y="44"/>
                    </a:lnTo>
                    <a:lnTo>
                      <a:pt x="387" y="25"/>
                    </a:lnTo>
                    <a:lnTo>
                      <a:pt x="441" y="11"/>
                    </a:lnTo>
                    <a:lnTo>
                      <a:pt x="497" y="2"/>
                    </a:lnTo>
                    <a:lnTo>
                      <a:pt x="5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5" name="Freeform 24"/>
              <p:cNvSpPr>
                <a:spLocks/>
              </p:cNvSpPr>
              <p:nvPr/>
            </p:nvSpPr>
            <p:spPr bwMode="auto">
              <a:xfrm>
                <a:off x="-618" y="2470"/>
                <a:ext cx="160" cy="159"/>
              </a:xfrm>
              <a:custGeom>
                <a:avLst/>
                <a:gdLst>
                  <a:gd name="T0" fmla="*/ 659 w 1119"/>
                  <a:gd name="T1" fmla="*/ 9 h 1114"/>
                  <a:gd name="T2" fmla="*/ 638 w 1119"/>
                  <a:gd name="T3" fmla="*/ 40 h 1114"/>
                  <a:gd name="T4" fmla="*/ 667 w 1119"/>
                  <a:gd name="T5" fmla="*/ 61 h 1114"/>
                  <a:gd name="T6" fmla="*/ 718 w 1119"/>
                  <a:gd name="T7" fmla="*/ 97 h 1114"/>
                  <a:gd name="T8" fmla="*/ 746 w 1119"/>
                  <a:gd name="T9" fmla="*/ 160 h 1114"/>
                  <a:gd name="T10" fmla="*/ 748 w 1119"/>
                  <a:gd name="T11" fmla="*/ 304 h 1114"/>
                  <a:gd name="T12" fmla="*/ 770 w 1119"/>
                  <a:gd name="T13" fmla="*/ 310 h 1114"/>
                  <a:gd name="T14" fmla="*/ 766 w 1119"/>
                  <a:gd name="T15" fmla="*/ 351 h 1114"/>
                  <a:gd name="T16" fmla="*/ 761 w 1119"/>
                  <a:gd name="T17" fmla="*/ 391 h 1114"/>
                  <a:gd name="T18" fmla="*/ 753 w 1119"/>
                  <a:gd name="T19" fmla="*/ 409 h 1114"/>
                  <a:gd name="T20" fmla="*/ 747 w 1119"/>
                  <a:gd name="T21" fmla="*/ 411 h 1114"/>
                  <a:gd name="T22" fmla="*/ 737 w 1119"/>
                  <a:gd name="T23" fmla="*/ 464 h 1114"/>
                  <a:gd name="T24" fmla="*/ 704 w 1119"/>
                  <a:gd name="T25" fmla="*/ 537 h 1114"/>
                  <a:gd name="T26" fmla="*/ 695 w 1119"/>
                  <a:gd name="T27" fmla="*/ 559 h 1114"/>
                  <a:gd name="T28" fmla="*/ 706 w 1119"/>
                  <a:gd name="T29" fmla="*/ 622 h 1114"/>
                  <a:gd name="T30" fmla="*/ 710 w 1119"/>
                  <a:gd name="T31" fmla="*/ 629 h 1114"/>
                  <a:gd name="T32" fmla="*/ 711 w 1119"/>
                  <a:gd name="T33" fmla="*/ 632 h 1114"/>
                  <a:gd name="T34" fmla="*/ 732 w 1119"/>
                  <a:gd name="T35" fmla="*/ 637 h 1114"/>
                  <a:gd name="T36" fmla="*/ 737 w 1119"/>
                  <a:gd name="T37" fmla="*/ 681 h 1114"/>
                  <a:gd name="T38" fmla="*/ 761 w 1119"/>
                  <a:gd name="T39" fmla="*/ 720 h 1114"/>
                  <a:gd name="T40" fmla="*/ 961 w 1119"/>
                  <a:gd name="T41" fmla="*/ 781 h 1114"/>
                  <a:gd name="T42" fmla="*/ 1059 w 1119"/>
                  <a:gd name="T43" fmla="*/ 820 h 1114"/>
                  <a:gd name="T44" fmla="*/ 1041 w 1119"/>
                  <a:gd name="T45" fmla="*/ 965 h 1114"/>
                  <a:gd name="T46" fmla="*/ 870 w 1119"/>
                  <a:gd name="T47" fmla="*/ 1032 h 1114"/>
                  <a:gd name="T48" fmla="*/ 671 w 1119"/>
                  <a:gd name="T49" fmla="*/ 1103 h 1114"/>
                  <a:gd name="T50" fmla="*/ 423 w 1119"/>
                  <a:gd name="T51" fmla="*/ 1090 h 1114"/>
                  <a:gd name="T52" fmla="*/ 271 w 1119"/>
                  <a:gd name="T53" fmla="*/ 1027 h 1114"/>
                  <a:gd name="T54" fmla="*/ 126 w 1119"/>
                  <a:gd name="T55" fmla="*/ 970 h 1114"/>
                  <a:gd name="T56" fmla="*/ 51 w 1119"/>
                  <a:gd name="T57" fmla="*/ 833 h 1114"/>
                  <a:gd name="T58" fmla="*/ 100 w 1119"/>
                  <a:gd name="T59" fmla="*/ 803 h 1114"/>
                  <a:gd name="T60" fmla="*/ 197 w 1119"/>
                  <a:gd name="T61" fmla="*/ 776 h 1114"/>
                  <a:gd name="T62" fmla="*/ 312 w 1119"/>
                  <a:gd name="T63" fmla="*/ 737 h 1114"/>
                  <a:gd name="T64" fmla="*/ 365 w 1119"/>
                  <a:gd name="T65" fmla="*/ 714 h 1114"/>
                  <a:gd name="T66" fmla="*/ 383 w 1119"/>
                  <a:gd name="T67" fmla="*/ 663 h 1114"/>
                  <a:gd name="T68" fmla="*/ 393 w 1119"/>
                  <a:gd name="T69" fmla="*/ 634 h 1114"/>
                  <a:gd name="T70" fmla="*/ 411 w 1119"/>
                  <a:gd name="T71" fmla="*/ 629 h 1114"/>
                  <a:gd name="T72" fmla="*/ 414 w 1119"/>
                  <a:gd name="T73" fmla="*/ 623 h 1114"/>
                  <a:gd name="T74" fmla="*/ 423 w 1119"/>
                  <a:gd name="T75" fmla="*/ 568 h 1114"/>
                  <a:gd name="T76" fmla="*/ 415 w 1119"/>
                  <a:gd name="T77" fmla="*/ 533 h 1114"/>
                  <a:gd name="T78" fmla="*/ 389 w 1119"/>
                  <a:gd name="T79" fmla="*/ 472 h 1114"/>
                  <a:gd name="T80" fmla="*/ 373 w 1119"/>
                  <a:gd name="T81" fmla="*/ 411 h 1114"/>
                  <a:gd name="T82" fmla="*/ 367 w 1119"/>
                  <a:gd name="T83" fmla="*/ 409 h 1114"/>
                  <a:gd name="T84" fmla="*/ 356 w 1119"/>
                  <a:gd name="T85" fmla="*/ 388 h 1114"/>
                  <a:gd name="T86" fmla="*/ 342 w 1119"/>
                  <a:gd name="T87" fmla="*/ 346 h 1114"/>
                  <a:gd name="T88" fmla="*/ 336 w 1119"/>
                  <a:gd name="T89" fmla="*/ 314 h 1114"/>
                  <a:gd name="T90" fmla="*/ 356 w 1119"/>
                  <a:gd name="T91" fmla="*/ 303 h 1114"/>
                  <a:gd name="T92" fmla="*/ 361 w 1119"/>
                  <a:gd name="T93" fmla="*/ 303 h 1114"/>
                  <a:gd name="T94" fmla="*/ 363 w 1119"/>
                  <a:gd name="T95" fmla="*/ 294 h 1114"/>
                  <a:gd name="T96" fmla="*/ 372 w 1119"/>
                  <a:gd name="T97" fmla="*/ 127 h 1114"/>
                  <a:gd name="T98" fmla="*/ 445 w 1119"/>
                  <a:gd name="T99" fmla="*/ 60 h 1114"/>
                  <a:gd name="T100" fmla="*/ 569 w 1119"/>
                  <a:gd name="T101" fmla="*/ 16 h 1114"/>
                  <a:gd name="T102" fmla="*/ 636 w 1119"/>
                  <a:gd name="T103" fmla="*/ 2 h 1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19" h="1114">
                    <a:moveTo>
                      <a:pt x="655" y="0"/>
                    </a:moveTo>
                    <a:lnTo>
                      <a:pt x="665" y="0"/>
                    </a:lnTo>
                    <a:lnTo>
                      <a:pt x="664" y="6"/>
                    </a:lnTo>
                    <a:lnTo>
                      <a:pt x="659" y="9"/>
                    </a:lnTo>
                    <a:lnTo>
                      <a:pt x="652" y="14"/>
                    </a:lnTo>
                    <a:lnTo>
                      <a:pt x="645" y="20"/>
                    </a:lnTo>
                    <a:lnTo>
                      <a:pt x="638" y="30"/>
                    </a:lnTo>
                    <a:lnTo>
                      <a:pt x="638" y="40"/>
                    </a:lnTo>
                    <a:lnTo>
                      <a:pt x="645" y="50"/>
                    </a:lnTo>
                    <a:lnTo>
                      <a:pt x="651" y="51"/>
                    </a:lnTo>
                    <a:lnTo>
                      <a:pt x="659" y="55"/>
                    </a:lnTo>
                    <a:lnTo>
                      <a:pt x="667" y="61"/>
                    </a:lnTo>
                    <a:lnTo>
                      <a:pt x="680" y="69"/>
                    </a:lnTo>
                    <a:lnTo>
                      <a:pt x="695" y="80"/>
                    </a:lnTo>
                    <a:lnTo>
                      <a:pt x="706" y="86"/>
                    </a:lnTo>
                    <a:lnTo>
                      <a:pt x="718" y="97"/>
                    </a:lnTo>
                    <a:lnTo>
                      <a:pt x="728" y="109"/>
                    </a:lnTo>
                    <a:lnTo>
                      <a:pt x="737" y="124"/>
                    </a:lnTo>
                    <a:lnTo>
                      <a:pt x="743" y="141"/>
                    </a:lnTo>
                    <a:lnTo>
                      <a:pt x="746" y="160"/>
                    </a:lnTo>
                    <a:lnTo>
                      <a:pt x="746" y="281"/>
                    </a:lnTo>
                    <a:lnTo>
                      <a:pt x="746" y="292"/>
                    </a:lnTo>
                    <a:lnTo>
                      <a:pt x="747" y="299"/>
                    </a:lnTo>
                    <a:lnTo>
                      <a:pt x="748" y="304"/>
                    </a:lnTo>
                    <a:lnTo>
                      <a:pt x="751" y="304"/>
                    </a:lnTo>
                    <a:lnTo>
                      <a:pt x="756" y="301"/>
                    </a:lnTo>
                    <a:lnTo>
                      <a:pt x="765" y="303"/>
                    </a:lnTo>
                    <a:lnTo>
                      <a:pt x="770" y="310"/>
                    </a:lnTo>
                    <a:lnTo>
                      <a:pt x="772" y="318"/>
                    </a:lnTo>
                    <a:lnTo>
                      <a:pt x="772" y="329"/>
                    </a:lnTo>
                    <a:lnTo>
                      <a:pt x="770" y="341"/>
                    </a:lnTo>
                    <a:lnTo>
                      <a:pt x="766" y="351"/>
                    </a:lnTo>
                    <a:lnTo>
                      <a:pt x="766" y="365"/>
                    </a:lnTo>
                    <a:lnTo>
                      <a:pt x="766" y="376"/>
                    </a:lnTo>
                    <a:lnTo>
                      <a:pt x="764" y="384"/>
                    </a:lnTo>
                    <a:lnTo>
                      <a:pt x="761" y="391"/>
                    </a:lnTo>
                    <a:lnTo>
                      <a:pt x="756" y="402"/>
                    </a:lnTo>
                    <a:lnTo>
                      <a:pt x="755" y="405"/>
                    </a:lnTo>
                    <a:lnTo>
                      <a:pt x="754" y="407"/>
                    </a:lnTo>
                    <a:lnTo>
                      <a:pt x="753" y="409"/>
                    </a:lnTo>
                    <a:lnTo>
                      <a:pt x="751" y="410"/>
                    </a:lnTo>
                    <a:lnTo>
                      <a:pt x="749" y="410"/>
                    </a:lnTo>
                    <a:lnTo>
                      <a:pt x="748" y="411"/>
                    </a:lnTo>
                    <a:lnTo>
                      <a:pt x="747" y="411"/>
                    </a:lnTo>
                    <a:lnTo>
                      <a:pt x="746" y="411"/>
                    </a:lnTo>
                    <a:lnTo>
                      <a:pt x="746" y="424"/>
                    </a:lnTo>
                    <a:lnTo>
                      <a:pt x="742" y="442"/>
                    </a:lnTo>
                    <a:lnTo>
                      <a:pt x="737" y="464"/>
                    </a:lnTo>
                    <a:lnTo>
                      <a:pt x="729" y="487"/>
                    </a:lnTo>
                    <a:lnTo>
                      <a:pt x="719" y="511"/>
                    </a:lnTo>
                    <a:lnTo>
                      <a:pt x="706" y="532"/>
                    </a:lnTo>
                    <a:lnTo>
                      <a:pt x="704" y="537"/>
                    </a:lnTo>
                    <a:lnTo>
                      <a:pt x="700" y="542"/>
                    </a:lnTo>
                    <a:lnTo>
                      <a:pt x="697" y="546"/>
                    </a:lnTo>
                    <a:lnTo>
                      <a:pt x="695" y="551"/>
                    </a:lnTo>
                    <a:lnTo>
                      <a:pt x="695" y="559"/>
                    </a:lnTo>
                    <a:lnTo>
                      <a:pt x="696" y="570"/>
                    </a:lnTo>
                    <a:lnTo>
                      <a:pt x="697" y="582"/>
                    </a:lnTo>
                    <a:lnTo>
                      <a:pt x="700" y="601"/>
                    </a:lnTo>
                    <a:lnTo>
                      <a:pt x="706" y="622"/>
                    </a:lnTo>
                    <a:lnTo>
                      <a:pt x="708" y="625"/>
                    </a:lnTo>
                    <a:lnTo>
                      <a:pt x="709" y="627"/>
                    </a:lnTo>
                    <a:lnTo>
                      <a:pt x="710" y="628"/>
                    </a:lnTo>
                    <a:lnTo>
                      <a:pt x="710" y="629"/>
                    </a:lnTo>
                    <a:lnTo>
                      <a:pt x="710" y="630"/>
                    </a:lnTo>
                    <a:lnTo>
                      <a:pt x="710" y="632"/>
                    </a:lnTo>
                    <a:lnTo>
                      <a:pt x="711" y="632"/>
                    </a:lnTo>
                    <a:lnTo>
                      <a:pt x="711" y="632"/>
                    </a:lnTo>
                    <a:lnTo>
                      <a:pt x="713" y="632"/>
                    </a:lnTo>
                    <a:lnTo>
                      <a:pt x="715" y="632"/>
                    </a:lnTo>
                    <a:lnTo>
                      <a:pt x="725" y="633"/>
                    </a:lnTo>
                    <a:lnTo>
                      <a:pt x="732" y="637"/>
                    </a:lnTo>
                    <a:lnTo>
                      <a:pt x="735" y="643"/>
                    </a:lnTo>
                    <a:lnTo>
                      <a:pt x="736" y="651"/>
                    </a:lnTo>
                    <a:lnTo>
                      <a:pt x="736" y="663"/>
                    </a:lnTo>
                    <a:lnTo>
                      <a:pt x="737" y="681"/>
                    </a:lnTo>
                    <a:lnTo>
                      <a:pt x="741" y="696"/>
                    </a:lnTo>
                    <a:lnTo>
                      <a:pt x="748" y="707"/>
                    </a:lnTo>
                    <a:lnTo>
                      <a:pt x="754" y="716"/>
                    </a:lnTo>
                    <a:lnTo>
                      <a:pt x="761" y="720"/>
                    </a:lnTo>
                    <a:lnTo>
                      <a:pt x="766" y="722"/>
                    </a:lnTo>
                    <a:lnTo>
                      <a:pt x="832" y="744"/>
                    </a:lnTo>
                    <a:lnTo>
                      <a:pt x="897" y="763"/>
                    </a:lnTo>
                    <a:lnTo>
                      <a:pt x="961" y="781"/>
                    </a:lnTo>
                    <a:lnTo>
                      <a:pt x="1028" y="803"/>
                    </a:lnTo>
                    <a:lnTo>
                      <a:pt x="1038" y="805"/>
                    </a:lnTo>
                    <a:lnTo>
                      <a:pt x="1048" y="810"/>
                    </a:lnTo>
                    <a:lnTo>
                      <a:pt x="1059" y="820"/>
                    </a:lnTo>
                    <a:lnTo>
                      <a:pt x="1069" y="833"/>
                    </a:lnTo>
                    <a:lnTo>
                      <a:pt x="1119" y="953"/>
                    </a:lnTo>
                    <a:lnTo>
                      <a:pt x="1079" y="957"/>
                    </a:lnTo>
                    <a:lnTo>
                      <a:pt x="1041" y="965"/>
                    </a:lnTo>
                    <a:lnTo>
                      <a:pt x="1000" y="978"/>
                    </a:lnTo>
                    <a:lnTo>
                      <a:pt x="958" y="994"/>
                    </a:lnTo>
                    <a:lnTo>
                      <a:pt x="915" y="1012"/>
                    </a:lnTo>
                    <a:lnTo>
                      <a:pt x="870" y="1032"/>
                    </a:lnTo>
                    <a:lnTo>
                      <a:pt x="824" y="1053"/>
                    </a:lnTo>
                    <a:lnTo>
                      <a:pt x="776" y="1072"/>
                    </a:lnTo>
                    <a:lnTo>
                      <a:pt x="724" y="1089"/>
                    </a:lnTo>
                    <a:lnTo>
                      <a:pt x="671" y="1103"/>
                    </a:lnTo>
                    <a:lnTo>
                      <a:pt x="615" y="1114"/>
                    </a:lnTo>
                    <a:lnTo>
                      <a:pt x="514" y="1114"/>
                    </a:lnTo>
                    <a:lnTo>
                      <a:pt x="467" y="1103"/>
                    </a:lnTo>
                    <a:lnTo>
                      <a:pt x="423" y="1090"/>
                    </a:lnTo>
                    <a:lnTo>
                      <a:pt x="383" y="1076"/>
                    </a:lnTo>
                    <a:lnTo>
                      <a:pt x="344" y="1060"/>
                    </a:lnTo>
                    <a:lnTo>
                      <a:pt x="307" y="1043"/>
                    </a:lnTo>
                    <a:lnTo>
                      <a:pt x="271" y="1027"/>
                    </a:lnTo>
                    <a:lnTo>
                      <a:pt x="236" y="1011"/>
                    </a:lnTo>
                    <a:lnTo>
                      <a:pt x="200" y="995"/>
                    </a:lnTo>
                    <a:lnTo>
                      <a:pt x="164" y="981"/>
                    </a:lnTo>
                    <a:lnTo>
                      <a:pt x="126" y="970"/>
                    </a:lnTo>
                    <a:lnTo>
                      <a:pt x="86" y="961"/>
                    </a:lnTo>
                    <a:lnTo>
                      <a:pt x="44" y="955"/>
                    </a:lnTo>
                    <a:lnTo>
                      <a:pt x="0" y="953"/>
                    </a:lnTo>
                    <a:lnTo>
                      <a:pt x="51" y="833"/>
                    </a:lnTo>
                    <a:lnTo>
                      <a:pt x="58" y="825"/>
                    </a:lnTo>
                    <a:lnTo>
                      <a:pt x="68" y="818"/>
                    </a:lnTo>
                    <a:lnTo>
                      <a:pt x="82" y="810"/>
                    </a:lnTo>
                    <a:lnTo>
                      <a:pt x="100" y="803"/>
                    </a:lnTo>
                    <a:lnTo>
                      <a:pt x="119" y="798"/>
                    </a:lnTo>
                    <a:lnTo>
                      <a:pt x="141" y="793"/>
                    </a:lnTo>
                    <a:lnTo>
                      <a:pt x="168" y="784"/>
                    </a:lnTo>
                    <a:lnTo>
                      <a:pt x="197" y="776"/>
                    </a:lnTo>
                    <a:lnTo>
                      <a:pt x="227" y="766"/>
                    </a:lnTo>
                    <a:lnTo>
                      <a:pt x="257" y="757"/>
                    </a:lnTo>
                    <a:lnTo>
                      <a:pt x="286" y="747"/>
                    </a:lnTo>
                    <a:lnTo>
                      <a:pt x="312" y="737"/>
                    </a:lnTo>
                    <a:lnTo>
                      <a:pt x="334" y="729"/>
                    </a:lnTo>
                    <a:lnTo>
                      <a:pt x="353" y="722"/>
                    </a:lnTo>
                    <a:lnTo>
                      <a:pt x="359" y="720"/>
                    </a:lnTo>
                    <a:lnTo>
                      <a:pt x="365" y="714"/>
                    </a:lnTo>
                    <a:lnTo>
                      <a:pt x="372" y="704"/>
                    </a:lnTo>
                    <a:lnTo>
                      <a:pt x="377" y="691"/>
                    </a:lnTo>
                    <a:lnTo>
                      <a:pt x="382" y="678"/>
                    </a:lnTo>
                    <a:lnTo>
                      <a:pt x="383" y="663"/>
                    </a:lnTo>
                    <a:lnTo>
                      <a:pt x="384" y="652"/>
                    </a:lnTo>
                    <a:lnTo>
                      <a:pt x="385" y="643"/>
                    </a:lnTo>
                    <a:lnTo>
                      <a:pt x="387" y="637"/>
                    </a:lnTo>
                    <a:lnTo>
                      <a:pt x="393" y="634"/>
                    </a:lnTo>
                    <a:lnTo>
                      <a:pt x="403" y="633"/>
                    </a:lnTo>
                    <a:lnTo>
                      <a:pt x="406" y="632"/>
                    </a:lnTo>
                    <a:lnTo>
                      <a:pt x="409" y="630"/>
                    </a:lnTo>
                    <a:lnTo>
                      <a:pt x="411" y="629"/>
                    </a:lnTo>
                    <a:lnTo>
                      <a:pt x="412" y="627"/>
                    </a:lnTo>
                    <a:lnTo>
                      <a:pt x="413" y="625"/>
                    </a:lnTo>
                    <a:lnTo>
                      <a:pt x="413" y="624"/>
                    </a:lnTo>
                    <a:lnTo>
                      <a:pt x="414" y="623"/>
                    </a:lnTo>
                    <a:lnTo>
                      <a:pt x="414" y="622"/>
                    </a:lnTo>
                    <a:lnTo>
                      <a:pt x="419" y="606"/>
                    </a:lnTo>
                    <a:lnTo>
                      <a:pt x="422" y="587"/>
                    </a:lnTo>
                    <a:lnTo>
                      <a:pt x="423" y="568"/>
                    </a:lnTo>
                    <a:lnTo>
                      <a:pt x="423" y="552"/>
                    </a:lnTo>
                    <a:lnTo>
                      <a:pt x="422" y="545"/>
                    </a:lnTo>
                    <a:lnTo>
                      <a:pt x="418" y="539"/>
                    </a:lnTo>
                    <a:lnTo>
                      <a:pt x="415" y="533"/>
                    </a:lnTo>
                    <a:lnTo>
                      <a:pt x="414" y="532"/>
                    </a:lnTo>
                    <a:lnTo>
                      <a:pt x="404" y="515"/>
                    </a:lnTo>
                    <a:lnTo>
                      <a:pt x="397" y="494"/>
                    </a:lnTo>
                    <a:lnTo>
                      <a:pt x="389" y="472"/>
                    </a:lnTo>
                    <a:lnTo>
                      <a:pt x="384" y="450"/>
                    </a:lnTo>
                    <a:lnTo>
                      <a:pt x="378" y="428"/>
                    </a:lnTo>
                    <a:lnTo>
                      <a:pt x="373" y="411"/>
                    </a:lnTo>
                    <a:lnTo>
                      <a:pt x="373" y="411"/>
                    </a:lnTo>
                    <a:lnTo>
                      <a:pt x="371" y="411"/>
                    </a:lnTo>
                    <a:lnTo>
                      <a:pt x="370" y="411"/>
                    </a:lnTo>
                    <a:lnTo>
                      <a:pt x="368" y="410"/>
                    </a:lnTo>
                    <a:lnTo>
                      <a:pt x="367" y="409"/>
                    </a:lnTo>
                    <a:lnTo>
                      <a:pt x="364" y="407"/>
                    </a:lnTo>
                    <a:lnTo>
                      <a:pt x="363" y="405"/>
                    </a:lnTo>
                    <a:lnTo>
                      <a:pt x="363" y="402"/>
                    </a:lnTo>
                    <a:lnTo>
                      <a:pt x="356" y="388"/>
                    </a:lnTo>
                    <a:lnTo>
                      <a:pt x="349" y="376"/>
                    </a:lnTo>
                    <a:lnTo>
                      <a:pt x="344" y="364"/>
                    </a:lnTo>
                    <a:lnTo>
                      <a:pt x="343" y="351"/>
                    </a:lnTo>
                    <a:lnTo>
                      <a:pt x="342" y="346"/>
                    </a:lnTo>
                    <a:lnTo>
                      <a:pt x="340" y="339"/>
                    </a:lnTo>
                    <a:lnTo>
                      <a:pt x="338" y="331"/>
                    </a:lnTo>
                    <a:lnTo>
                      <a:pt x="336" y="323"/>
                    </a:lnTo>
                    <a:lnTo>
                      <a:pt x="336" y="314"/>
                    </a:lnTo>
                    <a:lnTo>
                      <a:pt x="339" y="308"/>
                    </a:lnTo>
                    <a:lnTo>
                      <a:pt x="344" y="302"/>
                    </a:lnTo>
                    <a:lnTo>
                      <a:pt x="353" y="301"/>
                    </a:lnTo>
                    <a:lnTo>
                      <a:pt x="356" y="303"/>
                    </a:lnTo>
                    <a:lnTo>
                      <a:pt x="358" y="304"/>
                    </a:lnTo>
                    <a:lnTo>
                      <a:pt x="359" y="305"/>
                    </a:lnTo>
                    <a:lnTo>
                      <a:pt x="361" y="304"/>
                    </a:lnTo>
                    <a:lnTo>
                      <a:pt x="361" y="303"/>
                    </a:lnTo>
                    <a:lnTo>
                      <a:pt x="362" y="301"/>
                    </a:lnTo>
                    <a:lnTo>
                      <a:pt x="362" y="299"/>
                    </a:lnTo>
                    <a:lnTo>
                      <a:pt x="362" y="297"/>
                    </a:lnTo>
                    <a:lnTo>
                      <a:pt x="363" y="294"/>
                    </a:lnTo>
                    <a:lnTo>
                      <a:pt x="363" y="291"/>
                    </a:lnTo>
                    <a:lnTo>
                      <a:pt x="363" y="171"/>
                    </a:lnTo>
                    <a:lnTo>
                      <a:pt x="365" y="147"/>
                    </a:lnTo>
                    <a:lnTo>
                      <a:pt x="372" y="127"/>
                    </a:lnTo>
                    <a:lnTo>
                      <a:pt x="383" y="109"/>
                    </a:lnTo>
                    <a:lnTo>
                      <a:pt x="397" y="94"/>
                    </a:lnTo>
                    <a:lnTo>
                      <a:pt x="414" y="80"/>
                    </a:lnTo>
                    <a:lnTo>
                      <a:pt x="445" y="60"/>
                    </a:lnTo>
                    <a:lnTo>
                      <a:pt x="480" y="42"/>
                    </a:lnTo>
                    <a:lnTo>
                      <a:pt x="517" y="30"/>
                    </a:lnTo>
                    <a:lnTo>
                      <a:pt x="554" y="20"/>
                    </a:lnTo>
                    <a:lnTo>
                      <a:pt x="569" y="16"/>
                    </a:lnTo>
                    <a:lnTo>
                      <a:pt x="586" y="11"/>
                    </a:lnTo>
                    <a:lnTo>
                      <a:pt x="604" y="8"/>
                    </a:lnTo>
                    <a:lnTo>
                      <a:pt x="621" y="5"/>
                    </a:lnTo>
                    <a:lnTo>
                      <a:pt x="636" y="2"/>
                    </a:lnTo>
                    <a:lnTo>
                      <a:pt x="648" y="1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96" name="Group 95"/>
          <p:cNvGrpSpPr/>
          <p:nvPr/>
        </p:nvGrpSpPr>
        <p:grpSpPr>
          <a:xfrm>
            <a:off x="147993" y="4330447"/>
            <a:ext cx="727877" cy="755941"/>
            <a:chOff x="147993" y="5867981"/>
            <a:chExt cx="727877" cy="755941"/>
          </a:xfrm>
        </p:grpSpPr>
        <p:sp>
          <p:nvSpPr>
            <p:cNvPr id="97" name="Rectangle 17"/>
            <p:cNvSpPr>
              <a:spLocks/>
            </p:cNvSpPr>
            <p:nvPr/>
          </p:nvSpPr>
          <p:spPr bwMode="auto">
            <a:xfrm>
              <a:off x="147993" y="6131479"/>
              <a:ext cx="727877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еб-ресурсы, продукт, датчики, приложения</a:t>
              </a:r>
            </a:p>
          </p:txBody>
        </p:sp>
        <p:grpSp>
          <p:nvGrpSpPr>
            <p:cNvPr id="98" name="Group 157"/>
            <p:cNvGrpSpPr>
              <a:grpSpLocks noChangeAspect="1"/>
            </p:cNvGrpSpPr>
            <p:nvPr/>
          </p:nvGrpSpPr>
          <p:grpSpPr bwMode="auto">
            <a:xfrm>
              <a:off x="384100" y="5867981"/>
              <a:ext cx="254721" cy="240654"/>
              <a:chOff x="3815" y="1810"/>
              <a:chExt cx="2354" cy="2224"/>
            </a:xfrm>
            <a:solidFill>
              <a:schemeClr val="bg1"/>
            </a:solidFill>
          </p:grpSpPr>
          <p:sp>
            <p:nvSpPr>
              <p:cNvPr id="99" name="Freeform 159"/>
              <p:cNvSpPr>
                <a:spLocks noEditPoints="1"/>
              </p:cNvSpPr>
              <p:nvPr/>
            </p:nvSpPr>
            <p:spPr bwMode="auto">
              <a:xfrm>
                <a:off x="3815" y="1810"/>
                <a:ext cx="2021" cy="1982"/>
              </a:xfrm>
              <a:custGeom>
                <a:avLst/>
                <a:gdLst>
                  <a:gd name="T0" fmla="*/ 3423 w 4043"/>
                  <a:gd name="T1" fmla="*/ 409 h 3965"/>
                  <a:gd name="T2" fmla="*/ 3363 w 4043"/>
                  <a:gd name="T3" fmla="*/ 435 h 3965"/>
                  <a:gd name="T4" fmla="*/ 3317 w 4043"/>
                  <a:gd name="T5" fmla="*/ 481 h 3965"/>
                  <a:gd name="T6" fmla="*/ 3291 w 4043"/>
                  <a:gd name="T7" fmla="*/ 542 h 3965"/>
                  <a:gd name="T8" fmla="*/ 3291 w 4043"/>
                  <a:gd name="T9" fmla="*/ 611 h 3965"/>
                  <a:gd name="T10" fmla="*/ 3317 w 4043"/>
                  <a:gd name="T11" fmla="*/ 671 h 3965"/>
                  <a:gd name="T12" fmla="*/ 3363 w 4043"/>
                  <a:gd name="T13" fmla="*/ 716 h 3965"/>
                  <a:gd name="T14" fmla="*/ 3423 w 4043"/>
                  <a:gd name="T15" fmla="*/ 742 h 3965"/>
                  <a:gd name="T16" fmla="*/ 3491 w 4043"/>
                  <a:gd name="T17" fmla="*/ 742 h 3965"/>
                  <a:gd name="T18" fmla="*/ 3553 w 4043"/>
                  <a:gd name="T19" fmla="*/ 716 h 3965"/>
                  <a:gd name="T20" fmla="*/ 3598 w 4043"/>
                  <a:gd name="T21" fmla="*/ 671 h 3965"/>
                  <a:gd name="T22" fmla="*/ 3624 w 4043"/>
                  <a:gd name="T23" fmla="*/ 611 h 3965"/>
                  <a:gd name="T24" fmla="*/ 3624 w 4043"/>
                  <a:gd name="T25" fmla="*/ 542 h 3965"/>
                  <a:gd name="T26" fmla="*/ 3598 w 4043"/>
                  <a:gd name="T27" fmla="*/ 481 h 3965"/>
                  <a:gd name="T28" fmla="*/ 3553 w 4043"/>
                  <a:gd name="T29" fmla="*/ 435 h 3965"/>
                  <a:gd name="T30" fmla="*/ 3491 w 4043"/>
                  <a:gd name="T31" fmla="*/ 409 h 3965"/>
                  <a:gd name="T32" fmla="*/ 2924 w 4043"/>
                  <a:gd name="T33" fmla="*/ 406 h 3965"/>
                  <a:gd name="T34" fmla="*/ 2858 w 4043"/>
                  <a:gd name="T35" fmla="*/ 419 h 3965"/>
                  <a:gd name="T36" fmla="*/ 2804 w 4043"/>
                  <a:gd name="T37" fmla="*/ 456 h 3965"/>
                  <a:gd name="T38" fmla="*/ 2768 w 4043"/>
                  <a:gd name="T39" fmla="*/ 511 h 3965"/>
                  <a:gd name="T40" fmla="*/ 2755 w 4043"/>
                  <a:gd name="T41" fmla="*/ 576 h 3965"/>
                  <a:gd name="T42" fmla="*/ 2768 w 4043"/>
                  <a:gd name="T43" fmla="*/ 642 h 3965"/>
                  <a:gd name="T44" fmla="*/ 2804 w 4043"/>
                  <a:gd name="T45" fmla="*/ 696 h 3965"/>
                  <a:gd name="T46" fmla="*/ 2858 w 4043"/>
                  <a:gd name="T47" fmla="*/ 732 h 3965"/>
                  <a:gd name="T48" fmla="*/ 2924 w 4043"/>
                  <a:gd name="T49" fmla="*/ 746 h 3965"/>
                  <a:gd name="T50" fmla="*/ 2991 w 4043"/>
                  <a:gd name="T51" fmla="*/ 732 h 3965"/>
                  <a:gd name="T52" fmla="*/ 3045 w 4043"/>
                  <a:gd name="T53" fmla="*/ 696 h 3965"/>
                  <a:gd name="T54" fmla="*/ 3081 w 4043"/>
                  <a:gd name="T55" fmla="*/ 642 h 3965"/>
                  <a:gd name="T56" fmla="*/ 3094 w 4043"/>
                  <a:gd name="T57" fmla="*/ 576 h 3965"/>
                  <a:gd name="T58" fmla="*/ 3081 w 4043"/>
                  <a:gd name="T59" fmla="*/ 511 h 3965"/>
                  <a:gd name="T60" fmla="*/ 3045 w 4043"/>
                  <a:gd name="T61" fmla="*/ 456 h 3965"/>
                  <a:gd name="T62" fmla="*/ 2991 w 4043"/>
                  <a:gd name="T63" fmla="*/ 419 h 3965"/>
                  <a:gd name="T64" fmla="*/ 2924 w 4043"/>
                  <a:gd name="T65" fmla="*/ 406 h 3965"/>
                  <a:gd name="T66" fmla="*/ 3924 w 4043"/>
                  <a:gd name="T67" fmla="*/ 0 h 3965"/>
                  <a:gd name="T68" fmla="*/ 3984 w 4043"/>
                  <a:gd name="T69" fmla="*/ 18 h 3965"/>
                  <a:gd name="T70" fmla="*/ 4027 w 4043"/>
                  <a:gd name="T71" fmla="*/ 60 h 3965"/>
                  <a:gd name="T72" fmla="*/ 4043 w 4043"/>
                  <a:gd name="T73" fmla="*/ 120 h 3965"/>
                  <a:gd name="T74" fmla="*/ 4026 w 4043"/>
                  <a:gd name="T75" fmla="*/ 1778 h 3965"/>
                  <a:gd name="T76" fmla="*/ 3943 w 4043"/>
                  <a:gd name="T77" fmla="*/ 1795 h 3965"/>
                  <a:gd name="T78" fmla="*/ 3874 w 4043"/>
                  <a:gd name="T79" fmla="*/ 1841 h 3965"/>
                  <a:gd name="T80" fmla="*/ 3809 w 4043"/>
                  <a:gd name="T81" fmla="*/ 1868 h 3965"/>
                  <a:gd name="T82" fmla="*/ 3744 w 4043"/>
                  <a:gd name="T83" fmla="*/ 1878 h 3965"/>
                  <a:gd name="T84" fmla="*/ 3686 w 4043"/>
                  <a:gd name="T85" fmla="*/ 1908 h 3965"/>
                  <a:gd name="T86" fmla="*/ 357 w 4043"/>
                  <a:gd name="T87" fmla="*/ 1095 h 3965"/>
                  <a:gd name="T88" fmla="*/ 2587 w 4043"/>
                  <a:gd name="T89" fmla="*/ 3608 h 3965"/>
                  <a:gd name="T90" fmla="*/ 2585 w 4043"/>
                  <a:gd name="T91" fmla="*/ 3839 h 3965"/>
                  <a:gd name="T92" fmla="*/ 2602 w 4043"/>
                  <a:gd name="T93" fmla="*/ 3926 h 3965"/>
                  <a:gd name="T94" fmla="*/ 119 w 4043"/>
                  <a:gd name="T95" fmla="*/ 3965 h 3965"/>
                  <a:gd name="T96" fmla="*/ 59 w 4043"/>
                  <a:gd name="T97" fmla="*/ 3949 h 3965"/>
                  <a:gd name="T98" fmla="*/ 16 w 4043"/>
                  <a:gd name="T99" fmla="*/ 3906 h 3965"/>
                  <a:gd name="T100" fmla="*/ 0 w 4043"/>
                  <a:gd name="T101" fmla="*/ 3846 h 3965"/>
                  <a:gd name="T102" fmla="*/ 4 w 4043"/>
                  <a:gd name="T103" fmla="*/ 88 h 3965"/>
                  <a:gd name="T104" fmla="*/ 34 w 4043"/>
                  <a:gd name="T105" fmla="*/ 36 h 3965"/>
                  <a:gd name="T106" fmla="*/ 87 w 4043"/>
                  <a:gd name="T107" fmla="*/ 5 h 3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43" h="3965">
                    <a:moveTo>
                      <a:pt x="3457" y="406"/>
                    </a:moveTo>
                    <a:lnTo>
                      <a:pt x="3423" y="409"/>
                    </a:lnTo>
                    <a:lnTo>
                      <a:pt x="3391" y="419"/>
                    </a:lnTo>
                    <a:lnTo>
                      <a:pt x="3363" y="435"/>
                    </a:lnTo>
                    <a:lnTo>
                      <a:pt x="3337" y="456"/>
                    </a:lnTo>
                    <a:lnTo>
                      <a:pt x="3317" y="481"/>
                    </a:lnTo>
                    <a:lnTo>
                      <a:pt x="3301" y="511"/>
                    </a:lnTo>
                    <a:lnTo>
                      <a:pt x="3291" y="542"/>
                    </a:lnTo>
                    <a:lnTo>
                      <a:pt x="3287" y="576"/>
                    </a:lnTo>
                    <a:lnTo>
                      <a:pt x="3291" y="611"/>
                    </a:lnTo>
                    <a:lnTo>
                      <a:pt x="3301" y="642"/>
                    </a:lnTo>
                    <a:lnTo>
                      <a:pt x="3317" y="671"/>
                    </a:lnTo>
                    <a:lnTo>
                      <a:pt x="3337" y="696"/>
                    </a:lnTo>
                    <a:lnTo>
                      <a:pt x="3363" y="716"/>
                    </a:lnTo>
                    <a:lnTo>
                      <a:pt x="3391" y="732"/>
                    </a:lnTo>
                    <a:lnTo>
                      <a:pt x="3423" y="742"/>
                    </a:lnTo>
                    <a:lnTo>
                      <a:pt x="3457" y="746"/>
                    </a:lnTo>
                    <a:lnTo>
                      <a:pt x="3491" y="742"/>
                    </a:lnTo>
                    <a:lnTo>
                      <a:pt x="3524" y="732"/>
                    </a:lnTo>
                    <a:lnTo>
                      <a:pt x="3553" y="716"/>
                    </a:lnTo>
                    <a:lnTo>
                      <a:pt x="3577" y="696"/>
                    </a:lnTo>
                    <a:lnTo>
                      <a:pt x="3598" y="671"/>
                    </a:lnTo>
                    <a:lnTo>
                      <a:pt x="3614" y="642"/>
                    </a:lnTo>
                    <a:lnTo>
                      <a:pt x="3624" y="611"/>
                    </a:lnTo>
                    <a:lnTo>
                      <a:pt x="3627" y="576"/>
                    </a:lnTo>
                    <a:lnTo>
                      <a:pt x="3624" y="542"/>
                    </a:lnTo>
                    <a:lnTo>
                      <a:pt x="3614" y="511"/>
                    </a:lnTo>
                    <a:lnTo>
                      <a:pt x="3598" y="481"/>
                    </a:lnTo>
                    <a:lnTo>
                      <a:pt x="3577" y="456"/>
                    </a:lnTo>
                    <a:lnTo>
                      <a:pt x="3553" y="435"/>
                    </a:lnTo>
                    <a:lnTo>
                      <a:pt x="3524" y="419"/>
                    </a:lnTo>
                    <a:lnTo>
                      <a:pt x="3491" y="409"/>
                    </a:lnTo>
                    <a:lnTo>
                      <a:pt x="3457" y="406"/>
                    </a:lnTo>
                    <a:close/>
                    <a:moveTo>
                      <a:pt x="2924" y="406"/>
                    </a:moveTo>
                    <a:lnTo>
                      <a:pt x="2890" y="409"/>
                    </a:lnTo>
                    <a:lnTo>
                      <a:pt x="2858" y="419"/>
                    </a:lnTo>
                    <a:lnTo>
                      <a:pt x="2830" y="435"/>
                    </a:lnTo>
                    <a:lnTo>
                      <a:pt x="2804" y="456"/>
                    </a:lnTo>
                    <a:lnTo>
                      <a:pt x="2784" y="481"/>
                    </a:lnTo>
                    <a:lnTo>
                      <a:pt x="2768" y="511"/>
                    </a:lnTo>
                    <a:lnTo>
                      <a:pt x="2758" y="542"/>
                    </a:lnTo>
                    <a:lnTo>
                      <a:pt x="2755" y="576"/>
                    </a:lnTo>
                    <a:lnTo>
                      <a:pt x="2758" y="611"/>
                    </a:lnTo>
                    <a:lnTo>
                      <a:pt x="2768" y="642"/>
                    </a:lnTo>
                    <a:lnTo>
                      <a:pt x="2784" y="671"/>
                    </a:lnTo>
                    <a:lnTo>
                      <a:pt x="2804" y="696"/>
                    </a:lnTo>
                    <a:lnTo>
                      <a:pt x="2830" y="716"/>
                    </a:lnTo>
                    <a:lnTo>
                      <a:pt x="2858" y="732"/>
                    </a:lnTo>
                    <a:lnTo>
                      <a:pt x="2890" y="742"/>
                    </a:lnTo>
                    <a:lnTo>
                      <a:pt x="2924" y="746"/>
                    </a:lnTo>
                    <a:lnTo>
                      <a:pt x="2958" y="742"/>
                    </a:lnTo>
                    <a:lnTo>
                      <a:pt x="2991" y="732"/>
                    </a:lnTo>
                    <a:lnTo>
                      <a:pt x="3020" y="716"/>
                    </a:lnTo>
                    <a:lnTo>
                      <a:pt x="3045" y="696"/>
                    </a:lnTo>
                    <a:lnTo>
                      <a:pt x="3065" y="671"/>
                    </a:lnTo>
                    <a:lnTo>
                      <a:pt x="3081" y="642"/>
                    </a:lnTo>
                    <a:lnTo>
                      <a:pt x="3091" y="611"/>
                    </a:lnTo>
                    <a:lnTo>
                      <a:pt x="3094" y="576"/>
                    </a:lnTo>
                    <a:lnTo>
                      <a:pt x="3091" y="542"/>
                    </a:lnTo>
                    <a:lnTo>
                      <a:pt x="3081" y="511"/>
                    </a:lnTo>
                    <a:lnTo>
                      <a:pt x="3065" y="481"/>
                    </a:lnTo>
                    <a:lnTo>
                      <a:pt x="3045" y="456"/>
                    </a:lnTo>
                    <a:lnTo>
                      <a:pt x="3020" y="435"/>
                    </a:lnTo>
                    <a:lnTo>
                      <a:pt x="2991" y="419"/>
                    </a:lnTo>
                    <a:lnTo>
                      <a:pt x="2958" y="409"/>
                    </a:lnTo>
                    <a:lnTo>
                      <a:pt x="2924" y="406"/>
                    </a:lnTo>
                    <a:close/>
                    <a:moveTo>
                      <a:pt x="119" y="0"/>
                    </a:moveTo>
                    <a:lnTo>
                      <a:pt x="3924" y="0"/>
                    </a:lnTo>
                    <a:lnTo>
                      <a:pt x="3956" y="5"/>
                    </a:lnTo>
                    <a:lnTo>
                      <a:pt x="3984" y="18"/>
                    </a:lnTo>
                    <a:lnTo>
                      <a:pt x="4009" y="36"/>
                    </a:lnTo>
                    <a:lnTo>
                      <a:pt x="4027" y="60"/>
                    </a:lnTo>
                    <a:lnTo>
                      <a:pt x="4039" y="88"/>
                    </a:lnTo>
                    <a:lnTo>
                      <a:pt x="4043" y="120"/>
                    </a:lnTo>
                    <a:lnTo>
                      <a:pt x="4043" y="1778"/>
                    </a:lnTo>
                    <a:lnTo>
                      <a:pt x="4026" y="1778"/>
                    </a:lnTo>
                    <a:lnTo>
                      <a:pt x="3983" y="1783"/>
                    </a:lnTo>
                    <a:lnTo>
                      <a:pt x="3943" y="1795"/>
                    </a:lnTo>
                    <a:lnTo>
                      <a:pt x="3907" y="1815"/>
                    </a:lnTo>
                    <a:lnTo>
                      <a:pt x="3874" y="1841"/>
                    </a:lnTo>
                    <a:lnTo>
                      <a:pt x="3849" y="1873"/>
                    </a:lnTo>
                    <a:lnTo>
                      <a:pt x="3809" y="1868"/>
                    </a:lnTo>
                    <a:lnTo>
                      <a:pt x="3776" y="1871"/>
                    </a:lnTo>
                    <a:lnTo>
                      <a:pt x="3744" y="1878"/>
                    </a:lnTo>
                    <a:lnTo>
                      <a:pt x="3713" y="1891"/>
                    </a:lnTo>
                    <a:lnTo>
                      <a:pt x="3686" y="1908"/>
                    </a:lnTo>
                    <a:lnTo>
                      <a:pt x="3686" y="1095"/>
                    </a:lnTo>
                    <a:lnTo>
                      <a:pt x="357" y="1095"/>
                    </a:lnTo>
                    <a:lnTo>
                      <a:pt x="357" y="3608"/>
                    </a:lnTo>
                    <a:lnTo>
                      <a:pt x="2587" y="3608"/>
                    </a:lnTo>
                    <a:lnTo>
                      <a:pt x="2585" y="3640"/>
                    </a:lnTo>
                    <a:lnTo>
                      <a:pt x="2585" y="3839"/>
                    </a:lnTo>
                    <a:lnTo>
                      <a:pt x="2590" y="3885"/>
                    </a:lnTo>
                    <a:lnTo>
                      <a:pt x="2602" y="3926"/>
                    </a:lnTo>
                    <a:lnTo>
                      <a:pt x="2622" y="3965"/>
                    </a:lnTo>
                    <a:lnTo>
                      <a:pt x="119" y="3965"/>
                    </a:lnTo>
                    <a:lnTo>
                      <a:pt x="87" y="3961"/>
                    </a:lnTo>
                    <a:lnTo>
                      <a:pt x="59" y="3949"/>
                    </a:lnTo>
                    <a:lnTo>
                      <a:pt x="34" y="3931"/>
                    </a:lnTo>
                    <a:lnTo>
                      <a:pt x="16" y="3906"/>
                    </a:lnTo>
                    <a:lnTo>
                      <a:pt x="4" y="3878"/>
                    </a:lnTo>
                    <a:lnTo>
                      <a:pt x="0" y="3846"/>
                    </a:lnTo>
                    <a:lnTo>
                      <a:pt x="0" y="120"/>
                    </a:lnTo>
                    <a:lnTo>
                      <a:pt x="4" y="88"/>
                    </a:lnTo>
                    <a:lnTo>
                      <a:pt x="16" y="60"/>
                    </a:lnTo>
                    <a:lnTo>
                      <a:pt x="34" y="36"/>
                    </a:lnTo>
                    <a:lnTo>
                      <a:pt x="59" y="18"/>
                    </a:lnTo>
                    <a:lnTo>
                      <a:pt x="87" y="5"/>
                    </a:lnTo>
                    <a:lnTo>
                      <a:pt x="1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0" name="Freeform 160"/>
              <p:cNvSpPr>
                <a:spLocks noEditPoints="1"/>
              </p:cNvSpPr>
              <p:nvPr/>
            </p:nvSpPr>
            <p:spPr bwMode="auto">
              <a:xfrm>
                <a:off x="4491" y="2507"/>
                <a:ext cx="895" cy="895"/>
              </a:xfrm>
              <a:custGeom>
                <a:avLst/>
                <a:gdLst>
                  <a:gd name="T0" fmla="*/ 727 w 1791"/>
                  <a:gd name="T1" fmla="*/ 498 h 1790"/>
                  <a:gd name="T2" fmla="*/ 554 w 1791"/>
                  <a:gd name="T3" fmla="*/ 632 h 1790"/>
                  <a:gd name="T4" fmla="*/ 469 w 1791"/>
                  <a:gd name="T5" fmla="*/ 836 h 1790"/>
                  <a:gd name="T6" fmla="*/ 499 w 1791"/>
                  <a:gd name="T7" fmla="*/ 1062 h 1790"/>
                  <a:gd name="T8" fmla="*/ 632 w 1791"/>
                  <a:gd name="T9" fmla="*/ 1236 h 1790"/>
                  <a:gd name="T10" fmla="*/ 837 w 1791"/>
                  <a:gd name="T11" fmla="*/ 1322 h 1790"/>
                  <a:gd name="T12" fmla="*/ 1063 w 1791"/>
                  <a:gd name="T13" fmla="*/ 1292 h 1790"/>
                  <a:gd name="T14" fmla="*/ 1236 w 1791"/>
                  <a:gd name="T15" fmla="*/ 1158 h 1790"/>
                  <a:gd name="T16" fmla="*/ 1323 w 1791"/>
                  <a:gd name="T17" fmla="*/ 953 h 1790"/>
                  <a:gd name="T18" fmla="*/ 1293 w 1791"/>
                  <a:gd name="T19" fmla="*/ 728 h 1790"/>
                  <a:gd name="T20" fmla="*/ 1159 w 1791"/>
                  <a:gd name="T21" fmla="*/ 553 h 1790"/>
                  <a:gd name="T22" fmla="*/ 955 w 1791"/>
                  <a:gd name="T23" fmla="*/ 468 h 1790"/>
                  <a:gd name="T24" fmla="*/ 1052 w 1791"/>
                  <a:gd name="T25" fmla="*/ 3 h 1790"/>
                  <a:gd name="T26" fmla="*/ 1139 w 1791"/>
                  <a:gd name="T27" fmla="*/ 73 h 1790"/>
                  <a:gd name="T28" fmla="*/ 1192 w 1791"/>
                  <a:gd name="T29" fmla="*/ 180 h 1790"/>
                  <a:gd name="T30" fmla="*/ 1303 w 1791"/>
                  <a:gd name="T31" fmla="*/ 142 h 1790"/>
                  <a:gd name="T32" fmla="*/ 1416 w 1791"/>
                  <a:gd name="T33" fmla="*/ 155 h 1790"/>
                  <a:gd name="T34" fmla="*/ 1649 w 1791"/>
                  <a:gd name="T35" fmla="*/ 402 h 1790"/>
                  <a:gd name="T36" fmla="*/ 1636 w 1791"/>
                  <a:gd name="T37" fmla="*/ 513 h 1790"/>
                  <a:gd name="T38" fmla="*/ 1625 w 1791"/>
                  <a:gd name="T39" fmla="*/ 638 h 1790"/>
                  <a:gd name="T40" fmla="*/ 1741 w 1791"/>
                  <a:gd name="T41" fmla="*/ 666 h 1790"/>
                  <a:gd name="T42" fmla="*/ 1791 w 1791"/>
                  <a:gd name="T43" fmla="*/ 769 h 1790"/>
                  <a:gd name="T44" fmla="*/ 1762 w 1791"/>
                  <a:gd name="T45" fmla="*/ 1104 h 1790"/>
                  <a:gd name="T46" fmla="*/ 1659 w 1791"/>
                  <a:gd name="T47" fmla="*/ 1152 h 1790"/>
                  <a:gd name="T48" fmla="*/ 1618 w 1791"/>
                  <a:gd name="T49" fmla="*/ 1252 h 1790"/>
                  <a:gd name="T50" fmla="*/ 1655 w 1791"/>
                  <a:gd name="T51" fmla="*/ 1361 h 1790"/>
                  <a:gd name="T52" fmla="*/ 1439 w 1791"/>
                  <a:gd name="T53" fmla="*/ 1617 h 1790"/>
                  <a:gd name="T54" fmla="*/ 1332 w 1791"/>
                  <a:gd name="T55" fmla="*/ 1655 h 1790"/>
                  <a:gd name="T56" fmla="*/ 1229 w 1791"/>
                  <a:gd name="T57" fmla="*/ 1592 h 1790"/>
                  <a:gd name="T58" fmla="*/ 1149 w 1791"/>
                  <a:gd name="T59" fmla="*/ 1688 h 1790"/>
                  <a:gd name="T60" fmla="*/ 1079 w 1791"/>
                  <a:gd name="T61" fmla="*/ 1777 h 1790"/>
                  <a:gd name="T62" fmla="*/ 740 w 1791"/>
                  <a:gd name="T63" fmla="*/ 1787 h 1790"/>
                  <a:gd name="T64" fmla="*/ 652 w 1791"/>
                  <a:gd name="T65" fmla="*/ 1717 h 1790"/>
                  <a:gd name="T66" fmla="*/ 600 w 1791"/>
                  <a:gd name="T67" fmla="*/ 1609 h 1790"/>
                  <a:gd name="T68" fmla="*/ 487 w 1791"/>
                  <a:gd name="T69" fmla="*/ 1648 h 1790"/>
                  <a:gd name="T70" fmla="*/ 374 w 1791"/>
                  <a:gd name="T71" fmla="*/ 1635 h 1790"/>
                  <a:gd name="T72" fmla="*/ 141 w 1791"/>
                  <a:gd name="T73" fmla="*/ 1389 h 1790"/>
                  <a:gd name="T74" fmla="*/ 154 w 1791"/>
                  <a:gd name="T75" fmla="*/ 1276 h 1790"/>
                  <a:gd name="T76" fmla="*/ 167 w 1791"/>
                  <a:gd name="T77" fmla="*/ 1152 h 1790"/>
                  <a:gd name="T78" fmla="*/ 50 w 1791"/>
                  <a:gd name="T79" fmla="*/ 1124 h 1790"/>
                  <a:gd name="T80" fmla="*/ 0 w 1791"/>
                  <a:gd name="T81" fmla="*/ 1021 h 1790"/>
                  <a:gd name="T82" fmla="*/ 29 w 1791"/>
                  <a:gd name="T83" fmla="*/ 686 h 1790"/>
                  <a:gd name="T84" fmla="*/ 133 w 1791"/>
                  <a:gd name="T85" fmla="*/ 638 h 1790"/>
                  <a:gd name="T86" fmla="*/ 174 w 1791"/>
                  <a:gd name="T87" fmla="*/ 538 h 1790"/>
                  <a:gd name="T88" fmla="*/ 136 w 1791"/>
                  <a:gd name="T89" fmla="*/ 429 h 1790"/>
                  <a:gd name="T90" fmla="*/ 351 w 1791"/>
                  <a:gd name="T91" fmla="*/ 173 h 1790"/>
                  <a:gd name="T92" fmla="*/ 459 w 1791"/>
                  <a:gd name="T93" fmla="*/ 135 h 1790"/>
                  <a:gd name="T94" fmla="*/ 562 w 1791"/>
                  <a:gd name="T95" fmla="*/ 197 h 1790"/>
                  <a:gd name="T96" fmla="*/ 642 w 1791"/>
                  <a:gd name="T97" fmla="*/ 102 h 1790"/>
                  <a:gd name="T98" fmla="*/ 712 w 1791"/>
                  <a:gd name="T99" fmla="*/ 13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91" h="1790">
                    <a:moveTo>
                      <a:pt x="896" y="463"/>
                    </a:moveTo>
                    <a:lnTo>
                      <a:pt x="837" y="468"/>
                    </a:lnTo>
                    <a:lnTo>
                      <a:pt x="780" y="479"/>
                    </a:lnTo>
                    <a:lnTo>
                      <a:pt x="727" y="498"/>
                    </a:lnTo>
                    <a:lnTo>
                      <a:pt x="677" y="523"/>
                    </a:lnTo>
                    <a:lnTo>
                      <a:pt x="632" y="553"/>
                    </a:lnTo>
                    <a:lnTo>
                      <a:pt x="590" y="590"/>
                    </a:lnTo>
                    <a:lnTo>
                      <a:pt x="554" y="632"/>
                    </a:lnTo>
                    <a:lnTo>
                      <a:pt x="523" y="678"/>
                    </a:lnTo>
                    <a:lnTo>
                      <a:pt x="499" y="728"/>
                    </a:lnTo>
                    <a:lnTo>
                      <a:pt x="480" y="781"/>
                    </a:lnTo>
                    <a:lnTo>
                      <a:pt x="469" y="836"/>
                    </a:lnTo>
                    <a:lnTo>
                      <a:pt x="464" y="895"/>
                    </a:lnTo>
                    <a:lnTo>
                      <a:pt x="469" y="953"/>
                    </a:lnTo>
                    <a:lnTo>
                      <a:pt x="480" y="1009"/>
                    </a:lnTo>
                    <a:lnTo>
                      <a:pt x="499" y="1062"/>
                    </a:lnTo>
                    <a:lnTo>
                      <a:pt x="523" y="1112"/>
                    </a:lnTo>
                    <a:lnTo>
                      <a:pt x="554" y="1158"/>
                    </a:lnTo>
                    <a:lnTo>
                      <a:pt x="590" y="1199"/>
                    </a:lnTo>
                    <a:lnTo>
                      <a:pt x="632" y="1236"/>
                    </a:lnTo>
                    <a:lnTo>
                      <a:pt x="677" y="1268"/>
                    </a:lnTo>
                    <a:lnTo>
                      <a:pt x="727" y="1292"/>
                    </a:lnTo>
                    <a:lnTo>
                      <a:pt x="780" y="1311"/>
                    </a:lnTo>
                    <a:lnTo>
                      <a:pt x="837" y="1322"/>
                    </a:lnTo>
                    <a:lnTo>
                      <a:pt x="896" y="1326"/>
                    </a:lnTo>
                    <a:lnTo>
                      <a:pt x="955" y="1322"/>
                    </a:lnTo>
                    <a:lnTo>
                      <a:pt x="1010" y="1311"/>
                    </a:lnTo>
                    <a:lnTo>
                      <a:pt x="1063" y="1292"/>
                    </a:lnTo>
                    <a:lnTo>
                      <a:pt x="1113" y="1268"/>
                    </a:lnTo>
                    <a:lnTo>
                      <a:pt x="1159" y="1236"/>
                    </a:lnTo>
                    <a:lnTo>
                      <a:pt x="1200" y="1199"/>
                    </a:lnTo>
                    <a:lnTo>
                      <a:pt x="1236" y="1158"/>
                    </a:lnTo>
                    <a:lnTo>
                      <a:pt x="1268" y="1112"/>
                    </a:lnTo>
                    <a:lnTo>
                      <a:pt x="1293" y="1062"/>
                    </a:lnTo>
                    <a:lnTo>
                      <a:pt x="1310" y="1009"/>
                    </a:lnTo>
                    <a:lnTo>
                      <a:pt x="1323" y="953"/>
                    </a:lnTo>
                    <a:lnTo>
                      <a:pt x="1326" y="895"/>
                    </a:lnTo>
                    <a:lnTo>
                      <a:pt x="1323" y="836"/>
                    </a:lnTo>
                    <a:lnTo>
                      <a:pt x="1310" y="781"/>
                    </a:lnTo>
                    <a:lnTo>
                      <a:pt x="1293" y="728"/>
                    </a:lnTo>
                    <a:lnTo>
                      <a:pt x="1268" y="678"/>
                    </a:lnTo>
                    <a:lnTo>
                      <a:pt x="1236" y="632"/>
                    </a:lnTo>
                    <a:lnTo>
                      <a:pt x="1200" y="590"/>
                    </a:lnTo>
                    <a:lnTo>
                      <a:pt x="1159" y="553"/>
                    </a:lnTo>
                    <a:lnTo>
                      <a:pt x="1113" y="523"/>
                    </a:lnTo>
                    <a:lnTo>
                      <a:pt x="1063" y="498"/>
                    </a:lnTo>
                    <a:lnTo>
                      <a:pt x="1010" y="479"/>
                    </a:lnTo>
                    <a:lnTo>
                      <a:pt x="955" y="468"/>
                    </a:lnTo>
                    <a:lnTo>
                      <a:pt x="896" y="463"/>
                    </a:lnTo>
                    <a:close/>
                    <a:moveTo>
                      <a:pt x="770" y="0"/>
                    </a:moveTo>
                    <a:lnTo>
                      <a:pt x="1020" y="0"/>
                    </a:lnTo>
                    <a:lnTo>
                      <a:pt x="1052" y="3"/>
                    </a:lnTo>
                    <a:lnTo>
                      <a:pt x="1079" y="13"/>
                    </a:lnTo>
                    <a:lnTo>
                      <a:pt x="1103" y="29"/>
                    </a:lnTo>
                    <a:lnTo>
                      <a:pt x="1125" y="49"/>
                    </a:lnTo>
                    <a:lnTo>
                      <a:pt x="1139" y="73"/>
                    </a:lnTo>
                    <a:lnTo>
                      <a:pt x="1149" y="102"/>
                    </a:lnTo>
                    <a:lnTo>
                      <a:pt x="1153" y="132"/>
                    </a:lnTo>
                    <a:lnTo>
                      <a:pt x="1153" y="166"/>
                    </a:lnTo>
                    <a:lnTo>
                      <a:pt x="1192" y="180"/>
                    </a:lnTo>
                    <a:lnTo>
                      <a:pt x="1229" y="197"/>
                    </a:lnTo>
                    <a:lnTo>
                      <a:pt x="1253" y="173"/>
                    </a:lnTo>
                    <a:lnTo>
                      <a:pt x="1276" y="155"/>
                    </a:lnTo>
                    <a:lnTo>
                      <a:pt x="1303" y="142"/>
                    </a:lnTo>
                    <a:lnTo>
                      <a:pt x="1332" y="135"/>
                    </a:lnTo>
                    <a:lnTo>
                      <a:pt x="1360" y="135"/>
                    </a:lnTo>
                    <a:lnTo>
                      <a:pt x="1389" y="142"/>
                    </a:lnTo>
                    <a:lnTo>
                      <a:pt x="1416" y="155"/>
                    </a:lnTo>
                    <a:lnTo>
                      <a:pt x="1439" y="173"/>
                    </a:lnTo>
                    <a:lnTo>
                      <a:pt x="1618" y="350"/>
                    </a:lnTo>
                    <a:lnTo>
                      <a:pt x="1636" y="375"/>
                    </a:lnTo>
                    <a:lnTo>
                      <a:pt x="1649" y="402"/>
                    </a:lnTo>
                    <a:lnTo>
                      <a:pt x="1655" y="429"/>
                    </a:lnTo>
                    <a:lnTo>
                      <a:pt x="1655" y="459"/>
                    </a:lnTo>
                    <a:lnTo>
                      <a:pt x="1649" y="488"/>
                    </a:lnTo>
                    <a:lnTo>
                      <a:pt x="1636" y="513"/>
                    </a:lnTo>
                    <a:lnTo>
                      <a:pt x="1618" y="538"/>
                    </a:lnTo>
                    <a:lnTo>
                      <a:pt x="1593" y="562"/>
                    </a:lnTo>
                    <a:lnTo>
                      <a:pt x="1609" y="599"/>
                    </a:lnTo>
                    <a:lnTo>
                      <a:pt x="1625" y="638"/>
                    </a:lnTo>
                    <a:lnTo>
                      <a:pt x="1659" y="638"/>
                    </a:lnTo>
                    <a:lnTo>
                      <a:pt x="1689" y="640"/>
                    </a:lnTo>
                    <a:lnTo>
                      <a:pt x="1716" y="651"/>
                    </a:lnTo>
                    <a:lnTo>
                      <a:pt x="1741" y="666"/>
                    </a:lnTo>
                    <a:lnTo>
                      <a:pt x="1762" y="686"/>
                    </a:lnTo>
                    <a:lnTo>
                      <a:pt x="1778" y="712"/>
                    </a:lnTo>
                    <a:lnTo>
                      <a:pt x="1788" y="739"/>
                    </a:lnTo>
                    <a:lnTo>
                      <a:pt x="1791" y="769"/>
                    </a:lnTo>
                    <a:lnTo>
                      <a:pt x="1791" y="1021"/>
                    </a:lnTo>
                    <a:lnTo>
                      <a:pt x="1788" y="1051"/>
                    </a:lnTo>
                    <a:lnTo>
                      <a:pt x="1778" y="1079"/>
                    </a:lnTo>
                    <a:lnTo>
                      <a:pt x="1762" y="1104"/>
                    </a:lnTo>
                    <a:lnTo>
                      <a:pt x="1741" y="1124"/>
                    </a:lnTo>
                    <a:lnTo>
                      <a:pt x="1716" y="1139"/>
                    </a:lnTo>
                    <a:lnTo>
                      <a:pt x="1689" y="1149"/>
                    </a:lnTo>
                    <a:lnTo>
                      <a:pt x="1659" y="1152"/>
                    </a:lnTo>
                    <a:lnTo>
                      <a:pt x="1625" y="1152"/>
                    </a:lnTo>
                    <a:lnTo>
                      <a:pt x="1609" y="1191"/>
                    </a:lnTo>
                    <a:lnTo>
                      <a:pt x="1593" y="1228"/>
                    </a:lnTo>
                    <a:lnTo>
                      <a:pt x="1618" y="1252"/>
                    </a:lnTo>
                    <a:lnTo>
                      <a:pt x="1636" y="1276"/>
                    </a:lnTo>
                    <a:lnTo>
                      <a:pt x="1649" y="1304"/>
                    </a:lnTo>
                    <a:lnTo>
                      <a:pt x="1655" y="1331"/>
                    </a:lnTo>
                    <a:lnTo>
                      <a:pt x="1655" y="1361"/>
                    </a:lnTo>
                    <a:lnTo>
                      <a:pt x="1649" y="1389"/>
                    </a:lnTo>
                    <a:lnTo>
                      <a:pt x="1636" y="1415"/>
                    </a:lnTo>
                    <a:lnTo>
                      <a:pt x="1618" y="1439"/>
                    </a:lnTo>
                    <a:lnTo>
                      <a:pt x="1439" y="1617"/>
                    </a:lnTo>
                    <a:lnTo>
                      <a:pt x="1416" y="1635"/>
                    </a:lnTo>
                    <a:lnTo>
                      <a:pt x="1389" y="1648"/>
                    </a:lnTo>
                    <a:lnTo>
                      <a:pt x="1360" y="1655"/>
                    </a:lnTo>
                    <a:lnTo>
                      <a:pt x="1332" y="1655"/>
                    </a:lnTo>
                    <a:lnTo>
                      <a:pt x="1303" y="1648"/>
                    </a:lnTo>
                    <a:lnTo>
                      <a:pt x="1276" y="1635"/>
                    </a:lnTo>
                    <a:lnTo>
                      <a:pt x="1253" y="1617"/>
                    </a:lnTo>
                    <a:lnTo>
                      <a:pt x="1229" y="1592"/>
                    </a:lnTo>
                    <a:lnTo>
                      <a:pt x="1192" y="1609"/>
                    </a:lnTo>
                    <a:lnTo>
                      <a:pt x="1153" y="1624"/>
                    </a:lnTo>
                    <a:lnTo>
                      <a:pt x="1153" y="1658"/>
                    </a:lnTo>
                    <a:lnTo>
                      <a:pt x="1149" y="1688"/>
                    </a:lnTo>
                    <a:lnTo>
                      <a:pt x="1139" y="1717"/>
                    </a:lnTo>
                    <a:lnTo>
                      <a:pt x="1125" y="1741"/>
                    </a:lnTo>
                    <a:lnTo>
                      <a:pt x="1103" y="1761"/>
                    </a:lnTo>
                    <a:lnTo>
                      <a:pt x="1079" y="1777"/>
                    </a:lnTo>
                    <a:lnTo>
                      <a:pt x="1052" y="1787"/>
                    </a:lnTo>
                    <a:lnTo>
                      <a:pt x="1020" y="1790"/>
                    </a:lnTo>
                    <a:lnTo>
                      <a:pt x="770" y="1790"/>
                    </a:lnTo>
                    <a:lnTo>
                      <a:pt x="740" y="1787"/>
                    </a:lnTo>
                    <a:lnTo>
                      <a:pt x="712" y="1777"/>
                    </a:lnTo>
                    <a:lnTo>
                      <a:pt x="687" y="1761"/>
                    </a:lnTo>
                    <a:lnTo>
                      <a:pt x="667" y="1741"/>
                    </a:lnTo>
                    <a:lnTo>
                      <a:pt x="652" y="1717"/>
                    </a:lnTo>
                    <a:lnTo>
                      <a:pt x="642" y="1688"/>
                    </a:lnTo>
                    <a:lnTo>
                      <a:pt x="637" y="1658"/>
                    </a:lnTo>
                    <a:lnTo>
                      <a:pt x="637" y="1624"/>
                    </a:lnTo>
                    <a:lnTo>
                      <a:pt x="600" y="1609"/>
                    </a:lnTo>
                    <a:lnTo>
                      <a:pt x="562" y="1592"/>
                    </a:lnTo>
                    <a:lnTo>
                      <a:pt x="537" y="1617"/>
                    </a:lnTo>
                    <a:lnTo>
                      <a:pt x="514" y="1635"/>
                    </a:lnTo>
                    <a:lnTo>
                      <a:pt x="487" y="1648"/>
                    </a:lnTo>
                    <a:lnTo>
                      <a:pt x="459" y="1655"/>
                    </a:lnTo>
                    <a:lnTo>
                      <a:pt x="430" y="1655"/>
                    </a:lnTo>
                    <a:lnTo>
                      <a:pt x="401" y="1648"/>
                    </a:lnTo>
                    <a:lnTo>
                      <a:pt x="374" y="1635"/>
                    </a:lnTo>
                    <a:lnTo>
                      <a:pt x="351" y="1617"/>
                    </a:lnTo>
                    <a:lnTo>
                      <a:pt x="174" y="1439"/>
                    </a:lnTo>
                    <a:lnTo>
                      <a:pt x="154" y="1415"/>
                    </a:lnTo>
                    <a:lnTo>
                      <a:pt x="141" y="1389"/>
                    </a:lnTo>
                    <a:lnTo>
                      <a:pt x="136" y="1361"/>
                    </a:lnTo>
                    <a:lnTo>
                      <a:pt x="136" y="1331"/>
                    </a:lnTo>
                    <a:lnTo>
                      <a:pt x="141" y="1304"/>
                    </a:lnTo>
                    <a:lnTo>
                      <a:pt x="154" y="1276"/>
                    </a:lnTo>
                    <a:lnTo>
                      <a:pt x="174" y="1252"/>
                    </a:lnTo>
                    <a:lnTo>
                      <a:pt x="199" y="1228"/>
                    </a:lnTo>
                    <a:lnTo>
                      <a:pt x="181" y="1191"/>
                    </a:lnTo>
                    <a:lnTo>
                      <a:pt x="167" y="1152"/>
                    </a:lnTo>
                    <a:lnTo>
                      <a:pt x="133" y="1152"/>
                    </a:lnTo>
                    <a:lnTo>
                      <a:pt x="101" y="1149"/>
                    </a:lnTo>
                    <a:lnTo>
                      <a:pt x="74" y="1139"/>
                    </a:lnTo>
                    <a:lnTo>
                      <a:pt x="50" y="1124"/>
                    </a:lnTo>
                    <a:lnTo>
                      <a:pt x="29" y="1104"/>
                    </a:lnTo>
                    <a:lnTo>
                      <a:pt x="14" y="1079"/>
                    </a:lnTo>
                    <a:lnTo>
                      <a:pt x="4" y="1051"/>
                    </a:lnTo>
                    <a:lnTo>
                      <a:pt x="0" y="1021"/>
                    </a:lnTo>
                    <a:lnTo>
                      <a:pt x="0" y="769"/>
                    </a:lnTo>
                    <a:lnTo>
                      <a:pt x="4" y="739"/>
                    </a:lnTo>
                    <a:lnTo>
                      <a:pt x="14" y="712"/>
                    </a:lnTo>
                    <a:lnTo>
                      <a:pt x="29" y="686"/>
                    </a:lnTo>
                    <a:lnTo>
                      <a:pt x="50" y="666"/>
                    </a:lnTo>
                    <a:lnTo>
                      <a:pt x="74" y="651"/>
                    </a:lnTo>
                    <a:lnTo>
                      <a:pt x="101" y="640"/>
                    </a:lnTo>
                    <a:lnTo>
                      <a:pt x="133" y="638"/>
                    </a:lnTo>
                    <a:lnTo>
                      <a:pt x="167" y="638"/>
                    </a:lnTo>
                    <a:lnTo>
                      <a:pt x="181" y="599"/>
                    </a:lnTo>
                    <a:lnTo>
                      <a:pt x="199" y="562"/>
                    </a:lnTo>
                    <a:lnTo>
                      <a:pt x="174" y="538"/>
                    </a:lnTo>
                    <a:lnTo>
                      <a:pt x="154" y="513"/>
                    </a:lnTo>
                    <a:lnTo>
                      <a:pt x="141" y="488"/>
                    </a:lnTo>
                    <a:lnTo>
                      <a:pt x="136" y="459"/>
                    </a:lnTo>
                    <a:lnTo>
                      <a:pt x="136" y="429"/>
                    </a:lnTo>
                    <a:lnTo>
                      <a:pt x="141" y="402"/>
                    </a:lnTo>
                    <a:lnTo>
                      <a:pt x="154" y="375"/>
                    </a:lnTo>
                    <a:lnTo>
                      <a:pt x="174" y="350"/>
                    </a:lnTo>
                    <a:lnTo>
                      <a:pt x="351" y="173"/>
                    </a:lnTo>
                    <a:lnTo>
                      <a:pt x="376" y="155"/>
                    </a:lnTo>
                    <a:lnTo>
                      <a:pt x="401" y="142"/>
                    </a:lnTo>
                    <a:lnTo>
                      <a:pt x="430" y="135"/>
                    </a:lnTo>
                    <a:lnTo>
                      <a:pt x="459" y="135"/>
                    </a:lnTo>
                    <a:lnTo>
                      <a:pt x="487" y="142"/>
                    </a:lnTo>
                    <a:lnTo>
                      <a:pt x="514" y="155"/>
                    </a:lnTo>
                    <a:lnTo>
                      <a:pt x="537" y="173"/>
                    </a:lnTo>
                    <a:lnTo>
                      <a:pt x="562" y="197"/>
                    </a:lnTo>
                    <a:lnTo>
                      <a:pt x="600" y="180"/>
                    </a:lnTo>
                    <a:lnTo>
                      <a:pt x="637" y="166"/>
                    </a:lnTo>
                    <a:lnTo>
                      <a:pt x="637" y="132"/>
                    </a:lnTo>
                    <a:lnTo>
                      <a:pt x="642" y="102"/>
                    </a:lnTo>
                    <a:lnTo>
                      <a:pt x="652" y="73"/>
                    </a:lnTo>
                    <a:lnTo>
                      <a:pt x="667" y="49"/>
                    </a:lnTo>
                    <a:lnTo>
                      <a:pt x="687" y="29"/>
                    </a:lnTo>
                    <a:lnTo>
                      <a:pt x="712" y="13"/>
                    </a:lnTo>
                    <a:lnTo>
                      <a:pt x="740" y="3"/>
                    </a:lnTo>
                    <a:lnTo>
                      <a:pt x="7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1" name="Freeform 161"/>
              <p:cNvSpPr>
                <a:spLocks noEditPoints="1"/>
              </p:cNvSpPr>
              <p:nvPr/>
            </p:nvSpPr>
            <p:spPr bwMode="auto">
              <a:xfrm>
                <a:off x="5171" y="3325"/>
                <a:ext cx="710" cy="709"/>
              </a:xfrm>
              <a:custGeom>
                <a:avLst/>
                <a:gdLst>
                  <a:gd name="T0" fmla="*/ 602 w 1421"/>
                  <a:gd name="T1" fmla="*/ 385 h 1419"/>
                  <a:gd name="T2" fmla="*/ 469 w 1421"/>
                  <a:gd name="T3" fmla="*/ 467 h 1419"/>
                  <a:gd name="T4" fmla="*/ 386 w 1421"/>
                  <a:gd name="T5" fmla="*/ 602 h 1419"/>
                  <a:gd name="T6" fmla="*/ 373 w 1421"/>
                  <a:gd name="T7" fmla="*/ 765 h 1419"/>
                  <a:gd name="T8" fmla="*/ 435 w 1421"/>
                  <a:gd name="T9" fmla="*/ 912 h 1419"/>
                  <a:gd name="T10" fmla="*/ 553 w 1421"/>
                  <a:gd name="T11" fmla="*/ 1013 h 1419"/>
                  <a:gd name="T12" fmla="*/ 711 w 1421"/>
                  <a:gd name="T13" fmla="*/ 1051 h 1419"/>
                  <a:gd name="T14" fmla="*/ 868 w 1421"/>
                  <a:gd name="T15" fmla="*/ 1013 h 1419"/>
                  <a:gd name="T16" fmla="*/ 986 w 1421"/>
                  <a:gd name="T17" fmla="*/ 912 h 1419"/>
                  <a:gd name="T18" fmla="*/ 1048 w 1421"/>
                  <a:gd name="T19" fmla="*/ 765 h 1419"/>
                  <a:gd name="T20" fmla="*/ 1035 w 1421"/>
                  <a:gd name="T21" fmla="*/ 602 h 1419"/>
                  <a:gd name="T22" fmla="*/ 952 w 1421"/>
                  <a:gd name="T23" fmla="*/ 467 h 1419"/>
                  <a:gd name="T24" fmla="*/ 819 w 1421"/>
                  <a:gd name="T25" fmla="*/ 385 h 1419"/>
                  <a:gd name="T26" fmla="*/ 611 w 1421"/>
                  <a:gd name="T27" fmla="*/ 0 h 1419"/>
                  <a:gd name="T28" fmla="*/ 864 w 1421"/>
                  <a:gd name="T29" fmla="*/ 14 h 1419"/>
                  <a:gd name="T30" fmla="*/ 911 w 1421"/>
                  <a:gd name="T31" fmla="*/ 76 h 1419"/>
                  <a:gd name="T32" fmla="*/ 975 w 1421"/>
                  <a:gd name="T33" fmla="*/ 156 h 1419"/>
                  <a:gd name="T34" fmla="*/ 1032 w 1421"/>
                  <a:gd name="T35" fmla="*/ 113 h 1419"/>
                  <a:gd name="T36" fmla="*/ 1085 w 1421"/>
                  <a:gd name="T37" fmla="*/ 107 h 1419"/>
                  <a:gd name="T38" fmla="*/ 1142 w 1421"/>
                  <a:gd name="T39" fmla="*/ 137 h 1419"/>
                  <a:gd name="T40" fmla="*/ 1311 w 1421"/>
                  <a:gd name="T41" fmla="*/ 326 h 1419"/>
                  <a:gd name="T42" fmla="*/ 1299 w 1421"/>
                  <a:gd name="T43" fmla="*/ 403 h 1419"/>
                  <a:gd name="T44" fmla="*/ 1288 w 1421"/>
                  <a:gd name="T45" fmla="*/ 505 h 1419"/>
                  <a:gd name="T46" fmla="*/ 1368 w 1421"/>
                  <a:gd name="T47" fmla="*/ 519 h 1419"/>
                  <a:gd name="T48" fmla="*/ 1417 w 1421"/>
                  <a:gd name="T49" fmla="*/ 582 h 1419"/>
                  <a:gd name="T50" fmla="*/ 1417 w 1421"/>
                  <a:gd name="T51" fmla="*/ 836 h 1419"/>
                  <a:gd name="T52" fmla="*/ 1368 w 1421"/>
                  <a:gd name="T53" fmla="*/ 899 h 1419"/>
                  <a:gd name="T54" fmla="*/ 1288 w 1421"/>
                  <a:gd name="T55" fmla="*/ 913 h 1419"/>
                  <a:gd name="T56" fmla="*/ 1299 w 1421"/>
                  <a:gd name="T57" fmla="*/ 1015 h 1419"/>
                  <a:gd name="T58" fmla="*/ 1311 w 1421"/>
                  <a:gd name="T59" fmla="*/ 1093 h 1419"/>
                  <a:gd name="T60" fmla="*/ 1142 w 1421"/>
                  <a:gd name="T61" fmla="*/ 1282 h 1419"/>
                  <a:gd name="T62" fmla="*/ 1068 w 1421"/>
                  <a:gd name="T63" fmla="*/ 1312 h 1419"/>
                  <a:gd name="T64" fmla="*/ 994 w 1421"/>
                  <a:gd name="T65" fmla="*/ 1282 h 1419"/>
                  <a:gd name="T66" fmla="*/ 915 w 1421"/>
                  <a:gd name="T67" fmla="*/ 1315 h 1419"/>
                  <a:gd name="T68" fmla="*/ 884 w 1421"/>
                  <a:gd name="T69" fmla="*/ 1388 h 1419"/>
                  <a:gd name="T70" fmla="*/ 811 w 1421"/>
                  <a:gd name="T71" fmla="*/ 1419 h 1419"/>
                  <a:gd name="T72" fmla="*/ 558 w 1421"/>
                  <a:gd name="T73" fmla="*/ 1405 h 1419"/>
                  <a:gd name="T74" fmla="*/ 511 w 1421"/>
                  <a:gd name="T75" fmla="*/ 1342 h 1419"/>
                  <a:gd name="T76" fmla="*/ 446 w 1421"/>
                  <a:gd name="T77" fmla="*/ 1262 h 1419"/>
                  <a:gd name="T78" fmla="*/ 379 w 1421"/>
                  <a:gd name="T79" fmla="*/ 1309 h 1419"/>
                  <a:gd name="T80" fmla="*/ 302 w 1421"/>
                  <a:gd name="T81" fmla="*/ 1299 h 1419"/>
                  <a:gd name="T82" fmla="*/ 122 w 1421"/>
                  <a:gd name="T83" fmla="*/ 1119 h 1419"/>
                  <a:gd name="T84" fmla="*/ 110 w 1421"/>
                  <a:gd name="T85" fmla="*/ 1041 h 1419"/>
                  <a:gd name="T86" fmla="*/ 158 w 1421"/>
                  <a:gd name="T87" fmla="*/ 973 h 1419"/>
                  <a:gd name="T88" fmla="*/ 78 w 1421"/>
                  <a:gd name="T89" fmla="*/ 911 h 1419"/>
                  <a:gd name="T90" fmla="*/ 15 w 1421"/>
                  <a:gd name="T91" fmla="*/ 862 h 1419"/>
                  <a:gd name="T92" fmla="*/ 0 w 1421"/>
                  <a:gd name="T93" fmla="*/ 610 h 1419"/>
                  <a:gd name="T94" fmla="*/ 32 w 1421"/>
                  <a:gd name="T95" fmla="*/ 536 h 1419"/>
                  <a:gd name="T96" fmla="*/ 106 w 1421"/>
                  <a:gd name="T97" fmla="*/ 505 h 1419"/>
                  <a:gd name="T98" fmla="*/ 139 w 1421"/>
                  <a:gd name="T99" fmla="*/ 426 h 1419"/>
                  <a:gd name="T100" fmla="*/ 108 w 1421"/>
                  <a:gd name="T101" fmla="*/ 352 h 1419"/>
                  <a:gd name="T102" fmla="*/ 139 w 1421"/>
                  <a:gd name="T103" fmla="*/ 277 h 1419"/>
                  <a:gd name="T104" fmla="*/ 326 w 1421"/>
                  <a:gd name="T105" fmla="*/ 110 h 1419"/>
                  <a:gd name="T106" fmla="*/ 405 w 1421"/>
                  <a:gd name="T107" fmla="*/ 120 h 1419"/>
                  <a:gd name="T108" fmla="*/ 506 w 1421"/>
                  <a:gd name="T109" fmla="*/ 132 h 1419"/>
                  <a:gd name="T110" fmla="*/ 521 w 1421"/>
                  <a:gd name="T111" fmla="*/ 52 h 1419"/>
                  <a:gd name="T112" fmla="*/ 583 w 1421"/>
                  <a:gd name="T113" fmla="*/ 3 h 1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21" h="1419">
                    <a:moveTo>
                      <a:pt x="711" y="367"/>
                    </a:moveTo>
                    <a:lnTo>
                      <a:pt x="655" y="372"/>
                    </a:lnTo>
                    <a:lnTo>
                      <a:pt x="602" y="385"/>
                    </a:lnTo>
                    <a:lnTo>
                      <a:pt x="553" y="406"/>
                    </a:lnTo>
                    <a:lnTo>
                      <a:pt x="509" y="433"/>
                    </a:lnTo>
                    <a:lnTo>
                      <a:pt x="469" y="467"/>
                    </a:lnTo>
                    <a:lnTo>
                      <a:pt x="435" y="508"/>
                    </a:lnTo>
                    <a:lnTo>
                      <a:pt x="406" y="552"/>
                    </a:lnTo>
                    <a:lnTo>
                      <a:pt x="386" y="602"/>
                    </a:lnTo>
                    <a:lnTo>
                      <a:pt x="373" y="653"/>
                    </a:lnTo>
                    <a:lnTo>
                      <a:pt x="369" y="709"/>
                    </a:lnTo>
                    <a:lnTo>
                      <a:pt x="373" y="765"/>
                    </a:lnTo>
                    <a:lnTo>
                      <a:pt x="386" y="818"/>
                    </a:lnTo>
                    <a:lnTo>
                      <a:pt x="406" y="866"/>
                    </a:lnTo>
                    <a:lnTo>
                      <a:pt x="435" y="912"/>
                    </a:lnTo>
                    <a:lnTo>
                      <a:pt x="469" y="951"/>
                    </a:lnTo>
                    <a:lnTo>
                      <a:pt x="509" y="985"/>
                    </a:lnTo>
                    <a:lnTo>
                      <a:pt x="553" y="1013"/>
                    </a:lnTo>
                    <a:lnTo>
                      <a:pt x="602" y="1033"/>
                    </a:lnTo>
                    <a:lnTo>
                      <a:pt x="655" y="1046"/>
                    </a:lnTo>
                    <a:lnTo>
                      <a:pt x="711" y="1051"/>
                    </a:lnTo>
                    <a:lnTo>
                      <a:pt x="766" y="1046"/>
                    </a:lnTo>
                    <a:lnTo>
                      <a:pt x="819" y="1033"/>
                    </a:lnTo>
                    <a:lnTo>
                      <a:pt x="868" y="1013"/>
                    </a:lnTo>
                    <a:lnTo>
                      <a:pt x="912" y="985"/>
                    </a:lnTo>
                    <a:lnTo>
                      <a:pt x="952" y="951"/>
                    </a:lnTo>
                    <a:lnTo>
                      <a:pt x="986" y="912"/>
                    </a:lnTo>
                    <a:lnTo>
                      <a:pt x="1014" y="866"/>
                    </a:lnTo>
                    <a:lnTo>
                      <a:pt x="1035" y="818"/>
                    </a:lnTo>
                    <a:lnTo>
                      <a:pt x="1048" y="765"/>
                    </a:lnTo>
                    <a:lnTo>
                      <a:pt x="1052" y="709"/>
                    </a:lnTo>
                    <a:lnTo>
                      <a:pt x="1048" y="653"/>
                    </a:lnTo>
                    <a:lnTo>
                      <a:pt x="1035" y="602"/>
                    </a:lnTo>
                    <a:lnTo>
                      <a:pt x="1014" y="552"/>
                    </a:lnTo>
                    <a:lnTo>
                      <a:pt x="986" y="508"/>
                    </a:lnTo>
                    <a:lnTo>
                      <a:pt x="952" y="467"/>
                    </a:lnTo>
                    <a:lnTo>
                      <a:pt x="912" y="433"/>
                    </a:lnTo>
                    <a:lnTo>
                      <a:pt x="868" y="406"/>
                    </a:lnTo>
                    <a:lnTo>
                      <a:pt x="819" y="385"/>
                    </a:lnTo>
                    <a:lnTo>
                      <a:pt x="766" y="372"/>
                    </a:lnTo>
                    <a:lnTo>
                      <a:pt x="711" y="367"/>
                    </a:lnTo>
                    <a:close/>
                    <a:moveTo>
                      <a:pt x="611" y="0"/>
                    </a:moveTo>
                    <a:lnTo>
                      <a:pt x="811" y="0"/>
                    </a:lnTo>
                    <a:lnTo>
                      <a:pt x="838" y="3"/>
                    </a:lnTo>
                    <a:lnTo>
                      <a:pt x="864" y="14"/>
                    </a:lnTo>
                    <a:lnTo>
                      <a:pt x="884" y="30"/>
                    </a:lnTo>
                    <a:lnTo>
                      <a:pt x="901" y="52"/>
                    </a:lnTo>
                    <a:lnTo>
                      <a:pt x="911" y="76"/>
                    </a:lnTo>
                    <a:lnTo>
                      <a:pt x="915" y="104"/>
                    </a:lnTo>
                    <a:lnTo>
                      <a:pt x="915" y="132"/>
                    </a:lnTo>
                    <a:lnTo>
                      <a:pt x="975" y="156"/>
                    </a:lnTo>
                    <a:lnTo>
                      <a:pt x="994" y="137"/>
                    </a:lnTo>
                    <a:lnTo>
                      <a:pt x="1014" y="122"/>
                    </a:lnTo>
                    <a:lnTo>
                      <a:pt x="1032" y="113"/>
                    </a:lnTo>
                    <a:lnTo>
                      <a:pt x="1052" y="107"/>
                    </a:lnTo>
                    <a:lnTo>
                      <a:pt x="1069" y="107"/>
                    </a:lnTo>
                    <a:lnTo>
                      <a:pt x="1085" y="107"/>
                    </a:lnTo>
                    <a:lnTo>
                      <a:pt x="1095" y="110"/>
                    </a:lnTo>
                    <a:lnTo>
                      <a:pt x="1121" y="120"/>
                    </a:lnTo>
                    <a:lnTo>
                      <a:pt x="1142" y="137"/>
                    </a:lnTo>
                    <a:lnTo>
                      <a:pt x="1282" y="277"/>
                    </a:lnTo>
                    <a:lnTo>
                      <a:pt x="1299" y="300"/>
                    </a:lnTo>
                    <a:lnTo>
                      <a:pt x="1311" y="326"/>
                    </a:lnTo>
                    <a:lnTo>
                      <a:pt x="1314" y="352"/>
                    </a:lnTo>
                    <a:lnTo>
                      <a:pt x="1311" y="379"/>
                    </a:lnTo>
                    <a:lnTo>
                      <a:pt x="1299" y="403"/>
                    </a:lnTo>
                    <a:lnTo>
                      <a:pt x="1282" y="426"/>
                    </a:lnTo>
                    <a:lnTo>
                      <a:pt x="1264" y="445"/>
                    </a:lnTo>
                    <a:lnTo>
                      <a:pt x="1288" y="505"/>
                    </a:lnTo>
                    <a:lnTo>
                      <a:pt x="1315" y="505"/>
                    </a:lnTo>
                    <a:lnTo>
                      <a:pt x="1344" y="509"/>
                    </a:lnTo>
                    <a:lnTo>
                      <a:pt x="1368" y="519"/>
                    </a:lnTo>
                    <a:lnTo>
                      <a:pt x="1389" y="536"/>
                    </a:lnTo>
                    <a:lnTo>
                      <a:pt x="1407" y="558"/>
                    </a:lnTo>
                    <a:lnTo>
                      <a:pt x="1417" y="582"/>
                    </a:lnTo>
                    <a:lnTo>
                      <a:pt x="1421" y="610"/>
                    </a:lnTo>
                    <a:lnTo>
                      <a:pt x="1421" y="809"/>
                    </a:lnTo>
                    <a:lnTo>
                      <a:pt x="1417" y="836"/>
                    </a:lnTo>
                    <a:lnTo>
                      <a:pt x="1407" y="862"/>
                    </a:lnTo>
                    <a:lnTo>
                      <a:pt x="1389" y="883"/>
                    </a:lnTo>
                    <a:lnTo>
                      <a:pt x="1368" y="899"/>
                    </a:lnTo>
                    <a:lnTo>
                      <a:pt x="1344" y="911"/>
                    </a:lnTo>
                    <a:lnTo>
                      <a:pt x="1315" y="913"/>
                    </a:lnTo>
                    <a:lnTo>
                      <a:pt x="1288" y="913"/>
                    </a:lnTo>
                    <a:lnTo>
                      <a:pt x="1264" y="973"/>
                    </a:lnTo>
                    <a:lnTo>
                      <a:pt x="1282" y="993"/>
                    </a:lnTo>
                    <a:lnTo>
                      <a:pt x="1299" y="1015"/>
                    </a:lnTo>
                    <a:lnTo>
                      <a:pt x="1311" y="1041"/>
                    </a:lnTo>
                    <a:lnTo>
                      <a:pt x="1314" y="1066"/>
                    </a:lnTo>
                    <a:lnTo>
                      <a:pt x="1311" y="1093"/>
                    </a:lnTo>
                    <a:lnTo>
                      <a:pt x="1299" y="1119"/>
                    </a:lnTo>
                    <a:lnTo>
                      <a:pt x="1282" y="1141"/>
                    </a:lnTo>
                    <a:lnTo>
                      <a:pt x="1142" y="1282"/>
                    </a:lnTo>
                    <a:lnTo>
                      <a:pt x="1119" y="1299"/>
                    </a:lnTo>
                    <a:lnTo>
                      <a:pt x="1095" y="1309"/>
                    </a:lnTo>
                    <a:lnTo>
                      <a:pt x="1068" y="1312"/>
                    </a:lnTo>
                    <a:lnTo>
                      <a:pt x="1042" y="1309"/>
                    </a:lnTo>
                    <a:lnTo>
                      <a:pt x="1016" y="1299"/>
                    </a:lnTo>
                    <a:lnTo>
                      <a:pt x="994" y="1282"/>
                    </a:lnTo>
                    <a:lnTo>
                      <a:pt x="975" y="1262"/>
                    </a:lnTo>
                    <a:lnTo>
                      <a:pt x="915" y="1288"/>
                    </a:lnTo>
                    <a:lnTo>
                      <a:pt x="915" y="1315"/>
                    </a:lnTo>
                    <a:lnTo>
                      <a:pt x="911" y="1342"/>
                    </a:lnTo>
                    <a:lnTo>
                      <a:pt x="901" y="1368"/>
                    </a:lnTo>
                    <a:lnTo>
                      <a:pt x="884" y="1388"/>
                    </a:lnTo>
                    <a:lnTo>
                      <a:pt x="864" y="1405"/>
                    </a:lnTo>
                    <a:lnTo>
                      <a:pt x="838" y="1415"/>
                    </a:lnTo>
                    <a:lnTo>
                      <a:pt x="811" y="1419"/>
                    </a:lnTo>
                    <a:lnTo>
                      <a:pt x="611" y="1419"/>
                    </a:lnTo>
                    <a:lnTo>
                      <a:pt x="583" y="1415"/>
                    </a:lnTo>
                    <a:lnTo>
                      <a:pt x="558" y="1405"/>
                    </a:lnTo>
                    <a:lnTo>
                      <a:pt x="538" y="1388"/>
                    </a:lnTo>
                    <a:lnTo>
                      <a:pt x="521" y="1368"/>
                    </a:lnTo>
                    <a:lnTo>
                      <a:pt x="511" y="1342"/>
                    </a:lnTo>
                    <a:lnTo>
                      <a:pt x="506" y="1315"/>
                    </a:lnTo>
                    <a:lnTo>
                      <a:pt x="506" y="1288"/>
                    </a:lnTo>
                    <a:lnTo>
                      <a:pt x="446" y="1262"/>
                    </a:lnTo>
                    <a:lnTo>
                      <a:pt x="428" y="1282"/>
                    </a:lnTo>
                    <a:lnTo>
                      <a:pt x="405" y="1299"/>
                    </a:lnTo>
                    <a:lnTo>
                      <a:pt x="379" y="1309"/>
                    </a:lnTo>
                    <a:lnTo>
                      <a:pt x="353" y="1312"/>
                    </a:lnTo>
                    <a:lnTo>
                      <a:pt x="326" y="1309"/>
                    </a:lnTo>
                    <a:lnTo>
                      <a:pt x="302" y="1299"/>
                    </a:lnTo>
                    <a:lnTo>
                      <a:pt x="279" y="1282"/>
                    </a:lnTo>
                    <a:lnTo>
                      <a:pt x="139" y="1141"/>
                    </a:lnTo>
                    <a:lnTo>
                      <a:pt x="122" y="1119"/>
                    </a:lnTo>
                    <a:lnTo>
                      <a:pt x="110" y="1093"/>
                    </a:lnTo>
                    <a:lnTo>
                      <a:pt x="108" y="1066"/>
                    </a:lnTo>
                    <a:lnTo>
                      <a:pt x="110" y="1041"/>
                    </a:lnTo>
                    <a:lnTo>
                      <a:pt x="122" y="1015"/>
                    </a:lnTo>
                    <a:lnTo>
                      <a:pt x="139" y="993"/>
                    </a:lnTo>
                    <a:lnTo>
                      <a:pt x="158" y="973"/>
                    </a:lnTo>
                    <a:lnTo>
                      <a:pt x="133" y="913"/>
                    </a:lnTo>
                    <a:lnTo>
                      <a:pt x="106" y="913"/>
                    </a:lnTo>
                    <a:lnTo>
                      <a:pt x="78" y="911"/>
                    </a:lnTo>
                    <a:lnTo>
                      <a:pt x="53" y="899"/>
                    </a:lnTo>
                    <a:lnTo>
                      <a:pt x="32" y="883"/>
                    </a:lnTo>
                    <a:lnTo>
                      <a:pt x="15" y="862"/>
                    </a:lnTo>
                    <a:lnTo>
                      <a:pt x="5" y="836"/>
                    </a:lnTo>
                    <a:lnTo>
                      <a:pt x="0" y="809"/>
                    </a:lnTo>
                    <a:lnTo>
                      <a:pt x="0" y="610"/>
                    </a:lnTo>
                    <a:lnTo>
                      <a:pt x="5" y="582"/>
                    </a:lnTo>
                    <a:lnTo>
                      <a:pt x="15" y="558"/>
                    </a:lnTo>
                    <a:lnTo>
                      <a:pt x="32" y="536"/>
                    </a:lnTo>
                    <a:lnTo>
                      <a:pt x="53" y="519"/>
                    </a:lnTo>
                    <a:lnTo>
                      <a:pt x="78" y="509"/>
                    </a:lnTo>
                    <a:lnTo>
                      <a:pt x="106" y="505"/>
                    </a:lnTo>
                    <a:lnTo>
                      <a:pt x="133" y="505"/>
                    </a:lnTo>
                    <a:lnTo>
                      <a:pt x="158" y="445"/>
                    </a:lnTo>
                    <a:lnTo>
                      <a:pt x="139" y="426"/>
                    </a:lnTo>
                    <a:lnTo>
                      <a:pt x="122" y="403"/>
                    </a:lnTo>
                    <a:lnTo>
                      <a:pt x="110" y="379"/>
                    </a:lnTo>
                    <a:lnTo>
                      <a:pt x="108" y="352"/>
                    </a:lnTo>
                    <a:lnTo>
                      <a:pt x="110" y="326"/>
                    </a:lnTo>
                    <a:lnTo>
                      <a:pt x="122" y="300"/>
                    </a:lnTo>
                    <a:lnTo>
                      <a:pt x="139" y="277"/>
                    </a:lnTo>
                    <a:lnTo>
                      <a:pt x="279" y="137"/>
                    </a:lnTo>
                    <a:lnTo>
                      <a:pt x="302" y="120"/>
                    </a:lnTo>
                    <a:lnTo>
                      <a:pt x="326" y="110"/>
                    </a:lnTo>
                    <a:lnTo>
                      <a:pt x="353" y="106"/>
                    </a:lnTo>
                    <a:lnTo>
                      <a:pt x="379" y="110"/>
                    </a:lnTo>
                    <a:lnTo>
                      <a:pt x="405" y="120"/>
                    </a:lnTo>
                    <a:lnTo>
                      <a:pt x="428" y="137"/>
                    </a:lnTo>
                    <a:lnTo>
                      <a:pt x="446" y="156"/>
                    </a:lnTo>
                    <a:lnTo>
                      <a:pt x="506" y="132"/>
                    </a:lnTo>
                    <a:lnTo>
                      <a:pt x="506" y="104"/>
                    </a:lnTo>
                    <a:lnTo>
                      <a:pt x="511" y="76"/>
                    </a:lnTo>
                    <a:lnTo>
                      <a:pt x="521" y="52"/>
                    </a:lnTo>
                    <a:lnTo>
                      <a:pt x="538" y="30"/>
                    </a:lnTo>
                    <a:lnTo>
                      <a:pt x="558" y="14"/>
                    </a:lnTo>
                    <a:lnTo>
                      <a:pt x="583" y="3"/>
                    </a:lnTo>
                    <a:lnTo>
                      <a:pt x="6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2" name="Freeform 162"/>
              <p:cNvSpPr>
                <a:spLocks noEditPoints="1"/>
              </p:cNvSpPr>
              <p:nvPr/>
            </p:nvSpPr>
            <p:spPr bwMode="auto">
              <a:xfrm>
                <a:off x="5571" y="2763"/>
                <a:ext cx="598" cy="598"/>
              </a:xfrm>
              <a:custGeom>
                <a:avLst/>
                <a:gdLst>
                  <a:gd name="T0" fmla="*/ 506 w 1194"/>
                  <a:gd name="T1" fmla="*/ 324 h 1196"/>
                  <a:gd name="T2" fmla="*/ 393 w 1194"/>
                  <a:gd name="T3" fmla="*/ 394 h 1196"/>
                  <a:gd name="T4" fmla="*/ 324 w 1194"/>
                  <a:gd name="T5" fmla="*/ 507 h 1196"/>
                  <a:gd name="T6" fmla="*/ 313 w 1194"/>
                  <a:gd name="T7" fmla="*/ 644 h 1196"/>
                  <a:gd name="T8" fmla="*/ 364 w 1194"/>
                  <a:gd name="T9" fmla="*/ 767 h 1196"/>
                  <a:gd name="T10" fmla="*/ 464 w 1194"/>
                  <a:gd name="T11" fmla="*/ 853 h 1196"/>
                  <a:gd name="T12" fmla="*/ 597 w 1194"/>
                  <a:gd name="T13" fmla="*/ 886 h 1196"/>
                  <a:gd name="T14" fmla="*/ 729 w 1194"/>
                  <a:gd name="T15" fmla="*/ 853 h 1196"/>
                  <a:gd name="T16" fmla="*/ 829 w 1194"/>
                  <a:gd name="T17" fmla="*/ 767 h 1196"/>
                  <a:gd name="T18" fmla="*/ 881 w 1194"/>
                  <a:gd name="T19" fmla="*/ 644 h 1196"/>
                  <a:gd name="T20" fmla="*/ 870 w 1194"/>
                  <a:gd name="T21" fmla="*/ 507 h 1196"/>
                  <a:gd name="T22" fmla="*/ 800 w 1194"/>
                  <a:gd name="T23" fmla="*/ 394 h 1196"/>
                  <a:gd name="T24" fmla="*/ 689 w 1194"/>
                  <a:gd name="T25" fmla="*/ 324 h 1196"/>
                  <a:gd name="T26" fmla="*/ 513 w 1194"/>
                  <a:gd name="T27" fmla="*/ 0 h 1196"/>
                  <a:gd name="T28" fmla="*/ 726 w 1194"/>
                  <a:gd name="T29" fmla="*/ 11 h 1196"/>
                  <a:gd name="T30" fmla="*/ 766 w 1194"/>
                  <a:gd name="T31" fmla="*/ 64 h 1196"/>
                  <a:gd name="T32" fmla="*/ 820 w 1194"/>
                  <a:gd name="T33" fmla="*/ 131 h 1196"/>
                  <a:gd name="T34" fmla="*/ 876 w 1194"/>
                  <a:gd name="T35" fmla="*/ 93 h 1196"/>
                  <a:gd name="T36" fmla="*/ 941 w 1194"/>
                  <a:gd name="T37" fmla="*/ 101 h 1196"/>
                  <a:gd name="T38" fmla="*/ 1093 w 1194"/>
                  <a:gd name="T39" fmla="*/ 253 h 1196"/>
                  <a:gd name="T40" fmla="*/ 1102 w 1194"/>
                  <a:gd name="T41" fmla="*/ 319 h 1196"/>
                  <a:gd name="T42" fmla="*/ 1063 w 1194"/>
                  <a:gd name="T43" fmla="*/ 376 h 1196"/>
                  <a:gd name="T44" fmla="*/ 1130 w 1194"/>
                  <a:gd name="T45" fmla="*/ 429 h 1196"/>
                  <a:gd name="T46" fmla="*/ 1183 w 1194"/>
                  <a:gd name="T47" fmla="*/ 469 h 1196"/>
                  <a:gd name="T48" fmla="*/ 1194 w 1194"/>
                  <a:gd name="T49" fmla="*/ 682 h 1196"/>
                  <a:gd name="T50" fmla="*/ 1169 w 1194"/>
                  <a:gd name="T51" fmla="*/ 743 h 1196"/>
                  <a:gd name="T52" fmla="*/ 1106 w 1194"/>
                  <a:gd name="T53" fmla="*/ 770 h 1196"/>
                  <a:gd name="T54" fmla="*/ 1079 w 1194"/>
                  <a:gd name="T55" fmla="*/ 836 h 1196"/>
                  <a:gd name="T56" fmla="*/ 1104 w 1194"/>
                  <a:gd name="T57" fmla="*/ 899 h 1196"/>
                  <a:gd name="T58" fmla="*/ 1079 w 1194"/>
                  <a:gd name="T59" fmla="*/ 962 h 1196"/>
                  <a:gd name="T60" fmla="*/ 920 w 1194"/>
                  <a:gd name="T61" fmla="*/ 1103 h 1196"/>
                  <a:gd name="T62" fmla="*/ 854 w 1194"/>
                  <a:gd name="T63" fmla="*/ 1095 h 1196"/>
                  <a:gd name="T64" fmla="*/ 769 w 1194"/>
                  <a:gd name="T65" fmla="*/ 1085 h 1196"/>
                  <a:gd name="T66" fmla="*/ 757 w 1194"/>
                  <a:gd name="T67" fmla="*/ 1152 h 1196"/>
                  <a:gd name="T68" fmla="*/ 704 w 1194"/>
                  <a:gd name="T69" fmla="*/ 1192 h 1196"/>
                  <a:gd name="T70" fmla="*/ 490 w 1194"/>
                  <a:gd name="T71" fmla="*/ 1192 h 1196"/>
                  <a:gd name="T72" fmla="*/ 437 w 1194"/>
                  <a:gd name="T73" fmla="*/ 1152 h 1196"/>
                  <a:gd name="T74" fmla="*/ 426 w 1194"/>
                  <a:gd name="T75" fmla="*/ 1085 h 1196"/>
                  <a:gd name="T76" fmla="*/ 340 w 1194"/>
                  <a:gd name="T77" fmla="*/ 1095 h 1196"/>
                  <a:gd name="T78" fmla="*/ 274 w 1194"/>
                  <a:gd name="T79" fmla="*/ 1103 h 1196"/>
                  <a:gd name="T80" fmla="*/ 115 w 1194"/>
                  <a:gd name="T81" fmla="*/ 962 h 1196"/>
                  <a:gd name="T82" fmla="*/ 90 w 1194"/>
                  <a:gd name="T83" fmla="*/ 899 h 1196"/>
                  <a:gd name="T84" fmla="*/ 115 w 1194"/>
                  <a:gd name="T85" fmla="*/ 836 h 1196"/>
                  <a:gd name="T86" fmla="*/ 87 w 1194"/>
                  <a:gd name="T87" fmla="*/ 770 h 1196"/>
                  <a:gd name="T88" fmla="*/ 25 w 1194"/>
                  <a:gd name="T89" fmla="*/ 743 h 1196"/>
                  <a:gd name="T90" fmla="*/ 0 w 1194"/>
                  <a:gd name="T91" fmla="*/ 682 h 1196"/>
                  <a:gd name="T92" fmla="*/ 11 w 1194"/>
                  <a:gd name="T93" fmla="*/ 469 h 1196"/>
                  <a:gd name="T94" fmla="*/ 64 w 1194"/>
                  <a:gd name="T95" fmla="*/ 429 h 1196"/>
                  <a:gd name="T96" fmla="*/ 131 w 1194"/>
                  <a:gd name="T97" fmla="*/ 376 h 1196"/>
                  <a:gd name="T98" fmla="*/ 93 w 1194"/>
                  <a:gd name="T99" fmla="*/ 319 h 1196"/>
                  <a:gd name="T100" fmla="*/ 101 w 1194"/>
                  <a:gd name="T101" fmla="*/ 253 h 1196"/>
                  <a:gd name="T102" fmla="*/ 253 w 1194"/>
                  <a:gd name="T103" fmla="*/ 101 h 1196"/>
                  <a:gd name="T104" fmla="*/ 318 w 1194"/>
                  <a:gd name="T105" fmla="*/ 93 h 1196"/>
                  <a:gd name="T106" fmla="*/ 374 w 1194"/>
                  <a:gd name="T107" fmla="*/ 131 h 1196"/>
                  <a:gd name="T108" fmla="*/ 428 w 1194"/>
                  <a:gd name="T109" fmla="*/ 64 h 1196"/>
                  <a:gd name="T110" fmla="*/ 468 w 1194"/>
                  <a:gd name="T111" fmla="*/ 11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94" h="1196">
                    <a:moveTo>
                      <a:pt x="597" y="310"/>
                    </a:moveTo>
                    <a:lnTo>
                      <a:pt x="550" y="313"/>
                    </a:lnTo>
                    <a:lnTo>
                      <a:pt x="506" y="324"/>
                    </a:lnTo>
                    <a:lnTo>
                      <a:pt x="464" y="341"/>
                    </a:lnTo>
                    <a:lnTo>
                      <a:pt x="427" y="366"/>
                    </a:lnTo>
                    <a:lnTo>
                      <a:pt x="393" y="394"/>
                    </a:lnTo>
                    <a:lnTo>
                      <a:pt x="364" y="427"/>
                    </a:lnTo>
                    <a:lnTo>
                      <a:pt x="341" y="466"/>
                    </a:lnTo>
                    <a:lnTo>
                      <a:pt x="324" y="507"/>
                    </a:lnTo>
                    <a:lnTo>
                      <a:pt x="313" y="552"/>
                    </a:lnTo>
                    <a:lnTo>
                      <a:pt x="308" y="597"/>
                    </a:lnTo>
                    <a:lnTo>
                      <a:pt x="313" y="644"/>
                    </a:lnTo>
                    <a:lnTo>
                      <a:pt x="324" y="689"/>
                    </a:lnTo>
                    <a:lnTo>
                      <a:pt x="341" y="730"/>
                    </a:lnTo>
                    <a:lnTo>
                      <a:pt x="364" y="767"/>
                    </a:lnTo>
                    <a:lnTo>
                      <a:pt x="393" y="802"/>
                    </a:lnTo>
                    <a:lnTo>
                      <a:pt x="427" y="830"/>
                    </a:lnTo>
                    <a:lnTo>
                      <a:pt x="464" y="853"/>
                    </a:lnTo>
                    <a:lnTo>
                      <a:pt x="506" y="870"/>
                    </a:lnTo>
                    <a:lnTo>
                      <a:pt x="550" y="882"/>
                    </a:lnTo>
                    <a:lnTo>
                      <a:pt x="597" y="886"/>
                    </a:lnTo>
                    <a:lnTo>
                      <a:pt x="644" y="882"/>
                    </a:lnTo>
                    <a:lnTo>
                      <a:pt x="689" y="870"/>
                    </a:lnTo>
                    <a:lnTo>
                      <a:pt x="729" y="853"/>
                    </a:lnTo>
                    <a:lnTo>
                      <a:pt x="767" y="830"/>
                    </a:lnTo>
                    <a:lnTo>
                      <a:pt x="800" y="802"/>
                    </a:lnTo>
                    <a:lnTo>
                      <a:pt x="829" y="767"/>
                    </a:lnTo>
                    <a:lnTo>
                      <a:pt x="853" y="730"/>
                    </a:lnTo>
                    <a:lnTo>
                      <a:pt x="870" y="689"/>
                    </a:lnTo>
                    <a:lnTo>
                      <a:pt x="881" y="644"/>
                    </a:lnTo>
                    <a:lnTo>
                      <a:pt x="884" y="597"/>
                    </a:lnTo>
                    <a:lnTo>
                      <a:pt x="881" y="552"/>
                    </a:lnTo>
                    <a:lnTo>
                      <a:pt x="870" y="507"/>
                    </a:lnTo>
                    <a:lnTo>
                      <a:pt x="853" y="466"/>
                    </a:lnTo>
                    <a:lnTo>
                      <a:pt x="829" y="427"/>
                    </a:lnTo>
                    <a:lnTo>
                      <a:pt x="800" y="394"/>
                    </a:lnTo>
                    <a:lnTo>
                      <a:pt x="767" y="366"/>
                    </a:lnTo>
                    <a:lnTo>
                      <a:pt x="729" y="341"/>
                    </a:lnTo>
                    <a:lnTo>
                      <a:pt x="689" y="324"/>
                    </a:lnTo>
                    <a:lnTo>
                      <a:pt x="644" y="313"/>
                    </a:lnTo>
                    <a:lnTo>
                      <a:pt x="597" y="310"/>
                    </a:lnTo>
                    <a:close/>
                    <a:moveTo>
                      <a:pt x="513" y="0"/>
                    </a:moveTo>
                    <a:lnTo>
                      <a:pt x="681" y="0"/>
                    </a:lnTo>
                    <a:lnTo>
                      <a:pt x="704" y="3"/>
                    </a:lnTo>
                    <a:lnTo>
                      <a:pt x="726" y="11"/>
                    </a:lnTo>
                    <a:lnTo>
                      <a:pt x="743" y="26"/>
                    </a:lnTo>
                    <a:lnTo>
                      <a:pt x="757" y="43"/>
                    </a:lnTo>
                    <a:lnTo>
                      <a:pt x="766" y="64"/>
                    </a:lnTo>
                    <a:lnTo>
                      <a:pt x="769" y="88"/>
                    </a:lnTo>
                    <a:lnTo>
                      <a:pt x="769" y="111"/>
                    </a:lnTo>
                    <a:lnTo>
                      <a:pt x="820" y="131"/>
                    </a:lnTo>
                    <a:lnTo>
                      <a:pt x="836" y="116"/>
                    </a:lnTo>
                    <a:lnTo>
                      <a:pt x="854" y="101"/>
                    </a:lnTo>
                    <a:lnTo>
                      <a:pt x="876" y="93"/>
                    </a:lnTo>
                    <a:lnTo>
                      <a:pt x="899" y="90"/>
                    </a:lnTo>
                    <a:lnTo>
                      <a:pt x="920" y="93"/>
                    </a:lnTo>
                    <a:lnTo>
                      <a:pt x="941" y="101"/>
                    </a:lnTo>
                    <a:lnTo>
                      <a:pt x="960" y="116"/>
                    </a:lnTo>
                    <a:lnTo>
                      <a:pt x="1079" y="234"/>
                    </a:lnTo>
                    <a:lnTo>
                      <a:pt x="1093" y="253"/>
                    </a:lnTo>
                    <a:lnTo>
                      <a:pt x="1102" y="274"/>
                    </a:lnTo>
                    <a:lnTo>
                      <a:pt x="1104" y="297"/>
                    </a:lnTo>
                    <a:lnTo>
                      <a:pt x="1102" y="319"/>
                    </a:lnTo>
                    <a:lnTo>
                      <a:pt x="1093" y="340"/>
                    </a:lnTo>
                    <a:lnTo>
                      <a:pt x="1079" y="359"/>
                    </a:lnTo>
                    <a:lnTo>
                      <a:pt x="1063" y="376"/>
                    </a:lnTo>
                    <a:lnTo>
                      <a:pt x="1083" y="426"/>
                    </a:lnTo>
                    <a:lnTo>
                      <a:pt x="1106" y="426"/>
                    </a:lnTo>
                    <a:lnTo>
                      <a:pt x="1130" y="429"/>
                    </a:lnTo>
                    <a:lnTo>
                      <a:pt x="1152" y="437"/>
                    </a:lnTo>
                    <a:lnTo>
                      <a:pt x="1169" y="451"/>
                    </a:lnTo>
                    <a:lnTo>
                      <a:pt x="1183" y="469"/>
                    </a:lnTo>
                    <a:lnTo>
                      <a:pt x="1192" y="490"/>
                    </a:lnTo>
                    <a:lnTo>
                      <a:pt x="1194" y="514"/>
                    </a:lnTo>
                    <a:lnTo>
                      <a:pt x="1194" y="682"/>
                    </a:lnTo>
                    <a:lnTo>
                      <a:pt x="1192" y="704"/>
                    </a:lnTo>
                    <a:lnTo>
                      <a:pt x="1183" y="726"/>
                    </a:lnTo>
                    <a:lnTo>
                      <a:pt x="1169" y="743"/>
                    </a:lnTo>
                    <a:lnTo>
                      <a:pt x="1152" y="757"/>
                    </a:lnTo>
                    <a:lnTo>
                      <a:pt x="1130" y="766"/>
                    </a:lnTo>
                    <a:lnTo>
                      <a:pt x="1106" y="770"/>
                    </a:lnTo>
                    <a:lnTo>
                      <a:pt x="1083" y="770"/>
                    </a:lnTo>
                    <a:lnTo>
                      <a:pt x="1063" y="820"/>
                    </a:lnTo>
                    <a:lnTo>
                      <a:pt x="1079" y="836"/>
                    </a:lnTo>
                    <a:lnTo>
                      <a:pt x="1093" y="854"/>
                    </a:lnTo>
                    <a:lnTo>
                      <a:pt x="1102" y="876"/>
                    </a:lnTo>
                    <a:lnTo>
                      <a:pt x="1104" y="899"/>
                    </a:lnTo>
                    <a:lnTo>
                      <a:pt x="1102" y="922"/>
                    </a:lnTo>
                    <a:lnTo>
                      <a:pt x="1093" y="942"/>
                    </a:lnTo>
                    <a:lnTo>
                      <a:pt x="1079" y="962"/>
                    </a:lnTo>
                    <a:lnTo>
                      <a:pt x="960" y="1079"/>
                    </a:lnTo>
                    <a:lnTo>
                      <a:pt x="941" y="1095"/>
                    </a:lnTo>
                    <a:lnTo>
                      <a:pt x="920" y="1103"/>
                    </a:lnTo>
                    <a:lnTo>
                      <a:pt x="899" y="1106"/>
                    </a:lnTo>
                    <a:lnTo>
                      <a:pt x="876" y="1103"/>
                    </a:lnTo>
                    <a:lnTo>
                      <a:pt x="854" y="1095"/>
                    </a:lnTo>
                    <a:lnTo>
                      <a:pt x="836" y="1079"/>
                    </a:lnTo>
                    <a:lnTo>
                      <a:pt x="820" y="1063"/>
                    </a:lnTo>
                    <a:lnTo>
                      <a:pt x="769" y="1085"/>
                    </a:lnTo>
                    <a:lnTo>
                      <a:pt x="769" y="1107"/>
                    </a:lnTo>
                    <a:lnTo>
                      <a:pt x="766" y="1130"/>
                    </a:lnTo>
                    <a:lnTo>
                      <a:pt x="757" y="1152"/>
                    </a:lnTo>
                    <a:lnTo>
                      <a:pt x="743" y="1169"/>
                    </a:lnTo>
                    <a:lnTo>
                      <a:pt x="726" y="1183"/>
                    </a:lnTo>
                    <a:lnTo>
                      <a:pt x="704" y="1192"/>
                    </a:lnTo>
                    <a:lnTo>
                      <a:pt x="681" y="1196"/>
                    </a:lnTo>
                    <a:lnTo>
                      <a:pt x="513" y="1196"/>
                    </a:lnTo>
                    <a:lnTo>
                      <a:pt x="490" y="1192"/>
                    </a:lnTo>
                    <a:lnTo>
                      <a:pt x="468" y="1183"/>
                    </a:lnTo>
                    <a:lnTo>
                      <a:pt x="451" y="1169"/>
                    </a:lnTo>
                    <a:lnTo>
                      <a:pt x="437" y="1152"/>
                    </a:lnTo>
                    <a:lnTo>
                      <a:pt x="428" y="1130"/>
                    </a:lnTo>
                    <a:lnTo>
                      <a:pt x="426" y="1107"/>
                    </a:lnTo>
                    <a:lnTo>
                      <a:pt x="426" y="1085"/>
                    </a:lnTo>
                    <a:lnTo>
                      <a:pt x="374" y="1063"/>
                    </a:lnTo>
                    <a:lnTo>
                      <a:pt x="358" y="1079"/>
                    </a:lnTo>
                    <a:lnTo>
                      <a:pt x="340" y="1095"/>
                    </a:lnTo>
                    <a:lnTo>
                      <a:pt x="318" y="1103"/>
                    </a:lnTo>
                    <a:lnTo>
                      <a:pt x="296" y="1106"/>
                    </a:lnTo>
                    <a:lnTo>
                      <a:pt x="274" y="1103"/>
                    </a:lnTo>
                    <a:lnTo>
                      <a:pt x="253" y="1095"/>
                    </a:lnTo>
                    <a:lnTo>
                      <a:pt x="234" y="1079"/>
                    </a:lnTo>
                    <a:lnTo>
                      <a:pt x="115" y="962"/>
                    </a:lnTo>
                    <a:lnTo>
                      <a:pt x="101" y="942"/>
                    </a:lnTo>
                    <a:lnTo>
                      <a:pt x="93" y="922"/>
                    </a:lnTo>
                    <a:lnTo>
                      <a:pt x="90" y="899"/>
                    </a:lnTo>
                    <a:lnTo>
                      <a:pt x="93" y="876"/>
                    </a:lnTo>
                    <a:lnTo>
                      <a:pt x="101" y="854"/>
                    </a:lnTo>
                    <a:lnTo>
                      <a:pt x="115" y="836"/>
                    </a:lnTo>
                    <a:lnTo>
                      <a:pt x="131" y="820"/>
                    </a:lnTo>
                    <a:lnTo>
                      <a:pt x="110" y="770"/>
                    </a:lnTo>
                    <a:lnTo>
                      <a:pt x="87" y="770"/>
                    </a:lnTo>
                    <a:lnTo>
                      <a:pt x="64" y="766"/>
                    </a:lnTo>
                    <a:lnTo>
                      <a:pt x="43" y="757"/>
                    </a:lnTo>
                    <a:lnTo>
                      <a:pt x="25" y="743"/>
                    </a:lnTo>
                    <a:lnTo>
                      <a:pt x="11" y="726"/>
                    </a:lnTo>
                    <a:lnTo>
                      <a:pt x="3" y="704"/>
                    </a:lnTo>
                    <a:lnTo>
                      <a:pt x="0" y="682"/>
                    </a:lnTo>
                    <a:lnTo>
                      <a:pt x="0" y="514"/>
                    </a:lnTo>
                    <a:lnTo>
                      <a:pt x="3" y="490"/>
                    </a:lnTo>
                    <a:lnTo>
                      <a:pt x="11" y="469"/>
                    </a:lnTo>
                    <a:lnTo>
                      <a:pt x="25" y="451"/>
                    </a:lnTo>
                    <a:lnTo>
                      <a:pt x="43" y="437"/>
                    </a:lnTo>
                    <a:lnTo>
                      <a:pt x="64" y="429"/>
                    </a:lnTo>
                    <a:lnTo>
                      <a:pt x="87" y="426"/>
                    </a:lnTo>
                    <a:lnTo>
                      <a:pt x="110" y="426"/>
                    </a:lnTo>
                    <a:lnTo>
                      <a:pt x="131" y="376"/>
                    </a:lnTo>
                    <a:lnTo>
                      <a:pt x="115" y="359"/>
                    </a:lnTo>
                    <a:lnTo>
                      <a:pt x="101" y="340"/>
                    </a:lnTo>
                    <a:lnTo>
                      <a:pt x="93" y="319"/>
                    </a:lnTo>
                    <a:lnTo>
                      <a:pt x="90" y="297"/>
                    </a:lnTo>
                    <a:lnTo>
                      <a:pt x="93" y="274"/>
                    </a:lnTo>
                    <a:lnTo>
                      <a:pt x="101" y="253"/>
                    </a:lnTo>
                    <a:lnTo>
                      <a:pt x="115" y="234"/>
                    </a:lnTo>
                    <a:lnTo>
                      <a:pt x="234" y="116"/>
                    </a:lnTo>
                    <a:lnTo>
                      <a:pt x="253" y="101"/>
                    </a:lnTo>
                    <a:lnTo>
                      <a:pt x="274" y="93"/>
                    </a:lnTo>
                    <a:lnTo>
                      <a:pt x="296" y="90"/>
                    </a:lnTo>
                    <a:lnTo>
                      <a:pt x="318" y="93"/>
                    </a:lnTo>
                    <a:lnTo>
                      <a:pt x="340" y="101"/>
                    </a:lnTo>
                    <a:lnTo>
                      <a:pt x="358" y="116"/>
                    </a:lnTo>
                    <a:lnTo>
                      <a:pt x="374" y="131"/>
                    </a:lnTo>
                    <a:lnTo>
                      <a:pt x="426" y="111"/>
                    </a:lnTo>
                    <a:lnTo>
                      <a:pt x="426" y="88"/>
                    </a:lnTo>
                    <a:lnTo>
                      <a:pt x="428" y="64"/>
                    </a:lnTo>
                    <a:lnTo>
                      <a:pt x="437" y="43"/>
                    </a:lnTo>
                    <a:lnTo>
                      <a:pt x="451" y="26"/>
                    </a:lnTo>
                    <a:lnTo>
                      <a:pt x="468" y="11"/>
                    </a:lnTo>
                    <a:lnTo>
                      <a:pt x="490" y="3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03" name="Group 102"/>
          <p:cNvGrpSpPr/>
          <p:nvPr/>
        </p:nvGrpSpPr>
        <p:grpSpPr>
          <a:xfrm>
            <a:off x="147993" y="5275973"/>
            <a:ext cx="727877" cy="559995"/>
            <a:chOff x="147993" y="5080087"/>
            <a:chExt cx="727877" cy="559995"/>
          </a:xfrm>
        </p:grpSpPr>
        <p:sp>
          <p:nvSpPr>
            <p:cNvPr id="104" name="Rectangle 17"/>
            <p:cNvSpPr>
              <a:spLocks/>
            </p:cNvSpPr>
            <p:nvPr/>
          </p:nvSpPr>
          <p:spPr bwMode="auto">
            <a:xfrm>
              <a:off x="147993" y="5270750"/>
              <a:ext cx="72787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Объекты инфраструктуры / карты</a:t>
              </a:r>
            </a:p>
          </p:txBody>
        </p:sp>
        <p:grpSp>
          <p:nvGrpSpPr>
            <p:cNvPr id="105" name="Group 104"/>
            <p:cNvGrpSpPr/>
            <p:nvPr/>
          </p:nvGrpSpPr>
          <p:grpSpPr>
            <a:xfrm>
              <a:off x="365905" y="5080087"/>
              <a:ext cx="233576" cy="214640"/>
              <a:chOff x="-1831145" y="1063685"/>
              <a:chExt cx="488634" cy="449020"/>
            </a:xfrm>
            <a:solidFill>
              <a:schemeClr val="bg1"/>
            </a:solidFill>
          </p:grpSpPr>
          <p:sp>
            <p:nvSpPr>
              <p:cNvPr id="106" name="Freeform 7"/>
              <p:cNvSpPr>
                <a:spLocks/>
              </p:cNvSpPr>
              <p:nvPr/>
            </p:nvSpPr>
            <p:spPr bwMode="auto">
              <a:xfrm>
                <a:off x="-1793165" y="1260323"/>
                <a:ext cx="210523" cy="127008"/>
              </a:xfrm>
              <a:custGeom>
                <a:avLst/>
                <a:gdLst>
                  <a:gd name="T0" fmla="*/ 396 w 2061"/>
                  <a:gd name="T1" fmla="*/ 0 h 1245"/>
                  <a:gd name="T2" fmla="*/ 1816 w 2061"/>
                  <a:gd name="T3" fmla="*/ 0 h 1245"/>
                  <a:gd name="T4" fmla="*/ 1869 w 2061"/>
                  <a:gd name="T5" fmla="*/ 137 h 1245"/>
                  <a:gd name="T6" fmla="*/ 1928 w 2061"/>
                  <a:gd name="T7" fmla="*/ 271 h 1245"/>
                  <a:gd name="T8" fmla="*/ 1993 w 2061"/>
                  <a:gd name="T9" fmla="*/ 402 h 1245"/>
                  <a:gd name="T10" fmla="*/ 2061 w 2061"/>
                  <a:gd name="T11" fmla="*/ 528 h 1245"/>
                  <a:gd name="T12" fmla="*/ 1912 w 2061"/>
                  <a:gd name="T13" fmla="*/ 1245 h 1245"/>
                  <a:gd name="T14" fmla="*/ 0 w 2061"/>
                  <a:gd name="T15" fmla="*/ 1037 h 1245"/>
                  <a:gd name="T16" fmla="*/ 272 w 2061"/>
                  <a:gd name="T17" fmla="*/ 93 h 1245"/>
                  <a:gd name="T18" fmla="*/ 284 w 2061"/>
                  <a:gd name="T19" fmla="*/ 67 h 1245"/>
                  <a:gd name="T20" fmla="*/ 299 w 2061"/>
                  <a:gd name="T21" fmla="*/ 45 h 1245"/>
                  <a:gd name="T22" fmla="*/ 319 w 2061"/>
                  <a:gd name="T23" fmla="*/ 26 h 1245"/>
                  <a:gd name="T24" fmla="*/ 342 w 2061"/>
                  <a:gd name="T25" fmla="*/ 13 h 1245"/>
                  <a:gd name="T26" fmla="*/ 368 w 2061"/>
                  <a:gd name="T27" fmla="*/ 5 h 1245"/>
                  <a:gd name="T28" fmla="*/ 396 w 2061"/>
                  <a:gd name="T29" fmla="*/ 0 h 1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61" h="1245">
                    <a:moveTo>
                      <a:pt x="396" y="0"/>
                    </a:moveTo>
                    <a:lnTo>
                      <a:pt x="1816" y="0"/>
                    </a:lnTo>
                    <a:lnTo>
                      <a:pt x="1869" y="137"/>
                    </a:lnTo>
                    <a:lnTo>
                      <a:pt x="1928" y="271"/>
                    </a:lnTo>
                    <a:lnTo>
                      <a:pt x="1993" y="402"/>
                    </a:lnTo>
                    <a:lnTo>
                      <a:pt x="2061" y="528"/>
                    </a:lnTo>
                    <a:lnTo>
                      <a:pt x="1912" y="1245"/>
                    </a:lnTo>
                    <a:lnTo>
                      <a:pt x="0" y="1037"/>
                    </a:lnTo>
                    <a:lnTo>
                      <a:pt x="272" y="93"/>
                    </a:lnTo>
                    <a:lnTo>
                      <a:pt x="284" y="67"/>
                    </a:lnTo>
                    <a:lnTo>
                      <a:pt x="299" y="45"/>
                    </a:lnTo>
                    <a:lnTo>
                      <a:pt x="319" y="26"/>
                    </a:lnTo>
                    <a:lnTo>
                      <a:pt x="342" y="13"/>
                    </a:lnTo>
                    <a:lnTo>
                      <a:pt x="368" y="5"/>
                    </a:lnTo>
                    <a:lnTo>
                      <a:pt x="3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7" name="Freeform 8"/>
              <p:cNvSpPr>
                <a:spLocks/>
              </p:cNvSpPr>
              <p:nvPr/>
            </p:nvSpPr>
            <p:spPr bwMode="auto">
              <a:xfrm>
                <a:off x="-1425618" y="1352209"/>
                <a:ext cx="58603" cy="60645"/>
              </a:xfrm>
              <a:custGeom>
                <a:avLst/>
                <a:gdLst>
                  <a:gd name="T0" fmla="*/ 403 w 575"/>
                  <a:gd name="T1" fmla="*/ 0 h 593"/>
                  <a:gd name="T2" fmla="*/ 575 w 575"/>
                  <a:gd name="T3" fmla="*/ 593 h 593"/>
                  <a:gd name="T4" fmla="*/ 0 w 575"/>
                  <a:gd name="T5" fmla="*/ 531 h 593"/>
                  <a:gd name="T6" fmla="*/ 63 w 575"/>
                  <a:gd name="T7" fmla="*/ 453 h 593"/>
                  <a:gd name="T8" fmla="*/ 128 w 575"/>
                  <a:gd name="T9" fmla="*/ 372 h 593"/>
                  <a:gd name="T10" fmla="*/ 197 w 575"/>
                  <a:gd name="T11" fmla="*/ 285 h 593"/>
                  <a:gd name="T12" fmla="*/ 265 w 575"/>
                  <a:gd name="T13" fmla="*/ 195 h 593"/>
                  <a:gd name="T14" fmla="*/ 335 w 575"/>
                  <a:gd name="T15" fmla="*/ 99 h 593"/>
                  <a:gd name="T16" fmla="*/ 403 w 575"/>
                  <a:gd name="T17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5" h="593">
                    <a:moveTo>
                      <a:pt x="403" y="0"/>
                    </a:moveTo>
                    <a:lnTo>
                      <a:pt x="575" y="593"/>
                    </a:lnTo>
                    <a:lnTo>
                      <a:pt x="0" y="531"/>
                    </a:lnTo>
                    <a:lnTo>
                      <a:pt x="63" y="453"/>
                    </a:lnTo>
                    <a:lnTo>
                      <a:pt x="128" y="372"/>
                    </a:lnTo>
                    <a:lnTo>
                      <a:pt x="197" y="285"/>
                    </a:lnTo>
                    <a:lnTo>
                      <a:pt x="265" y="195"/>
                    </a:lnTo>
                    <a:lnTo>
                      <a:pt x="335" y="99"/>
                    </a:lnTo>
                    <a:lnTo>
                      <a:pt x="4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8" name="Freeform 9"/>
              <p:cNvSpPr>
                <a:spLocks/>
              </p:cNvSpPr>
              <p:nvPr/>
            </p:nvSpPr>
            <p:spPr bwMode="auto">
              <a:xfrm>
                <a:off x="-1558956" y="1361602"/>
                <a:ext cx="31854" cy="33692"/>
              </a:xfrm>
              <a:custGeom>
                <a:avLst/>
                <a:gdLst>
                  <a:gd name="T0" fmla="*/ 63 w 311"/>
                  <a:gd name="T1" fmla="*/ 0 h 328"/>
                  <a:gd name="T2" fmla="*/ 67 w 311"/>
                  <a:gd name="T3" fmla="*/ 6 h 328"/>
                  <a:gd name="T4" fmla="*/ 150 w 311"/>
                  <a:gd name="T5" fmla="*/ 120 h 328"/>
                  <a:gd name="T6" fmla="*/ 231 w 311"/>
                  <a:gd name="T7" fmla="*/ 227 h 328"/>
                  <a:gd name="T8" fmla="*/ 311 w 311"/>
                  <a:gd name="T9" fmla="*/ 328 h 328"/>
                  <a:gd name="T10" fmla="*/ 0 w 311"/>
                  <a:gd name="T11" fmla="*/ 294 h 328"/>
                  <a:gd name="T12" fmla="*/ 63 w 311"/>
                  <a:gd name="T13" fmla="*/ 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1" h="328">
                    <a:moveTo>
                      <a:pt x="63" y="0"/>
                    </a:moveTo>
                    <a:lnTo>
                      <a:pt x="67" y="6"/>
                    </a:lnTo>
                    <a:lnTo>
                      <a:pt x="150" y="120"/>
                    </a:lnTo>
                    <a:lnTo>
                      <a:pt x="231" y="227"/>
                    </a:lnTo>
                    <a:lnTo>
                      <a:pt x="311" y="328"/>
                    </a:lnTo>
                    <a:lnTo>
                      <a:pt x="0" y="294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9" name="Freeform 10"/>
              <p:cNvSpPr>
                <a:spLocks/>
              </p:cNvSpPr>
              <p:nvPr/>
            </p:nvSpPr>
            <p:spPr bwMode="auto">
              <a:xfrm>
                <a:off x="-1831145" y="1404279"/>
                <a:ext cx="225021" cy="108426"/>
              </a:xfrm>
              <a:custGeom>
                <a:avLst/>
                <a:gdLst>
                  <a:gd name="T0" fmla="*/ 265 w 2204"/>
                  <a:gd name="T1" fmla="*/ 0 h 1062"/>
                  <a:gd name="T2" fmla="*/ 2204 w 2204"/>
                  <a:gd name="T3" fmla="*/ 213 h 1062"/>
                  <a:gd name="T4" fmla="*/ 2026 w 2204"/>
                  <a:gd name="T5" fmla="*/ 1062 h 1062"/>
                  <a:gd name="T6" fmla="*/ 128 w 2204"/>
                  <a:gd name="T7" fmla="*/ 1062 h 1062"/>
                  <a:gd name="T8" fmla="*/ 99 w 2204"/>
                  <a:gd name="T9" fmla="*/ 1059 h 1062"/>
                  <a:gd name="T10" fmla="*/ 71 w 2204"/>
                  <a:gd name="T11" fmla="*/ 1049 h 1062"/>
                  <a:gd name="T12" fmla="*/ 47 w 2204"/>
                  <a:gd name="T13" fmla="*/ 1033 h 1062"/>
                  <a:gd name="T14" fmla="*/ 26 w 2204"/>
                  <a:gd name="T15" fmla="*/ 1011 h 1062"/>
                  <a:gd name="T16" fmla="*/ 10 w 2204"/>
                  <a:gd name="T17" fmla="*/ 985 h 1062"/>
                  <a:gd name="T18" fmla="*/ 1 w 2204"/>
                  <a:gd name="T19" fmla="*/ 957 h 1062"/>
                  <a:gd name="T20" fmla="*/ 0 w 2204"/>
                  <a:gd name="T21" fmla="*/ 928 h 1062"/>
                  <a:gd name="T22" fmla="*/ 4 w 2204"/>
                  <a:gd name="T23" fmla="*/ 899 h 1062"/>
                  <a:gd name="T24" fmla="*/ 265 w 2204"/>
                  <a:gd name="T25" fmla="*/ 0 h 10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04" h="1062">
                    <a:moveTo>
                      <a:pt x="265" y="0"/>
                    </a:moveTo>
                    <a:lnTo>
                      <a:pt x="2204" y="213"/>
                    </a:lnTo>
                    <a:lnTo>
                      <a:pt x="2026" y="1062"/>
                    </a:lnTo>
                    <a:lnTo>
                      <a:pt x="128" y="1062"/>
                    </a:lnTo>
                    <a:lnTo>
                      <a:pt x="99" y="1059"/>
                    </a:lnTo>
                    <a:lnTo>
                      <a:pt x="71" y="1049"/>
                    </a:lnTo>
                    <a:lnTo>
                      <a:pt x="47" y="1033"/>
                    </a:lnTo>
                    <a:lnTo>
                      <a:pt x="26" y="1011"/>
                    </a:lnTo>
                    <a:lnTo>
                      <a:pt x="10" y="985"/>
                    </a:lnTo>
                    <a:lnTo>
                      <a:pt x="1" y="957"/>
                    </a:lnTo>
                    <a:lnTo>
                      <a:pt x="0" y="928"/>
                    </a:lnTo>
                    <a:lnTo>
                      <a:pt x="4" y="899"/>
                    </a:lnTo>
                    <a:lnTo>
                      <a:pt x="2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0" name="Freeform 11"/>
              <p:cNvSpPr>
                <a:spLocks/>
              </p:cNvSpPr>
              <p:nvPr/>
            </p:nvSpPr>
            <p:spPr bwMode="auto">
              <a:xfrm>
                <a:off x="-1584276" y="1430211"/>
                <a:ext cx="241765" cy="82494"/>
              </a:xfrm>
              <a:custGeom>
                <a:avLst/>
                <a:gdLst>
                  <a:gd name="T0" fmla="*/ 169 w 2368"/>
                  <a:gd name="T1" fmla="*/ 0 h 807"/>
                  <a:gd name="T2" fmla="*/ 2243 w 2368"/>
                  <a:gd name="T3" fmla="*/ 227 h 807"/>
                  <a:gd name="T4" fmla="*/ 2361 w 2368"/>
                  <a:gd name="T5" fmla="*/ 635 h 807"/>
                  <a:gd name="T6" fmla="*/ 2366 w 2368"/>
                  <a:gd name="T7" fmla="*/ 657 h 807"/>
                  <a:gd name="T8" fmla="*/ 2368 w 2368"/>
                  <a:gd name="T9" fmla="*/ 679 h 807"/>
                  <a:gd name="T10" fmla="*/ 2365 w 2368"/>
                  <a:gd name="T11" fmla="*/ 708 h 807"/>
                  <a:gd name="T12" fmla="*/ 2355 w 2368"/>
                  <a:gd name="T13" fmla="*/ 736 h 807"/>
                  <a:gd name="T14" fmla="*/ 2340 w 2368"/>
                  <a:gd name="T15" fmla="*/ 759 h 807"/>
                  <a:gd name="T16" fmla="*/ 2320 w 2368"/>
                  <a:gd name="T17" fmla="*/ 779 h 807"/>
                  <a:gd name="T18" fmla="*/ 2297 w 2368"/>
                  <a:gd name="T19" fmla="*/ 794 h 807"/>
                  <a:gd name="T20" fmla="*/ 2269 w 2368"/>
                  <a:gd name="T21" fmla="*/ 804 h 807"/>
                  <a:gd name="T22" fmla="*/ 2240 w 2368"/>
                  <a:gd name="T23" fmla="*/ 807 h 807"/>
                  <a:gd name="T24" fmla="*/ 0 w 2368"/>
                  <a:gd name="T25" fmla="*/ 807 h 807"/>
                  <a:gd name="T26" fmla="*/ 169 w 2368"/>
                  <a:gd name="T27" fmla="*/ 0 h 8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68" h="807">
                    <a:moveTo>
                      <a:pt x="169" y="0"/>
                    </a:moveTo>
                    <a:lnTo>
                      <a:pt x="2243" y="227"/>
                    </a:lnTo>
                    <a:lnTo>
                      <a:pt x="2361" y="635"/>
                    </a:lnTo>
                    <a:lnTo>
                      <a:pt x="2366" y="657"/>
                    </a:lnTo>
                    <a:lnTo>
                      <a:pt x="2368" y="679"/>
                    </a:lnTo>
                    <a:lnTo>
                      <a:pt x="2365" y="708"/>
                    </a:lnTo>
                    <a:lnTo>
                      <a:pt x="2355" y="736"/>
                    </a:lnTo>
                    <a:lnTo>
                      <a:pt x="2340" y="759"/>
                    </a:lnTo>
                    <a:lnTo>
                      <a:pt x="2320" y="779"/>
                    </a:lnTo>
                    <a:lnTo>
                      <a:pt x="2297" y="794"/>
                    </a:lnTo>
                    <a:lnTo>
                      <a:pt x="2269" y="804"/>
                    </a:lnTo>
                    <a:lnTo>
                      <a:pt x="2240" y="807"/>
                    </a:lnTo>
                    <a:lnTo>
                      <a:pt x="0" y="807"/>
                    </a:lnTo>
                    <a:lnTo>
                      <a:pt x="1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1" name="Freeform 12"/>
              <p:cNvSpPr>
                <a:spLocks noEditPoints="1"/>
              </p:cNvSpPr>
              <p:nvPr/>
            </p:nvSpPr>
            <p:spPr bwMode="auto">
              <a:xfrm>
                <a:off x="-1601224" y="1063685"/>
                <a:ext cx="258713" cy="361625"/>
              </a:xfrm>
              <a:custGeom>
                <a:avLst/>
                <a:gdLst>
                  <a:gd name="T0" fmla="*/ 1102 w 2535"/>
                  <a:gd name="T1" fmla="*/ 494 h 3540"/>
                  <a:gd name="T2" fmla="*/ 877 w 2535"/>
                  <a:gd name="T3" fmla="*/ 583 h 3540"/>
                  <a:gd name="T4" fmla="*/ 693 w 2535"/>
                  <a:gd name="T5" fmla="*/ 733 h 3540"/>
                  <a:gd name="T6" fmla="*/ 563 w 2535"/>
                  <a:gd name="T7" fmla="*/ 931 h 3540"/>
                  <a:gd name="T8" fmla="*/ 499 w 2535"/>
                  <a:gd name="T9" fmla="*/ 1166 h 3540"/>
                  <a:gd name="T10" fmla="*/ 512 w 2535"/>
                  <a:gd name="T11" fmla="*/ 1417 h 3540"/>
                  <a:gd name="T12" fmla="*/ 599 w 2535"/>
                  <a:gd name="T13" fmla="*/ 1641 h 3540"/>
                  <a:gd name="T14" fmla="*/ 749 w 2535"/>
                  <a:gd name="T15" fmla="*/ 1825 h 3540"/>
                  <a:gd name="T16" fmla="*/ 948 w 2535"/>
                  <a:gd name="T17" fmla="*/ 1956 h 3540"/>
                  <a:gd name="T18" fmla="*/ 1184 w 2535"/>
                  <a:gd name="T19" fmla="*/ 2020 h 3540"/>
                  <a:gd name="T20" fmla="*/ 1434 w 2535"/>
                  <a:gd name="T21" fmla="*/ 2007 h 3540"/>
                  <a:gd name="T22" fmla="*/ 1658 w 2535"/>
                  <a:gd name="T23" fmla="*/ 1920 h 3540"/>
                  <a:gd name="T24" fmla="*/ 1843 w 2535"/>
                  <a:gd name="T25" fmla="*/ 1769 h 3540"/>
                  <a:gd name="T26" fmla="*/ 1972 w 2535"/>
                  <a:gd name="T27" fmla="*/ 1571 h 3540"/>
                  <a:gd name="T28" fmla="*/ 2037 w 2535"/>
                  <a:gd name="T29" fmla="*/ 1335 h 3540"/>
                  <a:gd name="T30" fmla="*/ 2023 w 2535"/>
                  <a:gd name="T31" fmla="*/ 1085 h 3540"/>
                  <a:gd name="T32" fmla="*/ 1936 w 2535"/>
                  <a:gd name="T33" fmla="*/ 861 h 3540"/>
                  <a:gd name="T34" fmla="*/ 1786 w 2535"/>
                  <a:gd name="T35" fmla="*/ 676 h 3540"/>
                  <a:gd name="T36" fmla="*/ 1587 w 2535"/>
                  <a:gd name="T37" fmla="*/ 545 h 3540"/>
                  <a:gd name="T38" fmla="*/ 1351 w 2535"/>
                  <a:gd name="T39" fmla="*/ 481 h 3540"/>
                  <a:gd name="T40" fmla="*/ 1377 w 2535"/>
                  <a:gd name="T41" fmla="*/ 4 h 3540"/>
                  <a:gd name="T42" fmla="*/ 1687 w 2535"/>
                  <a:gd name="T43" fmla="*/ 71 h 3540"/>
                  <a:gd name="T44" fmla="*/ 1965 w 2535"/>
                  <a:gd name="T45" fmla="*/ 209 h 3540"/>
                  <a:gd name="T46" fmla="*/ 2199 w 2535"/>
                  <a:gd name="T47" fmla="*/ 409 h 3540"/>
                  <a:gd name="T48" fmla="*/ 2379 w 2535"/>
                  <a:gd name="T49" fmla="*/ 657 h 3540"/>
                  <a:gd name="T50" fmla="*/ 2494 w 2535"/>
                  <a:gd name="T51" fmla="*/ 948 h 3540"/>
                  <a:gd name="T52" fmla="*/ 2535 w 2535"/>
                  <a:gd name="T53" fmla="*/ 1267 h 3540"/>
                  <a:gd name="T54" fmla="*/ 2497 w 2535"/>
                  <a:gd name="T55" fmla="*/ 1594 h 3540"/>
                  <a:gd name="T56" fmla="*/ 2395 w 2535"/>
                  <a:gd name="T57" fmla="*/ 1924 h 3540"/>
                  <a:gd name="T58" fmla="*/ 2248 w 2535"/>
                  <a:gd name="T59" fmla="*/ 2246 h 3540"/>
                  <a:gd name="T60" fmla="*/ 2075 w 2535"/>
                  <a:gd name="T61" fmla="*/ 2545 h 3540"/>
                  <a:gd name="T62" fmla="*/ 1898 w 2535"/>
                  <a:gd name="T63" fmla="*/ 2812 h 3540"/>
                  <a:gd name="T64" fmla="*/ 1726 w 2535"/>
                  <a:gd name="T65" fmla="*/ 3041 h 3540"/>
                  <a:gd name="T66" fmla="*/ 1566 w 2535"/>
                  <a:gd name="T67" fmla="*/ 3241 h 3540"/>
                  <a:gd name="T68" fmla="*/ 1428 w 2535"/>
                  <a:gd name="T69" fmla="*/ 3401 h 3540"/>
                  <a:gd name="T70" fmla="*/ 1320 w 2535"/>
                  <a:gd name="T71" fmla="*/ 3517 h 3540"/>
                  <a:gd name="T72" fmla="*/ 1268 w 2535"/>
                  <a:gd name="T73" fmla="*/ 3540 h 3540"/>
                  <a:gd name="T74" fmla="*/ 1214 w 2535"/>
                  <a:gd name="T75" fmla="*/ 3517 h 3540"/>
                  <a:gd name="T76" fmla="*/ 1108 w 2535"/>
                  <a:gd name="T77" fmla="*/ 3401 h 3540"/>
                  <a:gd name="T78" fmla="*/ 968 w 2535"/>
                  <a:gd name="T79" fmla="*/ 3241 h 3540"/>
                  <a:gd name="T80" fmla="*/ 808 w 2535"/>
                  <a:gd name="T81" fmla="*/ 3043 h 3540"/>
                  <a:gd name="T82" fmla="*/ 638 w 2535"/>
                  <a:gd name="T83" fmla="*/ 2813 h 3540"/>
                  <a:gd name="T84" fmla="*/ 459 w 2535"/>
                  <a:gd name="T85" fmla="*/ 2547 h 3540"/>
                  <a:gd name="T86" fmla="*/ 288 w 2535"/>
                  <a:gd name="T87" fmla="*/ 2246 h 3540"/>
                  <a:gd name="T88" fmla="*/ 141 w 2535"/>
                  <a:gd name="T89" fmla="*/ 1924 h 3540"/>
                  <a:gd name="T90" fmla="*/ 37 w 2535"/>
                  <a:gd name="T91" fmla="*/ 1594 h 3540"/>
                  <a:gd name="T92" fmla="*/ 0 w 2535"/>
                  <a:gd name="T93" fmla="*/ 1267 h 3540"/>
                  <a:gd name="T94" fmla="*/ 40 w 2535"/>
                  <a:gd name="T95" fmla="*/ 948 h 3540"/>
                  <a:gd name="T96" fmla="*/ 155 w 2535"/>
                  <a:gd name="T97" fmla="*/ 657 h 3540"/>
                  <a:gd name="T98" fmla="*/ 336 w 2535"/>
                  <a:gd name="T99" fmla="*/ 409 h 3540"/>
                  <a:gd name="T100" fmla="*/ 570 w 2535"/>
                  <a:gd name="T101" fmla="*/ 209 h 3540"/>
                  <a:gd name="T102" fmla="*/ 848 w 2535"/>
                  <a:gd name="T103" fmla="*/ 71 h 3540"/>
                  <a:gd name="T104" fmla="*/ 1157 w 2535"/>
                  <a:gd name="T105" fmla="*/ 4 h 3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35" h="3540">
                    <a:moveTo>
                      <a:pt x="1268" y="477"/>
                    </a:moveTo>
                    <a:lnTo>
                      <a:pt x="1184" y="481"/>
                    </a:lnTo>
                    <a:lnTo>
                      <a:pt x="1102" y="494"/>
                    </a:lnTo>
                    <a:lnTo>
                      <a:pt x="1024" y="516"/>
                    </a:lnTo>
                    <a:lnTo>
                      <a:pt x="948" y="545"/>
                    </a:lnTo>
                    <a:lnTo>
                      <a:pt x="877" y="583"/>
                    </a:lnTo>
                    <a:lnTo>
                      <a:pt x="810" y="627"/>
                    </a:lnTo>
                    <a:lnTo>
                      <a:pt x="749" y="676"/>
                    </a:lnTo>
                    <a:lnTo>
                      <a:pt x="693" y="733"/>
                    </a:lnTo>
                    <a:lnTo>
                      <a:pt x="643" y="794"/>
                    </a:lnTo>
                    <a:lnTo>
                      <a:pt x="599" y="861"/>
                    </a:lnTo>
                    <a:lnTo>
                      <a:pt x="563" y="931"/>
                    </a:lnTo>
                    <a:lnTo>
                      <a:pt x="533" y="1006"/>
                    </a:lnTo>
                    <a:lnTo>
                      <a:pt x="512" y="1085"/>
                    </a:lnTo>
                    <a:lnTo>
                      <a:pt x="499" y="1166"/>
                    </a:lnTo>
                    <a:lnTo>
                      <a:pt x="493" y="1251"/>
                    </a:lnTo>
                    <a:lnTo>
                      <a:pt x="499" y="1335"/>
                    </a:lnTo>
                    <a:lnTo>
                      <a:pt x="512" y="1417"/>
                    </a:lnTo>
                    <a:lnTo>
                      <a:pt x="533" y="1495"/>
                    </a:lnTo>
                    <a:lnTo>
                      <a:pt x="563" y="1571"/>
                    </a:lnTo>
                    <a:lnTo>
                      <a:pt x="599" y="1641"/>
                    </a:lnTo>
                    <a:lnTo>
                      <a:pt x="643" y="1708"/>
                    </a:lnTo>
                    <a:lnTo>
                      <a:pt x="693" y="1769"/>
                    </a:lnTo>
                    <a:lnTo>
                      <a:pt x="749" y="1825"/>
                    </a:lnTo>
                    <a:lnTo>
                      <a:pt x="810" y="1875"/>
                    </a:lnTo>
                    <a:lnTo>
                      <a:pt x="877" y="1920"/>
                    </a:lnTo>
                    <a:lnTo>
                      <a:pt x="948" y="1956"/>
                    </a:lnTo>
                    <a:lnTo>
                      <a:pt x="1024" y="1985"/>
                    </a:lnTo>
                    <a:lnTo>
                      <a:pt x="1102" y="2007"/>
                    </a:lnTo>
                    <a:lnTo>
                      <a:pt x="1184" y="2020"/>
                    </a:lnTo>
                    <a:lnTo>
                      <a:pt x="1268" y="2025"/>
                    </a:lnTo>
                    <a:lnTo>
                      <a:pt x="1351" y="2020"/>
                    </a:lnTo>
                    <a:lnTo>
                      <a:pt x="1434" y="2007"/>
                    </a:lnTo>
                    <a:lnTo>
                      <a:pt x="1512" y="1985"/>
                    </a:lnTo>
                    <a:lnTo>
                      <a:pt x="1587" y="1956"/>
                    </a:lnTo>
                    <a:lnTo>
                      <a:pt x="1658" y="1920"/>
                    </a:lnTo>
                    <a:lnTo>
                      <a:pt x="1725" y="1875"/>
                    </a:lnTo>
                    <a:lnTo>
                      <a:pt x="1786" y="1825"/>
                    </a:lnTo>
                    <a:lnTo>
                      <a:pt x="1843" y="1769"/>
                    </a:lnTo>
                    <a:lnTo>
                      <a:pt x="1892" y="1708"/>
                    </a:lnTo>
                    <a:lnTo>
                      <a:pt x="1936" y="1641"/>
                    </a:lnTo>
                    <a:lnTo>
                      <a:pt x="1972" y="1571"/>
                    </a:lnTo>
                    <a:lnTo>
                      <a:pt x="2003" y="1495"/>
                    </a:lnTo>
                    <a:lnTo>
                      <a:pt x="2023" y="1417"/>
                    </a:lnTo>
                    <a:lnTo>
                      <a:pt x="2037" y="1335"/>
                    </a:lnTo>
                    <a:lnTo>
                      <a:pt x="2042" y="1251"/>
                    </a:lnTo>
                    <a:lnTo>
                      <a:pt x="2037" y="1166"/>
                    </a:lnTo>
                    <a:lnTo>
                      <a:pt x="2023" y="1085"/>
                    </a:lnTo>
                    <a:lnTo>
                      <a:pt x="2003" y="1006"/>
                    </a:lnTo>
                    <a:lnTo>
                      <a:pt x="1972" y="931"/>
                    </a:lnTo>
                    <a:lnTo>
                      <a:pt x="1936" y="861"/>
                    </a:lnTo>
                    <a:lnTo>
                      <a:pt x="1892" y="794"/>
                    </a:lnTo>
                    <a:lnTo>
                      <a:pt x="1843" y="733"/>
                    </a:lnTo>
                    <a:lnTo>
                      <a:pt x="1786" y="676"/>
                    </a:lnTo>
                    <a:lnTo>
                      <a:pt x="1725" y="627"/>
                    </a:lnTo>
                    <a:lnTo>
                      <a:pt x="1658" y="583"/>
                    </a:lnTo>
                    <a:lnTo>
                      <a:pt x="1587" y="545"/>
                    </a:lnTo>
                    <a:lnTo>
                      <a:pt x="1512" y="516"/>
                    </a:lnTo>
                    <a:lnTo>
                      <a:pt x="1434" y="494"/>
                    </a:lnTo>
                    <a:lnTo>
                      <a:pt x="1351" y="481"/>
                    </a:lnTo>
                    <a:lnTo>
                      <a:pt x="1268" y="477"/>
                    </a:lnTo>
                    <a:close/>
                    <a:moveTo>
                      <a:pt x="1268" y="0"/>
                    </a:moveTo>
                    <a:lnTo>
                      <a:pt x="1377" y="4"/>
                    </a:lnTo>
                    <a:lnTo>
                      <a:pt x="1483" y="17"/>
                    </a:lnTo>
                    <a:lnTo>
                      <a:pt x="1587" y="41"/>
                    </a:lnTo>
                    <a:lnTo>
                      <a:pt x="1687" y="71"/>
                    </a:lnTo>
                    <a:lnTo>
                      <a:pt x="1784" y="110"/>
                    </a:lnTo>
                    <a:lnTo>
                      <a:pt x="1877" y="156"/>
                    </a:lnTo>
                    <a:lnTo>
                      <a:pt x="1965" y="209"/>
                    </a:lnTo>
                    <a:lnTo>
                      <a:pt x="2049" y="269"/>
                    </a:lnTo>
                    <a:lnTo>
                      <a:pt x="2126" y="336"/>
                    </a:lnTo>
                    <a:lnTo>
                      <a:pt x="2199" y="409"/>
                    </a:lnTo>
                    <a:lnTo>
                      <a:pt x="2266" y="486"/>
                    </a:lnTo>
                    <a:lnTo>
                      <a:pt x="2325" y="570"/>
                    </a:lnTo>
                    <a:lnTo>
                      <a:pt x="2379" y="657"/>
                    </a:lnTo>
                    <a:lnTo>
                      <a:pt x="2424" y="750"/>
                    </a:lnTo>
                    <a:lnTo>
                      <a:pt x="2464" y="848"/>
                    </a:lnTo>
                    <a:lnTo>
                      <a:pt x="2494" y="948"/>
                    </a:lnTo>
                    <a:lnTo>
                      <a:pt x="2517" y="1052"/>
                    </a:lnTo>
                    <a:lnTo>
                      <a:pt x="2531" y="1158"/>
                    </a:lnTo>
                    <a:lnTo>
                      <a:pt x="2535" y="1267"/>
                    </a:lnTo>
                    <a:lnTo>
                      <a:pt x="2531" y="1376"/>
                    </a:lnTo>
                    <a:lnTo>
                      <a:pt x="2517" y="1485"/>
                    </a:lnTo>
                    <a:lnTo>
                      <a:pt x="2497" y="1594"/>
                    </a:lnTo>
                    <a:lnTo>
                      <a:pt x="2469" y="1705"/>
                    </a:lnTo>
                    <a:lnTo>
                      <a:pt x="2435" y="1815"/>
                    </a:lnTo>
                    <a:lnTo>
                      <a:pt x="2395" y="1924"/>
                    </a:lnTo>
                    <a:lnTo>
                      <a:pt x="2350" y="2033"/>
                    </a:lnTo>
                    <a:lnTo>
                      <a:pt x="2301" y="2140"/>
                    </a:lnTo>
                    <a:lnTo>
                      <a:pt x="2248" y="2246"/>
                    </a:lnTo>
                    <a:lnTo>
                      <a:pt x="2193" y="2349"/>
                    </a:lnTo>
                    <a:lnTo>
                      <a:pt x="2135" y="2448"/>
                    </a:lnTo>
                    <a:lnTo>
                      <a:pt x="2075" y="2545"/>
                    </a:lnTo>
                    <a:lnTo>
                      <a:pt x="2016" y="2638"/>
                    </a:lnTo>
                    <a:lnTo>
                      <a:pt x="1957" y="2727"/>
                    </a:lnTo>
                    <a:lnTo>
                      <a:pt x="1898" y="2812"/>
                    </a:lnTo>
                    <a:lnTo>
                      <a:pt x="1841" y="2892"/>
                    </a:lnTo>
                    <a:lnTo>
                      <a:pt x="1783" y="2969"/>
                    </a:lnTo>
                    <a:lnTo>
                      <a:pt x="1726" y="3041"/>
                    </a:lnTo>
                    <a:lnTo>
                      <a:pt x="1671" y="3111"/>
                    </a:lnTo>
                    <a:lnTo>
                      <a:pt x="1619" y="3178"/>
                    </a:lnTo>
                    <a:lnTo>
                      <a:pt x="1566" y="3241"/>
                    </a:lnTo>
                    <a:lnTo>
                      <a:pt x="1517" y="3297"/>
                    </a:lnTo>
                    <a:lnTo>
                      <a:pt x="1470" y="3351"/>
                    </a:lnTo>
                    <a:lnTo>
                      <a:pt x="1428" y="3401"/>
                    </a:lnTo>
                    <a:lnTo>
                      <a:pt x="1387" y="3444"/>
                    </a:lnTo>
                    <a:lnTo>
                      <a:pt x="1352" y="3484"/>
                    </a:lnTo>
                    <a:lnTo>
                      <a:pt x="1320" y="3517"/>
                    </a:lnTo>
                    <a:lnTo>
                      <a:pt x="1304" y="3530"/>
                    </a:lnTo>
                    <a:lnTo>
                      <a:pt x="1287" y="3537"/>
                    </a:lnTo>
                    <a:lnTo>
                      <a:pt x="1268" y="3540"/>
                    </a:lnTo>
                    <a:lnTo>
                      <a:pt x="1248" y="3537"/>
                    </a:lnTo>
                    <a:lnTo>
                      <a:pt x="1230" y="3530"/>
                    </a:lnTo>
                    <a:lnTo>
                      <a:pt x="1214" y="3517"/>
                    </a:lnTo>
                    <a:lnTo>
                      <a:pt x="1184" y="3484"/>
                    </a:lnTo>
                    <a:lnTo>
                      <a:pt x="1147" y="3444"/>
                    </a:lnTo>
                    <a:lnTo>
                      <a:pt x="1108" y="3401"/>
                    </a:lnTo>
                    <a:lnTo>
                      <a:pt x="1064" y="3353"/>
                    </a:lnTo>
                    <a:lnTo>
                      <a:pt x="1018" y="3299"/>
                    </a:lnTo>
                    <a:lnTo>
                      <a:pt x="968" y="3241"/>
                    </a:lnTo>
                    <a:lnTo>
                      <a:pt x="917" y="3178"/>
                    </a:lnTo>
                    <a:lnTo>
                      <a:pt x="864" y="3113"/>
                    </a:lnTo>
                    <a:lnTo>
                      <a:pt x="808" y="3043"/>
                    </a:lnTo>
                    <a:lnTo>
                      <a:pt x="752" y="2969"/>
                    </a:lnTo>
                    <a:lnTo>
                      <a:pt x="695" y="2893"/>
                    </a:lnTo>
                    <a:lnTo>
                      <a:pt x="638" y="2813"/>
                    </a:lnTo>
                    <a:lnTo>
                      <a:pt x="579" y="2729"/>
                    </a:lnTo>
                    <a:lnTo>
                      <a:pt x="519" y="2640"/>
                    </a:lnTo>
                    <a:lnTo>
                      <a:pt x="459" y="2547"/>
                    </a:lnTo>
                    <a:lnTo>
                      <a:pt x="401" y="2449"/>
                    </a:lnTo>
                    <a:lnTo>
                      <a:pt x="343" y="2349"/>
                    </a:lnTo>
                    <a:lnTo>
                      <a:pt x="288" y="2246"/>
                    </a:lnTo>
                    <a:lnTo>
                      <a:pt x="234" y="2141"/>
                    </a:lnTo>
                    <a:lnTo>
                      <a:pt x="186" y="2033"/>
                    </a:lnTo>
                    <a:lnTo>
                      <a:pt x="141" y="1924"/>
                    </a:lnTo>
                    <a:lnTo>
                      <a:pt x="100" y="1815"/>
                    </a:lnTo>
                    <a:lnTo>
                      <a:pt x="67" y="1705"/>
                    </a:lnTo>
                    <a:lnTo>
                      <a:pt x="37" y="1594"/>
                    </a:lnTo>
                    <a:lnTo>
                      <a:pt x="17" y="1485"/>
                    </a:lnTo>
                    <a:lnTo>
                      <a:pt x="4" y="1376"/>
                    </a:lnTo>
                    <a:lnTo>
                      <a:pt x="0" y="1267"/>
                    </a:lnTo>
                    <a:lnTo>
                      <a:pt x="4" y="1158"/>
                    </a:lnTo>
                    <a:lnTo>
                      <a:pt x="19" y="1052"/>
                    </a:lnTo>
                    <a:lnTo>
                      <a:pt x="40" y="948"/>
                    </a:lnTo>
                    <a:lnTo>
                      <a:pt x="71" y="848"/>
                    </a:lnTo>
                    <a:lnTo>
                      <a:pt x="110" y="750"/>
                    </a:lnTo>
                    <a:lnTo>
                      <a:pt x="155" y="657"/>
                    </a:lnTo>
                    <a:lnTo>
                      <a:pt x="209" y="570"/>
                    </a:lnTo>
                    <a:lnTo>
                      <a:pt x="269" y="486"/>
                    </a:lnTo>
                    <a:lnTo>
                      <a:pt x="336" y="409"/>
                    </a:lnTo>
                    <a:lnTo>
                      <a:pt x="408" y="336"/>
                    </a:lnTo>
                    <a:lnTo>
                      <a:pt x="487" y="269"/>
                    </a:lnTo>
                    <a:lnTo>
                      <a:pt x="570" y="209"/>
                    </a:lnTo>
                    <a:lnTo>
                      <a:pt x="659" y="156"/>
                    </a:lnTo>
                    <a:lnTo>
                      <a:pt x="750" y="110"/>
                    </a:lnTo>
                    <a:lnTo>
                      <a:pt x="848" y="71"/>
                    </a:lnTo>
                    <a:lnTo>
                      <a:pt x="948" y="41"/>
                    </a:lnTo>
                    <a:lnTo>
                      <a:pt x="1051" y="17"/>
                    </a:lnTo>
                    <a:lnTo>
                      <a:pt x="1157" y="4"/>
                    </a:lnTo>
                    <a:lnTo>
                      <a:pt x="12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12" name="Group 111"/>
          <p:cNvGrpSpPr/>
          <p:nvPr/>
        </p:nvGrpSpPr>
        <p:grpSpPr>
          <a:xfrm>
            <a:off x="147993" y="5948609"/>
            <a:ext cx="727877" cy="579853"/>
            <a:chOff x="147993" y="5948609"/>
            <a:chExt cx="727877" cy="579853"/>
          </a:xfrm>
        </p:grpSpPr>
        <p:sp>
          <p:nvSpPr>
            <p:cNvPr id="113" name="Rectangle 17"/>
            <p:cNvSpPr>
              <a:spLocks/>
            </p:cNvSpPr>
            <p:nvPr/>
          </p:nvSpPr>
          <p:spPr bwMode="auto">
            <a:xfrm>
              <a:off x="147993" y="6282241"/>
              <a:ext cx="72787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нешние данные</a:t>
              </a:r>
            </a:p>
          </p:txBody>
        </p:sp>
        <p:grpSp>
          <p:nvGrpSpPr>
            <p:cNvPr id="115" name="Group 201"/>
            <p:cNvGrpSpPr>
              <a:grpSpLocks noChangeAspect="1"/>
            </p:cNvGrpSpPr>
            <p:nvPr/>
          </p:nvGrpSpPr>
          <p:grpSpPr bwMode="auto">
            <a:xfrm>
              <a:off x="417906" y="5948609"/>
              <a:ext cx="202275" cy="226804"/>
              <a:chOff x="4176" y="3243"/>
              <a:chExt cx="602" cy="675"/>
            </a:xfrm>
            <a:solidFill>
              <a:schemeClr val="bg1"/>
            </a:solidFill>
          </p:grpSpPr>
          <p:sp>
            <p:nvSpPr>
              <p:cNvPr id="116" name="Freeform 203"/>
              <p:cNvSpPr>
                <a:spLocks/>
              </p:cNvSpPr>
              <p:nvPr/>
            </p:nvSpPr>
            <p:spPr bwMode="auto">
              <a:xfrm>
                <a:off x="4184" y="3243"/>
                <a:ext cx="594" cy="675"/>
              </a:xfrm>
              <a:custGeom>
                <a:avLst/>
                <a:gdLst>
                  <a:gd name="T0" fmla="*/ 2818 w 2971"/>
                  <a:gd name="T1" fmla="*/ 0 h 3374"/>
                  <a:gd name="T2" fmla="*/ 2877 w 2971"/>
                  <a:gd name="T3" fmla="*/ 12 h 3374"/>
                  <a:gd name="T4" fmla="*/ 2926 w 2971"/>
                  <a:gd name="T5" fmla="*/ 45 h 3374"/>
                  <a:gd name="T6" fmla="*/ 2958 w 2971"/>
                  <a:gd name="T7" fmla="*/ 93 h 3374"/>
                  <a:gd name="T8" fmla="*/ 2971 w 2971"/>
                  <a:gd name="T9" fmla="*/ 154 h 3374"/>
                  <a:gd name="T10" fmla="*/ 2960 w 2971"/>
                  <a:gd name="T11" fmla="*/ 207 h 3374"/>
                  <a:gd name="T12" fmla="*/ 2934 w 2971"/>
                  <a:gd name="T13" fmla="*/ 252 h 3374"/>
                  <a:gd name="T14" fmla="*/ 2894 w 2971"/>
                  <a:gd name="T15" fmla="*/ 285 h 3374"/>
                  <a:gd name="T16" fmla="*/ 2892 w 2971"/>
                  <a:gd name="T17" fmla="*/ 2091 h 3374"/>
                  <a:gd name="T18" fmla="*/ 2872 w 2971"/>
                  <a:gd name="T19" fmla="*/ 2124 h 3374"/>
                  <a:gd name="T20" fmla="*/ 2838 w 2971"/>
                  <a:gd name="T21" fmla="*/ 2145 h 3374"/>
                  <a:gd name="T22" fmla="*/ 2197 w 2971"/>
                  <a:gd name="T23" fmla="*/ 2147 h 3374"/>
                  <a:gd name="T24" fmla="*/ 2475 w 2971"/>
                  <a:gd name="T25" fmla="*/ 3208 h 3374"/>
                  <a:gd name="T26" fmla="*/ 2469 w 2971"/>
                  <a:gd name="T27" fmla="*/ 3261 h 3374"/>
                  <a:gd name="T28" fmla="*/ 2448 w 2971"/>
                  <a:gd name="T29" fmla="*/ 3309 h 3374"/>
                  <a:gd name="T30" fmla="*/ 2411 w 2971"/>
                  <a:gd name="T31" fmla="*/ 3346 h 3374"/>
                  <a:gd name="T32" fmla="*/ 2362 w 2971"/>
                  <a:gd name="T33" fmla="*/ 3370 h 3374"/>
                  <a:gd name="T34" fmla="*/ 2323 w 2971"/>
                  <a:gd name="T35" fmla="*/ 3374 h 3374"/>
                  <a:gd name="T36" fmla="*/ 2267 w 2971"/>
                  <a:gd name="T37" fmla="*/ 3363 h 3374"/>
                  <a:gd name="T38" fmla="*/ 2220 w 2971"/>
                  <a:gd name="T39" fmla="*/ 3334 h 3374"/>
                  <a:gd name="T40" fmla="*/ 2186 w 2971"/>
                  <a:gd name="T41" fmla="*/ 3288 h 3374"/>
                  <a:gd name="T42" fmla="*/ 1902 w 2971"/>
                  <a:gd name="T43" fmla="*/ 2224 h 3374"/>
                  <a:gd name="T44" fmla="*/ 794 w 2971"/>
                  <a:gd name="T45" fmla="*/ 3260 h 3374"/>
                  <a:gd name="T46" fmla="*/ 771 w 2971"/>
                  <a:gd name="T47" fmla="*/ 3309 h 3374"/>
                  <a:gd name="T48" fmla="*/ 734 w 2971"/>
                  <a:gd name="T49" fmla="*/ 3346 h 3374"/>
                  <a:gd name="T50" fmla="*/ 687 w 2971"/>
                  <a:gd name="T51" fmla="*/ 3369 h 3374"/>
                  <a:gd name="T52" fmla="*/ 635 w 2971"/>
                  <a:gd name="T53" fmla="*/ 3374 h 3374"/>
                  <a:gd name="T54" fmla="*/ 581 w 2971"/>
                  <a:gd name="T55" fmla="*/ 3360 h 3374"/>
                  <a:gd name="T56" fmla="*/ 538 w 2971"/>
                  <a:gd name="T57" fmla="*/ 3329 h 3374"/>
                  <a:gd name="T58" fmla="*/ 509 w 2971"/>
                  <a:gd name="T59" fmla="*/ 3286 h 3374"/>
                  <a:gd name="T60" fmla="*/ 495 w 2971"/>
                  <a:gd name="T61" fmla="*/ 3236 h 3374"/>
                  <a:gd name="T62" fmla="*/ 500 w 2971"/>
                  <a:gd name="T63" fmla="*/ 3181 h 3374"/>
                  <a:gd name="T64" fmla="*/ 639 w 2971"/>
                  <a:gd name="T65" fmla="*/ 2147 h 3374"/>
                  <a:gd name="T66" fmla="*/ 729 w 2971"/>
                  <a:gd name="T67" fmla="*/ 2048 h 3374"/>
                  <a:gd name="T68" fmla="*/ 2742 w 2971"/>
                  <a:gd name="T69" fmla="*/ 1994 h 3374"/>
                  <a:gd name="T70" fmla="*/ 227 w 2971"/>
                  <a:gd name="T71" fmla="*/ 307 h 3374"/>
                  <a:gd name="T72" fmla="*/ 184 w 2971"/>
                  <a:gd name="T73" fmla="*/ 1953 h 3374"/>
                  <a:gd name="T74" fmla="*/ 108 w 2971"/>
                  <a:gd name="T75" fmla="*/ 2023 h 3374"/>
                  <a:gd name="T76" fmla="*/ 76 w 2971"/>
                  <a:gd name="T77" fmla="*/ 285 h 3374"/>
                  <a:gd name="T78" fmla="*/ 36 w 2971"/>
                  <a:gd name="T79" fmla="*/ 252 h 3374"/>
                  <a:gd name="T80" fmla="*/ 9 w 2971"/>
                  <a:gd name="T81" fmla="*/ 207 h 3374"/>
                  <a:gd name="T82" fmla="*/ 0 w 2971"/>
                  <a:gd name="T83" fmla="*/ 154 h 3374"/>
                  <a:gd name="T84" fmla="*/ 12 w 2971"/>
                  <a:gd name="T85" fmla="*/ 93 h 3374"/>
                  <a:gd name="T86" fmla="*/ 44 w 2971"/>
                  <a:gd name="T87" fmla="*/ 45 h 3374"/>
                  <a:gd name="T88" fmla="*/ 93 w 2971"/>
                  <a:gd name="T89" fmla="*/ 12 h 3374"/>
                  <a:gd name="T90" fmla="*/ 152 w 2971"/>
                  <a:gd name="T91" fmla="*/ 0 h 3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1" h="3374">
                    <a:moveTo>
                      <a:pt x="152" y="0"/>
                    </a:moveTo>
                    <a:lnTo>
                      <a:pt x="2818" y="0"/>
                    </a:lnTo>
                    <a:lnTo>
                      <a:pt x="2849" y="3"/>
                    </a:lnTo>
                    <a:lnTo>
                      <a:pt x="2877" y="12"/>
                    </a:lnTo>
                    <a:lnTo>
                      <a:pt x="2904" y="27"/>
                    </a:lnTo>
                    <a:lnTo>
                      <a:pt x="2926" y="45"/>
                    </a:lnTo>
                    <a:lnTo>
                      <a:pt x="2945" y="68"/>
                    </a:lnTo>
                    <a:lnTo>
                      <a:pt x="2958" y="93"/>
                    </a:lnTo>
                    <a:lnTo>
                      <a:pt x="2968" y="123"/>
                    </a:lnTo>
                    <a:lnTo>
                      <a:pt x="2971" y="154"/>
                    </a:lnTo>
                    <a:lnTo>
                      <a:pt x="2968" y="181"/>
                    </a:lnTo>
                    <a:lnTo>
                      <a:pt x="2960" y="207"/>
                    </a:lnTo>
                    <a:lnTo>
                      <a:pt x="2950" y="231"/>
                    </a:lnTo>
                    <a:lnTo>
                      <a:pt x="2934" y="252"/>
                    </a:lnTo>
                    <a:lnTo>
                      <a:pt x="2916" y="271"/>
                    </a:lnTo>
                    <a:lnTo>
                      <a:pt x="2894" y="285"/>
                    </a:lnTo>
                    <a:lnTo>
                      <a:pt x="2894" y="2070"/>
                    </a:lnTo>
                    <a:lnTo>
                      <a:pt x="2892" y="2091"/>
                    </a:lnTo>
                    <a:lnTo>
                      <a:pt x="2883" y="2110"/>
                    </a:lnTo>
                    <a:lnTo>
                      <a:pt x="2872" y="2124"/>
                    </a:lnTo>
                    <a:lnTo>
                      <a:pt x="2856" y="2137"/>
                    </a:lnTo>
                    <a:lnTo>
                      <a:pt x="2838" y="2145"/>
                    </a:lnTo>
                    <a:lnTo>
                      <a:pt x="2818" y="2147"/>
                    </a:lnTo>
                    <a:lnTo>
                      <a:pt x="2197" y="2147"/>
                    </a:lnTo>
                    <a:lnTo>
                      <a:pt x="2470" y="3181"/>
                    </a:lnTo>
                    <a:lnTo>
                      <a:pt x="2475" y="3208"/>
                    </a:lnTo>
                    <a:lnTo>
                      <a:pt x="2475" y="3235"/>
                    </a:lnTo>
                    <a:lnTo>
                      <a:pt x="2469" y="3261"/>
                    </a:lnTo>
                    <a:lnTo>
                      <a:pt x="2461" y="3286"/>
                    </a:lnTo>
                    <a:lnTo>
                      <a:pt x="2448" y="3309"/>
                    </a:lnTo>
                    <a:lnTo>
                      <a:pt x="2432" y="3329"/>
                    </a:lnTo>
                    <a:lnTo>
                      <a:pt x="2411" y="3346"/>
                    </a:lnTo>
                    <a:lnTo>
                      <a:pt x="2388" y="3360"/>
                    </a:lnTo>
                    <a:lnTo>
                      <a:pt x="2362" y="3370"/>
                    </a:lnTo>
                    <a:lnTo>
                      <a:pt x="2343" y="3373"/>
                    </a:lnTo>
                    <a:lnTo>
                      <a:pt x="2323" y="3374"/>
                    </a:lnTo>
                    <a:lnTo>
                      <a:pt x="2295" y="3372"/>
                    </a:lnTo>
                    <a:lnTo>
                      <a:pt x="2267" y="3363"/>
                    </a:lnTo>
                    <a:lnTo>
                      <a:pt x="2243" y="3351"/>
                    </a:lnTo>
                    <a:lnTo>
                      <a:pt x="2220" y="3334"/>
                    </a:lnTo>
                    <a:lnTo>
                      <a:pt x="2201" y="3313"/>
                    </a:lnTo>
                    <a:lnTo>
                      <a:pt x="2186" y="3288"/>
                    </a:lnTo>
                    <a:lnTo>
                      <a:pt x="2176" y="3260"/>
                    </a:lnTo>
                    <a:lnTo>
                      <a:pt x="1902" y="2224"/>
                    </a:lnTo>
                    <a:lnTo>
                      <a:pt x="1069" y="2224"/>
                    </a:lnTo>
                    <a:lnTo>
                      <a:pt x="794" y="3260"/>
                    </a:lnTo>
                    <a:lnTo>
                      <a:pt x="785" y="3287"/>
                    </a:lnTo>
                    <a:lnTo>
                      <a:pt x="771" y="3309"/>
                    </a:lnTo>
                    <a:lnTo>
                      <a:pt x="754" y="3329"/>
                    </a:lnTo>
                    <a:lnTo>
                      <a:pt x="734" y="3346"/>
                    </a:lnTo>
                    <a:lnTo>
                      <a:pt x="712" y="3360"/>
                    </a:lnTo>
                    <a:lnTo>
                      <a:pt x="687" y="3369"/>
                    </a:lnTo>
                    <a:lnTo>
                      <a:pt x="662" y="3374"/>
                    </a:lnTo>
                    <a:lnTo>
                      <a:pt x="635" y="3374"/>
                    </a:lnTo>
                    <a:lnTo>
                      <a:pt x="608" y="3370"/>
                    </a:lnTo>
                    <a:lnTo>
                      <a:pt x="581" y="3360"/>
                    </a:lnTo>
                    <a:lnTo>
                      <a:pt x="558" y="3346"/>
                    </a:lnTo>
                    <a:lnTo>
                      <a:pt x="538" y="3329"/>
                    </a:lnTo>
                    <a:lnTo>
                      <a:pt x="522" y="3309"/>
                    </a:lnTo>
                    <a:lnTo>
                      <a:pt x="509" y="3286"/>
                    </a:lnTo>
                    <a:lnTo>
                      <a:pt x="500" y="3261"/>
                    </a:lnTo>
                    <a:lnTo>
                      <a:pt x="495" y="3236"/>
                    </a:lnTo>
                    <a:lnTo>
                      <a:pt x="495" y="3208"/>
                    </a:lnTo>
                    <a:lnTo>
                      <a:pt x="500" y="3181"/>
                    </a:lnTo>
                    <a:lnTo>
                      <a:pt x="773" y="2147"/>
                    </a:lnTo>
                    <a:lnTo>
                      <a:pt x="639" y="2147"/>
                    </a:lnTo>
                    <a:lnTo>
                      <a:pt x="683" y="2099"/>
                    </a:lnTo>
                    <a:lnTo>
                      <a:pt x="729" y="2048"/>
                    </a:lnTo>
                    <a:lnTo>
                      <a:pt x="778" y="1994"/>
                    </a:lnTo>
                    <a:lnTo>
                      <a:pt x="2742" y="1994"/>
                    </a:lnTo>
                    <a:lnTo>
                      <a:pt x="2742" y="307"/>
                    </a:lnTo>
                    <a:lnTo>
                      <a:pt x="227" y="307"/>
                    </a:lnTo>
                    <a:lnTo>
                      <a:pt x="227" y="1912"/>
                    </a:lnTo>
                    <a:lnTo>
                      <a:pt x="184" y="1953"/>
                    </a:lnTo>
                    <a:lnTo>
                      <a:pt x="144" y="1989"/>
                    </a:lnTo>
                    <a:lnTo>
                      <a:pt x="108" y="2023"/>
                    </a:lnTo>
                    <a:lnTo>
                      <a:pt x="76" y="2052"/>
                    </a:lnTo>
                    <a:lnTo>
                      <a:pt x="76" y="285"/>
                    </a:lnTo>
                    <a:lnTo>
                      <a:pt x="55" y="271"/>
                    </a:lnTo>
                    <a:lnTo>
                      <a:pt x="36" y="252"/>
                    </a:lnTo>
                    <a:lnTo>
                      <a:pt x="21" y="231"/>
                    </a:lnTo>
                    <a:lnTo>
                      <a:pt x="9" y="207"/>
                    </a:lnTo>
                    <a:lnTo>
                      <a:pt x="2" y="181"/>
                    </a:lnTo>
                    <a:lnTo>
                      <a:pt x="0" y="154"/>
                    </a:lnTo>
                    <a:lnTo>
                      <a:pt x="3" y="123"/>
                    </a:lnTo>
                    <a:lnTo>
                      <a:pt x="12" y="93"/>
                    </a:lnTo>
                    <a:lnTo>
                      <a:pt x="25" y="68"/>
                    </a:lnTo>
                    <a:lnTo>
                      <a:pt x="44" y="45"/>
                    </a:lnTo>
                    <a:lnTo>
                      <a:pt x="66" y="27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7" name="Freeform 204"/>
              <p:cNvSpPr>
                <a:spLocks/>
              </p:cNvSpPr>
              <p:nvPr/>
            </p:nvSpPr>
            <p:spPr bwMode="auto">
              <a:xfrm>
                <a:off x="4443" y="3439"/>
                <a:ext cx="60" cy="176"/>
              </a:xfrm>
              <a:custGeom>
                <a:avLst/>
                <a:gdLst>
                  <a:gd name="T0" fmla="*/ 153 w 304"/>
                  <a:gd name="T1" fmla="*/ 0 h 881"/>
                  <a:gd name="T2" fmla="*/ 183 w 304"/>
                  <a:gd name="T3" fmla="*/ 3 h 881"/>
                  <a:gd name="T4" fmla="*/ 211 w 304"/>
                  <a:gd name="T5" fmla="*/ 12 h 881"/>
                  <a:gd name="T6" fmla="*/ 237 w 304"/>
                  <a:gd name="T7" fmla="*/ 25 h 881"/>
                  <a:gd name="T8" fmla="*/ 260 w 304"/>
                  <a:gd name="T9" fmla="*/ 44 h 881"/>
                  <a:gd name="T10" fmla="*/ 278 w 304"/>
                  <a:gd name="T11" fmla="*/ 68 h 881"/>
                  <a:gd name="T12" fmla="*/ 293 w 304"/>
                  <a:gd name="T13" fmla="*/ 93 h 881"/>
                  <a:gd name="T14" fmla="*/ 301 w 304"/>
                  <a:gd name="T15" fmla="*/ 122 h 881"/>
                  <a:gd name="T16" fmla="*/ 304 w 304"/>
                  <a:gd name="T17" fmla="*/ 154 h 881"/>
                  <a:gd name="T18" fmla="*/ 304 w 304"/>
                  <a:gd name="T19" fmla="*/ 729 h 881"/>
                  <a:gd name="T20" fmla="*/ 301 w 304"/>
                  <a:gd name="T21" fmla="*/ 759 h 881"/>
                  <a:gd name="T22" fmla="*/ 293 w 304"/>
                  <a:gd name="T23" fmla="*/ 788 h 881"/>
                  <a:gd name="T24" fmla="*/ 278 w 304"/>
                  <a:gd name="T25" fmla="*/ 814 h 881"/>
                  <a:gd name="T26" fmla="*/ 260 w 304"/>
                  <a:gd name="T27" fmla="*/ 837 h 881"/>
                  <a:gd name="T28" fmla="*/ 237 w 304"/>
                  <a:gd name="T29" fmla="*/ 856 h 881"/>
                  <a:gd name="T30" fmla="*/ 211 w 304"/>
                  <a:gd name="T31" fmla="*/ 870 h 881"/>
                  <a:gd name="T32" fmla="*/ 183 w 304"/>
                  <a:gd name="T33" fmla="*/ 878 h 881"/>
                  <a:gd name="T34" fmla="*/ 153 w 304"/>
                  <a:gd name="T35" fmla="*/ 881 h 881"/>
                  <a:gd name="T36" fmla="*/ 121 w 304"/>
                  <a:gd name="T37" fmla="*/ 878 h 881"/>
                  <a:gd name="T38" fmla="*/ 92 w 304"/>
                  <a:gd name="T39" fmla="*/ 870 h 881"/>
                  <a:gd name="T40" fmla="*/ 67 w 304"/>
                  <a:gd name="T41" fmla="*/ 856 h 881"/>
                  <a:gd name="T42" fmla="*/ 44 w 304"/>
                  <a:gd name="T43" fmla="*/ 837 h 881"/>
                  <a:gd name="T44" fmla="*/ 26 w 304"/>
                  <a:gd name="T45" fmla="*/ 814 h 881"/>
                  <a:gd name="T46" fmla="*/ 11 w 304"/>
                  <a:gd name="T47" fmla="*/ 788 h 881"/>
                  <a:gd name="T48" fmla="*/ 3 w 304"/>
                  <a:gd name="T49" fmla="*/ 759 h 881"/>
                  <a:gd name="T50" fmla="*/ 0 w 304"/>
                  <a:gd name="T51" fmla="*/ 729 h 881"/>
                  <a:gd name="T52" fmla="*/ 0 w 304"/>
                  <a:gd name="T53" fmla="*/ 154 h 881"/>
                  <a:gd name="T54" fmla="*/ 3 w 304"/>
                  <a:gd name="T55" fmla="*/ 122 h 881"/>
                  <a:gd name="T56" fmla="*/ 11 w 304"/>
                  <a:gd name="T57" fmla="*/ 93 h 881"/>
                  <a:gd name="T58" fmla="*/ 26 w 304"/>
                  <a:gd name="T59" fmla="*/ 68 h 881"/>
                  <a:gd name="T60" fmla="*/ 44 w 304"/>
                  <a:gd name="T61" fmla="*/ 44 h 881"/>
                  <a:gd name="T62" fmla="*/ 67 w 304"/>
                  <a:gd name="T63" fmla="*/ 25 h 881"/>
                  <a:gd name="T64" fmla="*/ 92 w 304"/>
                  <a:gd name="T65" fmla="*/ 12 h 881"/>
                  <a:gd name="T66" fmla="*/ 121 w 304"/>
                  <a:gd name="T67" fmla="*/ 3 h 881"/>
                  <a:gd name="T68" fmla="*/ 153 w 304"/>
                  <a:gd name="T69" fmla="*/ 0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881">
                    <a:moveTo>
                      <a:pt x="153" y="0"/>
                    </a:moveTo>
                    <a:lnTo>
                      <a:pt x="183" y="3"/>
                    </a:lnTo>
                    <a:lnTo>
                      <a:pt x="211" y="12"/>
                    </a:lnTo>
                    <a:lnTo>
                      <a:pt x="237" y="25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4" y="154"/>
                    </a:lnTo>
                    <a:lnTo>
                      <a:pt x="304" y="729"/>
                    </a:lnTo>
                    <a:lnTo>
                      <a:pt x="301" y="759"/>
                    </a:lnTo>
                    <a:lnTo>
                      <a:pt x="293" y="788"/>
                    </a:lnTo>
                    <a:lnTo>
                      <a:pt x="278" y="814"/>
                    </a:lnTo>
                    <a:lnTo>
                      <a:pt x="260" y="837"/>
                    </a:lnTo>
                    <a:lnTo>
                      <a:pt x="237" y="856"/>
                    </a:lnTo>
                    <a:lnTo>
                      <a:pt x="211" y="870"/>
                    </a:lnTo>
                    <a:lnTo>
                      <a:pt x="183" y="878"/>
                    </a:lnTo>
                    <a:lnTo>
                      <a:pt x="153" y="881"/>
                    </a:lnTo>
                    <a:lnTo>
                      <a:pt x="121" y="878"/>
                    </a:lnTo>
                    <a:lnTo>
                      <a:pt x="92" y="870"/>
                    </a:lnTo>
                    <a:lnTo>
                      <a:pt x="67" y="856"/>
                    </a:lnTo>
                    <a:lnTo>
                      <a:pt x="44" y="837"/>
                    </a:lnTo>
                    <a:lnTo>
                      <a:pt x="26" y="814"/>
                    </a:lnTo>
                    <a:lnTo>
                      <a:pt x="11" y="788"/>
                    </a:lnTo>
                    <a:lnTo>
                      <a:pt x="3" y="759"/>
                    </a:lnTo>
                    <a:lnTo>
                      <a:pt x="0" y="729"/>
                    </a:lnTo>
                    <a:lnTo>
                      <a:pt x="0" y="154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5"/>
                    </a:lnTo>
                    <a:lnTo>
                      <a:pt x="92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8" name="Freeform 205"/>
              <p:cNvSpPr>
                <a:spLocks/>
              </p:cNvSpPr>
              <p:nvPr/>
            </p:nvSpPr>
            <p:spPr bwMode="auto">
              <a:xfrm>
                <a:off x="4542" y="3331"/>
                <a:ext cx="60" cy="284"/>
              </a:xfrm>
              <a:custGeom>
                <a:avLst/>
                <a:gdLst>
                  <a:gd name="T0" fmla="*/ 153 w 304"/>
                  <a:gd name="T1" fmla="*/ 0 h 1418"/>
                  <a:gd name="T2" fmla="*/ 183 w 304"/>
                  <a:gd name="T3" fmla="*/ 3 h 1418"/>
                  <a:gd name="T4" fmla="*/ 212 w 304"/>
                  <a:gd name="T5" fmla="*/ 12 h 1418"/>
                  <a:gd name="T6" fmla="*/ 237 w 304"/>
                  <a:gd name="T7" fmla="*/ 26 h 1418"/>
                  <a:gd name="T8" fmla="*/ 260 w 304"/>
                  <a:gd name="T9" fmla="*/ 45 h 1418"/>
                  <a:gd name="T10" fmla="*/ 278 w 304"/>
                  <a:gd name="T11" fmla="*/ 67 h 1418"/>
                  <a:gd name="T12" fmla="*/ 293 w 304"/>
                  <a:gd name="T13" fmla="*/ 94 h 1418"/>
                  <a:gd name="T14" fmla="*/ 301 w 304"/>
                  <a:gd name="T15" fmla="*/ 122 h 1418"/>
                  <a:gd name="T16" fmla="*/ 304 w 304"/>
                  <a:gd name="T17" fmla="*/ 153 h 1418"/>
                  <a:gd name="T18" fmla="*/ 304 w 304"/>
                  <a:gd name="T19" fmla="*/ 1266 h 1418"/>
                  <a:gd name="T20" fmla="*/ 301 w 304"/>
                  <a:gd name="T21" fmla="*/ 1296 h 1418"/>
                  <a:gd name="T22" fmla="*/ 293 w 304"/>
                  <a:gd name="T23" fmla="*/ 1325 h 1418"/>
                  <a:gd name="T24" fmla="*/ 278 w 304"/>
                  <a:gd name="T25" fmla="*/ 1351 h 1418"/>
                  <a:gd name="T26" fmla="*/ 260 w 304"/>
                  <a:gd name="T27" fmla="*/ 1374 h 1418"/>
                  <a:gd name="T28" fmla="*/ 237 w 304"/>
                  <a:gd name="T29" fmla="*/ 1393 h 1418"/>
                  <a:gd name="T30" fmla="*/ 212 w 304"/>
                  <a:gd name="T31" fmla="*/ 1407 h 1418"/>
                  <a:gd name="T32" fmla="*/ 183 w 304"/>
                  <a:gd name="T33" fmla="*/ 1415 h 1418"/>
                  <a:gd name="T34" fmla="*/ 153 w 304"/>
                  <a:gd name="T35" fmla="*/ 1418 h 1418"/>
                  <a:gd name="T36" fmla="*/ 121 w 304"/>
                  <a:gd name="T37" fmla="*/ 1415 h 1418"/>
                  <a:gd name="T38" fmla="*/ 93 w 304"/>
                  <a:gd name="T39" fmla="*/ 1407 h 1418"/>
                  <a:gd name="T40" fmla="*/ 67 w 304"/>
                  <a:gd name="T41" fmla="*/ 1393 h 1418"/>
                  <a:gd name="T42" fmla="*/ 44 w 304"/>
                  <a:gd name="T43" fmla="*/ 1374 h 1418"/>
                  <a:gd name="T44" fmla="*/ 26 w 304"/>
                  <a:gd name="T45" fmla="*/ 1351 h 1418"/>
                  <a:gd name="T46" fmla="*/ 11 w 304"/>
                  <a:gd name="T47" fmla="*/ 1325 h 1418"/>
                  <a:gd name="T48" fmla="*/ 3 w 304"/>
                  <a:gd name="T49" fmla="*/ 1296 h 1418"/>
                  <a:gd name="T50" fmla="*/ 0 w 304"/>
                  <a:gd name="T51" fmla="*/ 1266 h 1418"/>
                  <a:gd name="T52" fmla="*/ 0 w 304"/>
                  <a:gd name="T53" fmla="*/ 153 h 1418"/>
                  <a:gd name="T54" fmla="*/ 3 w 304"/>
                  <a:gd name="T55" fmla="*/ 122 h 1418"/>
                  <a:gd name="T56" fmla="*/ 11 w 304"/>
                  <a:gd name="T57" fmla="*/ 94 h 1418"/>
                  <a:gd name="T58" fmla="*/ 26 w 304"/>
                  <a:gd name="T59" fmla="*/ 67 h 1418"/>
                  <a:gd name="T60" fmla="*/ 44 w 304"/>
                  <a:gd name="T61" fmla="*/ 45 h 1418"/>
                  <a:gd name="T62" fmla="*/ 67 w 304"/>
                  <a:gd name="T63" fmla="*/ 26 h 1418"/>
                  <a:gd name="T64" fmla="*/ 93 w 304"/>
                  <a:gd name="T65" fmla="*/ 12 h 1418"/>
                  <a:gd name="T66" fmla="*/ 121 w 304"/>
                  <a:gd name="T67" fmla="*/ 3 h 1418"/>
                  <a:gd name="T68" fmla="*/ 153 w 304"/>
                  <a:gd name="T69" fmla="*/ 0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1418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2"/>
                    </a:lnTo>
                    <a:lnTo>
                      <a:pt x="237" y="26"/>
                    </a:lnTo>
                    <a:lnTo>
                      <a:pt x="260" y="45"/>
                    </a:lnTo>
                    <a:lnTo>
                      <a:pt x="278" y="67"/>
                    </a:lnTo>
                    <a:lnTo>
                      <a:pt x="293" y="94"/>
                    </a:lnTo>
                    <a:lnTo>
                      <a:pt x="301" y="122"/>
                    </a:lnTo>
                    <a:lnTo>
                      <a:pt x="304" y="153"/>
                    </a:lnTo>
                    <a:lnTo>
                      <a:pt x="304" y="1266"/>
                    </a:lnTo>
                    <a:lnTo>
                      <a:pt x="301" y="1296"/>
                    </a:lnTo>
                    <a:lnTo>
                      <a:pt x="293" y="1325"/>
                    </a:lnTo>
                    <a:lnTo>
                      <a:pt x="278" y="1351"/>
                    </a:lnTo>
                    <a:lnTo>
                      <a:pt x="260" y="1374"/>
                    </a:lnTo>
                    <a:lnTo>
                      <a:pt x="237" y="1393"/>
                    </a:lnTo>
                    <a:lnTo>
                      <a:pt x="212" y="1407"/>
                    </a:lnTo>
                    <a:lnTo>
                      <a:pt x="183" y="1415"/>
                    </a:lnTo>
                    <a:lnTo>
                      <a:pt x="153" y="1418"/>
                    </a:lnTo>
                    <a:lnTo>
                      <a:pt x="121" y="1415"/>
                    </a:lnTo>
                    <a:lnTo>
                      <a:pt x="93" y="1407"/>
                    </a:lnTo>
                    <a:lnTo>
                      <a:pt x="67" y="1393"/>
                    </a:lnTo>
                    <a:lnTo>
                      <a:pt x="44" y="1374"/>
                    </a:lnTo>
                    <a:lnTo>
                      <a:pt x="26" y="1351"/>
                    </a:lnTo>
                    <a:lnTo>
                      <a:pt x="11" y="1325"/>
                    </a:lnTo>
                    <a:lnTo>
                      <a:pt x="3" y="1296"/>
                    </a:lnTo>
                    <a:lnTo>
                      <a:pt x="0" y="1266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4"/>
                    </a:lnTo>
                    <a:lnTo>
                      <a:pt x="26" y="67"/>
                    </a:lnTo>
                    <a:lnTo>
                      <a:pt x="44" y="45"/>
                    </a:lnTo>
                    <a:lnTo>
                      <a:pt x="67" y="26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9" name="Freeform 206"/>
              <p:cNvSpPr>
                <a:spLocks/>
              </p:cNvSpPr>
              <p:nvPr/>
            </p:nvSpPr>
            <p:spPr bwMode="auto">
              <a:xfrm>
                <a:off x="4641" y="3393"/>
                <a:ext cx="61" cy="222"/>
              </a:xfrm>
              <a:custGeom>
                <a:avLst/>
                <a:gdLst>
                  <a:gd name="T0" fmla="*/ 153 w 305"/>
                  <a:gd name="T1" fmla="*/ 0 h 1111"/>
                  <a:gd name="T2" fmla="*/ 183 w 305"/>
                  <a:gd name="T3" fmla="*/ 3 h 1111"/>
                  <a:gd name="T4" fmla="*/ 212 w 305"/>
                  <a:gd name="T5" fmla="*/ 11 h 1111"/>
                  <a:gd name="T6" fmla="*/ 237 w 305"/>
                  <a:gd name="T7" fmla="*/ 26 h 1111"/>
                  <a:gd name="T8" fmla="*/ 260 w 305"/>
                  <a:gd name="T9" fmla="*/ 44 h 1111"/>
                  <a:gd name="T10" fmla="*/ 278 w 305"/>
                  <a:gd name="T11" fmla="*/ 68 h 1111"/>
                  <a:gd name="T12" fmla="*/ 293 w 305"/>
                  <a:gd name="T13" fmla="*/ 93 h 1111"/>
                  <a:gd name="T14" fmla="*/ 301 w 305"/>
                  <a:gd name="T15" fmla="*/ 122 h 1111"/>
                  <a:gd name="T16" fmla="*/ 305 w 305"/>
                  <a:gd name="T17" fmla="*/ 153 h 1111"/>
                  <a:gd name="T18" fmla="*/ 305 w 305"/>
                  <a:gd name="T19" fmla="*/ 959 h 1111"/>
                  <a:gd name="T20" fmla="*/ 301 w 305"/>
                  <a:gd name="T21" fmla="*/ 989 h 1111"/>
                  <a:gd name="T22" fmla="*/ 293 w 305"/>
                  <a:gd name="T23" fmla="*/ 1018 h 1111"/>
                  <a:gd name="T24" fmla="*/ 278 w 305"/>
                  <a:gd name="T25" fmla="*/ 1044 h 1111"/>
                  <a:gd name="T26" fmla="*/ 260 w 305"/>
                  <a:gd name="T27" fmla="*/ 1067 h 1111"/>
                  <a:gd name="T28" fmla="*/ 237 w 305"/>
                  <a:gd name="T29" fmla="*/ 1086 h 1111"/>
                  <a:gd name="T30" fmla="*/ 212 w 305"/>
                  <a:gd name="T31" fmla="*/ 1100 h 1111"/>
                  <a:gd name="T32" fmla="*/ 183 w 305"/>
                  <a:gd name="T33" fmla="*/ 1108 h 1111"/>
                  <a:gd name="T34" fmla="*/ 153 w 305"/>
                  <a:gd name="T35" fmla="*/ 1111 h 1111"/>
                  <a:gd name="T36" fmla="*/ 121 w 305"/>
                  <a:gd name="T37" fmla="*/ 1108 h 1111"/>
                  <a:gd name="T38" fmla="*/ 93 w 305"/>
                  <a:gd name="T39" fmla="*/ 1100 h 1111"/>
                  <a:gd name="T40" fmla="*/ 67 w 305"/>
                  <a:gd name="T41" fmla="*/ 1086 h 1111"/>
                  <a:gd name="T42" fmla="*/ 44 w 305"/>
                  <a:gd name="T43" fmla="*/ 1067 h 1111"/>
                  <a:gd name="T44" fmla="*/ 26 w 305"/>
                  <a:gd name="T45" fmla="*/ 1044 h 1111"/>
                  <a:gd name="T46" fmla="*/ 12 w 305"/>
                  <a:gd name="T47" fmla="*/ 1018 h 1111"/>
                  <a:gd name="T48" fmla="*/ 3 w 305"/>
                  <a:gd name="T49" fmla="*/ 989 h 1111"/>
                  <a:gd name="T50" fmla="*/ 0 w 305"/>
                  <a:gd name="T51" fmla="*/ 959 h 1111"/>
                  <a:gd name="T52" fmla="*/ 0 w 305"/>
                  <a:gd name="T53" fmla="*/ 153 h 1111"/>
                  <a:gd name="T54" fmla="*/ 3 w 305"/>
                  <a:gd name="T55" fmla="*/ 122 h 1111"/>
                  <a:gd name="T56" fmla="*/ 12 w 305"/>
                  <a:gd name="T57" fmla="*/ 93 h 1111"/>
                  <a:gd name="T58" fmla="*/ 26 w 305"/>
                  <a:gd name="T59" fmla="*/ 68 h 1111"/>
                  <a:gd name="T60" fmla="*/ 44 w 305"/>
                  <a:gd name="T61" fmla="*/ 44 h 1111"/>
                  <a:gd name="T62" fmla="*/ 67 w 305"/>
                  <a:gd name="T63" fmla="*/ 26 h 1111"/>
                  <a:gd name="T64" fmla="*/ 93 w 305"/>
                  <a:gd name="T65" fmla="*/ 11 h 1111"/>
                  <a:gd name="T66" fmla="*/ 121 w 305"/>
                  <a:gd name="T67" fmla="*/ 3 h 1111"/>
                  <a:gd name="T68" fmla="*/ 153 w 305"/>
                  <a:gd name="T69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5" h="1111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1"/>
                    </a:lnTo>
                    <a:lnTo>
                      <a:pt x="237" y="26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5" y="153"/>
                    </a:lnTo>
                    <a:lnTo>
                      <a:pt x="305" y="959"/>
                    </a:lnTo>
                    <a:lnTo>
                      <a:pt x="301" y="989"/>
                    </a:lnTo>
                    <a:lnTo>
                      <a:pt x="293" y="1018"/>
                    </a:lnTo>
                    <a:lnTo>
                      <a:pt x="278" y="1044"/>
                    </a:lnTo>
                    <a:lnTo>
                      <a:pt x="260" y="1067"/>
                    </a:lnTo>
                    <a:lnTo>
                      <a:pt x="237" y="1086"/>
                    </a:lnTo>
                    <a:lnTo>
                      <a:pt x="212" y="1100"/>
                    </a:lnTo>
                    <a:lnTo>
                      <a:pt x="183" y="1108"/>
                    </a:lnTo>
                    <a:lnTo>
                      <a:pt x="153" y="1111"/>
                    </a:lnTo>
                    <a:lnTo>
                      <a:pt x="121" y="1108"/>
                    </a:lnTo>
                    <a:lnTo>
                      <a:pt x="93" y="1100"/>
                    </a:lnTo>
                    <a:lnTo>
                      <a:pt x="67" y="1086"/>
                    </a:lnTo>
                    <a:lnTo>
                      <a:pt x="44" y="1067"/>
                    </a:lnTo>
                    <a:lnTo>
                      <a:pt x="26" y="1044"/>
                    </a:lnTo>
                    <a:lnTo>
                      <a:pt x="12" y="1018"/>
                    </a:lnTo>
                    <a:lnTo>
                      <a:pt x="3" y="989"/>
                    </a:lnTo>
                    <a:lnTo>
                      <a:pt x="0" y="959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2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6"/>
                    </a:lnTo>
                    <a:lnTo>
                      <a:pt x="93" y="11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0" name="Freeform 207"/>
              <p:cNvSpPr>
                <a:spLocks/>
              </p:cNvSpPr>
              <p:nvPr/>
            </p:nvSpPr>
            <p:spPr bwMode="auto">
              <a:xfrm>
                <a:off x="4176" y="3520"/>
                <a:ext cx="223" cy="225"/>
              </a:xfrm>
              <a:custGeom>
                <a:avLst/>
                <a:gdLst>
                  <a:gd name="T0" fmla="*/ 1085 w 1117"/>
                  <a:gd name="T1" fmla="*/ 0 h 1123"/>
                  <a:gd name="T2" fmla="*/ 1106 w 1117"/>
                  <a:gd name="T3" fmla="*/ 10 h 1123"/>
                  <a:gd name="T4" fmla="*/ 1117 w 1117"/>
                  <a:gd name="T5" fmla="*/ 31 h 1123"/>
                  <a:gd name="T6" fmla="*/ 1113 w 1117"/>
                  <a:gd name="T7" fmla="*/ 53 h 1123"/>
                  <a:gd name="T8" fmla="*/ 1104 w 1117"/>
                  <a:gd name="T9" fmla="*/ 66 h 1123"/>
                  <a:gd name="T10" fmla="*/ 1089 w 1117"/>
                  <a:gd name="T11" fmla="*/ 82 h 1123"/>
                  <a:gd name="T12" fmla="*/ 1062 w 1117"/>
                  <a:gd name="T13" fmla="*/ 112 h 1123"/>
                  <a:gd name="T14" fmla="*/ 1023 w 1117"/>
                  <a:gd name="T15" fmla="*/ 155 h 1123"/>
                  <a:gd name="T16" fmla="*/ 973 w 1117"/>
                  <a:gd name="T17" fmla="*/ 209 h 1123"/>
                  <a:gd name="T18" fmla="*/ 917 w 1117"/>
                  <a:gd name="T19" fmla="*/ 272 h 1123"/>
                  <a:gd name="T20" fmla="*/ 853 w 1117"/>
                  <a:gd name="T21" fmla="*/ 342 h 1123"/>
                  <a:gd name="T22" fmla="*/ 785 w 1117"/>
                  <a:gd name="T23" fmla="*/ 417 h 1123"/>
                  <a:gd name="T24" fmla="*/ 712 w 1117"/>
                  <a:gd name="T25" fmla="*/ 497 h 1123"/>
                  <a:gd name="T26" fmla="*/ 640 w 1117"/>
                  <a:gd name="T27" fmla="*/ 577 h 1123"/>
                  <a:gd name="T28" fmla="*/ 566 w 1117"/>
                  <a:gd name="T29" fmla="*/ 658 h 1123"/>
                  <a:gd name="T30" fmla="*/ 494 w 1117"/>
                  <a:gd name="T31" fmla="*/ 737 h 1123"/>
                  <a:gd name="T32" fmla="*/ 425 w 1117"/>
                  <a:gd name="T33" fmla="*/ 813 h 1123"/>
                  <a:gd name="T34" fmla="*/ 361 w 1117"/>
                  <a:gd name="T35" fmla="*/ 884 h 1123"/>
                  <a:gd name="T36" fmla="*/ 303 w 1117"/>
                  <a:gd name="T37" fmla="*/ 946 h 1123"/>
                  <a:gd name="T38" fmla="*/ 254 w 1117"/>
                  <a:gd name="T39" fmla="*/ 1001 h 1123"/>
                  <a:gd name="T40" fmla="*/ 215 w 1117"/>
                  <a:gd name="T41" fmla="*/ 1045 h 1123"/>
                  <a:gd name="T42" fmla="*/ 186 w 1117"/>
                  <a:gd name="T43" fmla="*/ 1076 h 1123"/>
                  <a:gd name="T44" fmla="*/ 171 w 1117"/>
                  <a:gd name="T45" fmla="*/ 1093 h 1123"/>
                  <a:gd name="T46" fmla="*/ 151 w 1117"/>
                  <a:gd name="T47" fmla="*/ 1110 h 1123"/>
                  <a:gd name="T48" fmla="*/ 110 w 1117"/>
                  <a:gd name="T49" fmla="*/ 1123 h 1123"/>
                  <a:gd name="T50" fmla="*/ 66 w 1117"/>
                  <a:gd name="T51" fmla="*/ 1119 h 1123"/>
                  <a:gd name="T52" fmla="*/ 28 w 1117"/>
                  <a:gd name="T53" fmla="*/ 1095 h 1123"/>
                  <a:gd name="T54" fmla="*/ 5 w 1117"/>
                  <a:gd name="T55" fmla="*/ 1057 h 1123"/>
                  <a:gd name="T56" fmla="*/ 0 w 1117"/>
                  <a:gd name="T57" fmla="*/ 1013 h 1123"/>
                  <a:gd name="T58" fmla="*/ 14 w 1117"/>
                  <a:gd name="T59" fmla="*/ 972 h 1123"/>
                  <a:gd name="T60" fmla="*/ 31 w 1117"/>
                  <a:gd name="T61" fmla="*/ 952 h 1123"/>
                  <a:gd name="T62" fmla="*/ 47 w 1117"/>
                  <a:gd name="T63" fmla="*/ 936 h 1123"/>
                  <a:gd name="T64" fmla="*/ 78 w 1117"/>
                  <a:gd name="T65" fmla="*/ 908 h 1123"/>
                  <a:gd name="T66" fmla="*/ 122 w 1117"/>
                  <a:gd name="T67" fmla="*/ 868 h 1123"/>
                  <a:gd name="T68" fmla="*/ 176 w 1117"/>
                  <a:gd name="T69" fmla="*/ 818 h 1123"/>
                  <a:gd name="T70" fmla="*/ 238 w 1117"/>
                  <a:gd name="T71" fmla="*/ 761 h 1123"/>
                  <a:gd name="T72" fmla="*/ 309 w 1117"/>
                  <a:gd name="T73" fmla="*/ 696 h 1123"/>
                  <a:gd name="T74" fmla="*/ 383 w 1117"/>
                  <a:gd name="T75" fmla="*/ 627 h 1123"/>
                  <a:gd name="T76" fmla="*/ 463 w 1117"/>
                  <a:gd name="T77" fmla="*/ 554 h 1123"/>
                  <a:gd name="T78" fmla="*/ 543 w 1117"/>
                  <a:gd name="T79" fmla="*/ 481 h 1123"/>
                  <a:gd name="T80" fmla="*/ 623 w 1117"/>
                  <a:gd name="T81" fmla="*/ 406 h 1123"/>
                  <a:gd name="T82" fmla="*/ 702 w 1117"/>
                  <a:gd name="T83" fmla="*/ 334 h 1123"/>
                  <a:gd name="T84" fmla="*/ 776 w 1117"/>
                  <a:gd name="T85" fmla="*/ 265 h 1123"/>
                  <a:gd name="T86" fmla="*/ 846 w 1117"/>
                  <a:gd name="T87" fmla="*/ 201 h 1123"/>
                  <a:gd name="T88" fmla="*/ 908 w 1117"/>
                  <a:gd name="T89" fmla="*/ 143 h 1123"/>
                  <a:gd name="T90" fmla="*/ 962 w 1117"/>
                  <a:gd name="T91" fmla="*/ 95 h 1123"/>
                  <a:gd name="T92" fmla="*/ 1005 w 1117"/>
                  <a:gd name="T93" fmla="*/ 54 h 1123"/>
                  <a:gd name="T94" fmla="*/ 1036 w 1117"/>
                  <a:gd name="T95" fmla="*/ 27 h 1123"/>
                  <a:gd name="T96" fmla="*/ 1051 w 1117"/>
                  <a:gd name="T97" fmla="*/ 12 h 1123"/>
                  <a:gd name="T98" fmla="*/ 1063 w 1117"/>
                  <a:gd name="T99" fmla="*/ 3 h 1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17" h="1123">
                    <a:moveTo>
                      <a:pt x="1074" y="0"/>
                    </a:moveTo>
                    <a:lnTo>
                      <a:pt x="1085" y="0"/>
                    </a:lnTo>
                    <a:lnTo>
                      <a:pt x="1096" y="3"/>
                    </a:lnTo>
                    <a:lnTo>
                      <a:pt x="1106" y="10"/>
                    </a:lnTo>
                    <a:lnTo>
                      <a:pt x="1113" y="20"/>
                    </a:lnTo>
                    <a:lnTo>
                      <a:pt x="1117" y="31"/>
                    </a:lnTo>
                    <a:lnTo>
                      <a:pt x="1117" y="43"/>
                    </a:lnTo>
                    <a:lnTo>
                      <a:pt x="1113" y="53"/>
                    </a:lnTo>
                    <a:lnTo>
                      <a:pt x="1106" y="64"/>
                    </a:lnTo>
                    <a:lnTo>
                      <a:pt x="1104" y="66"/>
                    </a:lnTo>
                    <a:lnTo>
                      <a:pt x="1099" y="71"/>
                    </a:lnTo>
                    <a:lnTo>
                      <a:pt x="1089" y="82"/>
                    </a:lnTo>
                    <a:lnTo>
                      <a:pt x="1077" y="96"/>
                    </a:lnTo>
                    <a:lnTo>
                      <a:pt x="1062" y="112"/>
                    </a:lnTo>
                    <a:lnTo>
                      <a:pt x="1043" y="132"/>
                    </a:lnTo>
                    <a:lnTo>
                      <a:pt x="1023" y="155"/>
                    </a:lnTo>
                    <a:lnTo>
                      <a:pt x="999" y="181"/>
                    </a:lnTo>
                    <a:lnTo>
                      <a:pt x="973" y="209"/>
                    </a:lnTo>
                    <a:lnTo>
                      <a:pt x="946" y="240"/>
                    </a:lnTo>
                    <a:lnTo>
                      <a:pt x="917" y="272"/>
                    </a:lnTo>
                    <a:lnTo>
                      <a:pt x="885" y="306"/>
                    </a:lnTo>
                    <a:lnTo>
                      <a:pt x="853" y="342"/>
                    </a:lnTo>
                    <a:lnTo>
                      <a:pt x="820" y="379"/>
                    </a:lnTo>
                    <a:lnTo>
                      <a:pt x="785" y="417"/>
                    </a:lnTo>
                    <a:lnTo>
                      <a:pt x="749" y="456"/>
                    </a:lnTo>
                    <a:lnTo>
                      <a:pt x="712" y="497"/>
                    </a:lnTo>
                    <a:lnTo>
                      <a:pt x="676" y="537"/>
                    </a:lnTo>
                    <a:lnTo>
                      <a:pt x="640" y="577"/>
                    </a:lnTo>
                    <a:lnTo>
                      <a:pt x="603" y="617"/>
                    </a:lnTo>
                    <a:lnTo>
                      <a:pt x="566" y="658"/>
                    </a:lnTo>
                    <a:lnTo>
                      <a:pt x="529" y="698"/>
                    </a:lnTo>
                    <a:lnTo>
                      <a:pt x="494" y="737"/>
                    </a:lnTo>
                    <a:lnTo>
                      <a:pt x="458" y="776"/>
                    </a:lnTo>
                    <a:lnTo>
                      <a:pt x="425" y="813"/>
                    </a:lnTo>
                    <a:lnTo>
                      <a:pt x="392" y="849"/>
                    </a:lnTo>
                    <a:lnTo>
                      <a:pt x="361" y="884"/>
                    </a:lnTo>
                    <a:lnTo>
                      <a:pt x="332" y="917"/>
                    </a:lnTo>
                    <a:lnTo>
                      <a:pt x="303" y="946"/>
                    </a:lnTo>
                    <a:lnTo>
                      <a:pt x="278" y="975"/>
                    </a:lnTo>
                    <a:lnTo>
                      <a:pt x="254" y="1001"/>
                    </a:lnTo>
                    <a:lnTo>
                      <a:pt x="233" y="1024"/>
                    </a:lnTo>
                    <a:lnTo>
                      <a:pt x="215" y="1045"/>
                    </a:lnTo>
                    <a:lnTo>
                      <a:pt x="199" y="1062"/>
                    </a:lnTo>
                    <a:lnTo>
                      <a:pt x="186" y="1076"/>
                    </a:lnTo>
                    <a:lnTo>
                      <a:pt x="177" y="1086"/>
                    </a:lnTo>
                    <a:lnTo>
                      <a:pt x="171" y="1093"/>
                    </a:lnTo>
                    <a:lnTo>
                      <a:pt x="169" y="1095"/>
                    </a:lnTo>
                    <a:lnTo>
                      <a:pt x="151" y="1110"/>
                    </a:lnTo>
                    <a:lnTo>
                      <a:pt x="131" y="1119"/>
                    </a:lnTo>
                    <a:lnTo>
                      <a:pt x="110" y="1123"/>
                    </a:lnTo>
                    <a:lnTo>
                      <a:pt x="87" y="1123"/>
                    </a:lnTo>
                    <a:lnTo>
                      <a:pt x="66" y="1119"/>
                    </a:lnTo>
                    <a:lnTo>
                      <a:pt x="46" y="1110"/>
                    </a:lnTo>
                    <a:lnTo>
                      <a:pt x="28" y="1095"/>
                    </a:lnTo>
                    <a:lnTo>
                      <a:pt x="14" y="1077"/>
                    </a:lnTo>
                    <a:lnTo>
                      <a:pt x="5" y="1057"/>
                    </a:lnTo>
                    <a:lnTo>
                      <a:pt x="0" y="1035"/>
                    </a:lnTo>
                    <a:lnTo>
                      <a:pt x="0" y="1013"/>
                    </a:lnTo>
                    <a:lnTo>
                      <a:pt x="5" y="992"/>
                    </a:lnTo>
                    <a:lnTo>
                      <a:pt x="14" y="972"/>
                    </a:lnTo>
                    <a:lnTo>
                      <a:pt x="28" y="954"/>
                    </a:lnTo>
                    <a:lnTo>
                      <a:pt x="31" y="952"/>
                    </a:lnTo>
                    <a:lnTo>
                      <a:pt x="37" y="945"/>
                    </a:lnTo>
                    <a:lnTo>
                      <a:pt x="47" y="936"/>
                    </a:lnTo>
                    <a:lnTo>
                      <a:pt x="61" y="924"/>
                    </a:lnTo>
                    <a:lnTo>
                      <a:pt x="78" y="908"/>
                    </a:lnTo>
                    <a:lnTo>
                      <a:pt x="99" y="889"/>
                    </a:lnTo>
                    <a:lnTo>
                      <a:pt x="122" y="868"/>
                    </a:lnTo>
                    <a:lnTo>
                      <a:pt x="147" y="844"/>
                    </a:lnTo>
                    <a:lnTo>
                      <a:pt x="176" y="818"/>
                    </a:lnTo>
                    <a:lnTo>
                      <a:pt x="206" y="790"/>
                    </a:lnTo>
                    <a:lnTo>
                      <a:pt x="238" y="761"/>
                    </a:lnTo>
                    <a:lnTo>
                      <a:pt x="273" y="729"/>
                    </a:lnTo>
                    <a:lnTo>
                      <a:pt x="309" y="696"/>
                    </a:lnTo>
                    <a:lnTo>
                      <a:pt x="346" y="662"/>
                    </a:lnTo>
                    <a:lnTo>
                      <a:pt x="383" y="627"/>
                    </a:lnTo>
                    <a:lnTo>
                      <a:pt x="422" y="591"/>
                    </a:lnTo>
                    <a:lnTo>
                      <a:pt x="463" y="554"/>
                    </a:lnTo>
                    <a:lnTo>
                      <a:pt x="503" y="518"/>
                    </a:lnTo>
                    <a:lnTo>
                      <a:pt x="543" y="481"/>
                    </a:lnTo>
                    <a:lnTo>
                      <a:pt x="583" y="444"/>
                    </a:lnTo>
                    <a:lnTo>
                      <a:pt x="623" y="406"/>
                    </a:lnTo>
                    <a:lnTo>
                      <a:pt x="663" y="369"/>
                    </a:lnTo>
                    <a:lnTo>
                      <a:pt x="702" y="334"/>
                    </a:lnTo>
                    <a:lnTo>
                      <a:pt x="740" y="299"/>
                    </a:lnTo>
                    <a:lnTo>
                      <a:pt x="776" y="265"/>
                    </a:lnTo>
                    <a:lnTo>
                      <a:pt x="812" y="232"/>
                    </a:lnTo>
                    <a:lnTo>
                      <a:pt x="846" y="201"/>
                    </a:lnTo>
                    <a:lnTo>
                      <a:pt x="879" y="171"/>
                    </a:lnTo>
                    <a:lnTo>
                      <a:pt x="908" y="143"/>
                    </a:lnTo>
                    <a:lnTo>
                      <a:pt x="937" y="118"/>
                    </a:lnTo>
                    <a:lnTo>
                      <a:pt x="962" y="95"/>
                    </a:lnTo>
                    <a:lnTo>
                      <a:pt x="985" y="73"/>
                    </a:lnTo>
                    <a:lnTo>
                      <a:pt x="1005" y="54"/>
                    </a:lnTo>
                    <a:lnTo>
                      <a:pt x="1022" y="39"/>
                    </a:lnTo>
                    <a:lnTo>
                      <a:pt x="1036" y="27"/>
                    </a:lnTo>
                    <a:lnTo>
                      <a:pt x="1045" y="18"/>
                    </a:lnTo>
                    <a:lnTo>
                      <a:pt x="1051" y="12"/>
                    </a:lnTo>
                    <a:lnTo>
                      <a:pt x="1054" y="10"/>
                    </a:lnTo>
                    <a:lnTo>
                      <a:pt x="1063" y="3"/>
                    </a:lnTo>
                    <a:lnTo>
                      <a:pt x="107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70" name="Rectangle 69"/>
          <p:cNvSpPr/>
          <p:nvPr/>
        </p:nvSpPr>
        <p:spPr bwMode="ltGray">
          <a:xfrm>
            <a:off x="6174395" y="-2"/>
            <a:ext cx="2969606" cy="35859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+mj-lt"/>
              </a:rPr>
              <a:t>Банковские услуги, страхование, телекоммуникации</a:t>
            </a:r>
            <a:endParaRPr lang="ru-RU" sz="10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68752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6315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ru-RU" sz="1600" b="0" dirty="0" smtClean="0">
                <a:solidFill>
                  <a:schemeClr val="bg1"/>
                </a:solidFill>
              </a:rPr>
              <a:t>Чтобы помочь Вам справиться с трудностями, связанными с обработкой данных, представляем вашему вниманию </a:t>
            </a:r>
            <a:r>
              <a:rPr sz="1400" dirty="0"/>
              <a:t/>
            </a:r>
            <a:br>
              <a:rPr sz="1400" dirty="0"/>
            </a:br>
            <a:r>
              <a:rPr lang="ru-RU" sz="1400" dirty="0" smtClean="0"/>
              <a:t>Центр экспертизы по анализу Больших данных и Машинному обучению</a:t>
            </a:r>
            <a:r>
              <a:rPr lang="ru-RU" sz="1600" b="0" dirty="0" smtClean="0">
                <a:solidFill>
                  <a:schemeClr val="bg1"/>
                </a:solidFill>
              </a:rPr>
              <a:t>.</a:t>
            </a:r>
            <a:r>
              <a:rPr lang="ru-RU" b="0" dirty="0" smtClean="0">
                <a:solidFill>
                  <a:schemeClr val="bg1"/>
                </a:solidFill>
              </a:rPr>
              <a:t/>
            </a:r>
            <a:br>
              <a:rPr lang="ru-RU" b="0" dirty="0" smtClean="0">
                <a:solidFill>
                  <a:schemeClr val="bg1"/>
                </a:solidFill>
              </a:rPr>
            </a:br>
            <a:r>
              <a:rPr lang="ru-RU" b="0" dirty="0" smtClean="0">
                <a:solidFill>
                  <a:schemeClr val="bg1"/>
                </a:solidFill>
              </a:rPr>
              <a:t/>
            </a:r>
            <a:br>
              <a:rPr lang="ru-RU" b="0" dirty="0" smtClean="0">
                <a:solidFill>
                  <a:schemeClr val="bg1"/>
                </a:solidFill>
              </a:rPr>
            </a:br>
            <a:r>
              <a:rPr lang="ru-RU" sz="1600" b="0" dirty="0" smtClean="0">
                <a:solidFill>
                  <a:schemeClr val="bg1"/>
                </a:solidFill>
              </a:rPr>
              <a:t>Наш центр компетенции опыта – это:</a:t>
            </a:r>
            <a:endParaRPr lang="ru-RU" sz="1600" b="0" dirty="0">
              <a:solidFill>
                <a:schemeClr val="bg1"/>
              </a:solidFill>
            </a:endParaRPr>
          </a:p>
        </p:txBody>
      </p:sp>
      <p:sp>
        <p:nvSpPr>
          <p:cNvPr id="3" name="Rectangle 6"/>
          <p:cNvSpPr>
            <a:spLocks noChangeArrowheads="1"/>
          </p:cNvSpPr>
          <p:nvPr/>
        </p:nvSpPr>
        <p:spPr bwMode="gray">
          <a:xfrm>
            <a:off x="2244920" y="1953546"/>
            <a:ext cx="2046240" cy="128240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>
            <a:spAutoFit/>
          </a:bodyPr>
          <a:lstStyle/>
          <a:p>
            <a:pPr eaLnBrk="0" hangingPunct="0">
              <a:spcBef>
                <a:spcPts val="200"/>
              </a:spcBef>
              <a:spcAft>
                <a:spcPts val="200"/>
              </a:spcAft>
              <a:defRPr/>
            </a:pPr>
            <a:r>
              <a:rPr lang="ru-RU" sz="1000" kern="0" dirty="0" smtClean="0">
                <a:solidFill>
                  <a:schemeClr val="bg1"/>
                </a:solidFill>
                <a:latin typeface="+mj-lt"/>
              </a:rPr>
              <a:t>-разработчики аналитических решений, требующих анализ большого объема данных;</a:t>
            </a:r>
          </a:p>
          <a:p>
            <a:pPr eaLnBrk="0" hangingPunct="0">
              <a:spcBef>
                <a:spcPts val="200"/>
              </a:spcBef>
              <a:spcAft>
                <a:spcPts val="200"/>
              </a:spcAft>
              <a:defRPr/>
            </a:pPr>
            <a:r>
              <a:rPr lang="ru-RU" sz="1000" kern="0" dirty="0" smtClean="0">
                <a:solidFill>
                  <a:schemeClr val="bg1"/>
                </a:solidFill>
                <a:latin typeface="+mj-lt"/>
              </a:rPr>
              <a:t>-</a:t>
            </a:r>
            <a:r>
              <a:rPr lang="ru-RU" sz="1000" kern="0" dirty="0" err="1" smtClean="0">
                <a:solidFill>
                  <a:schemeClr val="bg1"/>
                </a:solidFill>
                <a:latin typeface="+mj-lt"/>
              </a:rPr>
              <a:t>хаб</a:t>
            </a:r>
            <a:r>
              <a:rPr lang="ru-RU" sz="1000" kern="0" dirty="0" smtClean="0">
                <a:solidFill>
                  <a:schemeClr val="bg1"/>
                </a:solidFill>
                <a:latin typeface="+mj-lt"/>
              </a:rPr>
              <a:t> лучших индустриальных практик использования данных компании для получения дополнительной прибыли</a:t>
            </a:r>
            <a:r>
              <a:rPr lang="en-US" sz="1000" kern="0" dirty="0" smtClean="0">
                <a:solidFill>
                  <a:schemeClr val="bg1"/>
                </a:solidFill>
                <a:latin typeface="+mj-lt"/>
              </a:rPr>
              <a:t>;</a:t>
            </a:r>
            <a:r>
              <a:rPr sz="1000" dirty="0">
                <a:latin typeface="+mj-lt"/>
              </a:rPr>
              <a:t/>
            </a:r>
            <a:br>
              <a:rPr sz="1000" dirty="0">
                <a:latin typeface="+mj-lt"/>
              </a:rPr>
            </a:br>
            <a:endParaRPr lang="ru-RU" sz="1000" kern="0" dirty="0">
              <a:solidFill>
                <a:srgbClr val="A7A49B"/>
              </a:solidFill>
              <a:latin typeface="+mj-lt"/>
            </a:endParaRPr>
          </a:p>
        </p:txBody>
      </p:sp>
      <p:sp>
        <p:nvSpPr>
          <p:cNvPr id="317" name="Rectangle 6"/>
          <p:cNvSpPr>
            <a:spLocks noChangeArrowheads="1"/>
          </p:cNvSpPr>
          <p:nvPr/>
        </p:nvSpPr>
        <p:spPr bwMode="gray">
          <a:xfrm>
            <a:off x="2260898" y="4522755"/>
            <a:ext cx="2046240" cy="107721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>
            <a:spAutoFit/>
          </a:bodyPr>
          <a:lstStyle/>
          <a:p>
            <a:pPr eaLnBrk="0" hangingPunct="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000" kern="0" dirty="0" smtClean="0">
                <a:solidFill>
                  <a:schemeClr val="bg1"/>
                </a:solidFill>
                <a:latin typeface="+mj-lt"/>
              </a:rPr>
              <a:t>-</a:t>
            </a:r>
            <a:r>
              <a:rPr lang="ru-RU" sz="1000" kern="0" dirty="0" smtClean="0">
                <a:solidFill>
                  <a:schemeClr val="bg1"/>
                </a:solidFill>
                <a:latin typeface="+mj-lt"/>
              </a:rPr>
              <a:t>поставщик комплексных приложений (универсальных и разработанных по индивидуальному заказу), предназначенных для обработки маленьких и больших объемов данных</a:t>
            </a:r>
          </a:p>
        </p:txBody>
      </p:sp>
      <p:sp>
        <p:nvSpPr>
          <p:cNvPr id="318" name="Rectangle 6"/>
          <p:cNvSpPr>
            <a:spLocks noChangeArrowheads="1"/>
          </p:cNvSpPr>
          <p:nvPr/>
        </p:nvSpPr>
        <p:spPr bwMode="gray">
          <a:xfrm>
            <a:off x="6564691" y="1876378"/>
            <a:ext cx="2045908" cy="73866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>
            <a:noAutofit/>
          </a:bodyPr>
          <a:lstStyle/>
          <a:p>
            <a:pPr eaLnBrk="0" hangingPunct="0">
              <a:spcBef>
                <a:spcPts val="200"/>
              </a:spcBef>
              <a:spcAft>
                <a:spcPts val="200"/>
              </a:spcAft>
              <a:defRPr/>
            </a:pPr>
            <a:r>
              <a:rPr lang="ru-RU" sz="1000" kern="0" dirty="0" smtClean="0">
                <a:solidFill>
                  <a:schemeClr val="bg1"/>
                </a:solidFill>
                <a:latin typeface="+mj-lt"/>
              </a:rPr>
              <a:t>-архитектор аналитических витрин данных </a:t>
            </a:r>
            <a:r>
              <a:rPr lang="ru-RU" sz="1000" kern="0" dirty="0" err="1" smtClean="0">
                <a:solidFill>
                  <a:schemeClr val="bg1"/>
                </a:solidFill>
                <a:latin typeface="+mj-lt"/>
              </a:rPr>
              <a:t>Data</a:t>
            </a:r>
            <a:r>
              <a:rPr lang="ru-RU" sz="1000" kern="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1000" kern="0" dirty="0" err="1" smtClean="0">
                <a:solidFill>
                  <a:schemeClr val="bg1"/>
                </a:solidFill>
                <a:latin typeface="+mj-lt"/>
              </a:rPr>
              <a:t>Lake</a:t>
            </a:r>
            <a:r>
              <a:rPr lang="ru-RU" sz="1000" kern="0" dirty="0" smtClean="0">
                <a:solidFill>
                  <a:schemeClr val="bg1"/>
                </a:solidFill>
                <a:latin typeface="+mj-lt"/>
              </a:rPr>
              <a:t> на базе технологий </a:t>
            </a:r>
            <a:r>
              <a:rPr lang="en-US" sz="1000" kern="0" dirty="0" smtClean="0">
                <a:solidFill>
                  <a:schemeClr val="bg1"/>
                </a:solidFill>
                <a:latin typeface="+mj-lt"/>
              </a:rPr>
              <a:t>Apache</a:t>
            </a:r>
            <a:r>
              <a:rPr lang="ru-RU" sz="1000" kern="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1000" kern="0" dirty="0" err="1" smtClean="0">
                <a:solidFill>
                  <a:schemeClr val="bg1"/>
                </a:solidFill>
                <a:latin typeface="+mj-lt"/>
              </a:rPr>
              <a:t>Hadoop</a:t>
            </a:r>
            <a:r>
              <a:rPr lang="en-US" sz="1000" kern="0" dirty="0" smtClean="0">
                <a:solidFill>
                  <a:schemeClr val="bg1"/>
                </a:solidFill>
                <a:latin typeface="+mj-lt"/>
              </a:rPr>
              <a:t>\Spark </a:t>
            </a:r>
            <a:r>
              <a:rPr lang="ru-RU" sz="1000" kern="0" dirty="0" smtClean="0">
                <a:solidFill>
                  <a:schemeClr val="bg1"/>
                </a:solidFill>
                <a:latin typeface="+mj-lt"/>
              </a:rPr>
              <a:t> или SQL</a:t>
            </a:r>
          </a:p>
        </p:txBody>
      </p:sp>
      <p:sp>
        <p:nvSpPr>
          <p:cNvPr id="319" name="Rectangle 6"/>
          <p:cNvSpPr>
            <a:spLocks noChangeArrowheads="1"/>
          </p:cNvSpPr>
          <p:nvPr/>
        </p:nvSpPr>
        <p:spPr bwMode="gray">
          <a:xfrm>
            <a:off x="6466079" y="4170642"/>
            <a:ext cx="2045908" cy="178144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ctr">
            <a:noAutofit/>
          </a:bodyPr>
          <a:lstStyle/>
          <a:p>
            <a:pPr eaLnBrk="0" hangingPunct="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000" kern="0" dirty="0" smtClean="0">
                <a:solidFill>
                  <a:schemeClr val="bg1"/>
                </a:solidFill>
                <a:latin typeface="+mj-lt"/>
              </a:rPr>
              <a:t>- </a:t>
            </a:r>
            <a:r>
              <a:rPr lang="ru-RU" sz="1000" kern="0" dirty="0" smtClean="0">
                <a:solidFill>
                  <a:schemeClr val="bg1"/>
                </a:solidFill>
                <a:latin typeface="+mj-lt"/>
              </a:rPr>
              <a:t>Квалифицированная команда бизнес консультантов, имеющая широкий индустриальный опыт применения технологий анализа данных.</a:t>
            </a:r>
          </a:p>
        </p:txBody>
      </p:sp>
      <p:sp>
        <p:nvSpPr>
          <p:cNvPr id="312" name="Oval 311"/>
          <p:cNvSpPr/>
          <p:nvPr/>
        </p:nvSpPr>
        <p:spPr bwMode="ltGray">
          <a:xfrm>
            <a:off x="533399" y="1876378"/>
            <a:ext cx="1581201" cy="158120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61" name="Group 165"/>
          <p:cNvGrpSpPr>
            <a:grpSpLocks noChangeAspect="1"/>
          </p:cNvGrpSpPr>
          <p:nvPr/>
        </p:nvGrpSpPr>
        <p:grpSpPr bwMode="auto">
          <a:xfrm>
            <a:off x="785043" y="2245497"/>
            <a:ext cx="1077913" cy="842963"/>
            <a:chOff x="-1919" y="3510"/>
            <a:chExt cx="679" cy="531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262" name="Freeform 167"/>
            <p:cNvSpPr>
              <a:spLocks/>
            </p:cNvSpPr>
            <p:nvPr/>
          </p:nvSpPr>
          <p:spPr bwMode="auto">
            <a:xfrm>
              <a:off x="-1803" y="3980"/>
              <a:ext cx="447" cy="61"/>
            </a:xfrm>
            <a:custGeom>
              <a:avLst/>
              <a:gdLst>
                <a:gd name="T0" fmla="*/ 154 w 2237"/>
                <a:gd name="T1" fmla="*/ 0 h 304"/>
                <a:gd name="T2" fmla="*/ 2082 w 2237"/>
                <a:gd name="T3" fmla="*/ 0 h 304"/>
                <a:gd name="T4" fmla="*/ 2113 w 2237"/>
                <a:gd name="T5" fmla="*/ 3 h 304"/>
                <a:gd name="T6" fmla="*/ 2142 w 2237"/>
                <a:gd name="T7" fmla="*/ 12 h 304"/>
                <a:gd name="T8" fmla="*/ 2168 w 2237"/>
                <a:gd name="T9" fmla="*/ 27 h 304"/>
                <a:gd name="T10" fmla="*/ 2191 w 2237"/>
                <a:gd name="T11" fmla="*/ 45 h 304"/>
                <a:gd name="T12" fmla="*/ 2210 w 2237"/>
                <a:gd name="T13" fmla="*/ 68 h 304"/>
                <a:gd name="T14" fmla="*/ 2224 w 2237"/>
                <a:gd name="T15" fmla="*/ 93 h 304"/>
                <a:gd name="T16" fmla="*/ 2234 w 2237"/>
                <a:gd name="T17" fmla="*/ 122 h 304"/>
                <a:gd name="T18" fmla="*/ 2237 w 2237"/>
                <a:gd name="T19" fmla="*/ 153 h 304"/>
                <a:gd name="T20" fmla="*/ 2234 w 2237"/>
                <a:gd name="T21" fmla="*/ 183 h 304"/>
                <a:gd name="T22" fmla="*/ 2224 w 2237"/>
                <a:gd name="T23" fmla="*/ 212 h 304"/>
                <a:gd name="T24" fmla="*/ 2210 w 2237"/>
                <a:gd name="T25" fmla="*/ 237 h 304"/>
                <a:gd name="T26" fmla="*/ 2191 w 2237"/>
                <a:gd name="T27" fmla="*/ 260 h 304"/>
                <a:gd name="T28" fmla="*/ 2168 w 2237"/>
                <a:gd name="T29" fmla="*/ 278 h 304"/>
                <a:gd name="T30" fmla="*/ 2142 w 2237"/>
                <a:gd name="T31" fmla="*/ 293 h 304"/>
                <a:gd name="T32" fmla="*/ 2113 w 2237"/>
                <a:gd name="T33" fmla="*/ 301 h 304"/>
                <a:gd name="T34" fmla="*/ 2082 w 2237"/>
                <a:gd name="T35" fmla="*/ 304 h 304"/>
                <a:gd name="T36" fmla="*/ 154 w 2237"/>
                <a:gd name="T37" fmla="*/ 304 h 304"/>
                <a:gd name="T38" fmla="*/ 123 w 2237"/>
                <a:gd name="T39" fmla="*/ 301 h 304"/>
                <a:gd name="T40" fmla="*/ 93 w 2237"/>
                <a:gd name="T41" fmla="*/ 293 h 304"/>
                <a:gd name="T42" fmla="*/ 68 w 2237"/>
                <a:gd name="T43" fmla="*/ 278 h 304"/>
                <a:gd name="T44" fmla="*/ 45 w 2237"/>
                <a:gd name="T45" fmla="*/ 260 h 304"/>
                <a:gd name="T46" fmla="*/ 26 w 2237"/>
                <a:gd name="T47" fmla="*/ 237 h 304"/>
                <a:gd name="T48" fmla="*/ 11 w 2237"/>
                <a:gd name="T49" fmla="*/ 212 h 304"/>
                <a:gd name="T50" fmla="*/ 3 w 2237"/>
                <a:gd name="T51" fmla="*/ 183 h 304"/>
                <a:gd name="T52" fmla="*/ 0 w 2237"/>
                <a:gd name="T53" fmla="*/ 153 h 304"/>
                <a:gd name="T54" fmla="*/ 3 w 2237"/>
                <a:gd name="T55" fmla="*/ 122 h 304"/>
                <a:gd name="T56" fmla="*/ 11 w 2237"/>
                <a:gd name="T57" fmla="*/ 93 h 304"/>
                <a:gd name="T58" fmla="*/ 26 w 2237"/>
                <a:gd name="T59" fmla="*/ 68 h 304"/>
                <a:gd name="T60" fmla="*/ 45 w 2237"/>
                <a:gd name="T61" fmla="*/ 45 h 304"/>
                <a:gd name="T62" fmla="*/ 68 w 2237"/>
                <a:gd name="T63" fmla="*/ 27 h 304"/>
                <a:gd name="T64" fmla="*/ 93 w 2237"/>
                <a:gd name="T65" fmla="*/ 12 h 304"/>
                <a:gd name="T66" fmla="*/ 123 w 2237"/>
                <a:gd name="T67" fmla="*/ 3 h 304"/>
                <a:gd name="T68" fmla="*/ 154 w 2237"/>
                <a:gd name="T69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37" h="304">
                  <a:moveTo>
                    <a:pt x="154" y="0"/>
                  </a:moveTo>
                  <a:lnTo>
                    <a:pt x="2082" y="0"/>
                  </a:lnTo>
                  <a:lnTo>
                    <a:pt x="2113" y="3"/>
                  </a:lnTo>
                  <a:lnTo>
                    <a:pt x="2142" y="12"/>
                  </a:lnTo>
                  <a:lnTo>
                    <a:pt x="2168" y="27"/>
                  </a:lnTo>
                  <a:lnTo>
                    <a:pt x="2191" y="45"/>
                  </a:lnTo>
                  <a:lnTo>
                    <a:pt x="2210" y="68"/>
                  </a:lnTo>
                  <a:lnTo>
                    <a:pt x="2224" y="93"/>
                  </a:lnTo>
                  <a:lnTo>
                    <a:pt x="2234" y="122"/>
                  </a:lnTo>
                  <a:lnTo>
                    <a:pt x="2237" y="153"/>
                  </a:lnTo>
                  <a:lnTo>
                    <a:pt x="2234" y="183"/>
                  </a:lnTo>
                  <a:lnTo>
                    <a:pt x="2224" y="212"/>
                  </a:lnTo>
                  <a:lnTo>
                    <a:pt x="2210" y="237"/>
                  </a:lnTo>
                  <a:lnTo>
                    <a:pt x="2191" y="260"/>
                  </a:lnTo>
                  <a:lnTo>
                    <a:pt x="2168" y="278"/>
                  </a:lnTo>
                  <a:lnTo>
                    <a:pt x="2142" y="293"/>
                  </a:lnTo>
                  <a:lnTo>
                    <a:pt x="2113" y="301"/>
                  </a:lnTo>
                  <a:lnTo>
                    <a:pt x="2082" y="304"/>
                  </a:lnTo>
                  <a:lnTo>
                    <a:pt x="154" y="304"/>
                  </a:lnTo>
                  <a:lnTo>
                    <a:pt x="123" y="301"/>
                  </a:lnTo>
                  <a:lnTo>
                    <a:pt x="93" y="293"/>
                  </a:lnTo>
                  <a:lnTo>
                    <a:pt x="68" y="278"/>
                  </a:lnTo>
                  <a:lnTo>
                    <a:pt x="45" y="260"/>
                  </a:lnTo>
                  <a:lnTo>
                    <a:pt x="26" y="237"/>
                  </a:lnTo>
                  <a:lnTo>
                    <a:pt x="11" y="212"/>
                  </a:lnTo>
                  <a:lnTo>
                    <a:pt x="3" y="183"/>
                  </a:lnTo>
                  <a:lnTo>
                    <a:pt x="0" y="153"/>
                  </a:lnTo>
                  <a:lnTo>
                    <a:pt x="3" y="122"/>
                  </a:lnTo>
                  <a:lnTo>
                    <a:pt x="11" y="93"/>
                  </a:lnTo>
                  <a:lnTo>
                    <a:pt x="26" y="68"/>
                  </a:lnTo>
                  <a:lnTo>
                    <a:pt x="45" y="45"/>
                  </a:lnTo>
                  <a:lnTo>
                    <a:pt x="68" y="27"/>
                  </a:lnTo>
                  <a:lnTo>
                    <a:pt x="93" y="12"/>
                  </a:lnTo>
                  <a:lnTo>
                    <a:pt x="123" y="3"/>
                  </a:lnTo>
                  <a:lnTo>
                    <a:pt x="1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263" name="Freeform 168"/>
            <p:cNvSpPr>
              <a:spLocks/>
            </p:cNvSpPr>
            <p:nvPr/>
          </p:nvSpPr>
          <p:spPr bwMode="auto">
            <a:xfrm>
              <a:off x="-1811" y="3730"/>
              <a:ext cx="46" cy="121"/>
            </a:xfrm>
            <a:custGeom>
              <a:avLst/>
              <a:gdLst>
                <a:gd name="T0" fmla="*/ 117 w 232"/>
                <a:gd name="T1" fmla="*/ 0 h 607"/>
                <a:gd name="T2" fmla="*/ 143 w 232"/>
                <a:gd name="T3" fmla="*/ 3 h 607"/>
                <a:gd name="T4" fmla="*/ 168 w 232"/>
                <a:gd name="T5" fmla="*/ 12 h 607"/>
                <a:gd name="T6" fmla="*/ 190 w 232"/>
                <a:gd name="T7" fmla="*/ 25 h 607"/>
                <a:gd name="T8" fmla="*/ 207 w 232"/>
                <a:gd name="T9" fmla="*/ 43 h 607"/>
                <a:gd name="T10" fmla="*/ 221 w 232"/>
                <a:gd name="T11" fmla="*/ 64 h 607"/>
                <a:gd name="T12" fmla="*/ 229 w 232"/>
                <a:gd name="T13" fmla="*/ 88 h 607"/>
                <a:gd name="T14" fmla="*/ 232 w 232"/>
                <a:gd name="T15" fmla="*/ 114 h 607"/>
                <a:gd name="T16" fmla="*/ 232 w 232"/>
                <a:gd name="T17" fmla="*/ 494 h 607"/>
                <a:gd name="T18" fmla="*/ 229 w 232"/>
                <a:gd name="T19" fmla="*/ 520 h 607"/>
                <a:gd name="T20" fmla="*/ 221 w 232"/>
                <a:gd name="T21" fmla="*/ 544 h 607"/>
                <a:gd name="T22" fmla="*/ 207 w 232"/>
                <a:gd name="T23" fmla="*/ 565 h 607"/>
                <a:gd name="T24" fmla="*/ 190 w 232"/>
                <a:gd name="T25" fmla="*/ 583 h 607"/>
                <a:gd name="T26" fmla="*/ 168 w 232"/>
                <a:gd name="T27" fmla="*/ 596 h 607"/>
                <a:gd name="T28" fmla="*/ 143 w 232"/>
                <a:gd name="T29" fmla="*/ 605 h 607"/>
                <a:gd name="T30" fmla="*/ 117 w 232"/>
                <a:gd name="T31" fmla="*/ 607 h 607"/>
                <a:gd name="T32" fmla="*/ 90 w 232"/>
                <a:gd name="T33" fmla="*/ 605 h 607"/>
                <a:gd name="T34" fmla="*/ 66 w 232"/>
                <a:gd name="T35" fmla="*/ 596 h 607"/>
                <a:gd name="T36" fmla="*/ 44 w 232"/>
                <a:gd name="T37" fmla="*/ 583 h 607"/>
                <a:gd name="T38" fmla="*/ 26 w 232"/>
                <a:gd name="T39" fmla="*/ 565 h 607"/>
                <a:gd name="T40" fmla="*/ 13 w 232"/>
                <a:gd name="T41" fmla="*/ 544 h 607"/>
                <a:gd name="T42" fmla="*/ 4 w 232"/>
                <a:gd name="T43" fmla="*/ 520 h 607"/>
                <a:gd name="T44" fmla="*/ 0 w 232"/>
                <a:gd name="T45" fmla="*/ 494 h 607"/>
                <a:gd name="T46" fmla="*/ 0 w 232"/>
                <a:gd name="T47" fmla="*/ 114 h 607"/>
                <a:gd name="T48" fmla="*/ 4 w 232"/>
                <a:gd name="T49" fmla="*/ 88 h 607"/>
                <a:gd name="T50" fmla="*/ 13 w 232"/>
                <a:gd name="T51" fmla="*/ 64 h 607"/>
                <a:gd name="T52" fmla="*/ 26 w 232"/>
                <a:gd name="T53" fmla="*/ 43 h 607"/>
                <a:gd name="T54" fmla="*/ 44 w 232"/>
                <a:gd name="T55" fmla="*/ 25 h 607"/>
                <a:gd name="T56" fmla="*/ 66 w 232"/>
                <a:gd name="T57" fmla="*/ 12 h 607"/>
                <a:gd name="T58" fmla="*/ 90 w 232"/>
                <a:gd name="T59" fmla="*/ 3 h 607"/>
                <a:gd name="T60" fmla="*/ 117 w 232"/>
                <a:gd name="T61" fmla="*/ 0 h 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2" h="607">
                  <a:moveTo>
                    <a:pt x="117" y="0"/>
                  </a:moveTo>
                  <a:lnTo>
                    <a:pt x="143" y="3"/>
                  </a:lnTo>
                  <a:lnTo>
                    <a:pt x="168" y="12"/>
                  </a:lnTo>
                  <a:lnTo>
                    <a:pt x="190" y="25"/>
                  </a:lnTo>
                  <a:lnTo>
                    <a:pt x="207" y="43"/>
                  </a:lnTo>
                  <a:lnTo>
                    <a:pt x="221" y="64"/>
                  </a:lnTo>
                  <a:lnTo>
                    <a:pt x="229" y="88"/>
                  </a:lnTo>
                  <a:lnTo>
                    <a:pt x="232" y="114"/>
                  </a:lnTo>
                  <a:lnTo>
                    <a:pt x="232" y="494"/>
                  </a:lnTo>
                  <a:lnTo>
                    <a:pt x="229" y="520"/>
                  </a:lnTo>
                  <a:lnTo>
                    <a:pt x="221" y="544"/>
                  </a:lnTo>
                  <a:lnTo>
                    <a:pt x="207" y="565"/>
                  </a:lnTo>
                  <a:lnTo>
                    <a:pt x="190" y="583"/>
                  </a:lnTo>
                  <a:lnTo>
                    <a:pt x="168" y="596"/>
                  </a:lnTo>
                  <a:lnTo>
                    <a:pt x="143" y="605"/>
                  </a:lnTo>
                  <a:lnTo>
                    <a:pt x="117" y="607"/>
                  </a:lnTo>
                  <a:lnTo>
                    <a:pt x="90" y="605"/>
                  </a:lnTo>
                  <a:lnTo>
                    <a:pt x="66" y="596"/>
                  </a:lnTo>
                  <a:lnTo>
                    <a:pt x="44" y="583"/>
                  </a:lnTo>
                  <a:lnTo>
                    <a:pt x="26" y="565"/>
                  </a:lnTo>
                  <a:lnTo>
                    <a:pt x="13" y="544"/>
                  </a:lnTo>
                  <a:lnTo>
                    <a:pt x="4" y="520"/>
                  </a:lnTo>
                  <a:lnTo>
                    <a:pt x="0" y="494"/>
                  </a:lnTo>
                  <a:lnTo>
                    <a:pt x="0" y="114"/>
                  </a:lnTo>
                  <a:lnTo>
                    <a:pt x="4" y="88"/>
                  </a:lnTo>
                  <a:lnTo>
                    <a:pt x="13" y="64"/>
                  </a:lnTo>
                  <a:lnTo>
                    <a:pt x="26" y="43"/>
                  </a:lnTo>
                  <a:lnTo>
                    <a:pt x="44" y="25"/>
                  </a:lnTo>
                  <a:lnTo>
                    <a:pt x="66" y="12"/>
                  </a:lnTo>
                  <a:lnTo>
                    <a:pt x="90" y="3"/>
                  </a:lnTo>
                  <a:lnTo>
                    <a:pt x="1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264" name="Freeform 169"/>
            <p:cNvSpPr>
              <a:spLocks/>
            </p:cNvSpPr>
            <p:nvPr/>
          </p:nvSpPr>
          <p:spPr bwMode="auto">
            <a:xfrm>
              <a:off x="-1734" y="3699"/>
              <a:ext cx="46" cy="152"/>
            </a:xfrm>
            <a:custGeom>
              <a:avLst/>
              <a:gdLst>
                <a:gd name="T0" fmla="*/ 116 w 232"/>
                <a:gd name="T1" fmla="*/ 0 h 759"/>
                <a:gd name="T2" fmla="*/ 142 w 232"/>
                <a:gd name="T3" fmla="*/ 3 h 759"/>
                <a:gd name="T4" fmla="*/ 167 w 232"/>
                <a:gd name="T5" fmla="*/ 12 h 759"/>
                <a:gd name="T6" fmla="*/ 188 w 232"/>
                <a:gd name="T7" fmla="*/ 25 h 759"/>
                <a:gd name="T8" fmla="*/ 207 w 232"/>
                <a:gd name="T9" fmla="*/ 43 h 759"/>
                <a:gd name="T10" fmla="*/ 220 w 232"/>
                <a:gd name="T11" fmla="*/ 64 h 759"/>
                <a:gd name="T12" fmla="*/ 229 w 232"/>
                <a:gd name="T13" fmla="*/ 88 h 759"/>
                <a:gd name="T14" fmla="*/ 232 w 232"/>
                <a:gd name="T15" fmla="*/ 115 h 759"/>
                <a:gd name="T16" fmla="*/ 232 w 232"/>
                <a:gd name="T17" fmla="*/ 646 h 759"/>
                <a:gd name="T18" fmla="*/ 229 w 232"/>
                <a:gd name="T19" fmla="*/ 672 h 759"/>
                <a:gd name="T20" fmla="*/ 220 w 232"/>
                <a:gd name="T21" fmla="*/ 696 h 759"/>
                <a:gd name="T22" fmla="*/ 207 w 232"/>
                <a:gd name="T23" fmla="*/ 717 h 759"/>
                <a:gd name="T24" fmla="*/ 188 w 232"/>
                <a:gd name="T25" fmla="*/ 735 h 759"/>
                <a:gd name="T26" fmla="*/ 167 w 232"/>
                <a:gd name="T27" fmla="*/ 748 h 759"/>
                <a:gd name="T28" fmla="*/ 142 w 232"/>
                <a:gd name="T29" fmla="*/ 757 h 759"/>
                <a:gd name="T30" fmla="*/ 116 w 232"/>
                <a:gd name="T31" fmla="*/ 759 h 759"/>
                <a:gd name="T32" fmla="*/ 89 w 232"/>
                <a:gd name="T33" fmla="*/ 757 h 759"/>
                <a:gd name="T34" fmla="*/ 66 w 232"/>
                <a:gd name="T35" fmla="*/ 748 h 759"/>
                <a:gd name="T36" fmla="*/ 44 w 232"/>
                <a:gd name="T37" fmla="*/ 735 h 759"/>
                <a:gd name="T38" fmla="*/ 26 w 232"/>
                <a:gd name="T39" fmla="*/ 717 h 759"/>
                <a:gd name="T40" fmla="*/ 13 w 232"/>
                <a:gd name="T41" fmla="*/ 696 h 759"/>
                <a:gd name="T42" fmla="*/ 3 w 232"/>
                <a:gd name="T43" fmla="*/ 672 h 759"/>
                <a:gd name="T44" fmla="*/ 0 w 232"/>
                <a:gd name="T45" fmla="*/ 646 h 759"/>
                <a:gd name="T46" fmla="*/ 0 w 232"/>
                <a:gd name="T47" fmla="*/ 115 h 759"/>
                <a:gd name="T48" fmla="*/ 3 w 232"/>
                <a:gd name="T49" fmla="*/ 88 h 759"/>
                <a:gd name="T50" fmla="*/ 13 w 232"/>
                <a:gd name="T51" fmla="*/ 64 h 759"/>
                <a:gd name="T52" fmla="*/ 26 w 232"/>
                <a:gd name="T53" fmla="*/ 43 h 759"/>
                <a:gd name="T54" fmla="*/ 44 w 232"/>
                <a:gd name="T55" fmla="*/ 25 h 759"/>
                <a:gd name="T56" fmla="*/ 66 w 232"/>
                <a:gd name="T57" fmla="*/ 12 h 759"/>
                <a:gd name="T58" fmla="*/ 89 w 232"/>
                <a:gd name="T59" fmla="*/ 3 h 759"/>
                <a:gd name="T60" fmla="*/ 116 w 232"/>
                <a:gd name="T61" fmla="*/ 0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2" h="759">
                  <a:moveTo>
                    <a:pt x="116" y="0"/>
                  </a:moveTo>
                  <a:lnTo>
                    <a:pt x="142" y="3"/>
                  </a:lnTo>
                  <a:lnTo>
                    <a:pt x="167" y="12"/>
                  </a:lnTo>
                  <a:lnTo>
                    <a:pt x="188" y="25"/>
                  </a:lnTo>
                  <a:lnTo>
                    <a:pt x="207" y="43"/>
                  </a:lnTo>
                  <a:lnTo>
                    <a:pt x="220" y="64"/>
                  </a:lnTo>
                  <a:lnTo>
                    <a:pt x="229" y="88"/>
                  </a:lnTo>
                  <a:lnTo>
                    <a:pt x="232" y="115"/>
                  </a:lnTo>
                  <a:lnTo>
                    <a:pt x="232" y="646"/>
                  </a:lnTo>
                  <a:lnTo>
                    <a:pt x="229" y="672"/>
                  </a:lnTo>
                  <a:lnTo>
                    <a:pt x="220" y="696"/>
                  </a:lnTo>
                  <a:lnTo>
                    <a:pt x="207" y="717"/>
                  </a:lnTo>
                  <a:lnTo>
                    <a:pt x="188" y="735"/>
                  </a:lnTo>
                  <a:lnTo>
                    <a:pt x="167" y="748"/>
                  </a:lnTo>
                  <a:lnTo>
                    <a:pt x="142" y="757"/>
                  </a:lnTo>
                  <a:lnTo>
                    <a:pt x="116" y="759"/>
                  </a:lnTo>
                  <a:lnTo>
                    <a:pt x="89" y="757"/>
                  </a:lnTo>
                  <a:lnTo>
                    <a:pt x="66" y="748"/>
                  </a:lnTo>
                  <a:lnTo>
                    <a:pt x="44" y="735"/>
                  </a:lnTo>
                  <a:lnTo>
                    <a:pt x="26" y="717"/>
                  </a:lnTo>
                  <a:lnTo>
                    <a:pt x="13" y="696"/>
                  </a:lnTo>
                  <a:lnTo>
                    <a:pt x="3" y="672"/>
                  </a:lnTo>
                  <a:lnTo>
                    <a:pt x="0" y="646"/>
                  </a:lnTo>
                  <a:lnTo>
                    <a:pt x="0" y="115"/>
                  </a:lnTo>
                  <a:lnTo>
                    <a:pt x="3" y="88"/>
                  </a:lnTo>
                  <a:lnTo>
                    <a:pt x="13" y="64"/>
                  </a:lnTo>
                  <a:lnTo>
                    <a:pt x="26" y="43"/>
                  </a:lnTo>
                  <a:lnTo>
                    <a:pt x="44" y="25"/>
                  </a:lnTo>
                  <a:lnTo>
                    <a:pt x="66" y="12"/>
                  </a:lnTo>
                  <a:lnTo>
                    <a:pt x="89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265" name="Freeform 170"/>
            <p:cNvSpPr>
              <a:spLocks/>
            </p:cNvSpPr>
            <p:nvPr/>
          </p:nvSpPr>
          <p:spPr bwMode="auto">
            <a:xfrm>
              <a:off x="-1657" y="3669"/>
              <a:ext cx="46" cy="182"/>
            </a:xfrm>
            <a:custGeom>
              <a:avLst/>
              <a:gdLst>
                <a:gd name="T0" fmla="*/ 115 w 230"/>
                <a:gd name="T1" fmla="*/ 0 h 911"/>
                <a:gd name="T2" fmla="*/ 141 w 230"/>
                <a:gd name="T3" fmla="*/ 3 h 911"/>
                <a:gd name="T4" fmla="*/ 166 w 230"/>
                <a:gd name="T5" fmla="*/ 12 h 911"/>
                <a:gd name="T6" fmla="*/ 187 w 230"/>
                <a:gd name="T7" fmla="*/ 25 h 911"/>
                <a:gd name="T8" fmla="*/ 206 w 230"/>
                <a:gd name="T9" fmla="*/ 43 h 911"/>
                <a:gd name="T10" fmla="*/ 219 w 230"/>
                <a:gd name="T11" fmla="*/ 64 h 911"/>
                <a:gd name="T12" fmla="*/ 227 w 230"/>
                <a:gd name="T13" fmla="*/ 88 h 911"/>
                <a:gd name="T14" fmla="*/ 230 w 230"/>
                <a:gd name="T15" fmla="*/ 114 h 911"/>
                <a:gd name="T16" fmla="*/ 230 w 230"/>
                <a:gd name="T17" fmla="*/ 798 h 911"/>
                <a:gd name="T18" fmla="*/ 227 w 230"/>
                <a:gd name="T19" fmla="*/ 824 h 911"/>
                <a:gd name="T20" fmla="*/ 219 w 230"/>
                <a:gd name="T21" fmla="*/ 848 h 911"/>
                <a:gd name="T22" fmla="*/ 206 w 230"/>
                <a:gd name="T23" fmla="*/ 869 h 911"/>
                <a:gd name="T24" fmla="*/ 187 w 230"/>
                <a:gd name="T25" fmla="*/ 887 h 911"/>
                <a:gd name="T26" fmla="*/ 166 w 230"/>
                <a:gd name="T27" fmla="*/ 900 h 911"/>
                <a:gd name="T28" fmla="*/ 141 w 230"/>
                <a:gd name="T29" fmla="*/ 909 h 911"/>
                <a:gd name="T30" fmla="*/ 115 w 230"/>
                <a:gd name="T31" fmla="*/ 911 h 911"/>
                <a:gd name="T32" fmla="*/ 88 w 230"/>
                <a:gd name="T33" fmla="*/ 909 h 911"/>
                <a:gd name="T34" fmla="*/ 64 w 230"/>
                <a:gd name="T35" fmla="*/ 900 h 911"/>
                <a:gd name="T36" fmla="*/ 42 w 230"/>
                <a:gd name="T37" fmla="*/ 887 h 911"/>
                <a:gd name="T38" fmla="*/ 25 w 230"/>
                <a:gd name="T39" fmla="*/ 869 h 911"/>
                <a:gd name="T40" fmla="*/ 11 w 230"/>
                <a:gd name="T41" fmla="*/ 848 h 911"/>
                <a:gd name="T42" fmla="*/ 3 w 230"/>
                <a:gd name="T43" fmla="*/ 824 h 911"/>
                <a:gd name="T44" fmla="*/ 0 w 230"/>
                <a:gd name="T45" fmla="*/ 798 h 911"/>
                <a:gd name="T46" fmla="*/ 0 w 230"/>
                <a:gd name="T47" fmla="*/ 114 h 911"/>
                <a:gd name="T48" fmla="*/ 3 w 230"/>
                <a:gd name="T49" fmla="*/ 88 h 911"/>
                <a:gd name="T50" fmla="*/ 11 w 230"/>
                <a:gd name="T51" fmla="*/ 64 h 911"/>
                <a:gd name="T52" fmla="*/ 25 w 230"/>
                <a:gd name="T53" fmla="*/ 43 h 911"/>
                <a:gd name="T54" fmla="*/ 42 w 230"/>
                <a:gd name="T55" fmla="*/ 25 h 911"/>
                <a:gd name="T56" fmla="*/ 64 w 230"/>
                <a:gd name="T57" fmla="*/ 12 h 911"/>
                <a:gd name="T58" fmla="*/ 88 w 230"/>
                <a:gd name="T59" fmla="*/ 3 h 911"/>
                <a:gd name="T60" fmla="*/ 115 w 230"/>
                <a:gd name="T61" fmla="*/ 0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0" h="911">
                  <a:moveTo>
                    <a:pt x="115" y="0"/>
                  </a:moveTo>
                  <a:lnTo>
                    <a:pt x="141" y="3"/>
                  </a:lnTo>
                  <a:lnTo>
                    <a:pt x="166" y="12"/>
                  </a:lnTo>
                  <a:lnTo>
                    <a:pt x="187" y="25"/>
                  </a:lnTo>
                  <a:lnTo>
                    <a:pt x="206" y="43"/>
                  </a:lnTo>
                  <a:lnTo>
                    <a:pt x="219" y="64"/>
                  </a:lnTo>
                  <a:lnTo>
                    <a:pt x="227" y="88"/>
                  </a:lnTo>
                  <a:lnTo>
                    <a:pt x="230" y="114"/>
                  </a:lnTo>
                  <a:lnTo>
                    <a:pt x="230" y="798"/>
                  </a:lnTo>
                  <a:lnTo>
                    <a:pt x="227" y="824"/>
                  </a:lnTo>
                  <a:lnTo>
                    <a:pt x="219" y="848"/>
                  </a:lnTo>
                  <a:lnTo>
                    <a:pt x="206" y="869"/>
                  </a:lnTo>
                  <a:lnTo>
                    <a:pt x="187" y="887"/>
                  </a:lnTo>
                  <a:lnTo>
                    <a:pt x="166" y="900"/>
                  </a:lnTo>
                  <a:lnTo>
                    <a:pt x="141" y="909"/>
                  </a:lnTo>
                  <a:lnTo>
                    <a:pt x="115" y="911"/>
                  </a:lnTo>
                  <a:lnTo>
                    <a:pt x="88" y="909"/>
                  </a:lnTo>
                  <a:lnTo>
                    <a:pt x="64" y="900"/>
                  </a:lnTo>
                  <a:lnTo>
                    <a:pt x="42" y="887"/>
                  </a:lnTo>
                  <a:lnTo>
                    <a:pt x="25" y="869"/>
                  </a:lnTo>
                  <a:lnTo>
                    <a:pt x="11" y="848"/>
                  </a:lnTo>
                  <a:lnTo>
                    <a:pt x="3" y="824"/>
                  </a:lnTo>
                  <a:lnTo>
                    <a:pt x="0" y="798"/>
                  </a:lnTo>
                  <a:lnTo>
                    <a:pt x="0" y="114"/>
                  </a:lnTo>
                  <a:lnTo>
                    <a:pt x="3" y="88"/>
                  </a:lnTo>
                  <a:lnTo>
                    <a:pt x="11" y="64"/>
                  </a:lnTo>
                  <a:lnTo>
                    <a:pt x="25" y="43"/>
                  </a:lnTo>
                  <a:lnTo>
                    <a:pt x="42" y="25"/>
                  </a:lnTo>
                  <a:lnTo>
                    <a:pt x="64" y="12"/>
                  </a:lnTo>
                  <a:lnTo>
                    <a:pt x="88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266" name="Freeform 171"/>
            <p:cNvSpPr>
              <a:spLocks/>
            </p:cNvSpPr>
            <p:nvPr/>
          </p:nvSpPr>
          <p:spPr bwMode="auto">
            <a:xfrm>
              <a:off x="-1919" y="3510"/>
              <a:ext cx="679" cy="440"/>
            </a:xfrm>
            <a:custGeom>
              <a:avLst/>
              <a:gdLst>
                <a:gd name="T0" fmla="*/ 3240 w 3394"/>
                <a:gd name="T1" fmla="*/ 0 h 2203"/>
                <a:gd name="T2" fmla="*/ 3300 w 3394"/>
                <a:gd name="T3" fmla="*/ 11 h 2203"/>
                <a:gd name="T4" fmla="*/ 3349 w 3394"/>
                <a:gd name="T5" fmla="*/ 44 h 2203"/>
                <a:gd name="T6" fmla="*/ 3382 w 3394"/>
                <a:gd name="T7" fmla="*/ 92 h 2203"/>
                <a:gd name="T8" fmla="*/ 3394 w 3394"/>
                <a:gd name="T9" fmla="*/ 152 h 2203"/>
                <a:gd name="T10" fmla="*/ 3187 w 3394"/>
                <a:gd name="T11" fmla="*/ 1669 h 2203"/>
                <a:gd name="T12" fmla="*/ 3245 w 3394"/>
                <a:gd name="T13" fmla="*/ 1543 h 2203"/>
                <a:gd name="T14" fmla="*/ 3281 w 3394"/>
                <a:gd name="T15" fmla="*/ 1409 h 2203"/>
                <a:gd name="T16" fmla="*/ 3294 w 3394"/>
                <a:gd name="T17" fmla="*/ 1271 h 2203"/>
                <a:gd name="T18" fmla="*/ 3282 w 3394"/>
                <a:gd name="T19" fmla="*/ 1139 h 2203"/>
                <a:gd name="T20" fmla="*/ 3251 w 3394"/>
                <a:gd name="T21" fmla="*/ 1012 h 2203"/>
                <a:gd name="T22" fmla="*/ 3199 w 3394"/>
                <a:gd name="T23" fmla="*/ 894 h 2203"/>
                <a:gd name="T24" fmla="*/ 3128 w 3394"/>
                <a:gd name="T25" fmla="*/ 783 h 2203"/>
                <a:gd name="T26" fmla="*/ 3085 w 3394"/>
                <a:gd name="T27" fmla="*/ 304 h 2203"/>
                <a:gd name="T28" fmla="*/ 309 w 3394"/>
                <a:gd name="T29" fmla="*/ 1899 h 2203"/>
                <a:gd name="T30" fmla="*/ 1989 w 3394"/>
                <a:gd name="T31" fmla="*/ 1937 h 2203"/>
                <a:gd name="T32" fmla="*/ 2097 w 3394"/>
                <a:gd name="T33" fmla="*/ 2001 h 2203"/>
                <a:gd name="T34" fmla="*/ 2214 w 3394"/>
                <a:gd name="T35" fmla="*/ 2048 h 2203"/>
                <a:gd name="T36" fmla="*/ 2338 w 3394"/>
                <a:gd name="T37" fmla="*/ 2077 h 2203"/>
                <a:gd name="T38" fmla="*/ 2465 w 3394"/>
                <a:gd name="T39" fmla="*/ 2086 h 2203"/>
                <a:gd name="T40" fmla="*/ 2607 w 3394"/>
                <a:gd name="T41" fmla="*/ 2074 h 2203"/>
                <a:gd name="T42" fmla="*/ 2743 w 3394"/>
                <a:gd name="T43" fmla="*/ 2039 h 2203"/>
                <a:gd name="T44" fmla="*/ 2871 w 3394"/>
                <a:gd name="T45" fmla="*/ 1980 h 2203"/>
                <a:gd name="T46" fmla="*/ 3089 w 3394"/>
                <a:gd name="T47" fmla="*/ 2195 h 2203"/>
                <a:gd name="T48" fmla="*/ 3098 w 3394"/>
                <a:gd name="T49" fmla="*/ 2203 h 2203"/>
                <a:gd name="T50" fmla="*/ 124 w 3394"/>
                <a:gd name="T51" fmla="*/ 2199 h 2203"/>
                <a:gd name="T52" fmla="*/ 69 w 3394"/>
                <a:gd name="T53" fmla="*/ 2177 h 2203"/>
                <a:gd name="T54" fmla="*/ 26 w 3394"/>
                <a:gd name="T55" fmla="*/ 2135 h 2203"/>
                <a:gd name="T56" fmla="*/ 3 w 3394"/>
                <a:gd name="T57" fmla="*/ 2081 h 2203"/>
                <a:gd name="T58" fmla="*/ 0 w 3394"/>
                <a:gd name="T59" fmla="*/ 152 h 2203"/>
                <a:gd name="T60" fmla="*/ 12 w 3394"/>
                <a:gd name="T61" fmla="*/ 93 h 2203"/>
                <a:gd name="T62" fmla="*/ 46 w 3394"/>
                <a:gd name="T63" fmla="*/ 44 h 2203"/>
                <a:gd name="T64" fmla="*/ 95 w 3394"/>
                <a:gd name="T65" fmla="*/ 11 h 2203"/>
                <a:gd name="T66" fmla="*/ 155 w 3394"/>
                <a:gd name="T67" fmla="*/ 0 h 2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94" h="2203">
                  <a:moveTo>
                    <a:pt x="155" y="0"/>
                  </a:moveTo>
                  <a:lnTo>
                    <a:pt x="3240" y="0"/>
                  </a:lnTo>
                  <a:lnTo>
                    <a:pt x="3271" y="3"/>
                  </a:lnTo>
                  <a:lnTo>
                    <a:pt x="3300" y="11"/>
                  </a:lnTo>
                  <a:lnTo>
                    <a:pt x="3326" y="26"/>
                  </a:lnTo>
                  <a:lnTo>
                    <a:pt x="3349" y="44"/>
                  </a:lnTo>
                  <a:lnTo>
                    <a:pt x="3368" y="67"/>
                  </a:lnTo>
                  <a:lnTo>
                    <a:pt x="3382" y="92"/>
                  </a:lnTo>
                  <a:lnTo>
                    <a:pt x="3391" y="121"/>
                  </a:lnTo>
                  <a:lnTo>
                    <a:pt x="3394" y="152"/>
                  </a:lnTo>
                  <a:lnTo>
                    <a:pt x="3394" y="1874"/>
                  </a:lnTo>
                  <a:lnTo>
                    <a:pt x="3187" y="1669"/>
                  </a:lnTo>
                  <a:lnTo>
                    <a:pt x="3219" y="1608"/>
                  </a:lnTo>
                  <a:lnTo>
                    <a:pt x="3245" y="1543"/>
                  </a:lnTo>
                  <a:lnTo>
                    <a:pt x="3266" y="1478"/>
                  </a:lnTo>
                  <a:lnTo>
                    <a:pt x="3281" y="1409"/>
                  </a:lnTo>
                  <a:lnTo>
                    <a:pt x="3291" y="1341"/>
                  </a:lnTo>
                  <a:lnTo>
                    <a:pt x="3294" y="1271"/>
                  </a:lnTo>
                  <a:lnTo>
                    <a:pt x="3291" y="1205"/>
                  </a:lnTo>
                  <a:lnTo>
                    <a:pt x="3282" y="1139"/>
                  </a:lnTo>
                  <a:lnTo>
                    <a:pt x="3269" y="1075"/>
                  </a:lnTo>
                  <a:lnTo>
                    <a:pt x="3251" y="1012"/>
                  </a:lnTo>
                  <a:lnTo>
                    <a:pt x="3227" y="952"/>
                  </a:lnTo>
                  <a:lnTo>
                    <a:pt x="3199" y="894"/>
                  </a:lnTo>
                  <a:lnTo>
                    <a:pt x="3166" y="836"/>
                  </a:lnTo>
                  <a:lnTo>
                    <a:pt x="3128" y="783"/>
                  </a:lnTo>
                  <a:lnTo>
                    <a:pt x="3085" y="732"/>
                  </a:lnTo>
                  <a:lnTo>
                    <a:pt x="3085" y="304"/>
                  </a:lnTo>
                  <a:lnTo>
                    <a:pt x="309" y="304"/>
                  </a:lnTo>
                  <a:lnTo>
                    <a:pt x="309" y="1899"/>
                  </a:lnTo>
                  <a:lnTo>
                    <a:pt x="1938" y="1899"/>
                  </a:lnTo>
                  <a:lnTo>
                    <a:pt x="1989" y="1937"/>
                  </a:lnTo>
                  <a:lnTo>
                    <a:pt x="2042" y="1971"/>
                  </a:lnTo>
                  <a:lnTo>
                    <a:pt x="2097" y="2001"/>
                  </a:lnTo>
                  <a:lnTo>
                    <a:pt x="2155" y="2027"/>
                  </a:lnTo>
                  <a:lnTo>
                    <a:pt x="2214" y="2048"/>
                  </a:lnTo>
                  <a:lnTo>
                    <a:pt x="2275" y="2064"/>
                  </a:lnTo>
                  <a:lnTo>
                    <a:pt x="2338" y="2077"/>
                  </a:lnTo>
                  <a:lnTo>
                    <a:pt x="2401" y="2084"/>
                  </a:lnTo>
                  <a:lnTo>
                    <a:pt x="2465" y="2086"/>
                  </a:lnTo>
                  <a:lnTo>
                    <a:pt x="2537" y="2083"/>
                  </a:lnTo>
                  <a:lnTo>
                    <a:pt x="2607" y="2074"/>
                  </a:lnTo>
                  <a:lnTo>
                    <a:pt x="2675" y="2059"/>
                  </a:lnTo>
                  <a:lnTo>
                    <a:pt x="2743" y="2039"/>
                  </a:lnTo>
                  <a:lnTo>
                    <a:pt x="2808" y="2012"/>
                  </a:lnTo>
                  <a:lnTo>
                    <a:pt x="2871" y="1980"/>
                  </a:lnTo>
                  <a:lnTo>
                    <a:pt x="3085" y="2191"/>
                  </a:lnTo>
                  <a:lnTo>
                    <a:pt x="3089" y="2195"/>
                  </a:lnTo>
                  <a:lnTo>
                    <a:pt x="3094" y="2198"/>
                  </a:lnTo>
                  <a:lnTo>
                    <a:pt x="3098" y="2203"/>
                  </a:lnTo>
                  <a:lnTo>
                    <a:pt x="155" y="2203"/>
                  </a:lnTo>
                  <a:lnTo>
                    <a:pt x="124" y="2199"/>
                  </a:lnTo>
                  <a:lnTo>
                    <a:pt x="95" y="2190"/>
                  </a:lnTo>
                  <a:lnTo>
                    <a:pt x="69" y="2177"/>
                  </a:lnTo>
                  <a:lnTo>
                    <a:pt x="46" y="2158"/>
                  </a:lnTo>
                  <a:lnTo>
                    <a:pt x="26" y="2135"/>
                  </a:lnTo>
                  <a:lnTo>
                    <a:pt x="12" y="2109"/>
                  </a:lnTo>
                  <a:lnTo>
                    <a:pt x="3" y="2081"/>
                  </a:lnTo>
                  <a:lnTo>
                    <a:pt x="0" y="2051"/>
                  </a:lnTo>
                  <a:lnTo>
                    <a:pt x="0" y="152"/>
                  </a:lnTo>
                  <a:lnTo>
                    <a:pt x="3" y="121"/>
                  </a:lnTo>
                  <a:lnTo>
                    <a:pt x="12" y="93"/>
                  </a:lnTo>
                  <a:lnTo>
                    <a:pt x="26" y="67"/>
                  </a:lnTo>
                  <a:lnTo>
                    <a:pt x="46" y="44"/>
                  </a:lnTo>
                  <a:lnTo>
                    <a:pt x="69" y="26"/>
                  </a:lnTo>
                  <a:lnTo>
                    <a:pt x="95" y="11"/>
                  </a:lnTo>
                  <a:lnTo>
                    <a:pt x="124" y="3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267" name="Freeform 172"/>
            <p:cNvSpPr>
              <a:spLocks noEditPoints="1"/>
            </p:cNvSpPr>
            <p:nvPr/>
          </p:nvSpPr>
          <p:spPr bwMode="auto">
            <a:xfrm>
              <a:off x="-1561" y="3631"/>
              <a:ext cx="304" cy="299"/>
            </a:xfrm>
            <a:custGeom>
              <a:avLst/>
              <a:gdLst>
                <a:gd name="T0" fmla="*/ 568 w 1520"/>
                <a:gd name="T1" fmla="*/ 146 h 1495"/>
                <a:gd name="T2" fmla="*/ 422 w 1520"/>
                <a:gd name="T3" fmla="*/ 198 h 1495"/>
                <a:gd name="T4" fmla="*/ 295 w 1520"/>
                <a:gd name="T5" fmla="*/ 291 h 1495"/>
                <a:gd name="T6" fmla="*/ 202 w 1520"/>
                <a:gd name="T7" fmla="*/ 415 h 1495"/>
                <a:gd name="T8" fmla="*/ 149 w 1520"/>
                <a:gd name="T9" fmla="*/ 560 h 1495"/>
                <a:gd name="T10" fmla="*/ 141 w 1520"/>
                <a:gd name="T11" fmla="*/ 715 h 1495"/>
                <a:gd name="T12" fmla="*/ 179 w 1520"/>
                <a:gd name="T13" fmla="*/ 865 h 1495"/>
                <a:gd name="T14" fmla="*/ 260 w 1520"/>
                <a:gd name="T15" fmla="*/ 997 h 1495"/>
                <a:gd name="T16" fmla="*/ 377 w 1520"/>
                <a:gd name="T17" fmla="*/ 1101 h 1495"/>
                <a:gd name="T18" fmla="*/ 518 w 1520"/>
                <a:gd name="T19" fmla="*/ 1168 h 1495"/>
                <a:gd name="T20" fmla="*/ 673 w 1520"/>
                <a:gd name="T21" fmla="*/ 1190 h 1495"/>
                <a:gd name="T22" fmla="*/ 829 w 1520"/>
                <a:gd name="T23" fmla="*/ 1168 h 1495"/>
                <a:gd name="T24" fmla="*/ 971 w 1520"/>
                <a:gd name="T25" fmla="*/ 1101 h 1495"/>
                <a:gd name="T26" fmla="*/ 1088 w 1520"/>
                <a:gd name="T27" fmla="*/ 997 h 1495"/>
                <a:gd name="T28" fmla="*/ 1168 w 1520"/>
                <a:gd name="T29" fmla="*/ 865 h 1495"/>
                <a:gd name="T30" fmla="*/ 1207 w 1520"/>
                <a:gd name="T31" fmla="*/ 715 h 1495"/>
                <a:gd name="T32" fmla="*/ 1198 w 1520"/>
                <a:gd name="T33" fmla="*/ 560 h 1495"/>
                <a:gd name="T34" fmla="*/ 1146 w 1520"/>
                <a:gd name="T35" fmla="*/ 415 h 1495"/>
                <a:gd name="T36" fmla="*/ 1053 w 1520"/>
                <a:gd name="T37" fmla="*/ 291 h 1495"/>
                <a:gd name="T38" fmla="*/ 926 w 1520"/>
                <a:gd name="T39" fmla="*/ 198 h 1495"/>
                <a:gd name="T40" fmla="*/ 779 w 1520"/>
                <a:gd name="T41" fmla="*/ 146 h 1495"/>
                <a:gd name="T42" fmla="*/ 673 w 1520"/>
                <a:gd name="T43" fmla="*/ 0 h 1495"/>
                <a:gd name="T44" fmla="*/ 849 w 1520"/>
                <a:gd name="T45" fmla="*/ 23 h 1495"/>
                <a:gd name="T46" fmla="*/ 1010 w 1520"/>
                <a:gd name="T47" fmla="*/ 88 h 1495"/>
                <a:gd name="T48" fmla="*/ 1151 w 1520"/>
                <a:gd name="T49" fmla="*/ 195 h 1495"/>
                <a:gd name="T50" fmla="*/ 1258 w 1520"/>
                <a:gd name="T51" fmla="*/ 332 h 1495"/>
                <a:gd name="T52" fmla="*/ 1324 w 1520"/>
                <a:gd name="T53" fmla="*/ 490 h 1495"/>
                <a:gd name="T54" fmla="*/ 1347 w 1520"/>
                <a:gd name="T55" fmla="*/ 663 h 1495"/>
                <a:gd name="T56" fmla="*/ 1322 w 1520"/>
                <a:gd name="T57" fmla="*/ 841 h 1495"/>
                <a:gd name="T58" fmla="*/ 1251 w 1520"/>
                <a:gd name="T59" fmla="*/ 1004 h 1495"/>
                <a:gd name="T60" fmla="*/ 1211 w 1520"/>
                <a:gd name="T61" fmla="*/ 1132 h 1495"/>
                <a:gd name="T62" fmla="*/ 1256 w 1520"/>
                <a:gd name="T63" fmla="*/ 1142 h 1495"/>
                <a:gd name="T64" fmla="*/ 1511 w 1520"/>
                <a:gd name="T65" fmla="*/ 1395 h 1495"/>
                <a:gd name="T66" fmla="*/ 1517 w 1520"/>
                <a:gd name="T67" fmla="*/ 1445 h 1495"/>
                <a:gd name="T68" fmla="*/ 1485 w 1520"/>
                <a:gd name="T69" fmla="*/ 1487 h 1495"/>
                <a:gd name="T70" fmla="*/ 1433 w 1520"/>
                <a:gd name="T71" fmla="*/ 1493 h 1495"/>
                <a:gd name="T72" fmla="*/ 1170 w 1520"/>
                <a:gd name="T73" fmla="*/ 1248 h 1495"/>
                <a:gd name="T74" fmla="*/ 1151 w 1520"/>
                <a:gd name="T75" fmla="*/ 1208 h 1495"/>
                <a:gd name="T76" fmla="*/ 1070 w 1520"/>
                <a:gd name="T77" fmla="*/ 1198 h 1495"/>
                <a:gd name="T78" fmla="*/ 911 w 1520"/>
                <a:gd name="T79" fmla="*/ 1283 h 1495"/>
                <a:gd name="T80" fmla="*/ 735 w 1520"/>
                <a:gd name="T81" fmla="*/ 1323 h 1495"/>
                <a:gd name="T82" fmla="*/ 556 w 1520"/>
                <a:gd name="T83" fmla="*/ 1316 h 1495"/>
                <a:gd name="T84" fmla="*/ 390 w 1520"/>
                <a:gd name="T85" fmla="*/ 1264 h 1495"/>
                <a:gd name="T86" fmla="*/ 242 w 1520"/>
                <a:gd name="T87" fmla="*/ 1172 h 1495"/>
                <a:gd name="T88" fmla="*/ 122 w 1520"/>
                <a:gd name="T89" fmla="*/ 1043 h 1495"/>
                <a:gd name="T90" fmla="*/ 40 w 1520"/>
                <a:gd name="T91" fmla="*/ 890 h 1495"/>
                <a:gd name="T92" fmla="*/ 3 w 1520"/>
                <a:gd name="T93" fmla="*/ 722 h 1495"/>
                <a:gd name="T94" fmla="*/ 10 w 1520"/>
                <a:gd name="T95" fmla="*/ 547 h 1495"/>
                <a:gd name="T96" fmla="*/ 63 w 1520"/>
                <a:gd name="T97" fmla="*/ 383 h 1495"/>
                <a:gd name="T98" fmla="*/ 157 w 1520"/>
                <a:gd name="T99" fmla="*/ 238 h 1495"/>
                <a:gd name="T100" fmla="*/ 288 w 1520"/>
                <a:gd name="T101" fmla="*/ 119 h 1495"/>
                <a:gd name="T102" fmla="*/ 443 w 1520"/>
                <a:gd name="T103" fmla="*/ 40 h 1495"/>
                <a:gd name="T104" fmla="*/ 614 w 1520"/>
                <a:gd name="T105" fmla="*/ 2 h 1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20" h="1495">
                  <a:moveTo>
                    <a:pt x="673" y="136"/>
                  </a:moveTo>
                  <a:lnTo>
                    <a:pt x="620" y="138"/>
                  </a:lnTo>
                  <a:lnTo>
                    <a:pt x="568" y="146"/>
                  </a:lnTo>
                  <a:lnTo>
                    <a:pt x="518" y="159"/>
                  </a:lnTo>
                  <a:lnTo>
                    <a:pt x="469" y="176"/>
                  </a:lnTo>
                  <a:lnTo>
                    <a:pt x="422" y="198"/>
                  </a:lnTo>
                  <a:lnTo>
                    <a:pt x="377" y="224"/>
                  </a:lnTo>
                  <a:lnTo>
                    <a:pt x="335" y="255"/>
                  </a:lnTo>
                  <a:lnTo>
                    <a:pt x="295" y="291"/>
                  </a:lnTo>
                  <a:lnTo>
                    <a:pt x="260" y="330"/>
                  </a:lnTo>
                  <a:lnTo>
                    <a:pt x="229" y="371"/>
                  </a:lnTo>
                  <a:lnTo>
                    <a:pt x="202" y="415"/>
                  </a:lnTo>
                  <a:lnTo>
                    <a:pt x="179" y="462"/>
                  </a:lnTo>
                  <a:lnTo>
                    <a:pt x="161" y="510"/>
                  </a:lnTo>
                  <a:lnTo>
                    <a:pt x="149" y="560"/>
                  </a:lnTo>
                  <a:lnTo>
                    <a:pt x="141" y="611"/>
                  </a:lnTo>
                  <a:lnTo>
                    <a:pt x="138" y="663"/>
                  </a:lnTo>
                  <a:lnTo>
                    <a:pt x="141" y="715"/>
                  </a:lnTo>
                  <a:lnTo>
                    <a:pt x="149" y="767"/>
                  </a:lnTo>
                  <a:lnTo>
                    <a:pt x="161" y="817"/>
                  </a:lnTo>
                  <a:lnTo>
                    <a:pt x="179" y="865"/>
                  </a:lnTo>
                  <a:lnTo>
                    <a:pt x="202" y="911"/>
                  </a:lnTo>
                  <a:lnTo>
                    <a:pt x="229" y="955"/>
                  </a:lnTo>
                  <a:lnTo>
                    <a:pt x="260" y="997"/>
                  </a:lnTo>
                  <a:lnTo>
                    <a:pt x="295" y="1036"/>
                  </a:lnTo>
                  <a:lnTo>
                    <a:pt x="335" y="1071"/>
                  </a:lnTo>
                  <a:lnTo>
                    <a:pt x="377" y="1101"/>
                  </a:lnTo>
                  <a:lnTo>
                    <a:pt x="422" y="1128"/>
                  </a:lnTo>
                  <a:lnTo>
                    <a:pt x="469" y="1150"/>
                  </a:lnTo>
                  <a:lnTo>
                    <a:pt x="518" y="1168"/>
                  </a:lnTo>
                  <a:lnTo>
                    <a:pt x="568" y="1180"/>
                  </a:lnTo>
                  <a:lnTo>
                    <a:pt x="620" y="1187"/>
                  </a:lnTo>
                  <a:lnTo>
                    <a:pt x="673" y="1190"/>
                  </a:lnTo>
                  <a:lnTo>
                    <a:pt x="726" y="1187"/>
                  </a:lnTo>
                  <a:lnTo>
                    <a:pt x="779" y="1180"/>
                  </a:lnTo>
                  <a:lnTo>
                    <a:pt x="829" y="1168"/>
                  </a:lnTo>
                  <a:lnTo>
                    <a:pt x="879" y="1150"/>
                  </a:lnTo>
                  <a:lnTo>
                    <a:pt x="926" y="1128"/>
                  </a:lnTo>
                  <a:lnTo>
                    <a:pt x="971" y="1101"/>
                  </a:lnTo>
                  <a:lnTo>
                    <a:pt x="1013" y="1071"/>
                  </a:lnTo>
                  <a:lnTo>
                    <a:pt x="1053" y="1036"/>
                  </a:lnTo>
                  <a:lnTo>
                    <a:pt x="1088" y="997"/>
                  </a:lnTo>
                  <a:lnTo>
                    <a:pt x="1119" y="955"/>
                  </a:lnTo>
                  <a:lnTo>
                    <a:pt x="1146" y="911"/>
                  </a:lnTo>
                  <a:lnTo>
                    <a:pt x="1168" y="865"/>
                  </a:lnTo>
                  <a:lnTo>
                    <a:pt x="1186" y="817"/>
                  </a:lnTo>
                  <a:lnTo>
                    <a:pt x="1198" y="767"/>
                  </a:lnTo>
                  <a:lnTo>
                    <a:pt x="1207" y="715"/>
                  </a:lnTo>
                  <a:lnTo>
                    <a:pt x="1209" y="663"/>
                  </a:lnTo>
                  <a:lnTo>
                    <a:pt x="1207" y="611"/>
                  </a:lnTo>
                  <a:lnTo>
                    <a:pt x="1198" y="560"/>
                  </a:lnTo>
                  <a:lnTo>
                    <a:pt x="1186" y="510"/>
                  </a:lnTo>
                  <a:lnTo>
                    <a:pt x="1168" y="462"/>
                  </a:lnTo>
                  <a:lnTo>
                    <a:pt x="1146" y="415"/>
                  </a:lnTo>
                  <a:lnTo>
                    <a:pt x="1119" y="371"/>
                  </a:lnTo>
                  <a:lnTo>
                    <a:pt x="1088" y="330"/>
                  </a:lnTo>
                  <a:lnTo>
                    <a:pt x="1053" y="291"/>
                  </a:lnTo>
                  <a:lnTo>
                    <a:pt x="1013" y="255"/>
                  </a:lnTo>
                  <a:lnTo>
                    <a:pt x="971" y="224"/>
                  </a:lnTo>
                  <a:lnTo>
                    <a:pt x="926" y="198"/>
                  </a:lnTo>
                  <a:lnTo>
                    <a:pt x="879" y="176"/>
                  </a:lnTo>
                  <a:lnTo>
                    <a:pt x="829" y="159"/>
                  </a:lnTo>
                  <a:lnTo>
                    <a:pt x="779" y="146"/>
                  </a:lnTo>
                  <a:lnTo>
                    <a:pt x="726" y="138"/>
                  </a:lnTo>
                  <a:lnTo>
                    <a:pt x="673" y="136"/>
                  </a:lnTo>
                  <a:close/>
                  <a:moveTo>
                    <a:pt x="673" y="0"/>
                  </a:moveTo>
                  <a:lnTo>
                    <a:pt x="734" y="2"/>
                  </a:lnTo>
                  <a:lnTo>
                    <a:pt x="792" y="10"/>
                  </a:lnTo>
                  <a:lnTo>
                    <a:pt x="849" y="23"/>
                  </a:lnTo>
                  <a:lnTo>
                    <a:pt x="904" y="40"/>
                  </a:lnTo>
                  <a:lnTo>
                    <a:pt x="958" y="61"/>
                  </a:lnTo>
                  <a:lnTo>
                    <a:pt x="1010" y="88"/>
                  </a:lnTo>
                  <a:lnTo>
                    <a:pt x="1059" y="119"/>
                  </a:lnTo>
                  <a:lnTo>
                    <a:pt x="1106" y="155"/>
                  </a:lnTo>
                  <a:lnTo>
                    <a:pt x="1151" y="195"/>
                  </a:lnTo>
                  <a:lnTo>
                    <a:pt x="1190" y="238"/>
                  </a:lnTo>
                  <a:lnTo>
                    <a:pt x="1226" y="284"/>
                  </a:lnTo>
                  <a:lnTo>
                    <a:pt x="1258" y="332"/>
                  </a:lnTo>
                  <a:lnTo>
                    <a:pt x="1285" y="383"/>
                  </a:lnTo>
                  <a:lnTo>
                    <a:pt x="1306" y="436"/>
                  </a:lnTo>
                  <a:lnTo>
                    <a:pt x="1324" y="490"/>
                  </a:lnTo>
                  <a:lnTo>
                    <a:pt x="1337" y="547"/>
                  </a:lnTo>
                  <a:lnTo>
                    <a:pt x="1345" y="604"/>
                  </a:lnTo>
                  <a:lnTo>
                    <a:pt x="1347" y="663"/>
                  </a:lnTo>
                  <a:lnTo>
                    <a:pt x="1344" y="724"/>
                  </a:lnTo>
                  <a:lnTo>
                    <a:pt x="1337" y="783"/>
                  </a:lnTo>
                  <a:lnTo>
                    <a:pt x="1322" y="841"/>
                  </a:lnTo>
                  <a:lnTo>
                    <a:pt x="1303" y="898"/>
                  </a:lnTo>
                  <a:lnTo>
                    <a:pt x="1279" y="952"/>
                  </a:lnTo>
                  <a:lnTo>
                    <a:pt x="1251" y="1004"/>
                  </a:lnTo>
                  <a:lnTo>
                    <a:pt x="1217" y="1053"/>
                  </a:lnTo>
                  <a:lnTo>
                    <a:pt x="1179" y="1100"/>
                  </a:lnTo>
                  <a:lnTo>
                    <a:pt x="1211" y="1132"/>
                  </a:lnTo>
                  <a:lnTo>
                    <a:pt x="1226" y="1132"/>
                  </a:lnTo>
                  <a:lnTo>
                    <a:pt x="1241" y="1135"/>
                  </a:lnTo>
                  <a:lnTo>
                    <a:pt x="1256" y="1142"/>
                  </a:lnTo>
                  <a:lnTo>
                    <a:pt x="1268" y="1151"/>
                  </a:lnTo>
                  <a:lnTo>
                    <a:pt x="1500" y="1381"/>
                  </a:lnTo>
                  <a:lnTo>
                    <a:pt x="1511" y="1395"/>
                  </a:lnTo>
                  <a:lnTo>
                    <a:pt x="1517" y="1411"/>
                  </a:lnTo>
                  <a:lnTo>
                    <a:pt x="1520" y="1428"/>
                  </a:lnTo>
                  <a:lnTo>
                    <a:pt x="1517" y="1445"/>
                  </a:lnTo>
                  <a:lnTo>
                    <a:pt x="1511" y="1462"/>
                  </a:lnTo>
                  <a:lnTo>
                    <a:pt x="1500" y="1476"/>
                  </a:lnTo>
                  <a:lnTo>
                    <a:pt x="1485" y="1487"/>
                  </a:lnTo>
                  <a:lnTo>
                    <a:pt x="1469" y="1493"/>
                  </a:lnTo>
                  <a:lnTo>
                    <a:pt x="1451" y="1495"/>
                  </a:lnTo>
                  <a:lnTo>
                    <a:pt x="1433" y="1493"/>
                  </a:lnTo>
                  <a:lnTo>
                    <a:pt x="1417" y="1487"/>
                  </a:lnTo>
                  <a:lnTo>
                    <a:pt x="1402" y="1476"/>
                  </a:lnTo>
                  <a:lnTo>
                    <a:pt x="1170" y="1248"/>
                  </a:lnTo>
                  <a:lnTo>
                    <a:pt x="1160" y="1235"/>
                  </a:lnTo>
                  <a:lnTo>
                    <a:pt x="1154" y="1222"/>
                  </a:lnTo>
                  <a:lnTo>
                    <a:pt x="1151" y="1208"/>
                  </a:lnTo>
                  <a:lnTo>
                    <a:pt x="1151" y="1192"/>
                  </a:lnTo>
                  <a:lnTo>
                    <a:pt x="1118" y="1161"/>
                  </a:lnTo>
                  <a:lnTo>
                    <a:pt x="1070" y="1198"/>
                  </a:lnTo>
                  <a:lnTo>
                    <a:pt x="1020" y="1231"/>
                  </a:lnTo>
                  <a:lnTo>
                    <a:pt x="967" y="1260"/>
                  </a:lnTo>
                  <a:lnTo>
                    <a:pt x="911" y="1283"/>
                  </a:lnTo>
                  <a:lnTo>
                    <a:pt x="854" y="1302"/>
                  </a:lnTo>
                  <a:lnTo>
                    <a:pt x="796" y="1315"/>
                  </a:lnTo>
                  <a:lnTo>
                    <a:pt x="735" y="1323"/>
                  </a:lnTo>
                  <a:lnTo>
                    <a:pt x="673" y="1326"/>
                  </a:lnTo>
                  <a:lnTo>
                    <a:pt x="614" y="1323"/>
                  </a:lnTo>
                  <a:lnTo>
                    <a:pt x="556" y="1316"/>
                  </a:lnTo>
                  <a:lnTo>
                    <a:pt x="499" y="1304"/>
                  </a:lnTo>
                  <a:lnTo>
                    <a:pt x="443" y="1287"/>
                  </a:lnTo>
                  <a:lnTo>
                    <a:pt x="390" y="1264"/>
                  </a:lnTo>
                  <a:lnTo>
                    <a:pt x="338" y="1238"/>
                  </a:lnTo>
                  <a:lnTo>
                    <a:pt x="288" y="1207"/>
                  </a:lnTo>
                  <a:lnTo>
                    <a:pt x="242" y="1172"/>
                  </a:lnTo>
                  <a:lnTo>
                    <a:pt x="197" y="1132"/>
                  </a:lnTo>
                  <a:lnTo>
                    <a:pt x="157" y="1089"/>
                  </a:lnTo>
                  <a:lnTo>
                    <a:pt x="122" y="1043"/>
                  </a:lnTo>
                  <a:lnTo>
                    <a:pt x="90" y="994"/>
                  </a:lnTo>
                  <a:lnTo>
                    <a:pt x="63" y="943"/>
                  </a:lnTo>
                  <a:lnTo>
                    <a:pt x="40" y="890"/>
                  </a:lnTo>
                  <a:lnTo>
                    <a:pt x="23" y="835"/>
                  </a:lnTo>
                  <a:lnTo>
                    <a:pt x="10" y="779"/>
                  </a:lnTo>
                  <a:lnTo>
                    <a:pt x="3" y="722"/>
                  </a:lnTo>
                  <a:lnTo>
                    <a:pt x="0" y="663"/>
                  </a:lnTo>
                  <a:lnTo>
                    <a:pt x="3" y="604"/>
                  </a:lnTo>
                  <a:lnTo>
                    <a:pt x="10" y="547"/>
                  </a:lnTo>
                  <a:lnTo>
                    <a:pt x="23" y="490"/>
                  </a:lnTo>
                  <a:lnTo>
                    <a:pt x="40" y="436"/>
                  </a:lnTo>
                  <a:lnTo>
                    <a:pt x="63" y="383"/>
                  </a:lnTo>
                  <a:lnTo>
                    <a:pt x="90" y="332"/>
                  </a:lnTo>
                  <a:lnTo>
                    <a:pt x="122" y="284"/>
                  </a:lnTo>
                  <a:lnTo>
                    <a:pt x="157" y="238"/>
                  </a:lnTo>
                  <a:lnTo>
                    <a:pt x="197" y="195"/>
                  </a:lnTo>
                  <a:lnTo>
                    <a:pt x="242" y="155"/>
                  </a:lnTo>
                  <a:lnTo>
                    <a:pt x="288" y="119"/>
                  </a:lnTo>
                  <a:lnTo>
                    <a:pt x="338" y="88"/>
                  </a:lnTo>
                  <a:lnTo>
                    <a:pt x="390" y="61"/>
                  </a:lnTo>
                  <a:lnTo>
                    <a:pt x="443" y="40"/>
                  </a:lnTo>
                  <a:lnTo>
                    <a:pt x="499" y="23"/>
                  </a:lnTo>
                  <a:lnTo>
                    <a:pt x="556" y="10"/>
                  </a:lnTo>
                  <a:lnTo>
                    <a:pt x="614" y="2"/>
                  </a:lnTo>
                  <a:lnTo>
                    <a:pt x="6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</p:grpSp>
      <p:sp>
        <p:nvSpPr>
          <p:cNvPr id="313" name="Oval 312"/>
          <p:cNvSpPr/>
          <p:nvPr/>
        </p:nvSpPr>
        <p:spPr bwMode="ltGray">
          <a:xfrm>
            <a:off x="533399" y="4314999"/>
            <a:ext cx="1581201" cy="158120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55" name="Group 4"/>
          <p:cNvGrpSpPr>
            <a:grpSpLocks noChangeAspect="1"/>
          </p:cNvGrpSpPr>
          <p:nvPr/>
        </p:nvGrpSpPr>
        <p:grpSpPr bwMode="auto">
          <a:xfrm>
            <a:off x="1024924" y="4660085"/>
            <a:ext cx="714087" cy="891029"/>
            <a:chOff x="-755" y="1263"/>
            <a:chExt cx="565" cy="705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256" name="Freeform 6"/>
            <p:cNvSpPr>
              <a:spLocks noEditPoints="1"/>
            </p:cNvSpPr>
            <p:nvPr/>
          </p:nvSpPr>
          <p:spPr bwMode="auto">
            <a:xfrm>
              <a:off x="-755" y="1263"/>
              <a:ext cx="406" cy="705"/>
            </a:xfrm>
            <a:custGeom>
              <a:avLst/>
              <a:gdLst>
                <a:gd name="T0" fmla="*/ 979 w 2028"/>
                <a:gd name="T1" fmla="*/ 2986 h 3528"/>
                <a:gd name="T2" fmla="*/ 918 w 2028"/>
                <a:gd name="T3" fmla="*/ 3013 h 3528"/>
                <a:gd name="T4" fmla="*/ 871 w 2028"/>
                <a:gd name="T5" fmla="*/ 3061 h 3528"/>
                <a:gd name="T6" fmla="*/ 846 w 2028"/>
                <a:gd name="T7" fmla="*/ 3124 h 3528"/>
                <a:gd name="T8" fmla="*/ 846 w 2028"/>
                <a:gd name="T9" fmla="*/ 3195 h 3528"/>
                <a:gd name="T10" fmla="*/ 871 w 2028"/>
                <a:gd name="T11" fmla="*/ 3257 h 3528"/>
                <a:gd name="T12" fmla="*/ 918 w 2028"/>
                <a:gd name="T13" fmla="*/ 3305 h 3528"/>
                <a:gd name="T14" fmla="*/ 979 w 2028"/>
                <a:gd name="T15" fmla="*/ 3332 h 3528"/>
                <a:gd name="T16" fmla="*/ 1049 w 2028"/>
                <a:gd name="T17" fmla="*/ 3332 h 3528"/>
                <a:gd name="T18" fmla="*/ 1110 w 2028"/>
                <a:gd name="T19" fmla="*/ 3305 h 3528"/>
                <a:gd name="T20" fmla="*/ 1156 w 2028"/>
                <a:gd name="T21" fmla="*/ 3257 h 3528"/>
                <a:gd name="T22" fmla="*/ 1182 w 2028"/>
                <a:gd name="T23" fmla="*/ 3195 h 3528"/>
                <a:gd name="T24" fmla="*/ 1182 w 2028"/>
                <a:gd name="T25" fmla="*/ 3124 h 3528"/>
                <a:gd name="T26" fmla="*/ 1156 w 2028"/>
                <a:gd name="T27" fmla="*/ 3061 h 3528"/>
                <a:gd name="T28" fmla="*/ 1110 w 2028"/>
                <a:gd name="T29" fmla="*/ 3013 h 3528"/>
                <a:gd name="T30" fmla="*/ 1049 w 2028"/>
                <a:gd name="T31" fmla="*/ 2986 h 3528"/>
                <a:gd name="T32" fmla="*/ 375 w 2028"/>
                <a:gd name="T33" fmla="*/ 0 h 3528"/>
                <a:gd name="T34" fmla="*/ 1703 w 2028"/>
                <a:gd name="T35" fmla="*/ 3 h 3528"/>
                <a:gd name="T36" fmla="*/ 1798 w 2028"/>
                <a:gd name="T37" fmla="*/ 31 h 3528"/>
                <a:gd name="T38" fmla="*/ 1882 w 2028"/>
                <a:gd name="T39" fmla="*/ 80 h 3528"/>
                <a:gd name="T40" fmla="*/ 1950 w 2028"/>
                <a:gd name="T41" fmla="*/ 150 h 3528"/>
                <a:gd name="T42" fmla="*/ 1998 w 2028"/>
                <a:gd name="T43" fmla="*/ 235 h 3528"/>
                <a:gd name="T44" fmla="*/ 2025 w 2028"/>
                <a:gd name="T45" fmla="*/ 332 h 3528"/>
                <a:gd name="T46" fmla="*/ 2028 w 2028"/>
                <a:gd name="T47" fmla="*/ 609 h 3528"/>
                <a:gd name="T48" fmla="*/ 1814 w 2028"/>
                <a:gd name="T49" fmla="*/ 433 h 3528"/>
                <a:gd name="T50" fmla="*/ 214 w 2028"/>
                <a:gd name="T51" fmla="*/ 2790 h 3528"/>
                <a:gd name="T52" fmla="*/ 1814 w 2028"/>
                <a:gd name="T53" fmla="*/ 2786 h 3528"/>
                <a:gd name="T54" fmla="*/ 2028 w 2028"/>
                <a:gd name="T55" fmla="*/ 3144 h 3528"/>
                <a:gd name="T56" fmla="*/ 2015 w 2028"/>
                <a:gd name="T57" fmla="*/ 3244 h 3528"/>
                <a:gd name="T58" fmla="*/ 1977 w 2028"/>
                <a:gd name="T59" fmla="*/ 3336 h 3528"/>
                <a:gd name="T60" fmla="*/ 1918 w 2028"/>
                <a:gd name="T61" fmla="*/ 3414 h 3528"/>
                <a:gd name="T62" fmla="*/ 1842 w 2028"/>
                <a:gd name="T63" fmla="*/ 3475 h 3528"/>
                <a:gd name="T64" fmla="*/ 1752 w 2028"/>
                <a:gd name="T65" fmla="*/ 3514 h 3528"/>
                <a:gd name="T66" fmla="*/ 1653 w 2028"/>
                <a:gd name="T67" fmla="*/ 3528 h 3528"/>
                <a:gd name="T68" fmla="*/ 324 w 2028"/>
                <a:gd name="T69" fmla="*/ 3524 h 3528"/>
                <a:gd name="T70" fmla="*/ 229 w 2028"/>
                <a:gd name="T71" fmla="*/ 3497 h 3528"/>
                <a:gd name="T72" fmla="*/ 146 w 2028"/>
                <a:gd name="T73" fmla="*/ 3447 h 3528"/>
                <a:gd name="T74" fmla="*/ 78 w 2028"/>
                <a:gd name="T75" fmla="*/ 3377 h 3528"/>
                <a:gd name="T76" fmla="*/ 29 w 2028"/>
                <a:gd name="T77" fmla="*/ 3293 h 3528"/>
                <a:gd name="T78" fmla="*/ 3 w 2028"/>
                <a:gd name="T79" fmla="*/ 3195 h 3528"/>
                <a:gd name="T80" fmla="*/ 0 w 2028"/>
                <a:gd name="T81" fmla="*/ 384 h 3528"/>
                <a:gd name="T82" fmla="*/ 13 w 2028"/>
                <a:gd name="T83" fmla="*/ 282 h 3528"/>
                <a:gd name="T84" fmla="*/ 51 w 2028"/>
                <a:gd name="T85" fmla="*/ 190 h 3528"/>
                <a:gd name="T86" fmla="*/ 110 w 2028"/>
                <a:gd name="T87" fmla="*/ 113 h 3528"/>
                <a:gd name="T88" fmla="*/ 186 w 2028"/>
                <a:gd name="T89" fmla="*/ 52 h 3528"/>
                <a:gd name="T90" fmla="*/ 276 w 2028"/>
                <a:gd name="T91" fmla="*/ 13 h 3528"/>
                <a:gd name="T92" fmla="*/ 375 w 2028"/>
                <a:gd name="T93" fmla="*/ 0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28" h="3528">
                  <a:moveTo>
                    <a:pt x="1014" y="2983"/>
                  </a:moveTo>
                  <a:lnTo>
                    <a:pt x="979" y="2986"/>
                  </a:lnTo>
                  <a:lnTo>
                    <a:pt x="947" y="2997"/>
                  </a:lnTo>
                  <a:lnTo>
                    <a:pt x="918" y="3013"/>
                  </a:lnTo>
                  <a:lnTo>
                    <a:pt x="892" y="3035"/>
                  </a:lnTo>
                  <a:lnTo>
                    <a:pt x="871" y="3061"/>
                  </a:lnTo>
                  <a:lnTo>
                    <a:pt x="856" y="3091"/>
                  </a:lnTo>
                  <a:lnTo>
                    <a:pt x="846" y="3124"/>
                  </a:lnTo>
                  <a:lnTo>
                    <a:pt x="842" y="3160"/>
                  </a:lnTo>
                  <a:lnTo>
                    <a:pt x="846" y="3195"/>
                  </a:lnTo>
                  <a:lnTo>
                    <a:pt x="856" y="3227"/>
                  </a:lnTo>
                  <a:lnTo>
                    <a:pt x="871" y="3257"/>
                  </a:lnTo>
                  <a:lnTo>
                    <a:pt x="892" y="3283"/>
                  </a:lnTo>
                  <a:lnTo>
                    <a:pt x="918" y="3305"/>
                  </a:lnTo>
                  <a:lnTo>
                    <a:pt x="947" y="3321"/>
                  </a:lnTo>
                  <a:lnTo>
                    <a:pt x="979" y="3332"/>
                  </a:lnTo>
                  <a:lnTo>
                    <a:pt x="1014" y="3335"/>
                  </a:lnTo>
                  <a:lnTo>
                    <a:pt x="1049" y="3332"/>
                  </a:lnTo>
                  <a:lnTo>
                    <a:pt x="1081" y="3321"/>
                  </a:lnTo>
                  <a:lnTo>
                    <a:pt x="1110" y="3305"/>
                  </a:lnTo>
                  <a:lnTo>
                    <a:pt x="1136" y="3283"/>
                  </a:lnTo>
                  <a:lnTo>
                    <a:pt x="1156" y="3257"/>
                  </a:lnTo>
                  <a:lnTo>
                    <a:pt x="1172" y="3227"/>
                  </a:lnTo>
                  <a:lnTo>
                    <a:pt x="1182" y="3195"/>
                  </a:lnTo>
                  <a:lnTo>
                    <a:pt x="1186" y="3160"/>
                  </a:lnTo>
                  <a:lnTo>
                    <a:pt x="1182" y="3124"/>
                  </a:lnTo>
                  <a:lnTo>
                    <a:pt x="1172" y="3091"/>
                  </a:lnTo>
                  <a:lnTo>
                    <a:pt x="1156" y="3061"/>
                  </a:lnTo>
                  <a:lnTo>
                    <a:pt x="1136" y="3035"/>
                  </a:lnTo>
                  <a:lnTo>
                    <a:pt x="1110" y="3013"/>
                  </a:lnTo>
                  <a:lnTo>
                    <a:pt x="1081" y="2997"/>
                  </a:lnTo>
                  <a:lnTo>
                    <a:pt x="1049" y="2986"/>
                  </a:lnTo>
                  <a:lnTo>
                    <a:pt x="1014" y="2983"/>
                  </a:lnTo>
                  <a:close/>
                  <a:moveTo>
                    <a:pt x="375" y="0"/>
                  </a:moveTo>
                  <a:lnTo>
                    <a:pt x="1653" y="0"/>
                  </a:lnTo>
                  <a:lnTo>
                    <a:pt x="1703" y="3"/>
                  </a:lnTo>
                  <a:lnTo>
                    <a:pt x="1752" y="13"/>
                  </a:lnTo>
                  <a:lnTo>
                    <a:pt x="1798" y="31"/>
                  </a:lnTo>
                  <a:lnTo>
                    <a:pt x="1842" y="52"/>
                  </a:lnTo>
                  <a:lnTo>
                    <a:pt x="1882" y="80"/>
                  </a:lnTo>
                  <a:lnTo>
                    <a:pt x="1918" y="113"/>
                  </a:lnTo>
                  <a:lnTo>
                    <a:pt x="1950" y="150"/>
                  </a:lnTo>
                  <a:lnTo>
                    <a:pt x="1977" y="190"/>
                  </a:lnTo>
                  <a:lnTo>
                    <a:pt x="1998" y="235"/>
                  </a:lnTo>
                  <a:lnTo>
                    <a:pt x="2015" y="282"/>
                  </a:lnTo>
                  <a:lnTo>
                    <a:pt x="2025" y="332"/>
                  </a:lnTo>
                  <a:lnTo>
                    <a:pt x="2028" y="384"/>
                  </a:lnTo>
                  <a:lnTo>
                    <a:pt x="2028" y="609"/>
                  </a:lnTo>
                  <a:lnTo>
                    <a:pt x="1814" y="609"/>
                  </a:lnTo>
                  <a:lnTo>
                    <a:pt x="1814" y="433"/>
                  </a:lnTo>
                  <a:lnTo>
                    <a:pt x="214" y="433"/>
                  </a:lnTo>
                  <a:lnTo>
                    <a:pt x="214" y="2790"/>
                  </a:lnTo>
                  <a:lnTo>
                    <a:pt x="1814" y="2790"/>
                  </a:lnTo>
                  <a:lnTo>
                    <a:pt x="1814" y="2786"/>
                  </a:lnTo>
                  <a:lnTo>
                    <a:pt x="2028" y="2786"/>
                  </a:lnTo>
                  <a:lnTo>
                    <a:pt x="2028" y="3144"/>
                  </a:lnTo>
                  <a:lnTo>
                    <a:pt x="2025" y="3195"/>
                  </a:lnTo>
                  <a:lnTo>
                    <a:pt x="2015" y="3244"/>
                  </a:lnTo>
                  <a:lnTo>
                    <a:pt x="1998" y="3293"/>
                  </a:lnTo>
                  <a:lnTo>
                    <a:pt x="1977" y="3336"/>
                  </a:lnTo>
                  <a:lnTo>
                    <a:pt x="1950" y="3377"/>
                  </a:lnTo>
                  <a:lnTo>
                    <a:pt x="1918" y="3414"/>
                  </a:lnTo>
                  <a:lnTo>
                    <a:pt x="1882" y="3447"/>
                  </a:lnTo>
                  <a:lnTo>
                    <a:pt x="1842" y="3475"/>
                  </a:lnTo>
                  <a:lnTo>
                    <a:pt x="1798" y="3497"/>
                  </a:lnTo>
                  <a:lnTo>
                    <a:pt x="1752" y="3514"/>
                  </a:lnTo>
                  <a:lnTo>
                    <a:pt x="1703" y="3524"/>
                  </a:lnTo>
                  <a:lnTo>
                    <a:pt x="1653" y="3528"/>
                  </a:lnTo>
                  <a:lnTo>
                    <a:pt x="375" y="3528"/>
                  </a:lnTo>
                  <a:lnTo>
                    <a:pt x="324" y="3524"/>
                  </a:lnTo>
                  <a:lnTo>
                    <a:pt x="276" y="3514"/>
                  </a:lnTo>
                  <a:lnTo>
                    <a:pt x="229" y="3497"/>
                  </a:lnTo>
                  <a:lnTo>
                    <a:pt x="186" y="3475"/>
                  </a:lnTo>
                  <a:lnTo>
                    <a:pt x="146" y="3447"/>
                  </a:lnTo>
                  <a:lnTo>
                    <a:pt x="110" y="3414"/>
                  </a:lnTo>
                  <a:lnTo>
                    <a:pt x="78" y="3377"/>
                  </a:lnTo>
                  <a:lnTo>
                    <a:pt x="51" y="3336"/>
                  </a:lnTo>
                  <a:lnTo>
                    <a:pt x="29" y="3293"/>
                  </a:lnTo>
                  <a:lnTo>
                    <a:pt x="13" y="3244"/>
                  </a:lnTo>
                  <a:lnTo>
                    <a:pt x="3" y="3195"/>
                  </a:lnTo>
                  <a:lnTo>
                    <a:pt x="0" y="3144"/>
                  </a:lnTo>
                  <a:lnTo>
                    <a:pt x="0" y="384"/>
                  </a:lnTo>
                  <a:lnTo>
                    <a:pt x="3" y="332"/>
                  </a:lnTo>
                  <a:lnTo>
                    <a:pt x="13" y="282"/>
                  </a:lnTo>
                  <a:lnTo>
                    <a:pt x="29" y="235"/>
                  </a:lnTo>
                  <a:lnTo>
                    <a:pt x="51" y="190"/>
                  </a:lnTo>
                  <a:lnTo>
                    <a:pt x="78" y="150"/>
                  </a:lnTo>
                  <a:lnTo>
                    <a:pt x="110" y="113"/>
                  </a:lnTo>
                  <a:lnTo>
                    <a:pt x="146" y="80"/>
                  </a:lnTo>
                  <a:lnTo>
                    <a:pt x="186" y="52"/>
                  </a:lnTo>
                  <a:lnTo>
                    <a:pt x="229" y="31"/>
                  </a:lnTo>
                  <a:lnTo>
                    <a:pt x="276" y="13"/>
                  </a:lnTo>
                  <a:lnTo>
                    <a:pt x="324" y="3"/>
                  </a:lnTo>
                  <a:lnTo>
                    <a:pt x="3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257" name="Rectangle 7"/>
            <p:cNvSpPr>
              <a:spLocks noChangeArrowheads="1"/>
            </p:cNvSpPr>
            <p:nvPr/>
          </p:nvSpPr>
          <p:spPr bwMode="auto">
            <a:xfrm>
              <a:off x="-676" y="1397"/>
              <a:ext cx="96" cy="6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258" name="Rectangle 8"/>
            <p:cNvSpPr>
              <a:spLocks noChangeArrowheads="1"/>
            </p:cNvSpPr>
            <p:nvPr/>
          </p:nvSpPr>
          <p:spPr bwMode="auto">
            <a:xfrm>
              <a:off x="-676" y="1550"/>
              <a:ext cx="96" cy="6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259" name="Rectangle 9"/>
            <p:cNvSpPr>
              <a:spLocks noChangeArrowheads="1"/>
            </p:cNvSpPr>
            <p:nvPr/>
          </p:nvSpPr>
          <p:spPr bwMode="auto">
            <a:xfrm>
              <a:off x="-676" y="1711"/>
              <a:ext cx="96" cy="6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260" name="Freeform 10"/>
            <p:cNvSpPr>
              <a:spLocks noEditPoints="1"/>
            </p:cNvSpPr>
            <p:nvPr/>
          </p:nvSpPr>
          <p:spPr bwMode="auto">
            <a:xfrm>
              <a:off x="-544" y="1420"/>
              <a:ext cx="354" cy="364"/>
            </a:xfrm>
            <a:custGeom>
              <a:avLst/>
              <a:gdLst>
                <a:gd name="T0" fmla="*/ 845 w 1770"/>
                <a:gd name="T1" fmla="*/ 634 h 1820"/>
                <a:gd name="T2" fmla="*/ 771 w 1770"/>
                <a:gd name="T3" fmla="*/ 657 h 1820"/>
                <a:gd name="T4" fmla="*/ 707 w 1770"/>
                <a:gd name="T5" fmla="*/ 699 h 1820"/>
                <a:gd name="T6" fmla="*/ 658 w 1770"/>
                <a:gd name="T7" fmla="*/ 758 h 1820"/>
                <a:gd name="T8" fmla="*/ 626 w 1770"/>
                <a:gd name="T9" fmla="*/ 829 h 1820"/>
                <a:gd name="T10" fmla="*/ 615 w 1770"/>
                <a:gd name="T11" fmla="*/ 909 h 1820"/>
                <a:gd name="T12" fmla="*/ 626 w 1770"/>
                <a:gd name="T13" fmla="*/ 990 h 1820"/>
                <a:gd name="T14" fmla="*/ 658 w 1770"/>
                <a:gd name="T15" fmla="*/ 1061 h 1820"/>
                <a:gd name="T16" fmla="*/ 707 w 1770"/>
                <a:gd name="T17" fmla="*/ 1119 h 1820"/>
                <a:gd name="T18" fmla="*/ 771 w 1770"/>
                <a:gd name="T19" fmla="*/ 1162 h 1820"/>
                <a:gd name="T20" fmla="*/ 845 w 1770"/>
                <a:gd name="T21" fmla="*/ 1185 h 1820"/>
                <a:gd name="T22" fmla="*/ 925 w 1770"/>
                <a:gd name="T23" fmla="*/ 1185 h 1820"/>
                <a:gd name="T24" fmla="*/ 998 w 1770"/>
                <a:gd name="T25" fmla="*/ 1162 h 1820"/>
                <a:gd name="T26" fmla="*/ 1062 w 1770"/>
                <a:gd name="T27" fmla="*/ 1119 h 1820"/>
                <a:gd name="T28" fmla="*/ 1111 w 1770"/>
                <a:gd name="T29" fmla="*/ 1062 h 1820"/>
                <a:gd name="T30" fmla="*/ 1143 w 1770"/>
                <a:gd name="T31" fmla="*/ 990 h 1820"/>
                <a:gd name="T32" fmla="*/ 1155 w 1770"/>
                <a:gd name="T33" fmla="*/ 909 h 1820"/>
                <a:gd name="T34" fmla="*/ 1143 w 1770"/>
                <a:gd name="T35" fmla="*/ 829 h 1820"/>
                <a:gd name="T36" fmla="*/ 1111 w 1770"/>
                <a:gd name="T37" fmla="*/ 758 h 1820"/>
                <a:gd name="T38" fmla="*/ 1062 w 1770"/>
                <a:gd name="T39" fmla="*/ 699 h 1820"/>
                <a:gd name="T40" fmla="*/ 998 w 1770"/>
                <a:gd name="T41" fmla="*/ 657 h 1820"/>
                <a:gd name="T42" fmla="*/ 925 w 1770"/>
                <a:gd name="T43" fmla="*/ 634 h 1820"/>
                <a:gd name="T44" fmla="*/ 761 w 1770"/>
                <a:gd name="T45" fmla="*/ 0 h 1820"/>
                <a:gd name="T46" fmla="*/ 1009 w 1770"/>
                <a:gd name="T47" fmla="*/ 250 h 1820"/>
                <a:gd name="T48" fmla="*/ 1112 w 1770"/>
                <a:gd name="T49" fmla="*/ 280 h 1820"/>
                <a:gd name="T50" fmla="*/ 1207 w 1770"/>
                <a:gd name="T51" fmla="*/ 324 h 1820"/>
                <a:gd name="T52" fmla="*/ 1423 w 1770"/>
                <a:gd name="T53" fmla="*/ 176 h 1820"/>
                <a:gd name="T54" fmla="*/ 1427 w 1770"/>
                <a:gd name="T55" fmla="*/ 533 h 1820"/>
                <a:gd name="T56" fmla="*/ 1478 w 1770"/>
                <a:gd name="T57" fmla="*/ 626 h 1820"/>
                <a:gd name="T58" fmla="*/ 1515 w 1770"/>
                <a:gd name="T59" fmla="*/ 728 h 1820"/>
                <a:gd name="T60" fmla="*/ 1770 w 1770"/>
                <a:gd name="T61" fmla="*/ 782 h 1820"/>
                <a:gd name="T62" fmla="*/ 1527 w 1770"/>
                <a:gd name="T63" fmla="*/ 1038 h 1820"/>
                <a:gd name="T64" fmla="*/ 1498 w 1770"/>
                <a:gd name="T65" fmla="*/ 1143 h 1820"/>
                <a:gd name="T66" fmla="*/ 1455 w 1770"/>
                <a:gd name="T67" fmla="*/ 1241 h 1820"/>
                <a:gd name="T68" fmla="*/ 1599 w 1770"/>
                <a:gd name="T69" fmla="*/ 1463 h 1820"/>
                <a:gd name="T70" fmla="*/ 1252 w 1770"/>
                <a:gd name="T71" fmla="*/ 1467 h 1820"/>
                <a:gd name="T72" fmla="*/ 1160 w 1770"/>
                <a:gd name="T73" fmla="*/ 1520 h 1820"/>
                <a:gd name="T74" fmla="*/ 1061 w 1770"/>
                <a:gd name="T75" fmla="*/ 1557 h 1820"/>
                <a:gd name="T76" fmla="*/ 1009 w 1770"/>
                <a:gd name="T77" fmla="*/ 1820 h 1820"/>
                <a:gd name="T78" fmla="*/ 761 w 1770"/>
                <a:gd name="T79" fmla="*/ 1570 h 1820"/>
                <a:gd name="T80" fmla="*/ 658 w 1770"/>
                <a:gd name="T81" fmla="*/ 1540 h 1820"/>
                <a:gd name="T82" fmla="*/ 563 w 1770"/>
                <a:gd name="T83" fmla="*/ 1495 h 1820"/>
                <a:gd name="T84" fmla="*/ 347 w 1770"/>
                <a:gd name="T85" fmla="*/ 1643 h 1820"/>
                <a:gd name="T86" fmla="*/ 344 w 1770"/>
                <a:gd name="T87" fmla="*/ 1287 h 1820"/>
                <a:gd name="T88" fmla="*/ 291 w 1770"/>
                <a:gd name="T89" fmla="*/ 1193 h 1820"/>
                <a:gd name="T90" fmla="*/ 256 w 1770"/>
                <a:gd name="T91" fmla="*/ 1091 h 1820"/>
                <a:gd name="T92" fmla="*/ 0 w 1770"/>
                <a:gd name="T93" fmla="*/ 1038 h 1820"/>
                <a:gd name="T94" fmla="*/ 243 w 1770"/>
                <a:gd name="T95" fmla="*/ 782 h 1820"/>
                <a:gd name="T96" fmla="*/ 272 w 1770"/>
                <a:gd name="T97" fmla="*/ 676 h 1820"/>
                <a:gd name="T98" fmla="*/ 316 w 1770"/>
                <a:gd name="T99" fmla="*/ 579 h 1820"/>
                <a:gd name="T100" fmla="*/ 172 w 1770"/>
                <a:gd name="T101" fmla="*/ 356 h 1820"/>
                <a:gd name="T102" fmla="*/ 518 w 1770"/>
                <a:gd name="T103" fmla="*/ 353 h 1820"/>
                <a:gd name="T104" fmla="*/ 609 w 1770"/>
                <a:gd name="T105" fmla="*/ 300 h 1820"/>
                <a:gd name="T106" fmla="*/ 708 w 1770"/>
                <a:gd name="T107" fmla="*/ 262 h 1820"/>
                <a:gd name="T108" fmla="*/ 761 w 1770"/>
                <a:gd name="T109" fmla="*/ 0 h 18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70" h="1820">
                  <a:moveTo>
                    <a:pt x="885" y="632"/>
                  </a:moveTo>
                  <a:lnTo>
                    <a:pt x="845" y="634"/>
                  </a:lnTo>
                  <a:lnTo>
                    <a:pt x="807" y="643"/>
                  </a:lnTo>
                  <a:lnTo>
                    <a:pt x="771" y="657"/>
                  </a:lnTo>
                  <a:lnTo>
                    <a:pt x="737" y="676"/>
                  </a:lnTo>
                  <a:lnTo>
                    <a:pt x="707" y="699"/>
                  </a:lnTo>
                  <a:lnTo>
                    <a:pt x="681" y="727"/>
                  </a:lnTo>
                  <a:lnTo>
                    <a:pt x="658" y="758"/>
                  </a:lnTo>
                  <a:lnTo>
                    <a:pt x="639" y="792"/>
                  </a:lnTo>
                  <a:lnTo>
                    <a:pt x="626" y="829"/>
                  </a:lnTo>
                  <a:lnTo>
                    <a:pt x="617" y="868"/>
                  </a:lnTo>
                  <a:lnTo>
                    <a:pt x="615" y="909"/>
                  </a:lnTo>
                  <a:lnTo>
                    <a:pt x="617" y="951"/>
                  </a:lnTo>
                  <a:lnTo>
                    <a:pt x="626" y="990"/>
                  </a:lnTo>
                  <a:lnTo>
                    <a:pt x="639" y="1026"/>
                  </a:lnTo>
                  <a:lnTo>
                    <a:pt x="658" y="1061"/>
                  </a:lnTo>
                  <a:lnTo>
                    <a:pt x="681" y="1092"/>
                  </a:lnTo>
                  <a:lnTo>
                    <a:pt x="707" y="1119"/>
                  </a:lnTo>
                  <a:lnTo>
                    <a:pt x="737" y="1143"/>
                  </a:lnTo>
                  <a:lnTo>
                    <a:pt x="771" y="1162"/>
                  </a:lnTo>
                  <a:lnTo>
                    <a:pt x="807" y="1175"/>
                  </a:lnTo>
                  <a:lnTo>
                    <a:pt x="845" y="1185"/>
                  </a:lnTo>
                  <a:lnTo>
                    <a:pt x="885" y="1187"/>
                  </a:lnTo>
                  <a:lnTo>
                    <a:pt x="925" y="1185"/>
                  </a:lnTo>
                  <a:lnTo>
                    <a:pt x="963" y="1175"/>
                  </a:lnTo>
                  <a:lnTo>
                    <a:pt x="998" y="1162"/>
                  </a:lnTo>
                  <a:lnTo>
                    <a:pt x="1032" y="1143"/>
                  </a:lnTo>
                  <a:lnTo>
                    <a:pt x="1062" y="1119"/>
                  </a:lnTo>
                  <a:lnTo>
                    <a:pt x="1089" y="1093"/>
                  </a:lnTo>
                  <a:lnTo>
                    <a:pt x="1111" y="1062"/>
                  </a:lnTo>
                  <a:lnTo>
                    <a:pt x="1130" y="1027"/>
                  </a:lnTo>
                  <a:lnTo>
                    <a:pt x="1143" y="990"/>
                  </a:lnTo>
                  <a:lnTo>
                    <a:pt x="1152" y="951"/>
                  </a:lnTo>
                  <a:lnTo>
                    <a:pt x="1155" y="909"/>
                  </a:lnTo>
                  <a:lnTo>
                    <a:pt x="1152" y="868"/>
                  </a:lnTo>
                  <a:lnTo>
                    <a:pt x="1143" y="829"/>
                  </a:lnTo>
                  <a:lnTo>
                    <a:pt x="1130" y="792"/>
                  </a:lnTo>
                  <a:lnTo>
                    <a:pt x="1111" y="758"/>
                  </a:lnTo>
                  <a:lnTo>
                    <a:pt x="1089" y="727"/>
                  </a:lnTo>
                  <a:lnTo>
                    <a:pt x="1062" y="699"/>
                  </a:lnTo>
                  <a:lnTo>
                    <a:pt x="1032" y="676"/>
                  </a:lnTo>
                  <a:lnTo>
                    <a:pt x="998" y="657"/>
                  </a:lnTo>
                  <a:lnTo>
                    <a:pt x="963" y="643"/>
                  </a:lnTo>
                  <a:lnTo>
                    <a:pt x="925" y="634"/>
                  </a:lnTo>
                  <a:lnTo>
                    <a:pt x="885" y="632"/>
                  </a:lnTo>
                  <a:close/>
                  <a:moveTo>
                    <a:pt x="761" y="0"/>
                  </a:moveTo>
                  <a:lnTo>
                    <a:pt x="1009" y="0"/>
                  </a:lnTo>
                  <a:lnTo>
                    <a:pt x="1009" y="250"/>
                  </a:lnTo>
                  <a:lnTo>
                    <a:pt x="1061" y="262"/>
                  </a:lnTo>
                  <a:lnTo>
                    <a:pt x="1112" y="280"/>
                  </a:lnTo>
                  <a:lnTo>
                    <a:pt x="1160" y="300"/>
                  </a:lnTo>
                  <a:lnTo>
                    <a:pt x="1207" y="324"/>
                  </a:lnTo>
                  <a:lnTo>
                    <a:pt x="1252" y="353"/>
                  </a:lnTo>
                  <a:lnTo>
                    <a:pt x="1423" y="176"/>
                  </a:lnTo>
                  <a:lnTo>
                    <a:pt x="1599" y="355"/>
                  </a:lnTo>
                  <a:lnTo>
                    <a:pt x="1427" y="533"/>
                  </a:lnTo>
                  <a:lnTo>
                    <a:pt x="1454" y="579"/>
                  </a:lnTo>
                  <a:lnTo>
                    <a:pt x="1478" y="626"/>
                  </a:lnTo>
                  <a:lnTo>
                    <a:pt x="1498" y="676"/>
                  </a:lnTo>
                  <a:lnTo>
                    <a:pt x="1515" y="728"/>
                  </a:lnTo>
                  <a:lnTo>
                    <a:pt x="1527" y="782"/>
                  </a:lnTo>
                  <a:lnTo>
                    <a:pt x="1770" y="782"/>
                  </a:lnTo>
                  <a:lnTo>
                    <a:pt x="1770" y="1038"/>
                  </a:lnTo>
                  <a:lnTo>
                    <a:pt x="1527" y="1038"/>
                  </a:lnTo>
                  <a:lnTo>
                    <a:pt x="1515" y="1091"/>
                  </a:lnTo>
                  <a:lnTo>
                    <a:pt x="1498" y="1143"/>
                  </a:lnTo>
                  <a:lnTo>
                    <a:pt x="1478" y="1193"/>
                  </a:lnTo>
                  <a:lnTo>
                    <a:pt x="1455" y="1241"/>
                  </a:lnTo>
                  <a:lnTo>
                    <a:pt x="1427" y="1287"/>
                  </a:lnTo>
                  <a:lnTo>
                    <a:pt x="1599" y="1463"/>
                  </a:lnTo>
                  <a:lnTo>
                    <a:pt x="1423" y="1643"/>
                  </a:lnTo>
                  <a:lnTo>
                    <a:pt x="1252" y="1467"/>
                  </a:lnTo>
                  <a:lnTo>
                    <a:pt x="1207" y="1495"/>
                  </a:lnTo>
                  <a:lnTo>
                    <a:pt x="1160" y="1520"/>
                  </a:lnTo>
                  <a:lnTo>
                    <a:pt x="1112" y="1540"/>
                  </a:lnTo>
                  <a:lnTo>
                    <a:pt x="1061" y="1557"/>
                  </a:lnTo>
                  <a:lnTo>
                    <a:pt x="1009" y="1570"/>
                  </a:lnTo>
                  <a:lnTo>
                    <a:pt x="1009" y="1820"/>
                  </a:lnTo>
                  <a:lnTo>
                    <a:pt x="761" y="1820"/>
                  </a:lnTo>
                  <a:lnTo>
                    <a:pt x="761" y="1570"/>
                  </a:lnTo>
                  <a:lnTo>
                    <a:pt x="708" y="1557"/>
                  </a:lnTo>
                  <a:lnTo>
                    <a:pt x="658" y="1540"/>
                  </a:lnTo>
                  <a:lnTo>
                    <a:pt x="609" y="1520"/>
                  </a:lnTo>
                  <a:lnTo>
                    <a:pt x="563" y="1495"/>
                  </a:lnTo>
                  <a:lnTo>
                    <a:pt x="519" y="1467"/>
                  </a:lnTo>
                  <a:lnTo>
                    <a:pt x="347" y="1643"/>
                  </a:lnTo>
                  <a:lnTo>
                    <a:pt x="172" y="1463"/>
                  </a:lnTo>
                  <a:lnTo>
                    <a:pt x="344" y="1287"/>
                  </a:lnTo>
                  <a:lnTo>
                    <a:pt x="316" y="1241"/>
                  </a:lnTo>
                  <a:lnTo>
                    <a:pt x="291" y="1193"/>
                  </a:lnTo>
                  <a:lnTo>
                    <a:pt x="271" y="1143"/>
                  </a:lnTo>
                  <a:lnTo>
                    <a:pt x="256" y="1091"/>
                  </a:lnTo>
                  <a:lnTo>
                    <a:pt x="243" y="1038"/>
                  </a:lnTo>
                  <a:lnTo>
                    <a:pt x="0" y="1038"/>
                  </a:lnTo>
                  <a:lnTo>
                    <a:pt x="0" y="782"/>
                  </a:lnTo>
                  <a:lnTo>
                    <a:pt x="243" y="782"/>
                  </a:lnTo>
                  <a:lnTo>
                    <a:pt x="256" y="728"/>
                  </a:lnTo>
                  <a:lnTo>
                    <a:pt x="272" y="676"/>
                  </a:lnTo>
                  <a:lnTo>
                    <a:pt x="292" y="627"/>
                  </a:lnTo>
                  <a:lnTo>
                    <a:pt x="316" y="579"/>
                  </a:lnTo>
                  <a:lnTo>
                    <a:pt x="344" y="533"/>
                  </a:lnTo>
                  <a:lnTo>
                    <a:pt x="172" y="356"/>
                  </a:lnTo>
                  <a:lnTo>
                    <a:pt x="347" y="176"/>
                  </a:lnTo>
                  <a:lnTo>
                    <a:pt x="518" y="353"/>
                  </a:lnTo>
                  <a:lnTo>
                    <a:pt x="562" y="324"/>
                  </a:lnTo>
                  <a:lnTo>
                    <a:pt x="609" y="300"/>
                  </a:lnTo>
                  <a:lnTo>
                    <a:pt x="658" y="280"/>
                  </a:lnTo>
                  <a:lnTo>
                    <a:pt x="708" y="262"/>
                  </a:lnTo>
                  <a:lnTo>
                    <a:pt x="761" y="250"/>
                  </a:lnTo>
                  <a:lnTo>
                    <a:pt x="7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</p:grpSp>
      <p:sp>
        <p:nvSpPr>
          <p:cNvPr id="314" name="Oval 313"/>
          <p:cNvSpPr/>
          <p:nvPr/>
        </p:nvSpPr>
        <p:spPr bwMode="ltGray">
          <a:xfrm>
            <a:off x="4709274" y="1876378"/>
            <a:ext cx="1581201" cy="158120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88" name="Group 175"/>
          <p:cNvGrpSpPr>
            <a:grpSpLocks noChangeAspect="1"/>
          </p:cNvGrpSpPr>
          <p:nvPr/>
        </p:nvGrpSpPr>
        <p:grpSpPr bwMode="auto">
          <a:xfrm>
            <a:off x="5121255" y="2204222"/>
            <a:ext cx="757238" cy="925512"/>
            <a:chOff x="-825" y="3791"/>
            <a:chExt cx="477" cy="58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289" name="Freeform 177"/>
            <p:cNvSpPr>
              <a:spLocks noEditPoints="1"/>
            </p:cNvSpPr>
            <p:nvPr/>
          </p:nvSpPr>
          <p:spPr bwMode="auto">
            <a:xfrm>
              <a:off x="-806" y="3914"/>
              <a:ext cx="139" cy="131"/>
            </a:xfrm>
            <a:custGeom>
              <a:avLst/>
              <a:gdLst>
                <a:gd name="T0" fmla="*/ 346 w 834"/>
                <a:gd name="T1" fmla="*/ 246 h 783"/>
                <a:gd name="T2" fmla="*/ 276 w 834"/>
                <a:gd name="T3" fmla="*/ 304 h 783"/>
                <a:gd name="T4" fmla="*/ 249 w 834"/>
                <a:gd name="T5" fmla="*/ 391 h 783"/>
                <a:gd name="T6" fmla="*/ 276 w 834"/>
                <a:gd name="T7" fmla="*/ 480 h 783"/>
                <a:gd name="T8" fmla="*/ 346 w 834"/>
                <a:gd name="T9" fmla="*/ 537 h 783"/>
                <a:gd name="T10" fmla="*/ 440 w 834"/>
                <a:gd name="T11" fmla="*/ 547 h 783"/>
                <a:gd name="T12" fmla="*/ 521 w 834"/>
                <a:gd name="T13" fmla="*/ 503 h 783"/>
                <a:gd name="T14" fmla="*/ 565 w 834"/>
                <a:gd name="T15" fmla="*/ 423 h 783"/>
                <a:gd name="T16" fmla="*/ 555 w 834"/>
                <a:gd name="T17" fmla="*/ 330 h 783"/>
                <a:gd name="T18" fmla="*/ 497 w 834"/>
                <a:gd name="T19" fmla="*/ 261 h 783"/>
                <a:gd name="T20" fmla="*/ 408 w 834"/>
                <a:gd name="T21" fmla="*/ 234 h 783"/>
                <a:gd name="T22" fmla="*/ 503 w 834"/>
                <a:gd name="T23" fmla="*/ 54 h 783"/>
                <a:gd name="T24" fmla="*/ 505 w 834"/>
                <a:gd name="T25" fmla="*/ 87 h 783"/>
                <a:gd name="T26" fmla="*/ 537 w 834"/>
                <a:gd name="T27" fmla="*/ 122 h 783"/>
                <a:gd name="T28" fmla="*/ 584 w 834"/>
                <a:gd name="T29" fmla="*/ 118 h 783"/>
                <a:gd name="T30" fmla="*/ 610 w 834"/>
                <a:gd name="T31" fmla="*/ 95 h 783"/>
                <a:gd name="T32" fmla="*/ 690 w 834"/>
                <a:gd name="T33" fmla="*/ 90 h 783"/>
                <a:gd name="T34" fmla="*/ 792 w 834"/>
                <a:gd name="T35" fmla="*/ 283 h 783"/>
                <a:gd name="T36" fmla="*/ 769 w 834"/>
                <a:gd name="T37" fmla="*/ 300 h 783"/>
                <a:gd name="T38" fmla="*/ 740 w 834"/>
                <a:gd name="T39" fmla="*/ 327 h 783"/>
                <a:gd name="T40" fmla="*/ 736 w 834"/>
                <a:gd name="T41" fmla="*/ 378 h 783"/>
                <a:gd name="T42" fmla="*/ 773 w 834"/>
                <a:gd name="T43" fmla="*/ 399 h 783"/>
                <a:gd name="T44" fmla="*/ 807 w 834"/>
                <a:gd name="T45" fmla="*/ 419 h 783"/>
                <a:gd name="T46" fmla="*/ 834 w 834"/>
                <a:gd name="T47" fmla="*/ 493 h 783"/>
                <a:gd name="T48" fmla="*/ 682 w 834"/>
                <a:gd name="T49" fmla="*/ 646 h 783"/>
                <a:gd name="T50" fmla="*/ 656 w 834"/>
                <a:gd name="T51" fmla="*/ 632 h 783"/>
                <a:gd name="T52" fmla="*/ 622 w 834"/>
                <a:gd name="T53" fmla="*/ 613 h 783"/>
                <a:gd name="T54" fmla="*/ 587 w 834"/>
                <a:gd name="T55" fmla="*/ 650 h 783"/>
                <a:gd name="T56" fmla="*/ 591 w 834"/>
                <a:gd name="T57" fmla="*/ 695 h 783"/>
                <a:gd name="T58" fmla="*/ 592 w 834"/>
                <a:gd name="T59" fmla="*/ 718 h 783"/>
                <a:gd name="T60" fmla="*/ 334 w 834"/>
                <a:gd name="T61" fmla="*/ 732 h 783"/>
                <a:gd name="T62" fmla="*/ 332 w 834"/>
                <a:gd name="T63" fmla="*/ 709 h 783"/>
                <a:gd name="T64" fmla="*/ 327 w 834"/>
                <a:gd name="T65" fmla="*/ 669 h 783"/>
                <a:gd name="T66" fmla="*/ 268 w 834"/>
                <a:gd name="T67" fmla="*/ 659 h 783"/>
                <a:gd name="T68" fmla="*/ 238 w 834"/>
                <a:gd name="T69" fmla="*/ 685 h 783"/>
                <a:gd name="T70" fmla="*/ 222 w 834"/>
                <a:gd name="T71" fmla="*/ 700 h 783"/>
                <a:gd name="T72" fmla="*/ 218 w 834"/>
                <a:gd name="T73" fmla="*/ 701 h 783"/>
                <a:gd name="T74" fmla="*/ 212 w 834"/>
                <a:gd name="T75" fmla="*/ 704 h 783"/>
                <a:gd name="T76" fmla="*/ 186 w 834"/>
                <a:gd name="T77" fmla="*/ 703 h 783"/>
                <a:gd name="T78" fmla="*/ 152 w 834"/>
                <a:gd name="T79" fmla="*/ 700 h 783"/>
                <a:gd name="T80" fmla="*/ 46 w 834"/>
                <a:gd name="T81" fmla="*/ 508 h 783"/>
                <a:gd name="T82" fmla="*/ 61 w 834"/>
                <a:gd name="T83" fmla="*/ 496 h 783"/>
                <a:gd name="T84" fmla="*/ 88 w 834"/>
                <a:gd name="T85" fmla="*/ 473 h 783"/>
                <a:gd name="T86" fmla="*/ 100 w 834"/>
                <a:gd name="T87" fmla="*/ 433 h 783"/>
                <a:gd name="T88" fmla="*/ 75 w 834"/>
                <a:gd name="T89" fmla="*/ 398 h 783"/>
                <a:gd name="T90" fmla="*/ 38 w 834"/>
                <a:gd name="T91" fmla="*/ 382 h 783"/>
                <a:gd name="T92" fmla="*/ 21 w 834"/>
                <a:gd name="T93" fmla="*/ 373 h 783"/>
                <a:gd name="T94" fmla="*/ 68 w 834"/>
                <a:gd name="T95" fmla="*/ 161 h 783"/>
                <a:gd name="T96" fmla="*/ 148 w 834"/>
                <a:gd name="T97" fmla="*/ 147 h 783"/>
                <a:gd name="T98" fmla="*/ 182 w 834"/>
                <a:gd name="T99" fmla="*/ 162 h 783"/>
                <a:gd name="T100" fmla="*/ 226 w 834"/>
                <a:gd name="T101" fmla="*/ 158 h 783"/>
                <a:gd name="T102" fmla="*/ 246 w 834"/>
                <a:gd name="T103" fmla="*/ 116 h 783"/>
                <a:gd name="T104" fmla="*/ 243 w 834"/>
                <a:gd name="T105" fmla="*/ 75 h 783"/>
                <a:gd name="T106" fmla="*/ 293 w 834"/>
                <a:gd name="T107" fmla="*/ 13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4" h="783">
                  <a:moveTo>
                    <a:pt x="408" y="234"/>
                  </a:moveTo>
                  <a:lnTo>
                    <a:pt x="376" y="237"/>
                  </a:lnTo>
                  <a:lnTo>
                    <a:pt x="346" y="246"/>
                  </a:lnTo>
                  <a:lnTo>
                    <a:pt x="319" y="261"/>
                  </a:lnTo>
                  <a:lnTo>
                    <a:pt x="295" y="280"/>
                  </a:lnTo>
                  <a:lnTo>
                    <a:pt x="276" y="304"/>
                  </a:lnTo>
                  <a:lnTo>
                    <a:pt x="261" y="330"/>
                  </a:lnTo>
                  <a:lnTo>
                    <a:pt x="252" y="360"/>
                  </a:lnTo>
                  <a:lnTo>
                    <a:pt x="249" y="391"/>
                  </a:lnTo>
                  <a:lnTo>
                    <a:pt x="252" y="423"/>
                  </a:lnTo>
                  <a:lnTo>
                    <a:pt x="261" y="453"/>
                  </a:lnTo>
                  <a:lnTo>
                    <a:pt x="276" y="480"/>
                  </a:lnTo>
                  <a:lnTo>
                    <a:pt x="295" y="503"/>
                  </a:lnTo>
                  <a:lnTo>
                    <a:pt x="319" y="523"/>
                  </a:lnTo>
                  <a:lnTo>
                    <a:pt x="346" y="537"/>
                  </a:lnTo>
                  <a:lnTo>
                    <a:pt x="376" y="547"/>
                  </a:lnTo>
                  <a:lnTo>
                    <a:pt x="408" y="549"/>
                  </a:lnTo>
                  <a:lnTo>
                    <a:pt x="440" y="547"/>
                  </a:lnTo>
                  <a:lnTo>
                    <a:pt x="470" y="537"/>
                  </a:lnTo>
                  <a:lnTo>
                    <a:pt x="497" y="523"/>
                  </a:lnTo>
                  <a:lnTo>
                    <a:pt x="521" y="503"/>
                  </a:lnTo>
                  <a:lnTo>
                    <a:pt x="541" y="480"/>
                  </a:lnTo>
                  <a:lnTo>
                    <a:pt x="555" y="453"/>
                  </a:lnTo>
                  <a:lnTo>
                    <a:pt x="565" y="423"/>
                  </a:lnTo>
                  <a:lnTo>
                    <a:pt x="567" y="391"/>
                  </a:lnTo>
                  <a:lnTo>
                    <a:pt x="565" y="360"/>
                  </a:lnTo>
                  <a:lnTo>
                    <a:pt x="555" y="330"/>
                  </a:lnTo>
                  <a:lnTo>
                    <a:pt x="541" y="304"/>
                  </a:lnTo>
                  <a:lnTo>
                    <a:pt x="521" y="280"/>
                  </a:lnTo>
                  <a:lnTo>
                    <a:pt x="497" y="261"/>
                  </a:lnTo>
                  <a:lnTo>
                    <a:pt x="470" y="246"/>
                  </a:lnTo>
                  <a:lnTo>
                    <a:pt x="440" y="237"/>
                  </a:lnTo>
                  <a:lnTo>
                    <a:pt x="408" y="234"/>
                  </a:lnTo>
                  <a:close/>
                  <a:moveTo>
                    <a:pt x="451" y="0"/>
                  </a:moveTo>
                  <a:lnTo>
                    <a:pt x="503" y="51"/>
                  </a:lnTo>
                  <a:lnTo>
                    <a:pt x="503" y="54"/>
                  </a:lnTo>
                  <a:lnTo>
                    <a:pt x="503" y="63"/>
                  </a:lnTo>
                  <a:lnTo>
                    <a:pt x="504" y="74"/>
                  </a:lnTo>
                  <a:lnTo>
                    <a:pt x="505" y="87"/>
                  </a:lnTo>
                  <a:lnTo>
                    <a:pt x="506" y="100"/>
                  </a:lnTo>
                  <a:lnTo>
                    <a:pt x="507" y="112"/>
                  </a:lnTo>
                  <a:lnTo>
                    <a:pt x="537" y="122"/>
                  </a:lnTo>
                  <a:lnTo>
                    <a:pt x="566" y="134"/>
                  </a:lnTo>
                  <a:lnTo>
                    <a:pt x="575" y="126"/>
                  </a:lnTo>
                  <a:lnTo>
                    <a:pt x="584" y="118"/>
                  </a:lnTo>
                  <a:lnTo>
                    <a:pt x="594" y="110"/>
                  </a:lnTo>
                  <a:lnTo>
                    <a:pt x="602" y="102"/>
                  </a:lnTo>
                  <a:lnTo>
                    <a:pt x="610" y="95"/>
                  </a:lnTo>
                  <a:lnTo>
                    <a:pt x="616" y="91"/>
                  </a:lnTo>
                  <a:lnTo>
                    <a:pt x="618" y="90"/>
                  </a:lnTo>
                  <a:lnTo>
                    <a:pt x="690" y="90"/>
                  </a:lnTo>
                  <a:lnTo>
                    <a:pt x="794" y="209"/>
                  </a:lnTo>
                  <a:lnTo>
                    <a:pt x="794" y="281"/>
                  </a:lnTo>
                  <a:lnTo>
                    <a:pt x="792" y="283"/>
                  </a:lnTo>
                  <a:lnTo>
                    <a:pt x="786" y="286"/>
                  </a:lnTo>
                  <a:lnTo>
                    <a:pt x="779" y="293"/>
                  </a:lnTo>
                  <a:lnTo>
                    <a:pt x="769" y="300"/>
                  </a:lnTo>
                  <a:lnTo>
                    <a:pt x="759" y="309"/>
                  </a:lnTo>
                  <a:lnTo>
                    <a:pt x="750" y="318"/>
                  </a:lnTo>
                  <a:lnTo>
                    <a:pt x="740" y="327"/>
                  </a:lnTo>
                  <a:lnTo>
                    <a:pt x="731" y="334"/>
                  </a:lnTo>
                  <a:lnTo>
                    <a:pt x="734" y="356"/>
                  </a:lnTo>
                  <a:lnTo>
                    <a:pt x="736" y="378"/>
                  </a:lnTo>
                  <a:lnTo>
                    <a:pt x="747" y="385"/>
                  </a:lnTo>
                  <a:lnTo>
                    <a:pt x="759" y="393"/>
                  </a:lnTo>
                  <a:lnTo>
                    <a:pt x="773" y="399"/>
                  </a:lnTo>
                  <a:lnTo>
                    <a:pt x="786" y="407"/>
                  </a:lnTo>
                  <a:lnTo>
                    <a:pt x="797" y="413"/>
                  </a:lnTo>
                  <a:lnTo>
                    <a:pt x="807" y="419"/>
                  </a:lnTo>
                  <a:lnTo>
                    <a:pt x="813" y="423"/>
                  </a:lnTo>
                  <a:lnTo>
                    <a:pt x="816" y="424"/>
                  </a:lnTo>
                  <a:lnTo>
                    <a:pt x="834" y="493"/>
                  </a:lnTo>
                  <a:lnTo>
                    <a:pt x="754" y="629"/>
                  </a:lnTo>
                  <a:lnTo>
                    <a:pt x="684" y="648"/>
                  </a:lnTo>
                  <a:lnTo>
                    <a:pt x="682" y="646"/>
                  </a:lnTo>
                  <a:lnTo>
                    <a:pt x="675" y="643"/>
                  </a:lnTo>
                  <a:lnTo>
                    <a:pt x="667" y="637"/>
                  </a:lnTo>
                  <a:lnTo>
                    <a:pt x="656" y="632"/>
                  </a:lnTo>
                  <a:lnTo>
                    <a:pt x="643" y="625"/>
                  </a:lnTo>
                  <a:lnTo>
                    <a:pt x="632" y="618"/>
                  </a:lnTo>
                  <a:lnTo>
                    <a:pt x="622" y="613"/>
                  </a:lnTo>
                  <a:lnTo>
                    <a:pt x="605" y="625"/>
                  </a:lnTo>
                  <a:lnTo>
                    <a:pt x="586" y="637"/>
                  </a:lnTo>
                  <a:lnTo>
                    <a:pt x="587" y="650"/>
                  </a:lnTo>
                  <a:lnTo>
                    <a:pt x="588" y="664"/>
                  </a:lnTo>
                  <a:lnTo>
                    <a:pt x="589" y="680"/>
                  </a:lnTo>
                  <a:lnTo>
                    <a:pt x="591" y="695"/>
                  </a:lnTo>
                  <a:lnTo>
                    <a:pt x="592" y="707"/>
                  </a:lnTo>
                  <a:lnTo>
                    <a:pt x="592" y="715"/>
                  </a:lnTo>
                  <a:lnTo>
                    <a:pt x="592" y="718"/>
                  </a:lnTo>
                  <a:lnTo>
                    <a:pt x="542" y="769"/>
                  </a:lnTo>
                  <a:lnTo>
                    <a:pt x="385" y="783"/>
                  </a:lnTo>
                  <a:lnTo>
                    <a:pt x="334" y="732"/>
                  </a:lnTo>
                  <a:lnTo>
                    <a:pt x="333" y="729"/>
                  </a:lnTo>
                  <a:lnTo>
                    <a:pt x="333" y="721"/>
                  </a:lnTo>
                  <a:lnTo>
                    <a:pt x="332" y="709"/>
                  </a:lnTo>
                  <a:lnTo>
                    <a:pt x="329" y="695"/>
                  </a:lnTo>
                  <a:lnTo>
                    <a:pt x="328" y="681"/>
                  </a:lnTo>
                  <a:lnTo>
                    <a:pt x="327" y="669"/>
                  </a:lnTo>
                  <a:lnTo>
                    <a:pt x="302" y="661"/>
                  </a:lnTo>
                  <a:lnTo>
                    <a:pt x="278" y="651"/>
                  </a:lnTo>
                  <a:lnTo>
                    <a:pt x="268" y="659"/>
                  </a:lnTo>
                  <a:lnTo>
                    <a:pt x="259" y="668"/>
                  </a:lnTo>
                  <a:lnTo>
                    <a:pt x="247" y="677"/>
                  </a:lnTo>
                  <a:lnTo>
                    <a:pt x="238" y="685"/>
                  </a:lnTo>
                  <a:lnTo>
                    <a:pt x="230" y="693"/>
                  </a:lnTo>
                  <a:lnTo>
                    <a:pt x="224" y="697"/>
                  </a:lnTo>
                  <a:lnTo>
                    <a:pt x="222" y="700"/>
                  </a:lnTo>
                  <a:lnTo>
                    <a:pt x="221" y="700"/>
                  </a:lnTo>
                  <a:lnTo>
                    <a:pt x="220" y="701"/>
                  </a:lnTo>
                  <a:lnTo>
                    <a:pt x="218" y="701"/>
                  </a:lnTo>
                  <a:lnTo>
                    <a:pt x="217" y="702"/>
                  </a:lnTo>
                  <a:lnTo>
                    <a:pt x="214" y="703"/>
                  </a:lnTo>
                  <a:lnTo>
                    <a:pt x="212" y="704"/>
                  </a:lnTo>
                  <a:lnTo>
                    <a:pt x="208" y="704"/>
                  </a:lnTo>
                  <a:lnTo>
                    <a:pt x="198" y="704"/>
                  </a:lnTo>
                  <a:lnTo>
                    <a:pt x="186" y="703"/>
                  </a:lnTo>
                  <a:lnTo>
                    <a:pt x="173" y="702"/>
                  </a:lnTo>
                  <a:lnTo>
                    <a:pt x="161" y="701"/>
                  </a:lnTo>
                  <a:lnTo>
                    <a:pt x="152" y="700"/>
                  </a:lnTo>
                  <a:lnTo>
                    <a:pt x="149" y="700"/>
                  </a:lnTo>
                  <a:lnTo>
                    <a:pt x="46" y="579"/>
                  </a:lnTo>
                  <a:lnTo>
                    <a:pt x="46" y="508"/>
                  </a:lnTo>
                  <a:lnTo>
                    <a:pt x="48" y="505"/>
                  </a:lnTo>
                  <a:lnTo>
                    <a:pt x="53" y="502"/>
                  </a:lnTo>
                  <a:lnTo>
                    <a:pt x="61" y="496"/>
                  </a:lnTo>
                  <a:lnTo>
                    <a:pt x="69" y="489"/>
                  </a:lnTo>
                  <a:lnTo>
                    <a:pt x="78" y="480"/>
                  </a:lnTo>
                  <a:lnTo>
                    <a:pt x="88" y="473"/>
                  </a:lnTo>
                  <a:lnTo>
                    <a:pt x="98" y="465"/>
                  </a:lnTo>
                  <a:lnTo>
                    <a:pt x="106" y="457"/>
                  </a:lnTo>
                  <a:lnTo>
                    <a:pt x="100" y="433"/>
                  </a:lnTo>
                  <a:lnTo>
                    <a:pt x="98" y="408"/>
                  </a:lnTo>
                  <a:lnTo>
                    <a:pt x="87" y="404"/>
                  </a:lnTo>
                  <a:lnTo>
                    <a:pt x="75" y="398"/>
                  </a:lnTo>
                  <a:lnTo>
                    <a:pt x="62" y="393"/>
                  </a:lnTo>
                  <a:lnTo>
                    <a:pt x="50" y="386"/>
                  </a:lnTo>
                  <a:lnTo>
                    <a:pt x="38" y="382"/>
                  </a:lnTo>
                  <a:lnTo>
                    <a:pt x="29" y="377"/>
                  </a:lnTo>
                  <a:lnTo>
                    <a:pt x="23" y="374"/>
                  </a:lnTo>
                  <a:lnTo>
                    <a:pt x="21" y="373"/>
                  </a:lnTo>
                  <a:lnTo>
                    <a:pt x="0" y="314"/>
                  </a:lnTo>
                  <a:lnTo>
                    <a:pt x="2" y="304"/>
                  </a:lnTo>
                  <a:lnTo>
                    <a:pt x="68" y="161"/>
                  </a:lnTo>
                  <a:lnTo>
                    <a:pt x="138" y="143"/>
                  </a:lnTo>
                  <a:lnTo>
                    <a:pt x="141" y="144"/>
                  </a:lnTo>
                  <a:lnTo>
                    <a:pt x="148" y="147"/>
                  </a:lnTo>
                  <a:lnTo>
                    <a:pt x="158" y="151"/>
                  </a:lnTo>
                  <a:lnTo>
                    <a:pt x="169" y="157"/>
                  </a:lnTo>
                  <a:lnTo>
                    <a:pt x="182" y="162"/>
                  </a:lnTo>
                  <a:lnTo>
                    <a:pt x="194" y="168"/>
                  </a:lnTo>
                  <a:lnTo>
                    <a:pt x="205" y="173"/>
                  </a:lnTo>
                  <a:lnTo>
                    <a:pt x="226" y="158"/>
                  </a:lnTo>
                  <a:lnTo>
                    <a:pt x="249" y="144"/>
                  </a:lnTo>
                  <a:lnTo>
                    <a:pt x="247" y="131"/>
                  </a:lnTo>
                  <a:lnTo>
                    <a:pt x="246" y="116"/>
                  </a:lnTo>
                  <a:lnTo>
                    <a:pt x="245" y="101"/>
                  </a:lnTo>
                  <a:lnTo>
                    <a:pt x="244" y="87"/>
                  </a:lnTo>
                  <a:lnTo>
                    <a:pt x="243" y="75"/>
                  </a:lnTo>
                  <a:lnTo>
                    <a:pt x="242" y="67"/>
                  </a:lnTo>
                  <a:lnTo>
                    <a:pt x="242" y="64"/>
                  </a:lnTo>
                  <a:lnTo>
                    <a:pt x="293" y="13"/>
                  </a:lnTo>
                  <a:lnTo>
                    <a:pt x="4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90" name="Freeform 178"/>
            <p:cNvSpPr>
              <a:spLocks noEditPoints="1"/>
            </p:cNvSpPr>
            <p:nvPr/>
          </p:nvSpPr>
          <p:spPr bwMode="auto">
            <a:xfrm>
              <a:off x="-709" y="4029"/>
              <a:ext cx="105" cy="99"/>
            </a:xfrm>
            <a:custGeom>
              <a:avLst/>
              <a:gdLst>
                <a:gd name="T0" fmla="*/ 256 w 631"/>
                <a:gd name="T1" fmla="*/ 188 h 592"/>
                <a:gd name="T2" fmla="*/ 201 w 631"/>
                <a:gd name="T3" fmla="*/ 243 h 592"/>
                <a:gd name="T4" fmla="*/ 192 w 631"/>
                <a:gd name="T5" fmla="*/ 323 h 592"/>
                <a:gd name="T6" fmla="*/ 234 w 631"/>
                <a:gd name="T7" fmla="*/ 389 h 592"/>
                <a:gd name="T8" fmla="*/ 309 w 631"/>
                <a:gd name="T9" fmla="*/ 415 h 592"/>
                <a:gd name="T10" fmla="*/ 384 w 631"/>
                <a:gd name="T11" fmla="*/ 389 h 592"/>
                <a:gd name="T12" fmla="*/ 426 w 631"/>
                <a:gd name="T13" fmla="*/ 323 h 592"/>
                <a:gd name="T14" fmla="*/ 418 w 631"/>
                <a:gd name="T15" fmla="*/ 243 h 592"/>
                <a:gd name="T16" fmla="*/ 362 w 631"/>
                <a:gd name="T17" fmla="*/ 188 h 592"/>
                <a:gd name="T18" fmla="*/ 341 w 631"/>
                <a:gd name="T19" fmla="*/ 0 h 592"/>
                <a:gd name="T20" fmla="*/ 381 w 631"/>
                <a:gd name="T21" fmla="*/ 50 h 592"/>
                <a:gd name="T22" fmla="*/ 384 w 631"/>
                <a:gd name="T23" fmla="*/ 84 h 592"/>
                <a:gd name="T24" fmla="*/ 435 w 631"/>
                <a:gd name="T25" fmla="*/ 94 h 592"/>
                <a:gd name="T26" fmla="*/ 460 w 631"/>
                <a:gd name="T27" fmla="*/ 73 h 592"/>
                <a:gd name="T28" fmla="*/ 521 w 631"/>
                <a:gd name="T29" fmla="*/ 68 h 592"/>
                <a:gd name="T30" fmla="*/ 599 w 631"/>
                <a:gd name="T31" fmla="*/ 213 h 592"/>
                <a:gd name="T32" fmla="*/ 578 w 631"/>
                <a:gd name="T33" fmla="*/ 231 h 592"/>
                <a:gd name="T34" fmla="*/ 552 w 631"/>
                <a:gd name="T35" fmla="*/ 252 h 592"/>
                <a:gd name="T36" fmla="*/ 567 w 631"/>
                <a:gd name="T37" fmla="*/ 291 h 592"/>
                <a:gd name="T38" fmla="*/ 599 w 631"/>
                <a:gd name="T39" fmla="*/ 310 h 592"/>
                <a:gd name="T40" fmla="*/ 617 w 631"/>
                <a:gd name="T41" fmla="*/ 320 h 592"/>
                <a:gd name="T42" fmla="*/ 517 w 631"/>
                <a:gd name="T43" fmla="*/ 490 h 592"/>
                <a:gd name="T44" fmla="*/ 500 w 631"/>
                <a:gd name="T45" fmla="*/ 479 h 592"/>
                <a:gd name="T46" fmla="*/ 472 w 631"/>
                <a:gd name="T47" fmla="*/ 462 h 592"/>
                <a:gd name="T48" fmla="*/ 444 w 631"/>
                <a:gd name="T49" fmla="*/ 493 h 592"/>
                <a:gd name="T50" fmla="*/ 447 w 631"/>
                <a:gd name="T51" fmla="*/ 531 h 592"/>
                <a:gd name="T52" fmla="*/ 410 w 631"/>
                <a:gd name="T53" fmla="*/ 581 h 592"/>
                <a:gd name="T54" fmla="*/ 252 w 631"/>
                <a:gd name="T55" fmla="*/ 550 h 592"/>
                <a:gd name="T56" fmla="*/ 248 w 631"/>
                <a:gd name="T57" fmla="*/ 517 h 592"/>
                <a:gd name="T58" fmla="*/ 211 w 631"/>
                <a:gd name="T59" fmla="*/ 492 h 592"/>
                <a:gd name="T60" fmla="*/ 184 w 631"/>
                <a:gd name="T61" fmla="*/ 515 h 592"/>
                <a:gd name="T62" fmla="*/ 168 w 631"/>
                <a:gd name="T63" fmla="*/ 528 h 592"/>
                <a:gd name="T64" fmla="*/ 164 w 631"/>
                <a:gd name="T65" fmla="*/ 530 h 592"/>
                <a:gd name="T66" fmla="*/ 157 w 631"/>
                <a:gd name="T67" fmla="*/ 533 h 592"/>
                <a:gd name="T68" fmla="*/ 124 w 631"/>
                <a:gd name="T69" fmla="*/ 529 h 592"/>
                <a:gd name="T70" fmla="*/ 36 w 631"/>
                <a:gd name="T71" fmla="*/ 437 h 592"/>
                <a:gd name="T72" fmla="*/ 42 w 631"/>
                <a:gd name="T73" fmla="*/ 378 h 592"/>
                <a:gd name="T74" fmla="*/ 65 w 631"/>
                <a:gd name="T75" fmla="*/ 358 h 592"/>
                <a:gd name="T76" fmla="*/ 77 w 631"/>
                <a:gd name="T77" fmla="*/ 327 h 592"/>
                <a:gd name="T78" fmla="*/ 55 w 631"/>
                <a:gd name="T79" fmla="*/ 299 h 592"/>
                <a:gd name="T80" fmla="*/ 24 w 631"/>
                <a:gd name="T81" fmla="*/ 286 h 592"/>
                <a:gd name="T82" fmla="*/ 0 w 631"/>
                <a:gd name="T83" fmla="*/ 236 h 592"/>
                <a:gd name="T84" fmla="*/ 105 w 631"/>
                <a:gd name="T85" fmla="*/ 107 h 592"/>
                <a:gd name="T86" fmla="*/ 123 w 631"/>
                <a:gd name="T87" fmla="*/ 116 h 592"/>
                <a:gd name="T88" fmla="*/ 155 w 631"/>
                <a:gd name="T89" fmla="*/ 130 h 592"/>
                <a:gd name="T90" fmla="*/ 188 w 631"/>
                <a:gd name="T91" fmla="*/ 96 h 592"/>
                <a:gd name="T92" fmla="*/ 184 w 631"/>
                <a:gd name="T93" fmla="*/ 59 h 592"/>
                <a:gd name="T94" fmla="*/ 222 w 631"/>
                <a:gd name="T95" fmla="*/ 1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31" h="592">
                  <a:moveTo>
                    <a:pt x="309" y="176"/>
                  </a:moveTo>
                  <a:lnTo>
                    <a:pt x="282" y="179"/>
                  </a:lnTo>
                  <a:lnTo>
                    <a:pt x="256" y="188"/>
                  </a:lnTo>
                  <a:lnTo>
                    <a:pt x="234" y="203"/>
                  </a:lnTo>
                  <a:lnTo>
                    <a:pt x="215" y="221"/>
                  </a:lnTo>
                  <a:lnTo>
                    <a:pt x="201" y="243"/>
                  </a:lnTo>
                  <a:lnTo>
                    <a:pt x="192" y="268"/>
                  </a:lnTo>
                  <a:lnTo>
                    <a:pt x="189" y="296"/>
                  </a:lnTo>
                  <a:lnTo>
                    <a:pt x="192" y="323"/>
                  </a:lnTo>
                  <a:lnTo>
                    <a:pt x="201" y="348"/>
                  </a:lnTo>
                  <a:lnTo>
                    <a:pt x="215" y="370"/>
                  </a:lnTo>
                  <a:lnTo>
                    <a:pt x="234" y="389"/>
                  </a:lnTo>
                  <a:lnTo>
                    <a:pt x="256" y="403"/>
                  </a:lnTo>
                  <a:lnTo>
                    <a:pt x="282" y="412"/>
                  </a:lnTo>
                  <a:lnTo>
                    <a:pt x="309" y="415"/>
                  </a:lnTo>
                  <a:lnTo>
                    <a:pt x="337" y="412"/>
                  </a:lnTo>
                  <a:lnTo>
                    <a:pt x="362" y="403"/>
                  </a:lnTo>
                  <a:lnTo>
                    <a:pt x="384" y="389"/>
                  </a:lnTo>
                  <a:lnTo>
                    <a:pt x="403" y="370"/>
                  </a:lnTo>
                  <a:lnTo>
                    <a:pt x="418" y="348"/>
                  </a:lnTo>
                  <a:lnTo>
                    <a:pt x="426" y="323"/>
                  </a:lnTo>
                  <a:lnTo>
                    <a:pt x="430" y="296"/>
                  </a:lnTo>
                  <a:lnTo>
                    <a:pt x="426" y="268"/>
                  </a:lnTo>
                  <a:lnTo>
                    <a:pt x="418" y="243"/>
                  </a:lnTo>
                  <a:lnTo>
                    <a:pt x="403" y="221"/>
                  </a:lnTo>
                  <a:lnTo>
                    <a:pt x="384" y="203"/>
                  </a:lnTo>
                  <a:lnTo>
                    <a:pt x="362" y="188"/>
                  </a:lnTo>
                  <a:lnTo>
                    <a:pt x="337" y="179"/>
                  </a:lnTo>
                  <a:lnTo>
                    <a:pt x="309" y="176"/>
                  </a:lnTo>
                  <a:close/>
                  <a:moveTo>
                    <a:pt x="341" y="0"/>
                  </a:moveTo>
                  <a:lnTo>
                    <a:pt x="380" y="38"/>
                  </a:lnTo>
                  <a:lnTo>
                    <a:pt x="381" y="41"/>
                  </a:lnTo>
                  <a:lnTo>
                    <a:pt x="381" y="50"/>
                  </a:lnTo>
                  <a:lnTo>
                    <a:pt x="382" y="61"/>
                  </a:lnTo>
                  <a:lnTo>
                    <a:pt x="383" y="73"/>
                  </a:lnTo>
                  <a:lnTo>
                    <a:pt x="384" y="84"/>
                  </a:lnTo>
                  <a:lnTo>
                    <a:pt x="406" y="92"/>
                  </a:lnTo>
                  <a:lnTo>
                    <a:pt x="429" y="101"/>
                  </a:lnTo>
                  <a:lnTo>
                    <a:pt x="435" y="94"/>
                  </a:lnTo>
                  <a:lnTo>
                    <a:pt x="444" y="87"/>
                  </a:lnTo>
                  <a:lnTo>
                    <a:pt x="453" y="80"/>
                  </a:lnTo>
                  <a:lnTo>
                    <a:pt x="460" y="73"/>
                  </a:lnTo>
                  <a:lnTo>
                    <a:pt x="465" y="69"/>
                  </a:lnTo>
                  <a:lnTo>
                    <a:pt x="467" y="68"/>
                  </a:lnTo>
                  <a:lnTo>
                    <a:pt x="521" y="68"/>
                  </a:lnTo>
                  <a:lnTo>
                    <a:pt x="600" y="158"/>
                  </a:lnTo>
                  <a:lnTo>
                    <a:pt x="600" y="212"/>
                  </a:lnTo>
                  <a:lnTo>
                    <a:pt x="599" y="213"/>
                  </a:lnTo>
                  <a:lnTo>
                    <a:pt x="593" y="218"/>
                  </a:lnTo>
                  <a:lnTo>
                    <a:pt x="587" y="223"/>
                  </a:lnTo>
                  <a:lnTo>
                    <a:pt x="578" y="231"/>
                  </a:lnTo>
                  <a:lnTo>
                    <a:pt x="569" y="239"/>
                  </a:lnTo>
                  <a:lnTo>
                    <a:pt x="560" y="245"/>
                  </a:lnTo>
                  <a:lnTo>
                    <a:pt x="552" y="252"/>
                  </a:lnTo>
                  <a:lnTo>
                    <a:pt x="556" y="268"/>
                  </a:lnTo>
                  <a:lnTo>
                    <a:pt x="557" y="286"/>
                  </a:lnTo>
                  <a:lnTo>
                    <a:pt x="567" y="291"/>
                  </a:lnTo>
                  <a:lnTo>
                    <a:pt x="578" y="298"/>
                  </a:lnTo>
                  <a:lnTo>
                    <a:pt x="589" y="304"/>
                  </a:lnTo>
                  <a:lnTo>
                    <a:pt x="599" y="310"/>
                  </a:lnTo>
                  <a:lnTo>
                    <a:pt x="609" y="315"/>
                  </a:lnTo>
                  <a:lnTo>
                    <a:pt x="614" y="319"/>
                  </a:lnTo>
                  <a:lnTo>
                    <a:pt x="617" y="320"/>
                  </a:lnTo>
                  <a:lnTo>
                    <a:pt x="631" y="372"/>
                  </a:lnTo>
                  <a:lnTo>
                    <a:pt x="570" y="476"/>
                  </a:lnTo>
                  <a:lnTo>
                    <a:pt x="517" y="490"/>
                  </a:lnTo>
                  <a:lnTo>
                    <a:pt x="515" y="488"/>
                  </a:lnTo>
                  <a:lnTo>
                    <a:pt x="509" y="484"/>
                  </a:lnTo>
                  <a:lnTo>
                    <a:pt x="500" y="479"/>
                  </a:lnTo>
                  <a:lnTo>
                    <a:pt x="491" y="473"/>
                  </a:lnTo>
                  <a:lnTo>
                    <a:pt x="479" y="468"/>
                  </a:lnTo>
                  <a:lnTo>
                    <a:pt x="472" y="462"/>
                  </a:lnTo>
                  <a:lnTo>
                    <a:pt x="457" y="472"/>
                  </a:lnTo>
                  <a:lnTo>
                    <a:pt x="443" y="481"/>
                  </a:lnTo>
                  <a:lnTo>
                    <a:pt x="444" y="493"/>
                  </a:lnTo>
                  <a:lnTo>
                    <a:pt x="445" y="506"/>
                  </a:lnTo>
                  <a:lnTo>
                    <a:pt x="446" y="519"/>
                  </a:lnTo>
                  <a:lnTo>
                    <a:pt x="447" y="531"/>
                  </a:lnTo>
                  <a:lnTo>
                    <a:pt x="448" y="539"/>
                  </a:lnTo>
                  <a:lnTo>
                    <a:pt x="448" y="542"/>
                  </a:lnTo>
                  <a:lnTo>
                    <a:pt x="410" y="581"/>
                  </a:lnTo>
                  <a:lnTo>
                    <a:pt x="290" y="592"/>
                  </a:lnTo>
                  <a:lnTo>
                    <a:pt x="253" y="553"/>
                  </a:lnTo>
                  <a:lnTo>
                    <a:pt x="252" y="550"/>
                  </a:lnTo>
                  <a:lnTo>
                    <a:pt x="252" y="541"/>
                  </a:lnTo>
                  <a:lnTo>
                    <a:pt x="251" y="529"/>
                  </a:lnTo>
                  <a:lnTo>
                    <a:pt x="248" y="517"/>
                  </a:lnTo>
                  <a:lnTo>
                    <a:pt x="247" y="506"/>
                  </a:lnTo>
                  <a:lnTo>
                    <a:pt x="228" y="500"/>
                  </a:lnTo>
                  <a:lnTo>
                    <a:pt x="211" y="492"/>
                  </a:lnTo>
                  <a:lnTo>
                    <a:pt x="202" y="499"/>
                  </a:lnTo>
                  <a:lnTo>
                    <a:pt x="193" y="507"/>
                  </a:lnTo>
                  <a:lnTo>
                    <a:pt x="184" y="515"/>
                  </a:lnTo>
                  <a:lnTo>
                    <a:pt x="175" y="522"/>
                  </a:lnTo>
                  <a:lnTo>
                    <a:pt x="170" y="526"/>
                  </a:lnTo>
                  <a:lnTo>
                    <a:pt x="168" y="528"/>
                  </a:lnTo>
                  <a:lnTo>
                    <a:pt x="168" y="528"/>
                  </a:lnTo>
                  <a:lnTo>
                    <a:pt x="167" y="529"/>
                  </a:lnTo>
                  <a:lnTo>
                    <a:pt x="164" y="530"/>
                  </a:lnTo>
                  <a:lnTo>
                    <a:pt x="162" y="531"/>
                  </a:lnTo>
                  <a:lnTo>
                    <a:pt x="161" y="533"/>
                  </a:lnTo>
                  <a:lnTo>
                    <a:pt x="157" y="533"/>
                  </a:lnTo>
                  <a:lnTo>
                    <a:pt x="148" y="531"/>
                  </a:lnTo>
                  <a:lnTo>
                    <a:pt x="136" y="530"/>
                  </a:lnTo>
                  <a:lnTo>
                    <a:pt x="124" y="529"/>
                  </a:lnTo>
                  <a:lnTo>
                    <a:pt x="117" y="528"/>
                  </a:lnTo>
                  <a:lnTo>
                    <a:pt x="113" y="528"/>
                  </a:lnTo>
                  <a:lnTo>
                    <a:pt x="36" y="437"/>
                  </a:lnTo>
                  <a:lnTo>
                    <a:pt x="36" y="383"/>
                  </a:lnTo>
                  <a:lnTo>
                    <a:pt x="37" y="381"/>
                  </a:lnTo>
                  <a:lnTo>
                    <a:pt x="42" y="378"/>
                  </a:lnTo>
                  <a:lnTo>
                    <a:pt x="48" y="372"/>
                  </a:lnTo>
                  <a:lnTo>
                    <a:pt x="57" y="366"/>
                  </a:lnTo>
                  <a:lnTo>
                    <a:pt x="65" y="358"/>
                  </a:lnTo>
                  <a:lnTo>
                    <a:pt x="74" y="352"/>
                  </a:lnTo>
                  <a:lnTo>
                    <a:pt x="80" y="346"/>
                  </a:lnTo>
                  <a:lnTo>
                    <a:pt x="77" y="327"/>
                  </a:lnTo>
                  <a:lnTo>
                    <a:pt x="75" y="308"/>
                  </a:lnTo>
                  <a:lnTo>
                    <a:pt x="65" y="304"/>
                  </a:lnTo>
                  <a:lnTo>
                    <a:pt x="55" y="299"/>
                  </a:lnTo>
                  <a:lnTo>
                    <a:pt x="44" y="295"/>
                  </a:lnTo>
                  <a:lnTo>
                    <a:pt x="33" y="289"/>
                  </a:lnTo>
                  <a:lnTo>
                    <a:pt x="24" y="286"/>
                  </a:lnTo>
                  <a:lnTo>
                    <a:pt x="18" y="283"/>
                  </a:lnTo>
                  <a:lnTo>
                    <a:pt x="16" y="281"/>
                  </a:lnTo>
                  <a:lnTo>
                    <a:pt x="0" y="236"/>
                  </a:lnTo>
                  <a:lnTo>
                    <a:pt x="2" y="229"/>
                  </a:lnTo>
                  <a:lnTo>
                    <a:pt x="52" y="121"/>
                  </a:lnTo>
                  <a:lnTo>
                    <a:pt x="105" y="107"/>
                  </a:lnTo>
                  <a:lnTo>
                    <a:pt x="108" y="108"/>
                  </a:lnTo>
                  <a:lnTo>
                    <a:pt x="115" y="112"/>
                  </a:lnTo>
                  <a:lnTo>
                    <a:pt x="123" y="116"/>
                  </a:lnTo>
                  <a:lnTo>
                    <a:pt x="134" y="121"/>
                  </a:lnTo>
                  <a:lnTo>
                    <a:pt x="146" y="126"/>
                  </a:lnTo>
                  <a:lnTo>
                    <a:pt x="155" y="130"/>
                  </a:lnTo>
                  <a:lnTo>
                    <a:pt x="171" y="118"/>
                  </a:lnTo>
                  <a:lnTo>
                    <a:pt x="189" y="108"/>
                  </a:lnTo>
                  <a:lnTo>
                    <a:pt x="188" y="96"/>
                  </a:lnTo>
                  <a:lnTo>
                    <a:pt x="186" y="83"/>
                  </a:lnTo>
                  <a:lnTo>
                    <a:pt x="185" y="70"/>
                  </a:lnTo>
                  <a:lnTo>
                    <a:pt x="184" y="59"/>
                  </a:lnTo>
                  <a:lnTo>
                    <a:pt x="184" y="51"/>
                  </a:lnTo>
                  <a:lnTo>
                    <a:pt x="183" y="48"/>
                  </a:lnTo>
                  <a:lnTo>
                    <a:pt x="222" y="10"/>
                  </a:lnTo>
                  <a:lnTo>
                    <a:pt x="3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91" name="Freeform 179"/>
            <p:cNvSpPr>
              <a:spLocks/>
            </p:cNvSpPr>
            <p:nvPr/>
          </p:nvSpPr>
          <p:spPr bwMode="auto">
            <a:xfrm>
              <a:off x="-720" y="3871"/>
              <a:ext cx="285" cy="33"/>
            </a:xfrm>
            <a:custGeom>
              <a:avLst/>
              <a:gdLst>
                <a:gd name="T0" fmla="*/ 95 w 1709"/>
                <a:gd name="T1" fmla="*/ 0 h 195"/>
                <a:gd name="T2" fmla="*/ 1615 w 1709"/>
                <a:gd name="T3" fmla="*/ 0 h 195"/>
                <a:gd name="T4" fmla="*/ 1638 w 1709"/>
                <a:gd name="T5" fmla="*/ 3 h 195"/>
                <a:gd name="T6" fmla="*/ 1658 w 1709"/>
                <a:gd name="T7" fmla="*/ 10 h 195"/>
                <a:gd name="T8" fmla="*/ 1676 w 1709"/>
                <a:gd name="T9" fmla="*/ 20 h 195"/>
                <a:gd name="T10" fmla="*/ 1689 w 1709"/>
                <a:gd name="T11" fmla="*/ 34 h 195"/>
                <a:gd name="T12" fmla="*/ 1699 w 1709"/>
                <a:gd name="T13" fmla="*/ 51 h 195"/>
                <a:gd name="T14" fmla="*/ 1705 w 1709"/>
                <a:gd name="T15" fmla="*/ 69 h 195"/>
                <a:gd name="T16" fmla="*/ 1709 w 1709"/>
                <a:gd name="T17" fmla="*/ 88 h 195"/>
                <a:gd name="T18" fmla="*/ 1709 w 1709"/>
                <a:gd name="T19" fmla="*/ 108 h 195"/>
                <a:gd name="T20" fmla="*/ 1705 w 1709"/>
                <a:gd name="T21" fmla="*/ 126 h 195"/>
                <a:gd name="T22" fmla="*/ 1699 w 1709"/>
                <a:gd name="T23" fmla="*/ 145 h 195"/>
                <a:gd name="T24" fmla="*/ 1689 w 1709"/>
                <a:gd name="T25" fmla="*/ 161 h 195"/>
                <a:gd name="T26" fmla="*/ 1676 w 1709"/>
                <a:gd name="T27" fmla="*/ 176 h 195"/>
                <a:gd name="T28" fmla="*/ 1658 w 1709"/>
                <a:gd name="T29" fmla="*/ 187 h 195"/>
                <a:gd name="T30" fmla="*/ 1638 w 1709"/>
                <a:gd name="T31" fmla="*/ 193 h 195"/>
                <a:gd name="T32" fmla="*/ 1615 w 1709"/>
                <a:gd name="T33" fmla="*/ 195 h 195"/>
                <a:gd name="T34" fmla="*/ 95 w 1709"/>
                <a:gd name="T35" fmla="*/ 195 h 195"/>
                <a:gd name="T36" fmla="*/ 71 w 1709"/>
                <a:gd name="T37" fmla="*/ 193 h 195"/>
                <a:gd name="T38" fmla="*/ 51 w 1709"/>
                <a:gd name="T39" fmla="*/ 187 h 195"/>
                <a:gd name="T40" fmla="*/ 35 w 1709"/>
                <a:gd name="T41" fmla="*/ 176 h 195"/>
                <a:gd name="T42" fmla="*/ 20 w 1709"/>
                <a:gd name="T43" fmla="*/ 161 h 195"/>
                <a:gd name="T44" fmla="*/ 10 w 1709"/>
                <a:gd name="T45" fmla="*/ 145 h 195"/>
                <a:gd name="T46" fmla="*/ 4 w 1709"/>
                <a:gd name="T47" fmla="*/ 126 h 195"/>
                <a:gd name="T48" fmla="*/ 0 w 1709"/>
                <a:gd name="T49" fmla="*/ 108 h 195"/>
                <a:gd name="T50" fmla="*/ 0 w 1709"/>
                <a:gd name="T51" fmla="*/ 88 h 195"/>
                <a:gd name="T52" fmla="*/ 4 w 1709"/>
                <a:gd name="T53" fmla="*/ 69 h 195"/>
                <a:gd name="T54" fmla="*/ 10 w 1709"/>
                <a:gd name="T55" fmla="*/ 51 h 195"/>
                <a:gd name="T56" fmla="*/ 20 w 1709"/>
                <a:gd name="T57" fmla="*/ 34 h 195"/>
                <a:gd name="T58" fmla="*/ 35 w 1709"/>
                <a:gd name="T59" fmla="*/ 20 h 195"/>
                <a:gd name="T60" fmla="*/ 51 w 1709"/>
                <a:gd name="T61" fmla="*/ 10 h 195"/>
                <a:gd name="T62" fmla="*/ 71 w 1709"/>
                <a:gd name="T63" fmla="*/ 3 h 195"/>
                <a:gd name="T64" fmla="*/ 95 w 1709"/>
                <a:gd name="T65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9" h="195">
                  <a:moveTo>
                    <a:pt x="95" y="0"/>
                  </a:moveTo>
                  <a:lnTo>
                    <a:pt x="1615" y="0"/>
                  </a:lnTo>
                  <a:lnTo>
                    <a:pt x="1638" y="3"/>
                  </a:lnTo>
                  <a:lnTo>
                    <a:pt x="1658" y="10"/>
                  </a:lnTo>
                  <a:lnTo>
                    <a:pt x="1676" y="20"/>
                  </a:lnTo>
                  <a:lnTo>
                    <a:pt x="1689" y="34"/>
                  </a:lnTo>
                  <a:lnTo>
                    <a:pt x="1699" y="51"/>
                  </a:lnTo>
                  <a:lnTo>
                    <a:pt x="1705" y="69"/>
                  </a:lnTo>
                  <a:lnTo>
                    <a:pt x="1709" y="88"/>
                  </a:lnTo>
                  <a:lnTo>
                    <a:pt x="1709" y="108"/>
                  </a:lnTo>
                  <a:lnTo>
                    <a:pt x="1705" y="126"/>
                  </a:lnTo>
                  <a:lnTo>
                    <a:pt x="1699" y="145"/>
                  </a:lnTo>
                  <a:lnTo>
                    <a:pt x="1689" y="161"/>
                  </a:lnTo>
                  <a:lnTo>
                    <a:pt x="1676" y="176"/>
                  </a:lnTo>
                  <a:lnTo>
                    <a:pt x="1658" y="187"/>
                  </a:lnTo>
                  <a:lnTo>
                    <a:pt x="1638" y="193"/>
                  </a:lnTo>
                  <a:lnTo>
                    <a:pt x="1615" y="195"/>
                  </a:lnTo>
                  <a:lnTo>
                    <a:pt x="95" y="195"/>
                  </a:lnTo>
                  <a:lnTo>
                    <a:pt x="71" y="193"/>
                  </a:lnTo>
                  <a:lnTo>
                    <a:pt x="51" y="187"/>
                  </a:lnTo>
                  <a:lnTo>
                    <a:pt x="35" y="176"/>
                  </a:lnTo>
                  <a:lnTo>
                    <a:pt x="20" y="161"/>
                  </a:lnTo>
                  <a:lnTo>
                    <a:pt x="10" y="145"/>
                  </a:lnTo>
                  <a:lnTo>
                    <a:pt x="4" y="126"/>
                  </a:lnTo>
                  <a:lnTo>
                    <a:pt x="0" y="108"/>
                  </a:lnTo>
                  <a:lnTo>
                    <a:pt x="0" y="88"/>
                  </a:lnTo>
                  <a:lnTo>
                    <a:pt x="4" y="69"/>
                  </a:lnTo>
                  <a:lnTo>
                    <a:pt x="10" y="51"/>
                  </a:lnTo>
                  <a:lnTo>
                    <a:pt x="20" y="34"/>
                  </a:lnTo>
                  <a:lnTo>
                    <a:pt x="35" y="20"/>
                  </a:lnTo>
                  <a:lnTo>
                    <a:pt x="51" y="10"/>
                  </a:lnTo>
                  <a:lnTo>
                    <a:pt x="71" y="3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92" name="Freeform 180"/>
            <p:cNvSpPr>
              <a:spLocks/>
            </p:cNvSpPr>
            <p:nvPr/>
          </p:nvSpPr>
          <p:spPr bwMode="auto">
            <a:xfrm>
              <a:off x="-589" y="3948"/>
              <a:ext cx="154" cy="33"/>
            </a:xfrm>
            <a:custGeom>
              <a:avLst/>
              <a:gdLst>
                <a:gd name="T0" fmla="*/ 95 w 920"/>
                <a:gd name="T1" fmla="*/ 0 h 195"/>
                <a:gd name="T2" fmla="*/ 826 w 920"/>
                <a:gd name="T3" fmla="*/ 0 h 195"/>
                <a:gd name="T4" fmla="*/ 849 w 920"/>
                <a:gd name="T5" fmla="*/ 2 h 195"/>
                <a:gd name="T6" fmla="*/ 869 w 920"/>
                <a:gd name="T7" fmla="*/ 10 h 195"/>
                <a:gd name="T8" fmla="*/ 887 w 920"/>
                <a:gd name="T9" fmla="*/ 21 h 195"/>
                <a:gd name="T10" fmla="*/ 900 w 920"/>
                <a:gd name="T11" fmla="*/ 34 h 195"/>
                <a:gd name="T12" fmla="*/ 910 w 920"/>
                <a:gd name="T13" fmla="*/ 50 h 195"/>
                <a:gd name="T14" fmla="*/ 916 w 920"/>
                <a:gd name="T15" fmla="*/ 69 h 195"/>
                <a:gd name="T16" fmla="*/ 920 w 920"/>
                <a:gd name="T17" fmla="*/ 88 h 195"/>
                <a:gd name="T18" fmla="*/ 920 w 920"/>
                <a:gd name="T19" fmla="*/ 107 h 195"/>
                <a:gd name="T20" fmla="*/ 916 w 920"/>
                <a:gd name="T21" fmla="*/ 127 h 195"/>
                <a:gd name="T22" fmla="*/ 910 w 920"/>
                <a:gd name="T23" fmla="*/ 145 h 195"/>
                <a:gd name="T24" fmla="*/ 900 w 920"/>
                <a:gd name="T25" fmla="*/ 161 h 195"/>
                <a:gd name="T26" fmla="*/ 887 w 920"/>
                <a:gd name="T27" fmla="*/ 175 h 195"/>
                <a:gd name="T28" fmla="*/ 869 w 920"/>
                <a:gd name="T29" fmla="*/ 186 h 195"/>
                <a:gd name="T30" fmla="*/ 849 w 920"/>
                <a:gd name="T31" fmla="*/ 193 h 195"/>
                <a:gd name="T32" fmla="*/ 826 w 920"/>
                <a:gd name="T33" fmla="*/ 195 h 195"/>
                <a:gd name="T34" fmla="*/ 95 w 920"/>
                <a:gd name="T35" fmla="*/ 195 h 195"/>
                <a:gd name="T36" fmla="*/ 72 w 920"/>
                <a:gd name="T37" fmla="*/ 193 h 195"/>
                <a:gd name="T38" fmla="*/ 51 w 920"/>
                <a:gd name="T39" fmla="*/ 186 h 195"/>
                <a:gd name="T40" fmla="*/ 34 w 920"/>
                <a:gd name="T41" fmla="*/ 175 h 195"/>
                <a:gd name="T42" fmla="*/ 21 w 920"/>
                <a:gd name="T43" fmla="*/ 161 h 195"/>
                <a:gd name="T44" fmla="*/ 10 w 920"/>
                <a:gd name="T45" fmla="*/ 145 h 195"/>
                <a:gd name="T46" fmla="*/ 3 w 920"/>
                <a:gd name="T47" fmla="*/ 127 h 195"/>
                <a:gd name="T48" fmla="*/ 0 w 920"/>
                <a:gd name="T49" fmla="*/ 107 h 195"/>
                <a:gd name="T50" fmla="*/ 0 w 920"/>
                <a:gd name="T51" fmla="*/ 88 h 195"/>
                <a:gd name="T52" fmla="*/ 3 w 920"/>
                <a:gd name="T53" fmla="*/ 69 h 195"/>
                <a:gd name="T54" fmla="*/ 10 w 920"/>
                <a:gd name="T55" fmla="*/ 50 h 195"/>
                <a:gd name="T56" fmla="*/ 21 w 920"/>
                <a:gd name="T57" fmla="*/ 34 h 195"/>
                <a:gd name="T58" fmla="*/ 34 w 920"/>
                <a:gd name="T59" fmla="*/ 21 h 195"/>
                <a:gd name="T60" fmla="*/ 51 w 920"/>
                <a:gd name="T61" fmla="*/ 10 h 195"/>
                <a:gd name="T62" fmla="*/ 72 w 920"/>
                <a:gd name="T63" fmla="*/ 2 h 195"/>
                <a:gd name="T64" fmla="*/ 95 w 920"/>
                <a:gd name="T65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0" h="195">
                  <a:moveTo>
                    <a:pt x="95" y="0"/>
                  </a:moveTo>
                  <a:lnTo>
                    <a:pt x="826" y="0"/>
                  </a:lnTo>
                  <a:lnTo>
                    <a:pt x="849" y="2"/>
                  </a:lnTo>
                  <a:lnTo>
                    <a:pt x="869" y="10"/>
                  </a:lnTo>
                  <a:lnTo>
                    <a:pt x="887" y="21"/>
                  </a:lnTo>
                  <a:lnTo>
                    <a:pt x="900" y="34"/>
                  </a:lnTo>
                  <a:lnTo>
                    <a:pt x="910" y="50"/>
                  </a:lnTo>
                  <a:lnTo>
                    <a:pt x="916" y="69"/>
                  </a:lnTo>
                  <a:lnTo>
                    <a:pt x="920" y="88"/>
                  </a:lnTo>
                  <a:lnTo>
                    <a:pt x="920" y="107"/>
                  </a:lnTo>
                  <a:lnTo>
                    <a:pt x="916" y="127"/>
                  </a:lnTo>
                  <a:lnTo>
                    <a:pt x="910" y="145"/>
                  </a:lnTo>
                  <a:lnTo>
                    <a:pt x="900" y="161"/>
                  </a:lnTo>
                  <a:lnTo>
                    <a:pt x="887" y="175"/>
                  </a:lnTo>
                  <a:lnTo>
                    <a:pt x="869" y="186"/>
                  </a:lnTo>
                  <a:lnTo>
                    <a:pt x="849" y="193"/>
                  </a:lnTo>
                  <a:lnTo>
                    <a:pt x="826" y="195"/>
                  </a:lnTo>
                  <a:lnTo>
                    <a:pt x="95" y="195"/>
                  </a:lnTo>
                  <a:lnTo>
                    <a:pt x="72" y="193"/>
                  </a:lnTo>
                  <a:lnTo>
                    <a:pt x="51" y="186"/>
                  </a:lnTo>
                  <a:lnTo>
                    <a:pt x="34" y="175"/>
                  </a:lnTo>
                  <a:lnTo>
                    <a:pt x="21" y="161"/>
                  </a:lnTo>
                  <a:lnTo>
                    <a:pt x="10" y="145"/>
                  </a:lnTo>
                  <a:lnTo>
                    <a:pt x="3" y="127"/>
                  </a:lnTo>
                  <a:lnTo>
                    <a:pt x="0" y="107"/>
                  </a:lnTo>
                  <a:lnTo>
                    <a:pt x="0" y="88"/>
                  </a:lnTo>
                  <a:lnTo>
                    <a:pt x="3" y="69"/>
                  </a:lnTo>
                  <a:lnTo>
                    <a:pt x="10" y="50"/>
                  </a:lnTo>
                  <a:lnTo>
                    <a:pt x="21" y="34"/>
                  </a:lnTo>
                  <a:lnTo>
                    <a:pt x="34" y="21"/>
                  </a:lnTo>
                  <a:lnTo>
                    <a:pt x="51" y="10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93" name="Freeform 181"/>
            <p:cNvSpPr>
              <a:spLocks/>
            </p:cNvSpPr>
            <p:nvPr/>
          </p:nvSpPr>
          <p:spPr bwMode="auto">
            <a:xfrm>
              <a:off x="-825" y="3791"/>
              <a:ext cx="461" cy="246"/>
            </a:xfrm>
            <a:custGeom>
              <a:avLst/>
              <a:gdLst>
                <a:gd name="T0" fmla="*/ 0 w 2765"/>
                <a:gd name="T1" fmla="*/ 0 h 1476"/>
                <a:gd name="T2" fmla="*/ 2765 w 2765"/>
                <a:gd name="T3" fmla="*/ 0 h 1476"/>
                <a:gd name="T4" fmla="*/ 2765 w 2765"/>
                <a:gd name="T5" fmla="*/ 1476 h 1476"/>
                <a:gd name="T6" fmla="*/ 2529 w 2765"/>
                <a:gd name="T7" fmla="*/ 1476 h 1476"/>
                <a:gd name="T8" fmla="*/ 2529 w 2765"/>
                <a:gd name="T9" fmla="*/ 235 h 1476"/>
                <a:gd name="T10" fmla="*/ 237 w 2765"/>
                <a:gd name="T11" fmla="*/ 235 h 1476"/>
                <a:gd name="T12" fmla="*/ 237 w 2765"/>
                <a:gd name="T13" fmla="*/ 765 h 1476"/>
                <a:gd name="T14" fmla="*/ 0 w 2765"/>
                <a:gd name="T15" fmla="*/ 765 h 1476"/>
                <a:gd name="T16" fmla="*/ 0 w 2765"/>
                <a:gd name="T17" fmla="*/ 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65" h="1476">
                  <a:moveTo>
                    <a:pt x="0" y="0"/>
                  </a:moveTo>
                  <a:lnTo>
                    <a:pt x="2765" y="0"/>
                  </a:lnTo>
                  <a:lnTo>
                    <a:pt x="2765" y="1476"/>
                  </a:lnTo>
                  <a:lnTo>
                    <a:pt x="2529" y="1476"/>
                  </a:lnTo>
                  <a:lnTo>
                    <a:pt x="2529" y="235"/>
                  </a:lnTo>
                  <a:lnTo>
                    <a:pt x="237" y="235"/>
                  </a:lnTo>
                  <a:lnTo>
                    <a:pt x="237" y="765"/>
                  </a:lnTo>
                  <a:lnTo>
                    <a:pt x="0" y="76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94" name="Freeform 182"/>
            <p:cNvSpPr>
              <a:spLocks noEditPoints="1"/>
            </p:cNvSpPr>
            <p:nvPr/>
          </p:nvSpPr>
          <p:spPr bwMode="auto">
            <a:xfrm>
              <a:off x="-635" y="4151"/>
              <a:ext cx="227" cy="215"/>
            </a:xfrm>
            <a:custGeom>
              <a:avLst/>
              <a:gdLst>
                <a:gd name="T0" fmla="*/ 601 w 1364"/>
                <a:gd name="T1" fmla="*/ 392 h 1287"/>
                <a:gd name="T2" fmla="*/ 503 w 1364"/>
                <a:gd name="T3" fmla="*/ 441 h 1287"/>
                <a:gd name="T4" fmla="*/ 434 w 1364"/>
                <a:gd name="T5" fmla="*/ 526 h 1287"/>
                <a:gd name="T6" fmla="*/ 406 w 1364"/>
                <a:gd name="T7" fmla="*/ 635 h 1287"/>
                <a:gd name="T8" fmla="*/ 427 w 1364"/>
                <a:gd name="T9" fmla="*/ 746 h 1287"/>
                <a:gd name="T10" fmla="*/ 490 w 1364"/>
                <a:gd name="T11" fmla="*/ 834 h 1287"/>
                <a:gd name="T12" fmla="*/ 585 w 1364"/>
                <a:gd name="T13" fmla="*/ 890 h 1287"/>
                <a:gd name="T14" fmla="*/ 700 w 1364"/>
                <a:gd name="T15" fmla="*/ 902 h 1287"/>
                <a:gd name="T16" fmla="*/ 805 w 1364"/>
                <a:gd name="T17" fmla="*/ 866 h 1287"/>
                <a:gd name="T18" fmla="*/ 884 w 1364"/>
                <a:gd name="T19" fmla="*/ 793 h 1287"/>
                <a:gd name="T20" fmla="*/ 928 w 1364"/>
                <a:gd name="T21" fmla="*/ 691 h 1287"/>
                <a:gd name="T22" fmla="*/ 923 w 1364"/>
                <a:gd name="T23" fmla="*/ 576 h 1287"/>
                <a:gd name="T24" fmla="*/ 873 w 1364"/>
                <a:gd name="T25" fmla="*/ 478 h 1287"/>
                <a:gd name="T26" fmla="*/ 787 w 1364"/>
                <a:gd name="T27" fmla="*/ 410 h 1287"/>
                <a:gd name="T28" fmla="*/ 678 w 1364"/>
                <a:gd name="T29" fmla="*/ 383 h 1287"/>
                <a:gd name="T30" fmla="*/ 842 w 1364"/>
                <a:gd name="T31" fmla="*/ 90 h 1287"/>
                <a:gd name="T32" fmla="*/ 845 w 1364"/>
                <a:gd name="T33" fmla="*/ 133 h 1287"/>
                <a:gd name="T34" fmla="*/ 848 w 1364"/>
                <a:gd name="T35" fmla="*/ 187 h 1287"/>
                <a:gd name="T36" fmla="*/ 954 w 1364"/>
                <a:gd name="T37" fmla="*/ 217 h 1287"/>
                <a:gd name="T38" fmla="*/ 992 w 1364"/>
                <a:gd name="T39" fmla="*/ 188 h 1287"/>
                <a:gd name="T40" fmla="*/ 1023 w 1364"/>
                <a:gd name="T41" fmla="*/ 162 h 1287"/>
                <a:gd name="T42" fmla="*/ 1150 w 1364"/>
                <a:gd name="T43" fmla="*/ 160 h 1287"/>
                <a:gd name="T44" fmla="*/ 1308 w 1364"/>
                <a:gd name="T45" fmla="*/ 483 h 1287"/>
                <a:gd name="T46" fmla="*/ 1283 w 1364"/>
                <a:gd name="T47" fmla="*/ 502 h 1287"/>
                <a:gd name="T48" fmla="*/ 1242 w 1364"/>
                <a:gd name="T49" fmla="*/ 534 h 1287"/>
                <a:gd name="T50" fmla="*/ 1203 w 1364"/>
                <a:gd name="T51" fmla="*/ 566 h 1287"/>
                <a:gd name="T52" fmla="*/ 1224 w 1364"/>
                <a:gd name="T53" fmla="*/ 648 h 1287"/>
                <a:gd name="T54" fmla="*/ 1274 w 1364"/>
                <a:gd name="T55" fmla="*/ 678 h 1287"/>
                <a:gd name="T56" fmla="*/ 1319 w 1364"/>
                <a:gd name="T57" fmla="*/ 706 h 1287"/>
                <a:gd name="T58" fmla="*/ 1338 w 1364"/>
                <a:gd name="T59" fmla="*/ 718 h 1287"/>
                <a:gd name="T60" fmla="*/ 1110 w 1364"/>
                <a:gd name="T61" fmla="*/ 1080 h 1287"/>
                <a:gd name="T62" fmla="*/ 949 w 1364"/>
                <a:gd name="T63" fmla="*/ 1057 h 1287"/>
                <a:gd name="T64" fmla="*/ 952 w 1364"/>
                <a:gd name="T65" fmla="*/ 1112 h 1287"/>
                <a:gd name="T66" fmla="*/ 954 w 1364"/>
                <a:gd name="T67" fmla="*/ 1167 h 1287"/>
                <a:gd name="T68" fmla="*/ 956 w 1364"/>
                <a:gd name="T69" fmla="*/ 1192 h 1287"/>
                <a:gd name="T70" fmla="*/ 527 w 1364"/>
                <a:gd name="T71" fmla="*/ 1202 h 1287"/>
                <a:gd name="T72" fmla="*/ 525 w 1364"/>
                <a:gd name="T73" fmla="*/ 1178 h 1287"/>
                <a:gd name="T74" fmla="*/ 523 w 1364"/>
                <a:gd name="T75" fmla="*/ 1127 h 1287"/>
                <a:gd name="T76" fmla="*/ 480 w 1364"/>
                <a:gd name="T77" fmla="*/ 1082 h 1287"/>
                <a:gd name="T78" fmla="*/ 416 w 1364"/>
                <a:gd name="T79" fmla="*/ 1084 h 1287"/>
                <a:gd name="T80" fmla="*/ 375 w 1364"/>
                <a:gd name="T81" fmla="*/ 1117 h 1287"/>
                <a:gd name="T82" fmla="*/ 347 w 1364"/>
                <a:gd name="T83" fmla="*/ 1138 h 1287"/>
                <a:gd name="T84" fmla="*/ 324 w 1364"/>
                <a:gd name="T85" fmla="*/ 1148 h 1287"/>
                <a:gd name="T86" fmla="*/ 284 w 1364"/>
                <a:gd name="T87" fmla="*/ 1145 h 1287"/>
                <a:gd name="T88" fmla="*/ 238 w 1364"/>
                <a:gd name="T89" fmla="*/ 1138 h 1287"/>
                <a:gd name="T90" fmla="*/ 63 w 1364"/>
                <a:gd name="T91" fmla="*/ 933 h 1287"/>
                <a:gd name="T92" fmla="*/ 74 w 1364"/>
                <a:gd name="T93" fmla="*/ 809 h 1287"/>
                <a:gd name="T94" fmla="*/ 105 w 1364"/>
                <a:gd name="T95" fmla="*/ 785 h 1287"/>
                <a:gd name="T96" fmla="*/ 144 w 1364"/>
                <a:gd name="T97" fmla="*/ 754 h 1287"/>
                <a:gd name="T98" fmla="*/ 160 w 1364"/>
                <a:gd name="T99" fmla="*/ 696 h 1287"/>
                <a:gd name="T100" fmla="*/ 127 w 1364"/>
                <a:gd name="T101" fmla="*/ 640 h 1287"/>
                <a:gd name="T102" fmla="*/ 78 w 1364"/>
                <a:gd name="T103" fmla="*/ 616 h 1287"/>
                <a:gd name="T104" fmla="*/ 40 w 1364"/>
                <a:gd name="T105" fmla="*/ 598 h 1287"/>
                <a:gd name="T106" fmla="*/ 0 w 1364"/>
                <a:gd name="T107" fmla="*/ 494 h 1287"/>
                <a:gd name="T108" fmla="*/ 238 w 1364"/>
                <a:gd name="T109" fmla="*/ 218 h 1287"/>
                <a:gd name="T110" fmla="*/ 258 w 1364"/>
                <a:gd name="T111" fmla="*/ 228 h 1287"/>
                <a:gd name="T112" fmla="*/ 302 w 1364"/>
                <a:gd name="T113" fmla="*/ 250 h 1287"/>
                <a:gd name="T114" fmla="*/ 346 w 1364"/>
                <a:gd name="T115" fmla="*/ 272 h 1287"/>
                <a:gd name="T116" fmla="*/ 419 w 1364"/>
                <a:gd name="T117" fmla="*/ 207 h 1287"/>
                <a:gd name="T118" fmla="*/ 416 w 1364"/>
                <a:gd name="T119" fmla="*/ 143 h 1287"/>
                <a:gd name="T120" fmla="*/ 413 w 1364"/>
                <a:gd name="T121" fmla="*/ 98 h 1287"/>
                <a:gd name="T122" fmla="*/ 761 w 1364"/>
                <a:gd name="T123" fmla="*/ 0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64" h="1287">
                  <a:moveTo>
                    <a:pt x="678" y="383"/>
                  </a:moveTo>
                  <a:lnTo>
                    <a:pt x="639" y="384"/>
                  </a:lnTo>
                  <a:lnTo>
                    <a:pt x="601" y="392"/>
                  </a:lnTo>
                  <a:lnTo>
                    <a:pt x="566" y="404"/>
                  </a:lnTo>
                  <a:lnTo>
                    <a:pt x="533" y="420"/>
                  </a:lnTo>
                  <a:lnTo>
                    <a:pt x="503" y="441"/>
                  </a:lnTo>
                  <a:lnTo>
                    <a:pt x="476" y="466"/>
                  </a:lnTo>
                  <a:lnTo>
                    <a:pt x="453" y="495"/>
                  </a:lnTo>
                  <a:lnTo>
                    <a:pt x="434" y="526"/>
                  </a:lnTo>
                  <a:lnTo>
                    <a:pt x="419" y="560"/>
                  </a:lnTo>
                  <a:lnTo>
                    <a:pt x="410" y="597"/>
                  </a:lnTo>
                  <a:lnTo>
                    <a:pt x="406" y="635"/>
                  </a:lnTo>
                  <a:lnTo>
                    <a:pt x="408" y="673"/>
                  </a:lnTo>
                  <a:lnTo>
                    <a:pt x="415" y="711"/>
                  </a:lnTo>
                  <a:lnTo>
                    <a:pt x="427" y="746"/>
                  </a:lnTo>
                  <a:lnTo>
                    <a:pt x="443" y="779"/>
                  </a:lnTo>
                  <a:lnTo>
                    <a:pt x="465" y="808"/>
                  </a:lnTo>
                  <a:lnTo>
                    <a:pt x="490" y="834"/>
                  </a:lnTo>
                  <a:lnTo>
                    <a:pt x="518" y="858"/>
                  </a:lnTo>
                  <a:lnTo>
                    <a:pt x="551" y="876"/>
                  </a:lnTo>
                  <a:lnTo>
                    <a:pt x="585" y="890"/>
                  </a:lnTo>
                  <a:lnTo>
                    <a:pt x="621" y="900"/>
                  </a:lnTo>
                  <a:lnTo>
                    <a:pt x="661" y="904"/>
                  </a:lnTo>
                  <a:lnTo>
                    <a:pt x="700" y="902"/>
                  </a:lnTo>
                  <a:lnTo>
                    <a:pt x="737" y="896"/>
                  </a:lnTo>
                  <a:lnTo>
                    <a:pt x="772" y="884"/>
                  </a:lnTo>
                  <a:lnTo>
                    <a:pt x="805" y="866"/>
                  </a:lnTo>
                  <a:lnTo>
                    <a:pt x="835" y="845"/>
                  </a:lnTo>
                  <a:lnTo>
                    <a:pt x="862" y="821"/>
                  </a:lnTo>
                  <a:lnTo>
                    <a:pt x="884" y="793"/>
                  </a:lnTo>
                  <a:lnTo>
                    <a:pt x="904" y="761"/>
                  </a:lnTo>
                  <a:lnTo>
                    <a:pt x="919" y="727"/>
                  </a:lnTo>
                  <a:lnTo>
                    <a:pt x="928" y="691"/>
                  </a:lnTo>
                  <a:lnTo>
                    <a:pt x="932" y="652"/>
                  </a:lnTo>
                  <a:lnTo>
                    <a:pt x="931" y="613"/>
                  </a:lnTo>
                  <a:lnTo>
                    <a:pt x="923" y="576"/>
                  </a:lnTo>
                  <a:lnTo>
                    <a:pt x="911" y="541"/>
                  </a:lnTo>
                  <a:lnTo>
                    <a:pt x="894" y="509"/>
                  </a:lnTo>
                  <a:lnTo>
                    <a:pt x="873" y="478"/>
                  </a:lnTo>
                  <a:lnTo>
                    <a:pt x="848" y="452"/>
                  </a:lnTo>
                  <a:lnTo>
                    <a:pt x="819" y="429"/>
                  </a:lnTo>
                  <a:lnTo>
                    <a:pt x="787" y="410"/>
                  </a:lnTo>
                  <a:lnTo>
                    <a:pt x="753" y="396"/>
                  </a:lnTo>
                  <a:lnTo>
                    <a:pt x="716" y="387"/>
                  </a:lnTo>
                  <a:lnTo>
                    <a:pt x="678" y="383"/>
                  </a:lnTo>
                  <a:close/>
                  <a:moveTo>
                    <a:pt x="761" y="0"/>
                  </a:moveTo>
                  <a:lnTo>
                    <a:pt x="842" y="87"/>
                  </a:lnTo>
                  <a:lnTo>
                    <a:pt x="842" y="90"/>
                  </a:lnTo>
                  <a:lnTo>
                    <a:pt x="844" y="100"/>
                  </a:lnTo>
                  <a:lnTo>
                    <a:pt x="845" y="115"/>
                  </a:lnTo>
                  <a:lnTo>
                    <a:pt x="845" y="133"/>
                  </a:lnTo>
                  <a:lnTo>
                    <a:pt x="846" y="153"/>
                  </a:lnTo>
                  <a:lnTo>
                    <a:pt x="847" y="170"/>
                  </a:lnTo>
                  <a:lnTo>
                    <a:pt x="848" y="187"/>
                  </a:lnTo>
                  <a:lnTo>
                    <a:pt x="897" y="204"/>
                  </a:lnTo>
                  <a:lnTo>
                    <a:pt x="943" y="226"/>
                  </a:lnTo>
                  <a:lnTo>
                    <a:pt x="954" y="217"/>
                  </a:lnTo>
                  <a:lnTo>
                    <a:pt x="966" y="207"/>
                  </a:lnTo>
                  <a:lnTo>
                    <a:pt x="978" y="197"/>
                  </a:lnTo>
                  <a:lnTo>
                    <a:pt x="992" y="188"/>
                  </a:lnTo>
                  <a:lnTo>
                    <a:pt x="1004" y="178"/>
                  </a:lnTo>
                  <a:lnTo>
                    <a:pt x="1014" y="169"/>
                  </a:lnTo>
                  <a:lnTo>
                    <a:pt x="1023" y="162"/>
                  </a:lnTo>
                  <a:lnTo>
                    <a:pt x="1028" y="158"/>
                  </a:lnTo>
                  <a:lnTo>
                    <a:pt x="1030" y="157"/>
                  </a:lnTo>
                  <a:lnTo>
                    <a:pt x="1150" y="160"/>
                  </a:lnTo>
                  <a:lnTo>
                    <a:pt x="1314" y="362"/>
                  </a:lnTo>
                  <a:lnTo>
                    <a:pt x="1310" y="480"/>
                  </a:lnTo>
                  <a:lnTo>
                    <a:pt x="1308" y="483"/>
                  </a:lnTo>
                  <a:lnTo>
                    <a:pt x="1302" y="487"/>
                  </a:lnTo>
                  <a:lnTo>
                    <a:pt x="1294" y="494"/>
                  </a:lnTo>
                  <a:lnTo>
                    <a:pt x="1283" y="502"/>
                  </a:lnTo>
                  <a:lnTo>
                    <a:pt x="1269" y="512"/>
                  </a:lnTo>
                  <a:lnTo>
                    <a:pt x="1256" y="523"/>
                  </a:lnTo>
                  <a:lnTo>
                    <a:pt x="1242" y="534"/>
                  </a:lnTo>
                  <a:lnTo>
                    <a:pt x="1228" y="546"/>
                  </a:lnTo>
                  <a:lnTo>
                    <a:pt x="1215" y="556"/>
                  </a:lnTo>
                  <a:lnTo>
                    <a:pt x="1203" y="566"/>
                  </a:lnTo>
                  <a:lnTo>
                    <a:pt x="1208" y="602"/>
                  </a:lnTo>
                  <a:lnTo>
                    <a:pt x="1210" y="639"/>
                  </a:lnTo>
                  <a:lnTo>
                    <a:pt x="1224" y="648"/>
                  </a:lnTo>
                  <a:lnTo>
                    <a:pt x="1239" y="657"/>
                  </a:lnTo>
                  <a:lnTo>
                    <a:pt x="1256" y="668"/>
                  </a:lnTo>
                  <a:lnTo>
                    <a:pt x="1274" y="678"/>
                  </a:lnTo>
                  <a:lnTo>
                    <a:pt x="1290" y="689"/>
                  </a:lnTo>
                  <a:lnTo>
                    <a:pt x="1306" y="697"/>
                  </a:lnTo>
                  <a:lnTo>
                    <a:pt x="1319" y="706"/>
                  </a:lnTo>
                  <a:lnTo>
                    <a:pt x="1329" y="713"/>
                  </a:lnTo>
                  <a:lnTo>
                    <a:pt x="1336" y="716"/>
                  </a:lnTo>
                  <a:lnTo>
                    <a:pt x="1338" y="718"/>
                  </a:lnTo>
                  <a:lnTo>
                    <a:pt x="1364" y="833"/>
                  </a:lnTo>
                  <a:lnTo>
                    <a:pt x="1226" y="1054"/>
                  </a:lnTo>
                  <a:lnTo>
                    <a:pt x="1110" y="1080"/>
                  </a:lnTo>
                  <a:lnTo>
                    <a:pt x="1011" y="1019"/>
                  </a:lnTo>
                  <a:lnTo>
                    <a:pt x="981" y="1038"/>
                  </a:lnTo>
                  <a:lnTo>
                    <a:pt x="949" y="1057"/>
                  </a:lnTo>
                  <a:lnTo>
                    <a:pt x="950" y="1073"/>
                  </a:lnTo>
                  <a:lnTo>
                    <a:pt x="951" y="1092"/>
                  </a:lnTo>
                  <a:lnTo>
                    <a:pt x="952" y="1112"/>
                  </a:lnTo>
                  <a:lnTo>
                    <a:pt x="953" y="1132"/>
                  </a:lnTo>
                  <a:lnTo>
                    <a:pt x="954" y="1150"/>
                  </a:lnTo>
                  <a:lnTo>
                    <a:pt x="954" y="1167"/>
                  </a:lnTo>
                  <a:lnTo>
                    <a:pt x="955" y="1180"/>
                  </a:lnTo>
                  <a:lnTo>
                    <a:pt x="956" y="1189"/>
                  </a:lnTo>
                  <a:lnTo>
                    <a:pt x="956" y="1192"/>
                  </a:lnTo>
                  <a:lnTo>
                    <a:pt x="869" y="1272"/>
                  </a:lnTo>
                  <a:lnTo>
                    <a:pt x="609" y="1287"/>
                  </a:lnTo>
                  <a:lnTo>
                    <a:pt x="527" y="1202"/>
                  </a:lnTo>
                  <a:lnTo>
                    <a:pt x="526" y="1198"/>
                  </a:lnTo>
                  <a:lnTo>
                    <a:pt x="526" y="1190"/>
                  </a:lnTo>
                  <a:lnTo>
                    <a:pt x="525" y="1178"/>
                  </a:lnTo>
                  <a:lnTo>
                    <a:pt x="525" y="1162"/>
                  </a:lnTo>
                  <a:lnTo>
                    <a:pt x="524" y="1145"/>
                  </a:lnTo>
                  <a:lnTo>
                    <a:pt x="523" y="1127"/>
                  </a:lnTo>
                  <a:lnTo>
                    <a:pt x="522" y="1111"/>
                  </a:lnTo>
                  <a:lnTo>
                    <a:pt x="521" y="1097"/>
                  </a:lnTo>
                  <a:lnTo>
                    <a:pt x="480" y="1082"/>
                  </a:lnTo>
                  <a:lnTo>
                    <a:pt x="440" y="1066"/>
                  </a:lnTo>
                  <a:lnTo>
                    <a:pt x="429" y="1075"/>
                  </a:lnTo>
                  <a:lnTo>
                    <a:pt x="416" y="1084"/>
                  </a:lnTo>
                  <a:lnTo>
                    <a:pt x="401" y="1095"/>
                  </a:lnTo>
                  <a:lnTo>
                    <a:pt x="387" y="1106"/>
                  </a:lnTo>
                  <a:lnTo>
                    <a:pt x="375" y="1117"/>
                  </a:lnTo>
                  <a:lnTo>
                    <a:pt x="363" y="1126"/>
                  </a:lnTo>
                  <a:lnTo>
                    <a:pt x="354" y="1134"/>
                  </a:lnTo>
                  <a:lnTo>
                    <a:pt x="347" y="1138"/>
                  </a:lnTo>
                  <a:lnTo>
                    <a:pt x="345" y="1140"/>
                  </a:lnTo>
                  <a:lnTo>
                    <a:pt x="329" y="1148"/>
                  </a:lnTo>
                  <a:lnTo>
                    <a:pt x="324" y="1148"/>
                  </a:lnTo>
                  <a:lnTo>
                    <a:pt x="314" y="1148"/>
                  </a:lnTo>
                  <a:lnTo>
                    <a:pt x="300" y="1146"/>
                  </a:lnTo>
                  <a:lnTo>
                    <a:pt x="284" y="1145"/>
                  </a:lnTo>
                  <a:lnTo>
                    <a:pt x="267" y="1143"/>
                  </a:lnTo>
                  <a:lnTo>
                    <a:pt x="251" y="1140"/>
                  </a:lnTo>
                  <a:lnTo>
                    <a:pt x="238" y="1138"/>
                  </a:lnTo>
                  <a:lnTo>
                    <a:pt x="229" y="1137"/>
                  </a:lnTo>
                  <a:lnTo>
                    <a:pt x="225" y="1136"/>
                  </a:lnTo>
                  <a:lnTo>
                    <a:pt x="63" y="933"/>
                  </a:lnTo>
                  <a:lnTo>
                    <a:pt x="67" y="815"/>
                  </a:lnTo>
                  <a:lnTo>
                    <a:pt x="68" y="814"/>
                  </a:lnTo>
                  <a:lnTo>
                    <a:pt x="74" y="809"/>
                  </a:lnTo>
                  <a:lnTo>
                    <a:pt x="83" y="803"/>
                  </a:lnTo>
                  <a:lnTo>
                    <a:pt x="93" y="795"/>
                  </a:lnTo>
                  <a:lnTo>
                    <a:pt x="105" y="785"/>
                  </a:lnTo>
                  <a:lnTo>
                    <a:pt x="117" y="775"/>
                  </a:lnTo>
                  <a:lnTo>
                    <a:pt x="130" y="764"/>
                  </a:lnTo>
                  <a:lnTo>
                    <a:pt x="144" y="754"/>
                  </a:lnTo>
                  <a:lnTo>
                    <a:pt x="156" y="745"/>
                  </a:lnTo>
                  <a:lnTo>
                    <a:pt x="167" y="736"/>
                  </a:lnTo>
                  <a:lnTo>
                    <a:pt x="160" y="696"/>
                  </a:lnTo>
                  <a:lnTo>
                    <a:pt x="157" y="655"/>
                  </a:lnTo>
                  <a:lnTo>
                    <a:pt x="143" y="648"/>
                  </a:lnTo>
                  <a:lnTo>
                    <a:pt x="127" y="640"/>
                  </a:lnTo>
                  <a:lnTo>
                    <a:pt x="110" y="632"/>
                  </a:lnTo>
                  <a:lnTo>
                    <a:pt x="94" y="624"/>
                  </a:lnTo>
                  <a:lnTo>
                    <a:pt x="78" y="616"/>
                  </a:lnTo>
                  <a:lnTo>
                    <a:pt x="63" y="609"/>
                  </a:lnTo>
                  <a:lnTo>
                    <a:pt x="50" y="602"/>
                  </a:lnTo>
                  <a:lnTo>
                    <a:pt x="40" y="598"/>
                  </a:lnTo>
                  <a:lnTo>
                    <a:pt x="33" y="594"/>
                  </a:lnTo>
                  <a:lnTo>
                    <a:pt x="31" y="593"/>
                  </a:lnTo>
                  <a:lnTo>
                    <a:pt x="0" y="494"/>
                  </a:lnTo>
                  <a:lnTo>
                    <a:pt x="4" y="477"/>
                  </a:lnTo>
                  <a:lnTo>
                    <a:pt x="120" y="245"/>
                  </a:lnTo>
                  <a:lnTo>
                    <a:pt x="238" y="218"/>
                  </a:lnTo>
                  <a:lnTo>
                    <a:pt x="240" y="219"/>
                  </a:lnTo>
                  <a:lnTo>
                    <a:pt x="246" y="223"/>
                  </a:lnTo>
                  <a:lnTo>
                    <a:pt x="258" y="228"/>
                  </a:lnTo>
                  <a:lnTo>
                    <a:pt x="271" y="235"/>
                  </a:lnTo>
                  <a:lnTo>
                    <a:pt x="285" y="242"/>
                  </a:lnTo>
                  <a:lnTo>
                    <a:pt x="302" y="250"/>
                  </a:lnTo>
                  <a:lnTo>
                    <a:pt x="317" y="258"/>
                  </a:lnTo>
                  <a:lnTo>
                    <a:pt x="333" y="265"/>
                  </a:lnTo>
                  <a:lnTo>
                    <a:pt x="346" y="272"/>
                  </a:lnTo>
                  <a:lnTo>
                    <a:pt x="381" y="248"/>
                  </a:lnTo>
                  <a:lnTo>
                    <a:pt x="419" y="226"/>
                  </a:lnTo>
                  <a:lnTo>
                    <a:pt x="419" y="207"/>
                  </a:lnTo>
                  <a:lnTo>
                    <a:pt x="418" y="187"/>
                  </a:lnTo>
                  <a:lnTo>
                    <a:pt x="417" y="165"/>
                  </a:lnTo>
                  <a:lnTo>
                    <a:pt x="416" y="143"/>
                  </a:lnTo>
                  <a:lnTo>
                    <a:pt x="415" y="124"/>
                  </a:lnTo>
                  <a:lnTo>
                    <a:pt x="413" y="108"/>
                  </a:lnTo>
                  <a:lnTo>
                    <a:pt x="413" y="98"/>
                  </a:lnTo>
                  <a:lnTo>
                    <a:pt x="412" y="93"/>
                  </a:lnTo>
                  <a:lnTo>
                    <a:pt x="500" y="13"/>
                  </a:lnTo>
                  <a:lnTo>
                    <a:pt x="7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95" name="Freeform 183"/>
            <p:cNvSpPr>
              <a:spLocks/>
            </p:cNvSpPr>
            <p:nvPr/>
          </p:nvSpPr>
          <p:spPr bwMode="auto">
            <a:xfrm>
              <a:off x="-593" y="4037"/>
              <a:ext cx="245" cy="194"/>
            </a:xfrm>
            <a:custGeom>
              <a:avLst/>
              <a:gdLst>
                <a:gd name="T0" fmla="*/ 907 w 1469"/>
                <a:gd name="T1" fmla="*/ 93 h 1162"/>
                <a:gd name="T2" fmla="*/ 907 w 1469"/>
                <a:gd name="T3" fmla="*/ 105 h 1162"/>
                <a:gd name="T4" fmla="*/ 909 w 1469"/>
                <a:gd name="T5" fmla="*/ 134 h 1162"/>
                <a:gd name="T6" fmla="*/ 910 w 1469"/>
                <a:gd name="T7" fmla="*/ 169 h 1162"/>
                <a:gd name="T8" fmla="*/ 913 w 1469"/>
                <a:gd name="T9" fmla="*/ 201 h 1162"/>
                <a:gd name="T10" fmla="*/ 1015 w 1469"/>
                <a:gd name="T11" fmla="*/ 243 h 1162"/>
                <a:gd name="T12" fmla="*/ 1040 w 1469"/>
                <a:gd name="T13" fmla="*/ 224 h 1162"/>
                <a:gd name="T14" fmla="*/ 1067 w 1469"/>
                <a:gd name="T15" fmla="*/ 202 h 1162"/>
                <a:gd name="T16" fmla="*/ 1092 w 1469"/>
                <a:gd name="T17" fmla="*/ 182 h 1162"/>
                <a:gd name="T18" fmla="*/ 1107 w 1469"/>
                <a:gd name="T19" fmla="*/ 170 h 1162"/>
                <a:gd name="T20" fmla="*/ 1238 w 1469"/>
                <a:gd name="T21" fmla="*/ 172 h 1162"/>
                <a:gd name="T22" fmla="*/ 1409 w 1469"/>
                <a:gd name="T23" fmla="*/ 517 h 1162"/>
                <a:gd name="T24" fmla="*/ 1401 w 1469"/>
                <a:gd name="T25" fmla="*/ 524 h 1162"/>
                <a:gd name="T26" fmla="*/ 1380 w 1469"/>
                <a:gd name="T27" fmla="*/ 540 h 1162"/>
                <a:gd name="T28" fmla="*/ 1352 w 1469"/>
                <a:gd name="T29" fmla="*/ 563 h 1162"/>
                <a:gd name="T30" fmla="*/ 1322 w 1469"/>
                <a:gd name="T31" fmla="*/ 588 h 1162"/>
                <a:gd name="T32" fmla="*/ 1295 w 1469"/>
                <a:gd name="T33" fmla="*/ 608 h 1162"/>
                <a:gd name="T34" fmla="*/ 1302 w 1469"/>
                <a:gd name="T35" fmla="*/ 687 h 1162"/>
                <a:gd name="T36" fmla="*/ 1331 w 1469"/>
                <a:gd name="T37" fmla="*/ 705 h 1162"/>
                <a:gd name="T38" fmla="*/ 1364 w 1469"/>
                <a:gd name="T39" fmla="*/ 726 h 1162"/>
                <a:gd name="T40" fmla="*/ 1396 w 1469"/>
                <a:gd name="T41" fmla="*/ 745 h 1162"/>
                <a:gd name="T42" fmla="*/ 1422 w 1469"/>
                <a:gd name="T43" fmla="*/ 762 h 1162"/>
                <a:gd name="T44" fmla="*/ 1438 w 1469"/>
                <a:gd name="T45" fmla="*/ 771 h 1162"/>
                <a:gd name="T46" fmla="*/ 1469 w 1469"/>
                <a:gd name="T47" fmla="*/ 897 h 1162"/>
                <a:gd name="T48" fmla="*/ 1195 w 1469"/>
                <a:gd name="T49" fmla="*/ 1162 h 1162"/>
                <a:gd name="T50" fmla="*/ 1186 w 1469"/>
                <a:gd name="T51" fmla="*/ 1157 h 1162"/>
                <a:gd name="T52" fmla="*/ 1165 w 1469"/>
                <a:gd name="T53" fmla="*/ 1143 h 1162"/>
                <a:gd name="T54" fmla="*/ 1135 w 1469"/>
                <a:gd name="T55" fmla="*/ 1125 h 1162"/>
                <a:gd name="T56" fmla="*/ 1139 w 1469"/>
                <a:gd name="T57" fmla="*/ 1021 h 1162"/>
                <a:gd name="T58" fmla="*/ 973 w 1469"/>
                <a:gd name="T59" fmla="*/ 817 h 1162"/>
                <a:gd name="T60" fmla="*/ 999 w 1469"/>
                <a:gd name="T61" fmla="*/ 742 h 1162"/>
                <a:gd name="T62" fmla="*/ 1001 w 1469"/>
                <a:gd name="T63" fmla="*/ 660 h 1162"/>
                <a:gd name="T64" fmla="*/ 981 w 1469"/>
                <a:gd name="T65" fmla="*/ 582 h 1162"/>
                <a:gd name="T66" fmla="*/ 940 w 1469"/>
                <a:gd name="T67" fmla="*/ 515 h 1162"/>
                <a:gd name="T68" fmla="*/ 882 w 1469"/>
                <a:gd name="T69" fmla="*/ 461 h 1162"/>
                <a:gd name="T70" fmla="*/ 811 w 1469"/>
                <a:gd name="T71" fmla="*/ 426 h 1162"/>
                <a:gd name="T72" fmla="*/ 729 w 1469"/>
                <a:gd name="T73" fmla="*/ 411 h 1162"/>
                <a:gd name="T74" fmla="*/ 646 w 1469"/>
                <a:gd name="T75" fmla="*/ 421 h 1162"/>
                <a:gd name="T76" fmla="*/ 572 w 1469"/>
                <a:gd name="T77" fmla="*/ 454 h 1162"/>
                <a:gd name="T78" fmla="*/ 510 w 1469"/>
                <a:gd name="T79" fmla="*/ 505 h 1162"/>
                <a:gd name="T80" fmla="*/ 466 w 1469"/>
                <a:gd name="T81" fmla="*/ 572 h 1162"/>
                <a:gd name="T82" fmla="*/ 241 w 1469"/>
                <a:gd name="T83" fmla="*/ 619 h 1162"/>
                <a:gd name="T84" fmla="*/ 190 w 1469"/>
                <a:gd name="T85" fmla="*/ 640 h 1162"/>
                <a:gd name="T86" fmla="*/ 121 w 1469"/>
                <a:gd name="T87" fmla="*/ 681 h 1162"/>
                <a:gd name="T88" fmla="*/ 84 w 1469"/>
                <a:gd name="T89" fmla="*/ 663 h 1162"/>
                <a:gd name="T90" fmla="*/ 54 w 1469"/>
                <a:gd name="T91" fmla="*/ 648 h 1162"/>
                <a:gd name="T92" fmla="*/ 36 w 1469"/>
                <a:gd name="T93" fmla="*/ 638 h 1162"/>
                <a:gd name="T94" fmla="*/ 0 w 1469"/>
                <a:gd name="T95" fmla="*/ 531 h 1162"/>
                <a:gd name="T96" fmla="*/ 131 w 1469"/>
                <a:gd name="T97" fmla="*/ 264 h 1162"/>
                <a:gd name="T98" fmla="*/ 258 w 1469"/>
                <a:gd name="T99" fmla="*/ 237 h 1162"/>
                <a:gd name="T100" fmla="*/ 278 w 1469"/>
                <a:gd name="T101" fmla="*/ 246 h 1162"/>
                <a:gd name="T102" fmla="*/ 308 w 1469"/>
                <a:gd name="T103" fmla="*/ 261 h 1162"/>
                <a:gd name="T104" fmla="*/ 342 w 1469"/>
                <a:gd name="T105" fmla="*/ 277 h 1162"/>
                <a:gd name="T106" fmla="*/ 373 w 1469"/>
                <a:gd name="T107" fmla="*/ 293 h 1162"/>
                <a:gd name="T108" fmla="*/ 451 w 1469"/>
                <a:gd name="T109" fmla="*/ 242 h 1162"/>
                <a:gd name="T110" fmla="*/ 449 w 1469"/>
                <a:gd name="T111" fmla="*/ 206 h 1162"/>
                <a:gd name="T112" fmla="*/ 448 w 1469"/>
                <a:gd name="T113" fmla="*/ 164 h 1162"/>
                <a:gd name="T114" fmla="*/ 446 w 1469"/>
                <a:gd name="T115" fmla="*/ 127 h 1162"/>
                <a:gd name="T116" fmla="*/ 445 w 1469"/>
                <a:gd name="T117" fmla="*/ 104 h 1162"/>
                <a:gd name="T118" fmla="*/ 538 w 1469"/>
                <a:gd name="T119" fmla="*/ 14 h 1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69" h="1162">
                  <a:moveTo>
                    <a:pt x="820" y="0"/>
                  </a:moveTo>
                  <a:lnTo>
                    <a:pt x="907" y="93"/>
                  </a:lnTo>
                  <a:lnTo>
                    <a:pt x="907" y="96"/>
                  </a:lnTo>
                  <a:lnTo>
                    <a:pt x="907" y="105"/>
                  </a:lnTo>
                  <a:lnTo>
                    <a:pt x="908" y="117"/>
                  </a:lnTo>
                  <a:lnTo>
                    <a:pt x="909" y="134"/>
                  </a:lnTo>
                  <a:lnTo>
                    <a:pt x="909" y="151"/>
                  </a:lnTo>
                  <a:lnTo>
                    <a:pt x="910" y="169"/>
                  </a:lnTo>
                  <a:lnTo>
                    <a:pt x="911" y="185"/>
                  </a:lnTo>
                  <a:lnTo>
                    <a:pt x="913" y="201"/>
                  </a:lnTo>
                  <a:lnTo>
                    <a:pt x="966" y="219"/>
                  </a:lnTo>
                  <a:lnTo>
                    <a:pt x="1015" y="243"/>
                  </a:lnTo>
                  <a:lnTo>
                    <a:pt x="1026" y="233"/>
                  </a:lnTo>
                  <a:lnTo>
                    <a:pt x="1040" y="224"/>
                  </a:lnTo>
                  <a:lnTo>
                    <a:pt x="1053" y="213"/>
                  </a:lnTo>
                  <a:lnTo>
                    <a:pt x="1067" y="202"/>
                  </a:lnTo>
                  <a:lnTo>
                    <a:pt x="1081" y="191"/>
                  </a:lnTo>
                  <a:lnTo>
                    <a:pt x="1092" y="182"/>
                  </a:lnTo>
                  <a:lnTo>
                    <a:pt x="1101" y="174"/>
                  </a:lnTo>
                  <a:lnTo>
                    <a:pt x="1107" y="170"/>
                  </a:lnTo>
                  <a:lnTo>
                    <a:pt x="1109" y="168"/>
                  </a:lnTo>
                  <a:lnTo>
                    <a:pt x="1238" y="172"/>
                  </a:lnTo>
                  <a:lnTo>
                    <a:pt x="1414" y="390"/>
                  </a:lnTo>
                  <a:lnTo>
                    <a:pt x="1409" y="517"/>
                  </a:lnTo>
                  <a:lnTo>
                    <a:pt x="1407" y="519"/>
                  </a:lnTo>
                  <a:lnTo>
                    <a:pt x="1401" y="524"/>
                  </a:lnTo>
                  <a:lnTo>
                    <a:pt x="1392" y="532"/>
                  </a:lnTo>
                  <a:lnTo>
                    <a:pt x="1380" y="540"/>
                  </a:lnTo>
                  <a:lnTo>
                    <a:pt x="1367" y="551"/>
                  </a:lnTo>
                  <a:lnTo>
                    <a:pt x="1352" y="563"/>
                  </a:lnTo>
                  <a:lnTo>
                    <a:pt x="1336" y="576"/>
                  </a:lnTo>
                  <a:lnTo>
                    <a:pt x="1322" y="588"/>
                  </a:lnTo>
                  <a:lnTo>
                    <a:pt x="1307" y="599"/>
                  </a:lnTo>
                  <a:lnTo>
                    <a:pt x="1295" y="608"/>
                  </a:lnTo>
                  <a:lnTo>
                    <a:pt x="1300" y="648"/>
                  </a:lnTo>
                  <a:lnTo>
                    <a:pt x="1302" y="687"/>
                  </a:lnTo>
                  <a:lnTo>
                    <a:pt x="1315" y="696"/>
                  </a:lnTo>
                  <a:lnTo>
                    <a:pt x="1331" y="705"/>
                  </a:lnTo>
                  <a:lnTo>
                    <a:pt x="1347" y="716"/>
                  </a:lnTo>
                  <a:lnTo>
                    <a:pt x="1364" y="726"/>
                  </a:lnTo>
                  <a:lnTo>
                    <a:pt x="1380" y="736"/>
                  </a:lnTo>
                  <a:lnTo>
                    <a:pt x="1396" y="745"/>
                  </a:lnTo>
                  <a:lnTo>
                    <a:pt x="1410" y="754"/>
                  </a:lnTo>
                  <a:lnTo>
                    <a:pt x="1422" y="762"/>
                  </a:lnTo>
                  <a:lnTo>
                    <a:pt x="1431" y="767"/>
                  </a:lnTo>
                  <a:lnTo>
                    <a:pt x="1438" y="771"/>
                  </a:lnTo>
                  <a:lnTo>
                    <a:pt x="1440" y="773"/>
                  </a:lnTo>
                  <a:lnTo>
                    <a:pt x="1469" y="897"/>
                  </a:lnTo>
                  <a:lnTo>
                    <a:pt x="1321" y="1134"/>
                  </a:lnTo>
                  <a:lnTo>
                    <a:pt x="1195" y="1162"/>
                  </a:lnTo>
                  <a:lnTo>
                    <a:pt x="1192" y="1161"/>
                  </a:lnTo>
                  <a:lnTo>
                    <a:pt x="1186" y="1157"/>
                  </a:lnTo>
                  <a:lnTo>
                    <a:pt x="1177" y="1150"/>
                  </a:lnTo>
                  <a:lnTo>
                    <a:pt x="1165" y="1143"/>
                  </a:lnTo>
                  <a:lnTo>
                    <a:pt x="1150" y="1135"/>
                  </a:lnTo>
                  <a:lnTo>
                    <a:pt x="1135" y="1125"/>
                  </a:lnTo>
                  <a:lnTo>
                    <a:pt x="1137" y="1050"/>
                  </a:lnTo>
                  <a:lnTo>
                    <a:pt x="1139" y="1021"/>
                  </a:lnTo>
                  <a:lnTo>
                    <a:pt x="1120" y="999"/>
                  </a:lnTo>
                  <a:lnTo>
                    <a:pt x="973" y="817"/>
                  </a:lnTo>
                  <a:lnTo>
                    <a:pt x="989" y="781"/>
                  </a:lnTo>
                  <a:lnTo>
                    <a:pt x="999" y="742"/>
                  </a:lnTo>
                  <a:lnTo>
                    <a:pt x="1003" y="700"/>
                  </a:lnTo>
                  <a:lnTo>
                    <a:pt x="1001" y="660"/>
                  </a:lnTo>
                  <a:lnTo>
                    <a:pt x="993" y="619"/>
                  </a:lnTo>
                  <a:lnTo>
                    <a:pt x="981" y="582"/>
                  </a:lnTo>
                  <a:lnTo>
                    <a:pt x="962" y="547"/>
                  </a:lnTo>
                  <a:lnTo>
                    <a:pt x="940" y="515"/>
                  </a:lnTo>
                  <a:lnTo>
                    <a:pt x="913" y="486"/>
                  </a:lnTo>
                  <a:lnTo>
                    <a:pt x="882" y="461"/>
                  </a:lnTo>
                  <a:lnTo>
                    <a:pt x="847" y="442"/>
                  </a:lnTo>
                  <a:lnTo>
                    <a:pt x="811" y="426"/>
                  </a:lnTo>
                  <a:lnTo>
                    <a:pt x="771" y="415"/>
                  </a:lnTo>
                  <a:lnTo>
                    <a:pt x="729" y="411"/>
                  </a:lnTo>
                  <a:lnTo>
                    <a:pt x="687" y="413"/>
                  </a:lnTo>
                  <a:lnTo>
                    <a:pt x="646" y="421"/>
                  </a:lnTo>
                  <a:lnTo>
                    <a:pt x="607" y="435"/>
                  </a:lnTo>
                  <a:lnTo>
                    <a:pt x="572" y="454"/>
                  </a:lnTo>
                  <a:lnTo>
                    <a:pt x="539" y="477"/>
                  </a:lnTo>
                  <a:lnTo>
                    <a:pt x="510" y="505"/>
                  </a:lnTo>
                  <a:lnTo>
                    <a:pt x="486" y="537"/>
                  </a:lnTo>
                  <a:lnTo>
                    <a:pt x="466" y="572"/>
                  </a:lnTo>
                  <a:lnTo>
                    <a:pt x="450" y="610"/>
                  </a:lnTo>
                  <a:lnTo>
                    <a:pt x="241" y="619"/>
                  </a:lnTo>
                  <a:lnTo>
                    <a:pt x="213" y="622"/>
                  </a:lnTo>
                  <a:lnTo>
                    <a:pt x="190" y="640"/>
                  </a:lnTo>
                  <a:lnTo>
                    <a:pt x="139" y="690"/>
                  </a:lnTo>
                  <a:lnTo>
                    <a:pt x="121" y="681"/>
                  </a:lnTo>
                  <a:lnTo>
                    <a:pt x="103" y="671"/>
                  </a:lnTo>
                  <a:lnTo>
                    <a:pt x="84" y="663"/>
                  </a:lnTo>
                  <a:lnTo>
                    <a:pt x="69" y="654"/>
                  </a:lnTo>
                  <a:lnTo>
                    <a:pt x="54" y="648"/>
                  </a:lnTo>
                  <a:lnTo>
                    <a:pt x="43" y="642"/>
                  </a:lnTo>
                  <a:lnTo>
                    <a:pt x="36" y="638"/>
                  </a:lnTo>
                  <a:lnTo>
                    <a:pt x="33" y="637"/>
                  </a:lnTo>
                  <a:lnTo>
                    <a:pt x="0" y="531"/>
                  </a:lnTo>
                  <a:lnTo>
                    <a:pt x="5" y="513"/>
                  </a:lnTo>
                  <a:lnTo>
                    <a:pt x="131" y="264"/>
                  </a:lnTo>
                  <a:lnTo>
                    <a:pt x="256" y="235"/>
                  </a:lnTo>
                  <a:lnTo>
                    <a:pt x="258" y="237"/>
                  </a:lnTo>
                  <a:lnTo>
                    <a:pt x="266" y="240"/>
                  </a:lnTo>
                  <a:lnTo>
                    <a:pt x="278" y="246"/>
                  </a:lnTo>
                  <a:lnTo>
                    <a:pt x="291" y="253"/>
                  </a:lnTo>
                  <a:lnTo>
                    <a:pt x="308" y="261"/>
                  </a:lnTo>
                  <a:lnTo>
                    <a:pt x="325" y="270"/>
                  </a:lnTo>
                  <a:lnTo>
                    <a:pt x="342" y="277"/>
                  </a:lnTo>
                  <a:lnTo>
                    <a:pt x="359" y="286"/>
                  </a:lnTo>
                  <a:lnTo>
                    <a:pt x="373" y="293"/>
                  </a:lnTo>
                  <a:lnTo>
                    <a:pt x="411" y="266"/>
                  </a:lnTo>
                  <a:lnTo>
                    <a:pt x="451" y="242"/>
                  </a:lnTo>
                  <a:lnTo>
                    <a:pt x="450" y="226"/>
                  </a:lnTo>
                  <a:lnTo>
                    <a:pt x="449" y="206"/>
                  </a:lnTo>
                  <a:lnTo>
                    <a:pt x="448" y="185"/>
                  </a:lnTo>
                  <a:lnTo>
                    <a:pt x="448" y="164"/>
                  </a:lnTo>
                  <a:lnTo>
                    <a:pt x="447" y="145"/>
                  </a:lnTo>
                  <a:lnTo>
                    <a:pt x="446" y="127"/>
                  </a:lnTo>
                  <a:lnTo>
                    <a:pt x="445" y="113"/>
                  </a:lnTo>
                  <a:lnTo>
                    <a:pt x="445" y="104"/>
                  </a:lnTo>
                  <a:lnTo>
                    <a:pt x="445" y="101"/>
                  </a:lnTo>
                  <a:lnTo>
                    <a:pt x="538" y="14"/>
                  </a:lnTo>
                  <a:lnTo>
                    <a:pt x="8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96" name="Freeform 184"/>
            <p:cNvSpPr>
              <a:spLocks noEditPoints="1"/>
            </p:cNvSpPr>
            <p:nvPr/>
          </p:nvSpPr>
          <p:spPr bwMode="auto">
            <a:xfrm>
              <a:off x="-820" y="4066"/>
              <a:ext cx="35" cy="54"/>
            </a:xfrm>
            <a:custGeom>
              <a:avLst/>
              <a:gdLst>
                <a:gd name="T0" fmla="*/ 86 w 207"/>
                <a:gd name="T1" fmla="*/ 35 h 321"/>
                <a:gd name="T2" fmla="*/ 60 w 207"/>
                <a:gd name="T3" fmla="*/ 55 h 321"/>
                <a:gd name="T4" fmla="*/ 45 w 207"/>
                <a:gd name="T5" fmla="*/ 96 h 321"/>
                <a:gd name="T6" fmla="*/ 40 w 207"/>
                <a:gd name="T7" fmla="*/ 161 h 321"/>
                <a:gd name="T8" fmla="*/ 43 w 207"/>
                <a:gd name="T9" fmla="*/ 215 h 321"/>
                <a:gd name="T10" fmla="*/ 52 w 207"/>
                <a:gd name="T11" fmla="*/ 251 h 321"/>
                <a:gd name="T12" fmla="*/ 72 w 207"/>
                <a:gd name="T13" fmla="*/ 279 h 321"/>
                <a:gd name="T14" fmla="*/ 104 w 207"/>
                <a:gd name="T15" fmla="*/ 290 h 321"/>
                <a:gd name="T16" fmla="*/ 136 w 207"/>
                <a:gd name="T17" fmla="*/ 279 h 321"/>
                <a:gd name="T18" fmla="*/ 157 w 207"/>
                <a:gd name="T19" fmla="*/ 248 h 321"/>
                <a:gd name="T20" fmla="*/ 166 w 207"/>
                <a:gd name="T21" fmla="*/ 196 h 321"/>
                <a:gd name="T22" fmla="*/ 166 w 207"/>
                <a:gd name="T23" fmla="*/ 132 h 321"/>
                <a:gd name="T24" fmla="*/ 160 w 207"/>
                <a:gd name="T25" fmla="*/ 87 h 321"/>
                <a:gd name="T26" fmla="*/ 148 w 207"/>
                <a:gd name="T27" fmla="*/ 58 h 321"/>
                <a:gd name="T28" fmla="*/ 121 w 207"/>
                <a:gd name="T29" fmla="*/ 35 h 321"/>
                <a:gd name="T30" fmla="*/ 104 w 207"/>
                <a:gd name="T31" fmla="*/ 0 h 321"/>
                <a:gd name="T32" fmla="*/ 148 w 207"/>
                <a:gd name="T33" fmla="*/ 10 h 321"/>
                <a:gd name="T34" fmla="*/ 180 w 207"/>
                <a:gd name="T35" fmla="*/ 40 h 321"/>
                <a:gd name="T36" fmla="*/ 200 w 207"/>
                <a:gd name="T37" fmla="*/ 87 h 321"/>
                <a:gd name="T38" fmla="*/ 206 w 207"/>
                <a:gd name="T39" fmla="*/ 132 h 321"/>
                <a:gd name="T40" fmla="*/ 206 w 207"/>
                <a:gd name="T41" fmla="*/ 195 h 321"/>
                <a:gd name="T42" fmla="*/ 196 w 207"/>
                <a:gd name="T43" fmla="*/ 251 h 321"/>
                <a:gd name="T44" fmla="*/ 175 w 207"/>
                <a:gd name="T45" fmla="*/ 290 h 321"/>
                <a:gd name="T46" fmla="*/ 145 w 207"/>
                <a:gd name="T47" fmla="*/ 314 h 321"/>
                <a:gd name="T48" fmla="*/ 104 w 207"/>
                <a:gd name="T49" fmla="*/ 321 h 321"/>
                <a:gd name="T50" fmla="*/ 62 w 207"/>
                <a:gd name="T51" fmla="*/ 314 h 321"/>
                <a:gd name="T52" fmla="*/ 31 w 207"/>
                <a:gd name="T53" fmla="*/ 290 h 321"/>
                <a:gd name="T54" fmla="*/ 11 w 207"/>
                <a:gd name="T55" fmla="*/ 250 h 321"/>
                <a:gd name="T56" fmla="*/ 1 w 207"/>
                <a:gd name="T57" fmla="*/ 194 h 321"/>
                <a:gd name="T58" fmla="*/ 1 w 207"/>
                <a:gd name="T59" fmla="*/ 126 h 321"/>
                <a:gd name="T60" fmla="*/ 11 w 207"/>
                <a:gd name="T61" fmla="*/ 71 h 321"/>
                <a:gd name="T62" fmla="*/ 32 w 207"/>
                <a:gd name="T63" fmla="*/ 33 h 321"/>
                <a:gd name="T64" fmla="*/ 62 w 207"/>
                <a:gd name="T65" fmla="*/ 9 h 321"/>
                <a:gd name="T66" fmla="*/ 104 w 207"/>
                <a:gd name="T67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7" h="321">
                  <a:moveTo>
                    <a:pt x="103" y="32"/>
                  </a:moveTo>
                  <a:lnTo>
                    <a:pt x="86" y="35"/>
                  </a:lnTo>
                  <a:lnTo>
                    <a:pt x="72" y="42"/>
                  </a:lnTo>
                  <a:lnTo>
                    <a:pt x="60" y="55"/>
                  </a:lnTo>
                  <a:lnTo>
                    <a:pt x="51" y="73"/>
                  </a:lnTo>
                  <a:lnTo>
                    <a:pt x="45" y="96"/>
                  </a:lnTo>
                  <a:lnTo>
                    <a:pt x="41" y="125"/>
                  </a:lnTo>
                  <a:lnTo>
                    <a:pt x="40" y="161"/>
                  </a:lnTo>
                  <a:lnTo>
                    <a:pt x="41" y="190"/>
                  </a:lnTo>
                  <a:lnTo>
                    <a:pt x="43" y="215"/>
                  </a:lnTo>
                  <a:lnTo>
                    <a:pt x="47" y="235"/>
                  </a:lnTo>
                  <a:lnTo>
                    <a:pt x="52" y="251"/>
                  </a:lnTo>
                  <a:lnTo>
                    <a:pt x="59" y="264"/>
                  </a:lnTo>
                  <a:lnTo>
                    <a:pt x="72" y="279"/>
                  </a:lnTo>
                  <a:lnTo>
                    <a:pt x="86" y="287"/>
                  </a:lnTo>
                  <a:lnTo>
                    <a:pt x="104" y="290"/>
                  </a:lnTo>
                  <a:lnTo>
                    <a:pt x="121" y="287"/>
                  </a:lnTo>
                  <a:lnTo>
                    <a:pt x="136" y="279"/>
                  </a:lnTo>
                  <a:lnTo>
                    <a:pt x="148" y="264"/>
                  </a:lnTo>
                  <a:lnTo>
                    <a:pt x="157" y="248"/>
                  </a:lnTo>
                  <a:lnTo>
                    <a:pt x="163" y="225"/>
                  </a:lnTo>
                  <a:lnTo>
                    <a:pt x="166" y="196"/>
                  </a:lnTo>
                  <a:lnTo>
                    <a:pt x="167" y="161"/>
                  </a:lnTo>
                  <a:lnTo>
                    <a:pt x="166" y="132"/>
                  </a:lnTo>
                  <a:lnTo>
                    <a:pt x="164" y="108"/>
                  </a:lnTo>
                  <a:lnTo>
                    <a:pt x="160" y="87"/>
                  </a:lnTo>
                  <a:lnTo>
                    <a:pt x="155" y="70"/>
                  </a:lnTo>
                  <a:lnTo>
                    <a:pt x="148" y="58"/>
                  </a:lnTo>
                  <a:lnTo>
                    <a:pt x="135" y="44"/>
                  </a:lnTo>
                  <a:lnTo>
                    <a:pt x="121" y="35"/>
                  </a:lnTo>
                  <a:lnTo>
                    <a:pt x="103" y="32"/>
                  </a:lnTo>
                  <a:close/>
                  <a:moveTo>
                    <a:pt x="104" y="0"/>
                  </a:moveTo>
                  <a:lnTo>
                    <a:pt x="127" y="3"/>
                  </a:lnTo>
                  <a:lnTo>
                    <a:pt x="148" y="10"/>
                  </a:lnTo>
                  <a:lnTo>
                    <a:pt x="166" y="23"/>
                  </a:lnTo>
                  <a:lnTo>
                    <a:pt x="180" y="40"/>
                  </a:lnTo>
                  <a:lnTo>
                    <a:pt x="191" y="62"/>
                  </a:lnTo>
                  <a:lnTo>
                    <a:pt x="200" y="87"/>
                  </a:lnTo>
                  <a:lnTo>
                    <a:pt x="204" y="108"/>
                  </a:lnTo>
                  <a:lnTo>
                    <a:pt x="206" y="132"/>
                  </a:lnTo>
                  <a:lnTo>
                    <a:pt x="207" y="161"/>
                  </a:lnTo>
                  <a:lnTo>
                    <a:pt x="206" y="195"/>
                  </a:lnTo>
                  <a:lnTo>
                    <a:pt x="202" y="226"/>
                  </a:lnTo>
                  <a:lnTo>
                    <a:pt x="196" y="251"/>
                  </a:lnTo>
                  <a:lnTo>
                    <a:pt x="187" y="272"/>
                  </a:lnTo>
                  <a:lnTo>
                    <a:pt x="175" y="290"/>
                  </a:lnTo>
                  <a:lnTo>
                    <a:pt x="162" y="303"/>
                  </a:lnTo>
                  <a:lnTo>
                    <a:pt x="145" y="314"/>
                  </a:lnTo>
                  <a:lnTo>
                    <a:pt x="125" y="319"/>
                  </a:lnTo>
                  <a:lnTo>
                    <a:pt x="104" y="321"/>
                  </a:lnTo>
                  <a:lnTo>
                    <a:pt x="82" y="319"/>
                  </a:lnTo>
                  <a:lnTo>
                    <a:pt x="62" y="314"/>
                  </a:lnTo>
                  <a:lnTo>
                    <a:pt x="45" y="304"/>
                  </a:lnTo>
                  <a:lnTo>
                    <a:pt x="31" y="290"/>
                  </a:lnTo>
                  <a:lnTo>
                    <a:pt x="20" y="272"/>
                  </a:lnTo>
                  <a:lnTo>
                    <a:pt x="11" y="250"/>
                  </a:lnTo>
                  <a:lnTo>
                    <a:pt x="4" y="224"/>
                  </a:lnTo>
                  <a:lnTo>
                    <a:pt x="1" y="194"/>
                  </a:lnTo>
                  <a:lnTo>
                    <a:pt x="0" y="161"/>
                  </a:lnTo>
                  <a:lnTo>
                    <a:pt x="1" y="126"/>
                  </a:lnTo>
                  <a:lnTo>
                    <a:pt x="4" y="97"/>
                  </a:lnTo>
                  <a:lnTo>
                    <a:pt x="11" y="71"/>
                  </a:lnTo>
                  <a:lnTo>
                    <a:pt x="20" y="51"/>
                  </a:lnTo>
                  <a:lnTo>
                    <a:pt x="32" y="33"/>
                  </a:lnTo>
                  <a:lnTo>
                    <a:pt x="47" y="19"/>
                  </a:lnTo>
                  <a:lnTo>
                    <a:pt x="62" y="9"/>
                  </a:lnTo>
                  <a:lnTo>
                    <a:pt x="82" y="2"/>
                  </a:lnTo>
                  <a:lnTo>
                    <a:pt x="10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97" name="Freeform 185"/>
            <p:cNvSpPr>
              <a:spLocks/>
            </p:cNvSpPr>
            <p:nvPr/>
          </p:nvSpPr>
          <p:spPr bwMode="auto">
            <a:xfrm>
              <a:off x="-774" y="4066"/>
              <a:ext cx="20" cy="53"/>
            </a:xfrm>
            <a:custGeom>
              <a:avLst/>
              <a:gdLst>
                <a:gd name="T0" fmla="*/ 91 w 116"/>
                <a:gd name="T1" fmla="*/ 0 h 316"/>
                <a:gd name="T2" fmla="*/ 116 w 116"/>
                <a:gd name="T3" fmla="*/ 0 h 316"/>
                <a:gd name="T4" fmla="*/ 116 w 116"/>
                <a:gd name="T5" fmla="*/ 316 h 316"/>
                <a:gd name="T6" fmla="*/ 77 w 116"/>
                <a:gd name="T7" fmla="*/ 316 h 316"/>
                <a:gd name="T8" fmla="*/ 77 w 116"/>
                <a:gd name="T9" fmla="*/ 70 h 316"/>
                <a:gd name="T10" fmla="*/ 61 w 116"/>
                <a:gd name="T11" fmla="*/ 83 h 316"/>
                <a:gd name="T12" fmla="*/ 40 w 116"/>
                <a:gd name="T13" fmla="*/ 97 h 316"/>
                <a:gd name="T14" fmla="*/ 18 w 116"/>
                <a:gd name="T15" fmla="*/ 109 h 316"/>
                <a:gd name="T16" fmla="*/ 0 w 116"/>
                <a:gd name="T17" fmla="*/ 116 h 316"/>
                <a:gd name="T18" fmla="*/ 0 w 116"/>
                <a:gd name="T19" fmla="*/ 79 h 316"/>
                <a:gd name="T20" fmla="*/ 30 w 116"/>
                <a:gd name="T21" fmla="*/ 63 h 316"/>
                <a:gd name="T22" fmla="*/ 57 w 116"/>
                <a:gd name="T23" fmla="*/ 43 h 316"/>
                <a:gd name="T24" fmla="*/ 78 w 116"/>
                <a:gd name="T25" fmla="*/ 21 h 316"/>
                <a:gd name="T26" fmla="*/ 91 w 116"/>
                <a:gd name="T27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316">
                  <a:moveTo>
                    <a:pt x="91" y="0"/>
                  </a:moveTo>
                  <a:lnTo>
                    <a:pt x="116" y="0"/>
                  </a:lnTo>
                  <a:lnTo>
                    <a:pt x="116" y="316"/>
                  </a:lnTo>
                  <a:lnTo>
                    <a:pt x="77" y="316"/>
                  </a:lnTo>
                  <a:lnTo>
                    <a:pt x="77" y="70"/>
                  </a:lnTo>
                  <a:lnTo>
                    <a:pt x="61" y="83"/>
                  </a:lnTo>
                  <a:lnTo>
                    <a:pt x="40" y="97"/>
                  </a:lnTo>
                  <a:lnTo>
                    <a:pt x="18" y="109"/>
                  </a:lnTo>
                  <a:lnTo>
                    <a:pt x="0" y="116"/>
                  </a:lnTo>
                  <a:lnTo>
                    <a:pt x="0" y="79"/>
                  </a:lnTo>
                  <a:lnTo>
                    <a:pt x="30" y="63"/>
                  </a:lnTo>
                  <a:lnTo>
                    <a:pt x="57" y="43"/>
                  </a:lnTo>
                  <a:lnTo>
                    <a:pt x="78" y="21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98" name="Freeform 186"/>
            <p:cNvSpPr>
              <a:spLocks noEditPoints="1"/>
            </p:cNvSpPr>
            <p:nvPr/>
          </p:nvSpPr>
          <p:spPr bwMode="auto">
            <a:xfrm>
              <a:off x="-818" y="4144"/>
              <a:ext cx="34" cy="54"/>
            </a:xfrm>
            <a:custGeom>
              <a:avLst/>
              <a:gdLst>
                <a:gd name="T0" fmla="*/ 86 w 207"/>
                <a:gd name="T1" fmla="*/ 35 h 323"/>
                <a:gd name="T2" fmla="*/ 60 w 207"/>
                <a:gd name="T3" fmla="*/ 55 h 323"/>
                <a:gd name="T4" fmla="*/ 44 w 207"/>
                <a:gd name="T5" fmla="*/ 96 h 323"/>
                <a:gd name="T6" fmla="*/ 40 w 207"/>
                <a:gd name="T7" fmla="*/ 162 h 323"/>
                <a:gd name="T8" fmla="*/ 43 w 207"/>
                <a:gd name="T9" fmla="*/ 215 h 323"/>
                <a:gd name="T10" fmla="*/ 51 w 207"/>
                <a:gd name="T11" fmla="*/ 253 h 323"/>
                <a:gd name="T12" fmla="*/ 71 w 207"/>
                <a:gd name="T13" fmla="*/ 279 h 323"/>
                <a:gd name="T14" fmla="*/ 103 w 207"/>
                <a:gd name="T15" fmla="*/ 290 h 323"/>
                <a:gd name="T16" fmla="*/ 135 w 207"/>
                <a:gd name="T17" fmla="*/ 279 h 323"/>
                <a:gd name="T18" fmla="*/ 155 w 207"/>
                <a:gd name="T19" fmla="*/ 253 h 323"/>
                <a:gd name="T20" fmla="*/ 163 w 207"/>
                <a:gd name="T21" fmla="*/ 215 h 323"/>
                <a:gd name="T22" fmla="*/ 167 w 207"/>
                <a:gd name="T23" fmla="*/ 162 h 323"/>
                <a:gd name="T24" fmla="*/ 163 w 207"/>
                <a:gd name="T25" fmla="*/ 108 h 323"/>
                <a:gd name="T26" fmla="*/ 155 w 207"/>
                <a:gd name="T27" fmla="*/ 71 h 323"/>
                <a:gd name="T28" fmla="*/ 135 w 207"/>
                <a:gd name="T29" fmla="*/ 44 h 323"/>
                <a:gd name="T30" fmla="*/ 103 w 207"/>
                <a:gd name="T31" fmla="*/ 32 h 323"/>
                <a:gd name="T32" fmla="*/ 119 w 207"/>
                <a:gd name="T33" fmla="*/ 1 h 323"/>
                <a:gd name="T34" fmla="*/ 148 w 207"/>
                <a:gd name="T35" fmla="*/ 11 h 323"/>
                <a:gd name="T36" fmla="*/ 170 w 207"/>
                <a:gd name="T37" fmla="*/ 29 h 323"/>
                <a:gd name="T38" fmla="*/ 191 w 207"/>
                <a:gd name="T39" fmla="*/ 62 h 323"/>
                <a:gd name="T40" fmla="*/ 203 w 207"/>
                <a:gd name="T41" fmla="*/ 108 h 323"/>
                <a:gd name="T42" fmla="*/ 207 w 207"/>
                <a:gd name="T43" fmla="*/ 162 h 323"/>
                <a:gd name="T44" fmla="*/ 201 w 207"/>
                <a:gd name="T45" fmla="*/ 226 h 323"/>
                <a:gd name="T46" fmla="*/ 186 w 207"/>
                <a:gd name="T47" fmla="*/ 272 h 323"/>
                <a:gd name="T48" fmla="*/ 160 w 207"/>
                <a:gd name="T49" fmla="*/ 303 h 323"/>
                <a:gd name="T50" fmla="*/ 125 w 207"/>
                <a:gd name="T51" fmla="*/ 321 h 323"/>
                <a:gd name="T52" fmla="*/ 82 w 207"/>
                <a:gd name="T53" fmla="*/ 321 h 323"/>
                <a:gd name="T54" fmla="*/ 45 w 207"/>
                <a:gd name="T55" fmla="*/ 304 h 323"/>
                <a:gd name="T56" fmla="*/ 20 w 207"/>
                <a:gd name="T57" fmla="*/ 271 h 323"/>
                <a:gd name="T58" fmla="*/ 4 w 207"/>
                <a:gd name="T59" fmla="*/ 224 h 323"/>
                <a:gd name="T60" fmla="*/ 0 w 207"/>
                <a:gd name="T61" fmla="*/ 162 h 323"/>
                <a:gd name="T62" fmla="*/ 4 w 207"/>
                <a:gd name="T63" fmla="*/ 97 h 323"/>
                <a:gd name="T64" fmla="*/ 20 w 207"/>
                <a:gd name="T65" fmla="*/ 51 h 323"/>
                <a:gd name="T66" fmla="*/ 45 w 207"/>
                <a:gd name="T67" fmla="*/ 19 h 323"/>
                <a:gd name="T68" fmla="*/ 82 w 207"/>
                <a:gd name="T69" fmla="*/ 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7" h="323">
                  <a:moveTo>
                    <a:pt x="103" y="32"/>
                  </a:moveTo>
                  <a:lnTo>
                    <a:pt x="86" y="35"/>
                  </a:lnTo>
                  <a:lnTo>
                    <a:pt x="72" y="43"/>
                  </a:lnTo>
                  <a:lnTo>
                    <a:pt x="60" y="55"/>
                  </a:lnTo>
                  <a:lnTo>
                    <a:pt x="51" y="73"/>
                  </a:lnTo>
                  <a:lnTo>
                    <a:pt x="44" y="96"/>
                  </a:lnTo>
                  <a:lnTo>
                    <a:pt x="41" y="125"/>
                  </a:lnTo>
                  <a:lnTo>
                    <a:pt x="40" y="162"/>
                  </a:lnTo>
                  <a:lnTo>
                    <a:pt x="41" y="190"/>
                  </a:lnTo>
                  <a:lnTo>
                    <a:pt x="43" y="215"/>
                  </a:lnTo>
                  <a:lnTo>
                    <a:pt x="46" y="236"/>
                  </a:lnTo>
                  <a:lnTo>
                    <a:pt x="51" y="253"/>
                  </a:lnTo>
                  <a:lnTo>
                    <a:pt x="57" y="265"/>
                  </a:lnTo>
                  <a:lnTo>
                    <a:pt x="71" y="279"/>
                  </a:lnTo>
                  <a:lnTo>
                    <a:pt x="86" y="288"/>
                  </a:lnTo>
                  <a:lnTo>
                    <a:pt x="103" y="290"/>
                  </a:lnTo>
                  <a:lnTo>
                    <a:pt x="120" y="288"/>
                  </a:lnTo>
                  <a:lnTo>
                    <a:pt x="135" y="279"/>
                  </a:lnTo>
                  <a:lnTo>
                    <a:pt x="148" y="265"/>
                  </a:lnTo>
                  <a:lnTo>
                    <a:pt x="155" y="253"/>
                  </a:lnTo>
                  <a:lnTo>
                    <a:pt x="160" y="236"/>
                  </a:lnTo>
                  <a:lnTo>
                    <a:pt x="163" y="215"/>
                  </a:lnTo>
                  <a:lnTo>
                    <a:pt x="166" y="190"/>
                  </a:lnTo>
                  <a:lnTo>
                    <a:pt x="167" y="162"/>
                  </a:lnTo>
                  <a:lnTo>
                    <a:pt x="166" y="132"/>
                  </a:lnTo>
                  <a:lnTo>
                    <a:pt x="163" y="108"/>
                  </a:lnTo>
                  <a:lnTo>
                    <a:pt x="160" y="87"/>
                  </a:lnTo>
                  <a:lnTo>
                    <a:pt x="155" y="71"/>
                  </a:lnTo>
                  <a:lnTo>
                    <a:pt x="148" y="58"/>
                  </a:lnTo>
                  <a:lnTo>
                    <a:pt x="135" y="44"/>
                  </a:lnTo>
                  <a:lnTo>
                    <a:pt x="119" y="35"/>
                  </a:lnTo>
                  <a:lnTo>
                    <a:pt x="103" y="32"/>
                  </a:lnTo>
                  <a:close/>
                  <a:moveTo>
                    <a:pt x="103" y="0"/>
                  </a:moveTo>
                  <a:lnTo>
                    <a:pt x="119" y="1"/>
                  </a:lnTo>
                  <a:lnTo>
                    <a:pt x="135" y="5"/>
                  </a:lnTo>
                  <a:lnTo>
                    <a:pt x="148" y="11"/>
                  </a:lnTo>
                  <a:lnTo>
                    <a:pt x="160" y="19"/>
                  </a:lnTo>
                  <a:lnTo>
                    <a:pt x="170" y="29"/>
                  </a:lnTo>
                  <a:lnTo>
                    <a:pt x="179" y="40"/>
                  </a:lnTo>
                  <a:lnTo>
                    <a:pt x="191" y="62"/>
                  </a:lnTo>
                  <a:lnTo>
                    <a:pt x="200" y="87"/>
                  </a:lnTo>
                  <a:lnTo>
                    <a:pt x="203" y="108"/>
                  </a:lnTo>
                  <a:lnTo>
                    <a:pt x="205" y="132"/>
                  </a:lnTo>
                  <a:lnTo>
                    <a:pt x="207" y="162"/>
                  </a:lnTo>
                  <a:lnTo>
                    <a:pt x="205" y="196"/>
                  </a:lnTo>
                  <a:lnTo>
                    <a:pt x="201" y="226"/>
                  </a:lnTo>
                  <a:lnTo>
                    <a:pt x="194" y="250"/>
                  </a:lnTo>
                  <a:lnTo>
                    <a:pt x="186" y="272"/>
                  </a:lnTo>
                  <a:lnTo>
                    <a:pt x="175" y="290"/>
                  </a:lnTo>
                  <a:lnTo>
                    <a:pt x="160" y="303"/>
                  </a:lnTo>
                  <a:lnTo>
                    <a:pt x="145" y="314"/>
                  </a:lnTo>
                  <a:lnTo>
                    <a:pt x="125" y="321"/>
                  </a:lnTo>
                  <a:lnTo>
                    <a:pt x="103" y="323"/>
                  </a:lnTo>
                  <a:lnTo>
                    <a:pt x="82" y="321"/>
                  </a:lnTo>
                  <a:lnTo>
                    <a:pt x="62" y="314"/>
                  </a:lnTo>
                  <a:lnTo>
                    <a:pt x="45" y="304"/>
                  </a:lnTo>
                  <a:lnTo>
                    <a:pt x="31" y="290"/>
                  </a:lnTo>
                  <a:lnTo>
                    <a:pt x="20" y="271"/>
                  </a:lnTo>
                  <a:lnTo>
                    <a:pt x="11" y="250"/>
                  </a:lnTo>
                  <a:lnTo>
                    <a:pt x="4" y="224"/>
                  </a:lnTo>
                  <a:lnTo>
                    <a:pt x="1" y="194"/>
                  </a:lnTo>
                  <a:lnTo>
                    <a:pt x="0" y="162"/>
                  </a:lnTo>
                  <a:lnTo>
                    <a:pt x="1" y="126"/>
                  </a:lnTo>
                  <a:lnTo>
                    <a:pt x="4" y="97"/>
                  </a:lnTo>
                  <a:lnTo>
                    <a:pt x="11" y="72"/>
                  </a:lnTo>
                  <a:lnTo>
                    <a:pt x="20" y="51"/>
                  </a:lnTo>
                  <a:lnTo>
                    <a:pt x="32" y="33"/>
                  </a:lnTo>
                  <a:lnTo>
                    <a:pt x="45" y="19"/>
                  </a:lnTo>
                  <a:lnTo>
                    <a:pt x="62" y="9"/>
                  </a:lnTo>
                  <a:lnTo>
                    <a:pt x="82" y="3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99" name="Freeform 187"/>
            <p:cNvSpPr>
              <a:spLocks/>
            </p:cNvSpPr>
            <p:nvPr/>
          </p:nvSpPr>
          <p:spPr bwMode="auto">
            <a:xfrm>
              <a:off x="-772" y="4144"/>
              <a:ext cx="19" cy="53"/>
            </a:xfrm>
            <a:custGeom>
              <a:avLst/>
              <a:gdLst>
                <a:gd name="T0" fmla="*/ 91 w 116"/>
                <a:gd name="T1" fmla="*/ 0 h 317"/>
                <a:gd name="T2" fmla="*/ 116 w 116"/>
                <a:gd name="T3" fmla="*/ 0 h 317"/>
                <a:gd name="T4" fmla="*/ 116 w 116"/>
                <a:gd name="T5" fmla="*/ 317 h 317"/>
                <a:gd name="T6" fmla="*/ 78 w 116"/>
                <a:gd name="T7" fmla="*/ 317 h 317"/>
                <a:gd name="T8" fmla="*/ 78 w 116"/>
                <a:gd name="T9" fmla="*/ 71 h 317"/>
                <a:gd name="T10" fmla="*/ 61 w 116"/>
                <a:gd name="T11" fmla="*/ 84 h 317"/>
                <a:gd name="T12" fmla="*/ 41 w 116"/>
                <a:gd name="T13" fmla="*/ 97 h 317"/>
                <a:gd name="T14" fmla="*/ 19 w 116"/>
                <a:gd name="T15" fmla="*/ 109 h 317"/>
                <a:gd name="T16" fmla="*/ 0 w 116"/>
                <a:gd name="T17" fmla="*/ 117 h 317"/>
                <a:gd name="T18" fmla="*/ 0 w 116"/>
                <a:gd name="T19" fmla="*/ 79 h 317"/>
                <a:gd name="T20" fmla="*/ 30 w 116"/>
                <a:gd name="T21" fmla="*/ 63 h 317"/>
                <a:gd name="T22" fmla="*/ 57 w 116"/>
                <a:gd name="T23" fmla="*/ 42 h 317"/>
                <a:gd name="T24" fmla="*/ 78 w 116"/>
                <a:gd name="T25" fmla="*/ 21 h 317"/>
                <a:gd name="T26" fmla="*/ 91 w 116"/>
                <a:gd name="T27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317">
                  <a:moveTo>
                    <a:pt x="91" y="0"/>
                  </a:moveTo>
                  <a:lnTo>
                    <a:pt x="116" y="0"/>
                  </a:lnTo>
                  <a:lnTo>
                    <a:pt x="116" y="317"/>
                  </a:lnTo>
                  <a:lnTo>
                    <a:pt x="78" y="317"/>
                  </a:lnTo>
                  <a:lnTo>
                    <a:pt x="78" y="71"/>
                  </a:lnTo>
                  <a:lnTo>
                    <a:pt x="61" y="84"/>
                  </a:lnTo>
                  <a:lnTo>
                    <a:pt x="41" y="97"/>
                  </a:lnTo>
                  <a:lnTo>
                    <a:pt x="19" y="109"/>
                  </a:lnTo>
                  <a:lnTo>
                    <a:pt x="0" y="117"/>
                  </a:lnTo>
                  <a:lnTo>
                    <a:pt x="0" y="79"/>
                  </a:lnTo>
                  <a:lnTo>
                    <a:pt x="30" y="63"/>
                  </a:lnTo>
                  <a:lnTo>
                    <a:pt x="57" y="42"/>
                  </a:lnTo>
                  <a:lnTo>
                    <a:pt x="78" y="21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300" name="Freeform 188"/>
            <p:cNvSpPr>
              <a:spLocks/>
            </p:cNvSpPr>
            <p:nvPr/>
          </p:nvSpPr>
          <p:spPr bwMode="auto">
            <a:xfrm>
              <a:off x="-737" y="4144"/>
              <a:ext cx="20" cy="53"/>
            </a:xfrm>
            <a:custGeom>
              <a:avLst/>
              <a:gdLst>
                <a:gd name="T0" fmla="*/ 91 w 116"/>
                <a:gd name="T1" fmla="*/ 0 h 317"/>
                <a:gd name="T2" fmla="*/ 116 w 116"/>
                <a:gd name="T3" fmla="*/ 0 h 317"/>
                <a:gd name="T4" fmla="*/ 116 w 116"/>
                <a:gd name="T5" fmla="*/ 317 h 317"/>
                <a:gd name="T6" fmla="*/ 77 w 116"/>
                <a:gd name="T7" fmla="*/ 317 h 317"/>
                <a:gd name="T8" fmla="*/ 77 w 116"/>
                <a:gd name="T9" fmla="*/ 71 h 317"/>
                <a:gd name="T10" fmla="*/ 62 w 116"/>
                <a:gd name="T11" fmla="*/ 84 h 317"/>
                <a:gd name="T12" fmla="*/ 41 w 116"/>
                <a:gd name="T13" fmla="*/ 97 h 317"/>
                <a:gd name="T14" fmla="*/ 18 w 116"/>
                <a:gd name="T15" fmla="*/ 109 h 317"/>
                <a:gd name="T16" fmla="*/ 0 w 116"/>
                <a:gd name="T17" fmla="*/ 117 h 317"/>
                <a:gd name="T18" fmla="*/ 0 w 116"/>
                <a:gd name="T19" fmla="*/ 79 h 317"/>
                <a:gd name="T20" fmla="*/ 31 w 116"/>
                <a:gd name="T21" fmla="*/ 63 h 317"/>
                <a:gd name="T22" fmla="*/ 57 w 116"/>
                <a:gd name="T23" fmla="*/ 42 h 317"/>
                <a:gd name="T24" fmla="*/ 78 w 116"/>
                <a:gd name="T25" fmla="*/ 21 h 317"/>
                <a:gd name="T26" fmla="*/ 91 w 116"/>
                <a:gd name="T27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317">
                  <a:moveTo>
                    <a:pt x="91" y="0"/>
                  </a:moveTo>
                  <a:lnTo>
                    <a:pt x="116" y="0"/>
                  </a:lnTo>
                  <a:lnTo>
                    <a:pt x="116" y="317"/>
                  </a:lnTo>
                  <a:lnTo>
                    <a:pt x="77" y="317"/>
                  </a:lnTo>
                  <a:lnTo>
                    <a:pt x="77" y="71"/>
                  </a:lnTo>
                  <a:lnTo>
                    <a:pt x="62" y="84"/>
                  </a:lnTo>
                  <a:lnTo>
                    <a:pt x="41" y="97"/>
                  </a:lnTo>
                  <a:lnTo>
                    <a:pt x="18" y="109"/>
                  </a:lnTo>
                  <a:lnTo>
                    <a:pt x="0" y="117"/>
                  </a:lnTo>
                  <a:lnTo>
                    <a:pt x="0" y="79"/>
                  </a:lnTo>
                  <a:lnTo>
                    <a:pt x="31" y="63"/>
                  </a:lnTo>
                  <a:lnTo>
                    <a:pt x="57" y="42"/>
                  </a:lnTo>
                  <a:lnTo>
                    <a:pt x="78" y="21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301" name="Freeform 189"/>
            <p:cNvSpPr>
              <a:spLocks noEditPoints="1"/>
            </p:cNvSpPr>
            <p:nvPr/>
          </p:nvSpPr>
          <p:spPr bwMode="auto">
            <a:xfrm>
              <a:off x="-701" y="4144"/>
              <a:ext cx="35" cy="54"/>
            </a:xfrm>
            <a:custGeom>
              <a:avLst/>
              <a:gdLst>
                <a:gd name="T0" fmla="*/ 87 w 207"/>
                <a:gd name="T1" fmla="*/ 35 h 323"/>
                <a:gd name="T2" fmla="*/ 60 w 207"/>
                <a:gd name="T3" fmla="*/ 55 h 323"/>
                <a:gd name="T4" fmla="*/ 46 w 207"/>
                <a:gd name="T5" fmla="*/ 96 h 323"/>
                <a:gd name="T6" fmla="*/ 40 w 207"/>
                <a:gd name="T7" fmla="*/ 162 h 323"/>
                <a:gd name="T8" fmla="*/ 44 w 207"/>
                <a:gd name="T9" fmla="*/ 215 h 323"/>
                <a:gd name="T10" fmla="*/ 52 w 207"/>
                <a:gd name="T11" fmla="*/ 253 h 323"/>
                <a:gd name="T12" fmla="*/ 72 w 207"/>
                <a:gd name="T13" fmla="*/ 279 h 323"/>
                <a:gd name="T14" fmla="*/ 103 w 207"/>
                <a:gd name="T15" fmla="*/ 290 h 323"/>
                <a:gd name="T16" fmla="*/ 135 w 207"/>
                <a:gd name="T17" fmla="*/ 279 h 323"/>
                <a:gd name="T18" fmla="*/ 155 w 207"/>
                <a:gd name="T19" fmla="*/ 253 h 323"/>
                <a:gd name="T20" fmla="*/ 164 w 207"/>
                <a:gd name="T21" fmla="*/ 215 h 323"/>
                <a:gd name="T22" fmla="*/ 167 w 207"/>
                <a:gd name="T23" fmla="*/ 162 h 323"/>
                <a:gd name="T24" fmla="*/ 164 w 207"/>
                <a:gd name="T25" fmla="*/ 108 h 323"/>
                <a:gd name="T26" fmla="*/ 155 w 207"/>
                <a:gd name="T27" fmla="*/ 71 h 323"/>
                <a:gd name="T28" fmla="*/ 135 w 207"/>
                <a:gd name="T29" fmla="*/ 44 h 323"/>
                <a:gd name="T30" fmla="*/ 103 w 207"/>
                <a:gd name="T31" fmla="*/ 32 h 323"/>
                <a:gd name="T32" fmla="*/ 128 w 207"/>
                <a:gd name="T33" fmla="*/ 4 h 323"/>
                <a:gd name="T34" fmla="*/ 166 w 207"/>
                <a:gd name="T35" fmla="*/ 23 h 323"/>
                <a:gd name="T36" fmla="*/ 192 w 207"/>
                <a:gd name="T37" fmla="*/ 62 h 323"/>
                <a:gd name="T38" fmla="*/ 204 w 207"/>
                <a:gd name="T39" fmla="*/ 108 h 323"/>
                <a:gd name="T40" fmla="*/ 207 w 207"/>
                <a:gd name="T41" fmla="*/ 162 h 323"/>
                <a:gd name="T42" fmla="*/ 203 w 207"/>
                <a:gd name="T43" fmla="*/ 226 h 323"/>
                <a:gd name="T44" fmla="*/ 187 w 207"/>
                <a:gd name="T45" fmla="*/ 272 h 323"/>
                <a:gd name="T46" fmla="*/ 162 w 207"/>
                <a:gd name="T47" fmla="*/ 303 h 323"/>
                <a:gd name="T48" fmla="*/ 125 w 207"/>
                <a:gd name="T49" fmla="*/ 321 h 323"/>
                <a:gd name="T50" fmla="*/ 82 w 207"/>
                <a:gd name="T51" fmla="*/ 321 h 323"/>
                <a:gd name="T52" fmla="*/ 46 w 207"/>
                <a:gd name="T53" fmla="*/ 304 h 323"/>
                <a:gd name="T54" fmla="*/ 20 w 207"/>
                <a:gd name="T55" fmla="*/ 272 h 323"/>
                <a:gd name="T56" fmla="*/ 6 w 207"/>
                <a:gd name="T57" fmla="*/ 224 h 323"/>
                <a:gd name="T58" fmla="*/ 0 w 207"/>
                <a:gd name="T59" fmla="*/ 162 h 323"/>
                <a:gd name="T60" fmla="*/ 6 w 207"/>
                <a:gd name="T61" fmla="*/ 97 h 323"/>
                <a:gd name="T62" fmla="*/ 21 w 207"/>
                <a:gd name="T63" fmla="*/ 51 h 323"/>
                <a:gd name="T64" fmla="*/ 47 w 207"/>
                <a:gd name="T65" fmla="*/ 19 h 323"/>
                <a:gd name="T66" fmla="*/ 82 w 207"/>
                <a:gd name="T67" fmla="*/ 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7" h="323">
                  <a:moveTo>
                    <a:pt x="103" y="32"/>
                  </a:moveTo>
                  <a:lnTo>
                    <a:pt x="87" y="35"/>
                  </a:lnTo>
                  <a:lnTo>
                    <a:pt x="72" y="43"/>
                  </a:lnTo>
                  <a:lnTo>
                    <a:pt x="60" y="55"/>
                  </a:lnTo>
                  <a:lnTo>
                    <a:pt x="51" y="73"/>
                  </a:lnTo>
                  <a:lnTo>
                    <a:pt x="46" y="96"/>
                  </a:lnTo>
                  <a:lnTo>
                    <a:pt x="41" y="125"/>
                  </a:lnTo>
                  <a:lnTo>
                    <a:pt x="40" y="162"/>
                  </a:lnTo>
                  <a:lnTo>
                    <a:pt x="41" y="190"/>
                  </a:lnTo>
                  <a:lnTo>
                    <a:pt x="44" y="215"/>
                  </a:lnTo>
                  <a:lnTo>
                    <a:pt x="47" y="236"/>
                  </a:lnTo>
                  <a:lnTo>
                    <a:pt x="52" y="253"/>
                  </a:lnTo>
                  <a:lnTo>
                    <a:pt x="59" y="265"/>
                  </a:lnTo>
                  <a:lnTo>
                    <a:pt x="72" y="279"/>
                  </a:lnTo>
                  <a:lnTo>
                    <a:pt x="87" y="288"/>
                  </a:lnTo>
                  <a:lnTo>
                    <a:pt x="103" y="290"/>
                  </a:lnTo>
                  <a:lnTo>
                    <a:pt x="121" y="288"/>
                  </a:lnTo>
                  <a:lnTo>
                    <a:pt x="135" y="279"/>
                  </a:lnTo>
                  <a:lnTo>
                    <a:pt x="149" y="265"/>
                  </a:lnTo>
                  <a:lnTo>
                    <a:pt x="155" y="253"/>
                  </a:lnTo>
                  <a:lnTo>
                    <a:pt x="161" y="236"/>
                  </a:lnTo>
                  <a:lnTo>
                    <a:pt x="164" y="215"/>
                  </a:lnTo>
                  <a:lnTo>
                    <a:pt x="166" y="190"/>
                  </a:lnTo>
                  <a:lnTo>
                    <a:pt x="167" y="162"/>
                  </a:lnTo>
                  <a:lnTo>
                    <a:pt x="166" y="132"/>
                  </a:lnTo>
                  <a:lnTo>
                    <a:pt x="164" y="108"/>
                  </a:lnTo>
                  <a:lnTo>
                    <a:pt x="161" y="87"/>
                  </a:lnTo>
                  <a:lnTo>
                    <a:pt x="155" y="71"/>
                  </a:lnTo>
                  <a:lnTo>
                    <a:pt x="149" y="58"/>
                  </a:lnTo>
                  <a:lnTo>
                    <a:pt x="135" y="44"/>
                  </a:lnTo>
                  <a:lnTo>
                    <a:pt x="121" y="35"/>
                  </a:lnTo>
                  <a:lnTo>
                    <a:pt x="103" y="32"/>
                  </a:lnTo>
                  <a:close/>
                  <a:moveTo>
                    <a:pt x="103" y="0"/>
                  </a:moveTo>
                  <a:lnTo>
                    <a:pt x="128" y="4"/>
                  </a:lnTo>
                  <a:lnTo>
                    <a:pt x="149" y="11"/>
                  </a:lnTo>
                  <a:lnTo>
                    <a:pt x="166" y="23"/>
                  </a:lnTo>
                  <a:lnTo>
                    <a:pt x="181" y="40"/>
                  </a:lnTo>
                  <a:lnTo>
                    <a:pt x="192" y="62"/>
                  </a:lnTo>
                  <a:lnTo>
                    <a:pt x="201" y="87"/>
                  </a:lnTo>
                  <a:lnTo>
                    <a:pt x="204" y="108"/>
                  </a:lnTo>
                  <a:lnTo>
                    <a:pt x="206" y="133"/>
                  </a:lnTo>
                  <a:lnTo>
                    <a:pt x="207" y="162"/>
                  </a:lnTo>
                  <a:lnTo>
                    <a:pt x="206" y="196"/>
                  </a:lnTo>
                  <a:lnTo>
                    <a:pt x="203" y="226"/>
                  </a:lnTo>
                  <a:lnTo>
                    <a:pt x="196" y="251"/>
                  </a:lnTo>
                  <a:lnTo>
                    <a:pt x="187" y="272"/>
                  </a:lnTo>
                  <a:lnTo>
                    <a:pt x="175" y="290"/>
                  </a:lnTo>
                  <a:lnTo>
                    <a:pt x="162" y="303"/>
                  </a:lnTo>
                  <a:lnTo>
                    <a:pt x="145" y="314"/>
                  </a:lnTo>
                  <a:lnTo>
                    <a:pt x="125" y="321"/>
                  </a:lnTo>
                  <a:lnTo>
                    <a:pt x="103" y="323"/>
                  </a:lnTo>
                  <a:lnTo>
                    <a:pt x="82" y="321"/>
                  </a:lnTo>
                  <a:lnTo>
                    <a:pt x="62" y="314"/>
                  </a:lnTo>
                  <a:lnTo>
                    <a:pt x="46" y="304"/>
                  </a:lnTo>
                  <a:lnTo>
                    <a:pt x="31" y="290"/>
                  </a:lnTo>
                  <a:lnTo>
                    <a:pt x="20" y="272"/>
                  </a:lnTo>
                  <a:lnTo>
                    <a:pt x="11" y="250"/>
                  </a:lnTo>
                  <a:lnTo>
                    <a:pt x="6" y="224"/>
                  </a:lnTo>
                  <a:lnTo>
                    <a:pt x="2" y="194"/>
                  </a:lnTo>
                  <a:lnTo>
                    <a:pt x="0" y="162"/>
                  </a:lnTo>
                  <a:lnTo>
                    <a:pt x="2" y="126"/>
                  </a:lnTo>
                  <a:lnTo>
                    <a:pt x="6" y="97"/>
                  </a:lnTo>
                  <a:lnTo>
                    <a:pt x="11" y="72"/>
                  </a:lnTo>
                  <a:lnTo>
                    <a:pt x="21" y="51"/>
                  </a:lnTo>
                  <a:lnTo>
                    <a:pt x="32" y="33"/>
                  </a:lnTo>
                  <a:lnTo>
                    <a:pt x="47" y="19"/>
                  </a:lnTo>
                  <a:lnTo>
                    <a:pt x="62" y="9"/>
                  </a:lnTo>
                  <a:lnTo>
                    <a:pt x="82" y="3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302" name="Freeform 190"/>
            <p:cNvSpPr>
              <a:spLocks noEditPoints="1"/>
            </p:cNvSpPr>
            <p:nvPr/>
          </p:nvSpPr>
          <p:spPr bwMode="auto">
            <a:xfrm>
              <a:off x="-818" y="4232"/>
              <a:ext cx="34" cy="54"/>
            </a:xfrm>
            <a:custGeom>
              <a:avLst/>
              <a:gdLst>
                <a:gd name="T0" fmla="*/ 86 w 207"/>
                <a:gd name="T1" fmla="*/ 34 h 321"/>
                <a:gd name="T2" fmla="*/ 60 w 207"/>
                <a:gd name="T3" fmla="*/ 55 h 321"/>
                <a:gd name="T4" fmla="*/ 44 w 207"/>
                <a:gd name="T5" fmla="*/ 95 h 321"/>
                <a:gd name="T6" fmla="*/ 40 w 207"/>
                <a:gd name="T7" fmla="*/ 160 h 321"/>
                <a:gd name="T8" fmla="*/ 43 w 207"/>
                <a:gd name="T9" fmla="*/ 214 h 321"/>
                <a:gd name="T10" fmla="*/ 51 w 207"/>
                <a:gd name="T11" fmla="*/ 251 h 321"/>
                <a:gd name="T12" fmla="*/ 71 w 207"/>
                <a:gd name="T13" fmla="*/ 277 h 321"/>
                <a:gd name="T14" fmla="*/ 103 w 207"/>
                <a:gd name="T15" fmla="*/ 289 h 321"/>
                <a:gd name="T16" fmla="*/ 135 w 207"/>
                <a:gd name="T17" fmla="*/ 277 h 321"/>
                <a:gd name="T18" fmla="*/ 156 w 207"/>
                <a:gd name="T19" fmla="*/ 247 h 321"/>
                <a:gd name="T20" fmla="*/ 166 w 207"/>
                <a:gd name="T21" fmla="*/ 195 h 321"/>
                <a:gd name="T22" fmla="*/ 166 w 207"/>
                <a:gd name="T23" fmla="*/ 131 h 321"/>
                <a:gd name="T24" fmla="*/ 160 w 207"/>
                <a:gd name="T25" fmla="*/ 85 h 321"/>
                <a:gd name="T26" fmla="*/ 148 w 207"/>
                <a:gd name="T27" fmla="*/ 57 h 321"/>
                <a:gd name="T28" fmla="*/ 119 w 207"/>
                <a:gd name="T29" fmla="*/ 34 h 321"/>
                <a:gd name="T30" fmla="*/ 103 w 207"/>
                <a:gd name="T31" fmla="*/ 0 h 321"/>
                <a:gd name="T32" fmla="*/ 135 w 207"/>
                <a:gd name="T33" fmla="*/ 4 h 321"/>
                <a:gd name="T34" fmla="*/ 166 w 207"/>
                <a:gd name="T35" fmla="*/ 22 h 321"/>
                <a:gd name="T36" fmla="*/ 191 w 207"/>
                <a:gd name="T37" fmla="*/ 60 h 321"/>
                <a:gd name="T38" fmla="*/ 203 w 207"/>
                <a:gd name="T39" fmla="*/ 106 h 321"/>
                <a:gd name="T40" fmla="*/ 207 w 207"/>
                <a:gd name="T41" fmla="*/ 160 h 321"/>
                <a:gd name="T42" fmla="*/ 201 w 207"/>
                <a:gd name="T43" fmla="*/ 225 h 321"/>
                <a:gd name="T44" fmla="*/ 186 w 207"/>
                <a:gd name="T45" fmla="*/ 271 h 321"/>
                <a:gd name="T46" fmla="*/ 160 w 207"/>
                <a:gd name="T47" fmla="*/ 302 h 321"/>
                <a:gd name="T48" fmla="*/ 125 w 207"/>
                <a:gd name="T49" fmla="*/ 319 h 321"/>
                <a:gd name="T50" fmla="*/ 82 w 207"/>
                <a:gd name="T51" fmla="*/ 319 h 321"/>
                <a:gd name="T52" fmla="*/ 45 w 207"/>
                <a:gd name="T53" fmla="*/ 302 h 321"/>
                <a:gd name="T54" fmla="*/ 20 w 207"/>
                <a:gd name="T55" fmla="*/ 271 h 321"/>
                <a:gd name="T56" fmla="*/ 4 w 207"/>
                <a:gd name="T57" fmla="*/ 223 h 321"/>
                <a:gd name="T58" fmla="*/ 0 w 207"/>
                <a:gd name="T59" fmla="*/ 160 h 321"/>
                <a:gd name="T60" fmla="*/ 4 w 207"/>
                <a:gd name="T61" fmla="*/ 95 h 321"/>
                <a:gd name="T62" fmla="*/ 20 w 207"/>
                <a:gd name="T63" fmla="*/ 49 h 321"/>
                <a:gd name="T64" fmla="*/ 45 w 207"/>
                <a:gd name="T65" fmla="*/ 17 h 321"/>
                <a:gd name="T66" fmla="*/ 82 w 207"/>
                <a:gd name="T67" fmla="*/ 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7" h="321">
                  <a:moveTo>
                    <a:pt x="103" y="32"/>
                  </a:moveTo>
                  <a:lnTo>
                    <a:pt x="86" y="34"/>
                  </a:lnTo>
                  <a:lnTo>
                    <a:pt x="72" y="42"/>
                  </a:lnTo>
                  <a:lnTo>
                    <a:pt x="60" y="55"/>
                  </a:lnTo>
                  <a:lnTo>
                    <a:pt x="51" y="71"/>
                  </a:lnTo>
                  <a:lnTo>
                    <a:pt x="44" y="95"/>
                  </a:lnTo>
                  <a:lnTo>
                    <a:pt x="41" y="125"/>
                  </a:lnTo>
                  <a:lnTo>
                    <a:pt x="40" y="160"/>
                  </a:lnTo>
                  <a:lnTo>
                    <a:pt x="41" y="190"/>
                  </a:lnTo>
                  <a:lnTo>
                    <a:pt x="43" y="214"/>
                  </a:lnTo>
                  <a:lnTo>
                    <a:pt x="46" y="234"/>
                  </a:lnTo>
                  <a:lnTo>
                    <a:pt x="51" y="251"/>
                  </a:lnTo>
                  <a:lnTo>
                    <a:pt x="57" y="263"/>
                  </a:lnTo>
                  <a:lnTo>
                    <a:pt x="71" y="277"/>
                  </a:lnTo>
                  <a:lnTo>
                    <a:pt x="86" y="286"/>
                  </a:lnTo>
                  <a:lnTo>
                    <a:pt x="103" y="289"/>
                  </a:lnTo>
                  <a:lnTo>
                    <a:pt x="120" y="286"/>
                  </a:lnTo>
                  <a:lnTo>
                    <a:pt x="135" y="277"/>
                  </a:lnTo>
                  <a:lnTo>
                    <a:pt x="148" y="263"/>
                  </a:lnTo>
                  <a:lnTo>
                    <a:pt x="156" y="247"/>
                  </a:lnTo>
                  <a:lnTo>
                    <a:pt x="161" y="225"/>
                  </a:lnTo>
                  <a:lnTo>
                    <a:pt x="166" y="195"/>
                  </a:lnTo>
                  <a:lnTo>
                    <a:pt x="167" y="160"/>
                  </a:lnTo>
                  <a:lnTo>
                    <a:pt x="166" y="131"/>
                  </a:lnTo>
                  <a:lnTo>
                    <a:pt x="163" y="106"/>
                  </a:lnTo>
                  <a:lnTo>
                    <a:pt x="160" y="85"/>
                  </a:lnTo>
                  <a:lnTo>
                    <a:pt x="155" y="69"/>
                  </a:lnTo>
                  <a:lnTo>
                    <a:pt x="148" y="57"/>
                  </a:lnTo>
                  <a:lnTo>
                    <a:pt x="135" y="43"/>
                  </a:lnTo>
                  <a:lnTo>
                    <a:pt x="119" y="34"/>
                  </a:lnTo>
                  <a:lnTo>
                    <a:pt x="103" y="32"/>
                  </a:lnTo>
                  <a:close/>
                  <a:moveTo>
                    <a:pt x="103" y="0"/>
                  </a:moveTo>
                  <a:lnTo>
                    <a:pt x="119" y="1"/>
                  </a:lnTo>
                  <a:lnTo>
                    <a:pt x="135" y="4"/>
                  </a:lnTo>
                  <a:lnTo>
                    <a:pt x="148" y="10"/>
                  </a:lnTo>
                  <a:lnTo>
                    <a:pt x="166" y="22"/>
                  </a:lnTo>
                  <a:lnTo>
                    <a:pt x="179" y="39"/>
                  </a:lnTo>
                  <a:lnTo>
                    <a:pt x="191" y="60"/>
                  </a:lnTo>
                  <a:lnTo>
                    <a:pt x="200" y="85"/>
                  </a:lnTo>
                  <a:lnTo>
                    <a:pt x="203" y="106"/>
                  </a:lnTo>
                  <a:lnTo>
                    <a:pt x="205" y="131"/>
                  </a:lnTo>
                  <a:lnTo>
                    <a:pt x="207" y="160"/>
                  </a:lnTo>
                  <a:lnTo>
                    <a:pt x="205" y="195"/>
                  </a:lnTo>
                  <a:lnTo>
                    <a:pt x="201" y="225"/>
                  </a:lnTo>
                  <a:lnTo>
                    <a:pt x="194" y="250"/>
                  </a:lnTo>
                  <a:lnTo>
                    <a:pt x="186" y="271"/>
                  </a:lnTo>
                  <a:lnTo>
                    <a:pt x="175" y="288"/>
                  </a:lnTo>
                  <a:lnTo>
                    <a:pt x="160" y="302"/>
                  </a:lnTo>
                  <a:lnTo>
                    <a:pt x="145" y="312"/>
                  </a:lnTo>
                  <a:lnTo>
                    <a:pt x="125" y="319"/>
                  </a:lnTo>
                  <a:lnTo>
                    <a:pt x="103" y="321"/>
                  </a:lnTo>
                  <a:lnTo>
                    <a:pt x="82" y="319"/>
                  </a:lnTo>
                  <a:lnTo>
                    <a:pt x="62" y="312"/>
                  </a:lnTo>
                  <a:lnTo>
                    <a:pt x="45" y="302"/>
                  </a:lnTo>
                  <a:lnTo>
                    <a:pt x="31" y="288"/>
                  </a:lnTo>
                  <a:lnTo>
                    <a:pt x="20" y="271"/>
                  </a:lnTo>
                  <a:lnTo>
                    <a:pt x="11" y="249"/>
                  </a:lnTo>
                  <a:lnTo>
                    <a:pt x="4" y="223"/>
                  </a:lnTo>
                  <a:lnTo>
                    <a:pt x="1" y="194"/>
                  </a:lnTo>
                  <a:lnTo>
                    <a:pt x="0" y="160"/>
                  </a:lnTo>
                  <a:lnTo>
                    <a:pt x="1" y="125"/>
                  </a:lnTo>
                  <a:lnTo>
                    <a:pt x="4" y="95"/>
                  </a:lnTo>
                  <a:lnTo>
                    <a:pt x="11" y="70"/>
                  </a:lnTo>
                  <a:lnTo>
                    <a:pt x="20" y="49"/>
                  </a:lnTo>
                  <a:lnTo>
                    <a:pt x="32" y="32"/>
                  </a:lnTo>
                  <a:lnTo>
                    <a:pt x="45" y="17"/>
                  </a:lnTo>
                  <a:lnTo>
                    <a:pt x="62" y="8"/>
                  </a:lnTo>
                  <a:lnTo>
                    <a:pt x="82" y="2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303" name="Freeform 191"/>
            <p:cNvSpPr>
              <a:spLocks noEditPoints="1"/>
            </p:cNvSpPr>
            <p:nvPr/>
          </p:nvSpPr>
          <p:spPr bwMode="auto">
            <a:xfrm>
              <a:off x="-777" y="4232"/>
              <a:ext cx="34" cy="54"/>
            </a:xfrm>
            <a:custGeom>
              <a:avLst/>
              <a:gdLst>
                <a:gd name="T0" fmla="*/ 87 w 207"/>
                <a:gd name="T1" fmla="*/ 34 h 321"/>
                <a:gd name="T2" fmla="*/ 60 w 207"/>
                <a:gd name="T3" fmla="*/ 55 h 321"/>
                <a:gd name="T4" fmla="*/ 45 w 207"/>
                <a:gd name="T5" fmla="*/ 95 h 321"/>
                <a:gd name="T6" fmla="*/ 40 w 207"/>
                <a:gd name="T7" fmla="*/ 160 h 321"/>
                <a:gd name="T8" fmla="*/ 44 w 207"/>
                <a:gd name="T9" fmla="*/ 214 h 321"/>
                <a:gd name="T10" fmla="*/ 51 w 207"/>
                <a:gd name="T11" fmla="*/ 251 h 321"/>
                <a:gd name="T12" fmla="*/ 71 w 207"/>
                <a:gd name="T13" fmla="*/ 277 h 321"/>
                <a:gd name="T14" fmla="*/ 103 w 207"/>
                <a:gd name="T15" fmla="*/ 289 h 321"/>
                <a:gd name="T16" fmla="*/ 135 w 207"/>
                <a:gd name="T17" fmla="*/ 277 h 321"/>
                <a:gd name="T18" fmla="*/ 156 w 207"/>
                <a:gd name="T19" fmla="*/ 247 h 321"/>
                <a:gd name="T20" fmla="*/ 166 w 207"/>
                <a:gd name="T21" fmla="*/ 195 h 321"/>
                <a:gd name="T22" fmla="*/ 166 w 207"/>
                <a:gd name="T23" fmla="*/ 131 h 321"/>
                <a:gd name="T24" fmla="*/ 161 w 207"/>
                <a:gd name="T25" fmla="*/ 85 h 321"/>
                <a:gd name="T26" fmla="*/ 149 w 207"/>
                <a:gd name="T27" fmla="*/ 57 h 321"/>
                <a:gd name="T28" fmla="*/ 121 w 207"/>
                <a:gd name="T29" fmla="*/ 34 h 321"/>
                <a:gd name="T30" fmla="*/ 103 w 207"/>
                <a:gd name="T31" fmla="*/ 0 h 321"/>
                <a:gd name="T32" fmla="*/ 149 w 207"/>
                <a:gd name="T33" fmla="*/ 10 h 321"/>
                <a:gd name="T34" fmla="*/ 181 w 207"/>
                <a:gd name="T35" fmla="*/ 39 h 321"/>
                <a:gd name="T36" fmla="*/ 199 w 207"/>
                <a:gd name="T37" fmla="*/ 85 h 321"/>
                <a:gd name="T38" fmla="*/ 206 w 207"/>
                <a:gd name="T39" fmla="*/ 131 h 321"/>
                <a:gd name="T40" fmla="*/ 206 w 207"/>
                <a:gd name="T41" fmla="*/ 195 h 321"/>
                <a:gd name="T42" fmla="*/ 195 w 207"/>
                <a:gd name="T43" fmla="*/ 250 h 321"/>
                <a:gd name="T44" fmla="*/ 175 w 207"/>
                <a:gd name="T45" fmla="*/ 288 h 321"/>
                <a:gd name="T46" fmla="*/ 144 w 207"/>
                <a:gd name="T47" fmla="*/ 312 h 321"/>
                <a:gd name="T48" fmla="*/ 103 w 207"/>
                <a:gd name="T49" fmla="*/ 321 h 321"/>
                <a:gd name="T50" fmla="*/ 62 w 207"/>
                <a:gd name="T51" fmla="*/ 312 h 321"/>
                <a:gd name="T52" fmla="*/ 31 w 207"/>
                <a:gd name="T53" fmla="*/ 288 h 321"/>
                <a:gd name="T54" fmla="*/ 11 w 207"/>
                <a:gd name="T55" fmla="*/ 249 h 321"/>
                <a:gd name="T56" fmla="*/ 2 w 207"/>
                <a:gd name="T57" fmla="*/ 194 h 321"/>
                <a:gd name="T58" fmla="*/ 2 w 207"/>
                <a:gd name="T59" fmla="*/ 125 h 321"/>
                <a:gd name="T60" fmla="*/ 11 w 207"/>
                <a:gd name="T61" fmla="*/ 70 h 321"/>
                <a:gd name="T62" fmla="*/ 32 w 207"/>
                <a:gd name="T63" fmla="*/ 32 h 321"/>
                <a:gd name="T64" fmla="*/ 62 w 207"/>
                <a:gd name="T65" fmla="*/ 8 h 321"/>
                <a:gd name="T66" fmla="*/ 103 w 207"/>
                <a:gd name="T67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7" h="321">
                  <a:moveTo>
                    <a:pt x="103" y="32"/>
                  </a:moveTo>
                  <a:lnTo>
                    <a:pt x="87" y="34"/>
                  </a:lnTo>
                  <a:lnTo>
                    <a:pt x="72" y="42"/>
                  </a:lnTo>
                  <a:lnTo>
                    <a:pt x="60" y="55"/>
                  </a:lnTo>
                  <a:lnTo>
                    <a:pt x="51" y="71"/>
                  </a:lnTo>
                  <a:lnTo>
                    <a:pt x="45" y="95"/>
                  </a:lnTo>
                  <a:lnTo>
                    <a:pt x="41" y="125"/>
                  </a:lnTo>
                  <a:lnTo>
                    <a:pt x="40" y="160"/>
                  </a:lnTo>
                  <a:lnTo>
                    <a:pt x="41" y="190"/>
                  </a:lnTo>
                  <a:lnTo>
                    <a:pt x="44" y="214"/>
                  </a:lnTo>
                  <a:lnTo>
                    <a:pt x="47" y="234"/>
                  </a:lnTo>
                  <a:lnTo>
                    <a:pt x="51" y="251"/>
                  </a:lnTo>
                  <a:lnTo>
                    <a:pt x="58" y="263"/>
                  </a:lnTo>
                  <a:lnTo>
                    <a:pt x="71" y="277"/>
                  </a:lnTo>
                  <a:lnTo>
                    <a:pt x="87" y="286"/>
                  </a:lnTo>
                  <a:lnTo>
                    <a:pt x="103" y="289"/>
                  </a:lnTo>
                  <a:lnTo>
                    <a:pt x="121" y="286"/>
                  </a:lnTo>
                  <a:lnTo>
                    <a:pt x="135" y="277"/>
                  </a:lnTo>
                  <a:lnTo>
                    <a:pt x="149" y="263"/>
                  </a:lnTo>
                  <a:lnTo>
                    <a:pt x="156" y="247"/>
                  </a:lnTo>
                  <a:lnTo>
                    <a:pt x="162" y="225"/>
                  </a:lnTo>
                  <a:lnTo>
                    <a:pt x="166" y="195"/>
                  </a:lnTo>
                  <a:lnTo>
                    <a:pt x="167" y="160"/>
                  </a:lnTo>
                  <a:lnTo>
                    <a:pt x="166" y="131"/>
                  </a:lnTo>
                  <a:lnTo>
                    <a:pt x="164" y="106"/>
                  </a:lnTo>
                  <a:lnTo>
                    <a:pt x="161" y="85"/>
                  </a:lnTo>
                  <a:lnTo>
                    <a:pt x="155" y="69"/>
                  </a:lnTo>
                  <a:lnTo>
                    <a:pt x="149" y="57"/>
                  </a:lnTo>
                  <a:lnTo>
                    <a:pt x="135" y="43"/>
                  </a:lnTo>
                  <a:lnTo>
                    <a:pt x="121" y="34"/>
                  </a:lnTo>
                  <a:lnTo>
                    <a:pt x="103" y="32"/>
                  </a:lnTo>
                  <a:close/>
                  <a:moveTo>
                    <a:pt x="103" y="0"/>
                  </a:moveTo>
                  <a:lnTo>
                    <a:pt x="128" y="2"/>
                  </a:lnTo>
                  <a:lnTo>
                    <a:pt x="149" y="10"/>
                  </a:lnTo>
                  <a:lnTo>
                    <a:pt x="166" y="22"/>
                  </a:lnTo>
                  <a:lnTo>
                    <a:pt x="181" y="39"/>
                  </a:lnTo>
                  <a:lnTo>
                    <a:pt x="192" y="60"/>
                  </a:lnTo>
                  <a:lnTo>
                    <a:pt x="199" y="85"/>
                  </a:lnTo>
                  <a:lnTo>
                    <a:pt x="204" y="106"/>
                  </a:lnTo>
                  <a:lnTo>
                    <a:pt x="206" y="131"/>
                  </a:lnTo>
                  <a:lnTo>
                    <a:pt x="207" y="160"/>
                  </a:lnTo>
                  <a:lnTo>
                    <a:pt x="206" y="195"/>
                  </a:lnTo>
                  <a:lnTo>
                    <a:pt x="202" y="225"/>
                  </a:lnTo>
                  <a:lnTo>
                    <a:pt x="195" y="250"/>
                  </a:lnTo>
                  <a:lnTo>
                    <a:pt x="186" y="271"/>
                  </a:lnTo>
                  <a:lnTo>
                    <a:pt x="175" y="288"/>
                  </a:lnTo>
                  <a:lnTo>
                    <a:pt x="161" y="302"/>
                  </a:lnTo>
                  <a:lnTo>
                    <a:pt x="144" y="312"/>
                  </a:lnTo>
                  <a:lnTo>
                    <a:pt x="125" y="319"/>
                  </a:lnTo>
                  <a:lnTo>
                    <a:pt x="103" y="321"/>
                  </a:lnTo>
                  <a:lnTo>
                    <a:pt x="81" y="319"/>
                  </a:lnTo>
                  <a:lnTo>
                    <a:pt x="62" y="312"/>
                  </a:lnTo>
                  <a:lnTo>
                    <a:pt x="46" y="302"/>
                  </a:lnTo>
                  <a:lnTo>
                    <a:pt x="31" y="288"/>
                  </a:lnTo>
                  <a:lnTo>
                    <a:pt x="20" y="271"/>
                  </a:lnTo>
                  <a:lnTo>
                    <a:pt x="11" y="249"/>
                  </a:lnTo>
                  <a:lnTo>
                    <a:pt x="5" y="223"/>
                  </a:lnTo>
                  <a:lnTo>
                    <a:pt x="2" y="194"/>
                  </a:lnTo>
                  <a:lnTo>
                    <a:pt x="0" y="160"/>
                  </a:lnTo>
                  <a:lnTo>
                    <a:pt x="2" y="125"/>
                  </a:lnTo>
                  <a:lnTo>
                    <a:pt x="5" y="95"/>
                  </a:lnTo>
                  <a:lnTo>
                    <a:pt x="11" y="70"/>
                  </a:lnTo>
                  <a:lnTo>
                    <a:pt x="20" y="49"/>
                  </a:lnTo>
                  <a:lnTo>
                    <a:pt x="32" y="32"/>
                  </a:lnTo>
                  <a:lnTo>
                    <a:pt x="46" y="17"/>
                  </a:lnTo>
                  <a:lnTo>
                    <a:pt x="62" y="8"/>
                  </a:lnTo>
                  <a:lnTo>
                    <a:pt x="82" y="2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304" name="Freeform 192"/>
            <p:cNvSpPr>
              <a:spLocks noEditPoints="1"/>
            </p:cNvSpPr>
            <p:nvPr/>
          </p:nvSpPr>
          <p:spPr bwMode="auto">
            <a:xfrm>
              <a:off x="-736" y="4232"/>
              <a:ext cx="34" cy="54"/>
            </a:xfrm>
            <a:custGeom>
              <a:avLst/>
              <a:gdLst>
                <a:gd name="T0" fmla="*/ 86 w 207"/>
                <a:gd name="T1" fmla="*/ 34 h 321"/>
                <a:gd name="T2" fmla="*/ 60 w 207"/>
                <a:gd name="T3" fmla="*/ 55 h 321"/>
                <a:gd name="T4" fmla="*/ 48 w 207"/>
                <a:gd name="T5" fmla="*/ 84 h 321"/>
                <a:gd name="T6" fmla="*/ 41 w 207"/>
                <a:gd name="T7" fmla="*/ 131 h 321"/>
                <a:gd name="T8" fmla="*/ 41 w 207"/>
                <a:gd name="T9" fmla="*/ 190 h 321"/>
                <a:gd name="T10" fmla="*/ 46 w 207"/>
                <a:gd name="T11" fmla="*/ 234 h 321"/>
                <a:gd name="T12" fmla="*/ 57 w 207"/>
                <a:gd name="T13" fmla="*/ 263 h 321"/>
                <a:gd name="T14" fmla="*/ 86 w 207"/>
                <a:gd name="T15" fmla="*/ 286 h 321"/>
                <a:gd name="T16" fmla="*/ 121 w 207"/>
                <a:gd name="T17" fmla="*/ 286 h 321"/>
                <a:gd name="T18" fmla="*/ 148 w 207"/>
                <a:gd name="T19" fmla="*/ 263 h 321"/>
                <a:gd name="T20" fmla="*/ 161 w 207"/>
                <a:gd name="T21" fmla="*/ 225 h 321"/>
                <a:gd name="T22" fmla="*/ 167 w 207"/>
                <a:gd name="T23" fmla="*/ 160 h 321"/>
                <a:gd name="T24" fmla="*/ 163 w 207"/>
                <a:gd name="T25" fmla="*/ 95 h 321"/>
                <a:gd name="T26" fmla="*/ 148 w 207"/>
                <a:gd name="T27" fmla="*/ 57 h 321"/>
                <a:gd name="T28" fmla="*/ 121 w 207"/>
                <a:gd name="T29" fmla="*/ 34 h 321"/>
                <a:gd name="T30" fmla="*/ 103 w 207"/>
                <a:gd name="T31" fmla="*/ 0 h 321"/>
                <a:gd name="T32" fmla="*/ 148 w 207"/>
                <a:gd name="T33" fmla="*/ 10 h 321"/>
                <a:gd name="T34" fmla="*/ 179 w 207"/>
                <a:gd name="T35" fmla="*/ 39 h 321"/>
                <a:gd name="T36" fmla="*/ 199 w 207"/>
                <a:gd name="T37" fmla="*/ 85 h 321"/>
                <a:gd name="T38" fmla="*/ 206 w 207"/>
                <a:gd name="T39" fmla="*/ 131 h 321"/>
                <a:gd name="T40" fmla="*/ 206 w 207"/>
                <a:gd name="T41" fmla="*/ 195 h 321"/>
                <a:gd name="T42" fmla="*/ 195 w 207"/>
                <a:gd name="T43" fmla="*/ 250 h 321"/>
                <a:gd name="T44" fmla="*/ 175 w 207"/>
                <a:gd name="T45" fmla="*/ 288 h 321"/>
                <a:gd name="T46" fmla="*/ 144 w 207"/>
                <a:gd name="T47" fmla="*/ 312 h 321"/>
                <a:gd name="T48" fmla="*/ 103 w 207"/>
                <a:gd name="T49" fmla="*/ 321 h 321"/>
                <a:gd name="T50" fmla="*/ 62 w 207"/>
                <a:gd name="T51" fmla="*/ 312 h 321"/>
                <a:gd name="T52" fmla="*/ 31 w 207"/>
                <a:gd name="T53" fmla="*/ 288 h 321"/>
                <a:gd name="T54" fmla="*/ 11 w 207"/>
                <a:gd name="T55" fmla="*/ 249 h 321"/>
                <a:gd name="T56" fmla="*/ 1 w 207"/>
                <a:gd name="T57" fmla="*/ 194 h 321"/>
                <a:gd name="T58" fmla="*/ 1 w 207"/>
                <a:gd name="T59" fmla="*/ 125 h 321"/>
                <a:gd name="T60" fmla="*/ 11 w 207"/>
                <a:gd name="T61" fmla="*/ 70 h 321"/>
                <a:gd name="T62" fmla="*/ 32 w 207"/>
                <a:gd name="T63" fmla="*/ 32 h 321"/>
                <a:gd name="T64" fmla="*/ 62 w 207"/>
                <a:gd name="T65" fmla="*/ 8 h 321"/>
                <a:gd name="T66" fmla="*/ 103 w 207"/>
                <a:gd name="T67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7" h="321">
                  <a:moveTo>
                    <a:pt x="103" y="32"/>
                  </a:moveTo>
                  <a:lnTo>
                    <a:pt x="86" y="34"/>
                  </a:lnTo>
                  <a:lnTo>
                    <a:pt x="72" y="42"/>
                  </a:lnTo>
                  <a:lnTo>
                    <a:pt x="60" y="55"/>
                  </a:lnTo>
                  <a:lnTo>
                    <a:pt x="53" y="68"/>
                  </a:lnTo>
                  <a:lnTo>
                    <a:pt x="48" y="84"/>
                  </a:lnTo>
                  <a:lnTo>
                    <a:pt x="43" y="106"/>
                  </a:lnTo>
                  <a:lnTo>
                    <a:pt x="41" y="131"/>
                  </a:lnTo>
                  <a:lnTo>
                    <a:pt x="40" y="160"/>
                  </a:lnTo>
                  <a:lnTo>
                    <a:pt x="41" y="190"/>
                  </a:lnTo>
                  <a:lnTo>
                    <a:pt x="43" y="214"/>
                  </a:lnTo>
                  <a:lnTo>
                    <a:pt x="46" y="234"/>
                  </a:lnTo>
                  <a:lnTo>
                    <a:pt x="51" y="251"/>
                  </a:lnTo>
                  <a:lnTo>
                    <a:pt x="57" y="263"/>
                  </a:lnTo>
                  <a:lnTo>
                    <a:pt x="71" y="277"/>
                  </a:lnTo>
                  <a:lnTo>
                    <a:pt x="86" y="286"/>
                  </a:lnTo>
                  <a:lnTo>
                    <a:pt x="103" y="289"/>
                  </a:lnTo>
                  <a:lnTo>
                    <a:pt x="121" y="286"/>
                  </a:lnTo>
                  <a:lnTo>
                    <a:pt x="135" y="277"/>
                  </a:lnTo>
                  <a:lnTo>
                    <a:pt x="148" y="263"/>
                  </a:lnTo>
                  <a:lnTo>
                    <a:pt x="156" y="247"/>
                  </a:lnTo>
                  <a:lnTo>
                    <a:pt x="161" y="225"/>
                  </a:lnTo>
                  <a:lnTo>
                    <a:pt x="166" y="195"/>
                  </a:lnTo>
                  <a:lnTo>
                    <a:pt x="167" y="160"/>
                  </a:lnTo>
                  <a:lnTo>
                    <a:pt x="166" y="125"/>
                  </a:lnTo>
                  <a:lnTo>
                    <a:pt x="163" y="95"/>
                  </a:lnTo>
                  <a:lnTo>
                    <a:pt x="156" y="73"/>
                  </a:lnTo>
                  <a:lnTo>
                    <a:pt x="148" y="57"/>
                  </a:lnTo>
                  <a:lnTo>
                    <a:pt x="135" y="43"/>
                  </a:lnTo>
                  <a:lnTo>
                    <a:pt x="121" y="34"/>
                  </a:lnTo>
                  <a:lnTo>
                    <a:pt x="103" y="32"/>
                  </a:lnTo>
                  <a:close/>
                  <a:moveTo>
                    <a:pt x="103" y="0"/>
                  </a:moveTo>
                  <a:lnTo>
                    <a:pt x="127" y="2"/>
                  </a:lnTo>
                  <a:lnTo>
                    <a:pt x="148" y="10"/>
                  </a:lnTo>
                  <a:lnTo>
                    <a:pt x="166" y="22"/>
                  </a:lnTo>
                  <a:lnTo>
                    <a:pt x="179" y="39"/>
                  </a:lnTo>
                  <a:lnTo>
                    <a:pt x="191" y="60"/>
                  </a:lnTo>
                  <a:lnTo>
                    <a:pt x="199" y="85"/>
                  </a:lnTo>
                  <a:lnTo>
                    <a:pt x="203" y="106"/>
                  </a:lnTo>
                  <a:lnTo>
                    <a:pt x="206" y="131"/>
                  </a:lnTo>
                  <a:lnTo>
                    <a:pt x="207" y="160"/>
                  </a:lnTo>
                  <a:lnTo>
                    <a:pt x="206" y="195"/>
                  </a:lnTo>
                  <a:lnTo>
                    <a:pt x="201" y="225"/>
                  </a:lnTo>
                  <a:lnTo>
                    <a:pt x="195" y="250"/>
                  </a:lnTo>
                  <a:lnTo>
                    <a:pt x="186" y="271"/>
                  </a:lnTo>
                  <a:lnTo>
                    <a:pt x="175" y="288"/>
                  </a:lnTo>
                  <a:lnTo>
                    <a:pt x="160" y="302"/>
                  </a:lnTo>
                  <a:lnTo>
                    <a:pt x="144" y="312"/>
                  </a:lnTo>
                  <a:lnTo>
                    <a:pt x="125" y="319"/>
                  </a:lnTo>
                  <a:lnTo>
                    <a:pt x="103" y="321"/>
                  </a:lnTo>
                  <a:lnTo>
                    <a:pt x="81" y="319"/>
                  </a:lnTo>
                  <a:lnTo>
                    <a:pt x="62" y="312"/>
                  </a:lnTo>
                  <a:lnTo>
                    <a:pt x="45" y="302"/>
                  </a:lnTo>
                  <a:lnTo>
                    <a:pt x="31" y="288"/>
                  </a:lnTo>
                  <a:lnTo>
                    <a:pt x="20" y="271"/>
                  </a:lnTo>
                  <a:lnTo>
                    <a:pt x="11" y="249"/>
                  </a:lnTo>
                  <a:lnTo>
                    <a:pt x="4" y="223"/>
                  </a:lnTo>
                  <a:lnTo>
                    <a:pt x="1" y="194"/>
                  </a:lnTo>
                  <a:lnTo>
                    <a:pt x="0" y="160"/>
                  </a:lnTo>
                  <a:lnTo>
                    <a:pt x="1" y="125"/>
                  </a:lnTo>
                  <a:lnTo>
                    <a:pt x="4" y="95"/>
                  </a:lnTo>
                  <a:lnTo>
                    <a:pt x="11" y="70"/>
                  </a:lnTo>
                  <a:lnTo>
                    <a:pt x="20" y="49"/>
                  </a:lnTo>
                  <a:lnTo>
                    <a:pt x="32" y="32"/>
                  </a:lnTo>
                  <a:lnTo>
                    <a:pt x="45" y="17"/>
                  </a:lnTo>
                  <a:lnTo>
                    <a:pt x="62" y="8"/>
                  </a:lnTo>
                  <a:lnTo>
                    <a:pt x="82" y="2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305" name="Freeform 193"/>
            <p:cNvSpPr>
              <a:spLocks/>
            </p:cNvSpPr>
            <p:nvPr/>
          </p:nvSpPr>
          <p:spPr bwMode="auto">
            <a:xfrm>
              <a:off x="-690" y="4232"/>
              <a:ext cx="19" cy="53"/>
            </a:xfrm>
            <a:custGeom>
              <a:avLst/>
              <a:gdLst>
                <a:gd name="T0" fmla="*/ 92 w 117"/>
                <a:gd name="T1" fmla="*/ 0 h 316"/>
                <a:gd name="T2" fmla="*/ 117 w 117"/>
                <a:gd name="T3" fmla="*/ 0 h 316"/>
                <a:gd name="T4" fmla="*/ 117 w 117"/>
                <a:gd name="T5" fmla="*/ 316 h 316"/>
                <a:gd name="T6" fmla="*/ 78 w 117"/>
                <a:gd name="T7" fmla="*/ 316 h 316"/>
                <a:gd name="T8" fmla="*/ 78 w 117"/>
                <a:gd name="T9" fmla="*/ 69 h 316"/>
                <a:gd name="T10" fmla="*/ 62 w 117"/>
                <a:gd name="T11" fmla="*/ 82 h 316"/>
                <a:gd name="T12" fmla="*/ 41 w 117"/>
                <a:gd name="T13" fmla="*/ 95 h 316"/>
                <a:gd name="T14" fmla="*/ 19 w 117"/>
                <a:gd name="T15" fmla="*/ 107 h 316"/>
                <a:gd name="T16" fmla="*/ 0 w 117"/>
                <a:gd name="T17" fmla="*/ 116 h 316"/>
                <a:gd name="T18" fmla="*/ 0 w 117"/>
                <a:gd name="T19" fmla="*/ 79 h 316"/>
                <a:gd name="T20" fmla="*/ 30 w 117"/>
                <a:gd name="T21" fmla="*/ 61 h 316"/>
                <a:gd name="T22" fmla="*/ 57 w 117"/>
                <a:gd name="T23" fmla="*/ 42 h 316"/>
                <a:gd name="T24" fmla="*/ 78 w 117"/>
                <a:gd name="T25" fmla="*/ 20 h 316"/>
                <a:gd name="T26" fmla="*/ 92 w 117"/>
                <a:gd name="T27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7" h="316">
                  <a:moveTo>
                    <a:pt x="92" y="0"/>
                  </a:moveTo>
                  <a:lnTo>
                    <a:pt x="117" y="0"/>
                  </a:lnTo>
                  <a:lnTo>
                    <a:pt x="117" y="316"/>
                  </a:lnTo>
                  <a:lnTo>
                    <a:pt x="78" y="316"/>
                  </a:lnTo>
                  <a:lnTo>
                    <a:pt x="78" y="69"/>
                  </a:lnTo>
                  <a:lnTo>
                    <a:pt x="62" y="82"/>
                  </a:lnTo>
                  <a:lnTo>
                    <a:pt x="41" y="95"/>
                  </a:lnTo>
                  <a:lnTo>
                    <a:pt x="19" y="107"/>
                  </a:lnTo>
                  <a:lnTo>
                    <a:pt x="0" y="116"/>
                  </a:lnTo>
                  <a:lnTo>
                    <a:pt x="0" y="79"/>
                  </a:lnTo>
                  <a:lnTo>
                    <a:pt x="30" y="61"/>
                  </a:lnTo>
                  <a:lnTo>
                    <a:pt x="57" y="42"/>
                  </a:lnTo>
                  <a:lnTo>
                    <a:pt x="78" y="20"/>
                  </a:lnTo>
                  <a:lnTo>
                    <a:pt x="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306" name="Freeform 194"/>
            <p:cNvSpPr>
              <a:spLocks/>
            </p:cNvSpPr>
            <p:nvPr/>
          </p:nvSpPr>
          <p:spPr bwMode="auto">
            <a:xfrm>
              <a:off x="-645" y="4318"/>
              <a:ext cx="19" cy="52"/>
            </a:xfrm>
            <a:custGeom>
              <a:avLst/>
              <a:gdLst>
                <a:gd name="T0" fmla="*/ 92 w 117"/>
                <a:gd name="T1" fmla="*/ 0 h 316"/>
                <a:gd name="T2" fmla="*/ 117 w 117"/>
                <a:gd name="T3" fmla="*/ 0 h 316"/>
                <a:gd name="T4" fmla="*/ 117 w 117"/>
                <a:gd name="T5" fmla="*/ 316 h 316"/>
                <a:gd name="T6" fmla="*/ 78 w 117"/>
                <a:gd name="T7" fmla="*/ 316 h 316"/>
                <a:gd name="T8" fmla="*/ 78 w 117"/>
                <a:gd name="T9" fmla="*/ 70 h 316"/>
                <a:gd name="T10" fmla="*/ 62 w 117"/>
                <a:gd name="T11" fmla="*/ 83 h 316"/>
                <a:gd name="T12" fmla="*/ 41 w 117"/>
                <a:gd name="T13" fmla="*/ 96 h 316"/>
                <a:gd name="T14" fmla="*/ 20 w 117"/>
                <a:gd name="T15" fmla="*/ 107 h 316"/>
                <a:gd name="T16" fmla="*/ 0 w 117"/>
                <a:gd name="T17" fmla="*/ 116 h 316"/>
                <a:gd name="T18" fmla="*/ 0 w 117"/>
                <a:gd name="T19" fmla="*/ 79 h 316"/>
                <a:gd name="T20" fmla="*/ 31 w 117"/>
                <a:gd name="T21" fmla="*/ 62 h 316"/>
                <a:gd name="T22" fmla="*/ 58 w 117"/>
                <a:gd name="T23" fmla="*/ 42 h 316"/>
                <a:gd name="T24" fmla="*/ 79 w 117"/>
                <a:gd name="T25" fmla="*/ 21 h 316"/>
                <a:gd name="T26" fmla="*/ 92 w 117"/>
                <a:gd name="T27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7" h="316">
                  <a:moveTo>
                    <a:pt x="92" y="0"/>
                  </a:moveTo>
                  <a:lnTo>
                    <a:pt x="117" y="0"/>
                  </a:lnTo>
                  <a:lnTo>
                    <a:pt x="117" y="316"/>
                  </a:lnTo>
                  <a:lnTo>
                    <a:pt x="78" y="316"/>
                  </a:lnTo>
                  <a:lnTo>
                    <a:pt x="78" y="70"/>
                  </a:lnTo>
                  <a:lnTo>
                    <a:pt x="62" y="83"/>
                  </a:lnTo>
                  <a:lnTo>
                    <a:pt x="41" y="96"/>
                  </a:lnTo>
                  <a:lnTo>
                    <a:pt x="20" y="107"/>
                  </a:lnTo>
                  <a:lnTo>
                    <a:pt x="0" y="116"/>
                  </a:lnTo>
                  <a:lnTo>
                    <a:pt x="0" y="79"/>
                  </a:lnTo>
                  <a:lnTo>
                    <a:pt x="31" y="62"/>
                  </a:lnTo>
                  <a:lnTo>
                    <a:pt x="58" y="42"/>
                  </a:lnTo>
                  <a:lnTo>
                    <a:pt x="79" y="21"/>
                  </a:lnTo>
                  <a:lnTo>
                    <a:pt x="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307" name="Freeform 195"/>
            <p:cNvSpPr>
              <a:spLocks noEditPoints="1"/>
            </p:cNvSpPr>
            <p:nvPr/>
          </p:nvSpPr>
          <p:spPr bwMode="auto">
            <a:xfrm>
              <a:off x="-818" y="4320"/>
              <a:ext cx="34" cy="54"/>
            </a:xfrm>
            <a:custGeom>
              <a:avLst/>
              <a:gdLst>
                <a:gd name="T0" fmla="*/ 86 w 207"/>
                <a:gd name="T1" fmla="*/ 34 h 321"/>
                <a:gd name="T2" fmla="*/ 60 w 207"/>
                <a:gd name="T3" fmla="*/ 55 h 321"/>
                <a:gd name="T4" fmla="*/ 44 w 207"/>
                <a:gd name="T5" fmla="*/ 96 h 321"/>
                <a:gd name="T6" fmla="*/ 40 w 207"/>
                <a:gd name="T7" fmla="*/ 160 h 321"/>
                <a:gd name="T8" fmla="*/ 43 w 207"/>
                <a:gd name="T9" fmla="*/ 214 h 321"/>
                <a:gd name="T10" fmla="*/ 51 w 207"/>
                <a:gd name="T11" fmla="*/ 251 h 321"/>
                <a:gd name="T12" fmla="*/ 71 w 207"/>
                <a:gd name="T13" fmla="*/ 279 h 321"/>
                <a:gd name="T14" fmla="*/ 103 w 207"/>
                <a:gd name="T15" fmla="*/ 290 h 321"/>
                <a:gd name="T16" fmla="*/ 135 w 207"/>
                <a:gd name="T17" fmla="*/ 279 h 321"/>
                <a:gd name="T18" fmla="*/ 155 w 207"/>
                <a:gd name="T19" fmla="*/ 251 h 321"/>
                <a:gd name="T20" fmla="*/ 163 w 207"/>
                <a:gd name="T21" fmla="*/ 214 h 321"/>
                <a:gd name="T22" fmla="*/ 167 w 207"/>
                <a:gd name="T23" fmla="*/ 160 h 321"/>
                <a:gd name="T24" fmla="*/ 163 w 207"/>
                <a:gd name="T25" fmla="*/ 107 h 321"/>
                <a:gd name="T26" fmla="*/ 155 w 207"/>
                <a:gd name="T27" fmla="*/ 69 h 321"/>
                <a:gd name="T28" fmla="*/ 135 w 207"/>
                <a:gd name="T29" fmla="*/ 43 h 321"/>
                <a:gd name="T30" fmla="*/ 103 w 207"/>
                <a:gd name="T31" fmla="*/ 32 h 321"/>
                <a:gd name="T32" fmla="*/ 119 w 207"/>
                <a:gd name="T33" fmla="*/ 1 h 321"/>
                <a:gd name="T34" fmla="*/ 148 w 207"/>
                <a:gd name="T35" fmla="*/ 10 h 321"/>
                <a:gd name="T36" fmla="*/ 179 w 207"/>
                <a:gd name="T37" fmla="*/ 40 h 321"/>
                <a:gd name="T38" fmla="*/ 200 w 207"/>
                <a:gd name="T39" fmla="*/ 86 h 321"/>
                <a:gd name="T40" fmla="*/ 205 w 207"/>
                <a:gd name="T41" fmla="*/ 132 h 321"/>
                <a:gd name="T42" fmla="*/ 205 w 207"/>
                <a:gd name="T43" fmla="*/ 195 h 321"/>
                <a:gd name="T44" fmla="*/ 194 w 207"/>
                <a:gd name="T45" fmla="*/ 250 h 321"/>
                <a:gd name="T46" fmla="*/ 175 w 207"/>
                <a:gd name="T47" fmla="*/ 289 h 321"/>
                <a:gd name="T48" fmla="*/ 145 w 207"/>
                <a:gd name="T49" fmla="*/ 313 h 321"/>
                <a:gd name="T50" fmla="*/ 103 w 207"/>
                <a:gd name="T51" fmla="*/ 321 h 321"/>
                <a:gd name="T52" fmla="*/ 62 w 207"/>
                <a:gd name="T53" fmla="*/ 313 h 321"/>
                <a:gd name="T54" fmla="*/ 31 w 207"/>
                <a:gd name="T55" fmla="*/ 289 h 321"/>
                <a:gd name="T56" fmla="*/ 11 w 207"/>
                <a:gd name="T57" fmla="*/ 249 h 321"/>
                <a:gd name="T58" fmla="*/ 1 w 207"/>
                <a:gd name="T59" fmla="*/ 194 h 321"/>
                <a:gd name="T60" fmla="*/ 1 w 207"/>
                <a:gd name="T61" fmla="*/ 126 h 321"/>
                <a:gd name="T62" fmla="*/ 11 w 207"/>
                <a:gd name="T63" fmla="*/ 70 h 321"/>
                <a:gd name="T64" fmla="*/ 32 w 207"/>
                <a:gd name="T65" fmla="*/ 32 h 321"/>
                <a:gd name="T66" fmla="*/ 62 w 207"/>
                <a:gd name="T67" fmla="*/ 8 h 321"/>
                <a:gd name="T68" fmla="*/ 103 w 207"/>
                <a:gd name="T6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7" h="321">
                  <a:moveTo>
                    <a:pt x="103" y="32"/>
                  </a:moveTo>
                  <a:lnTo>
                    <a:pt x="86" y="34"/>
                  </a:lnTo>
                  <a:lnTo>
                    <a:pt x="72" y="42"/>
                  </a:lnTo>
                  <a:lnTo>
                    <a:pt x="60" y="55"/>
                  </a:lnTo>
                  <a:lnTo>
                    <a:pt x="51" y="71"/>
                  </a:lnTo>
                  <a:lnTo>
                    <a:pt x="44" y="96"/>
                  </a:lnTo>
                  <a:lnTo>
                    <a:pt x="41" y="125"/>
                  </a:lnTo>
                  <a:lnTo>
                    <a:pt x="40" y="160"/>
                  </a:lnTo>
                  <a:lnTo>
                    <a:pt x="41" y="190"/>
                  </a:lnTo>
                  <a:lnTo>
                    <a:pt x="43" y="214"/>
                  </a:lnTo>
                  <a:lnTo>
                    <a:pt x="46" y="235"/>
                  </a:lnTo>
                  <a:lnTo>
                    <a:pt x="51" y="251"/>
                  </a:lnTo>
                  <a:lnTo>
                    <a:pt x="57" y="264"/>
                  </a:lnTo>
                  <a:lnTo>
                    <a:pt x="71" y="279"/>
                  </a:lnTo>
                  <a:lnTo>
                    <a:pt x="86" y="286"/>
                  </a:lnTo>
                  <a:lnTo>
                    <a:pt x="103" y="290"/>
                  </a:lnTo>
                  <a:lnTo>
                    <a:pt x="120" y="286"/>
                  </a:lnTo>
                  <a:lnTo>
                    <a:pt x="135" y="279"/>
                  </a:lnTo>
                  <a:lnTo>
                    <a:pt x="148" y="264"/>
                  </a:lnTo>
                  <a:lnTo>
                    <a:pt x="155" y="251"/>
                  </a:lnTo>
                  <a:lnTo>
                    <a:pt x="160" y="235"/>
                  </a:lnTo>
                  <a:lnTo>
                    <a:pt x="163" y="214"/>
                  </a:lnTo>
                  <a:lnTo>
                    <a:pt x="166" y="190"/>
                  </a:lnTo>
                  <a:lnTo>
                    <a:pt x="167" y="160"/>
                  </a:lnTo>
                  <a:lnTo>
                    <a:pt x="166" y="132"/>
                  </a:lnTo>
                  <a:lnTo>
                    <a:pt x="163" y="107"/>
                  </a:lnTo>
                  <a:lnTo>
                    <a:pt x="160" y="86"/>
                  </a:lnTo>
                  <a:lnTo>
                    <a:pt x="155" y="69"/>
                  </a:lnTo>
                  <a:lnTo>
                    <a:pt x="148" y="57"/>
                  </a:lnTo>
                  <a:lnTo>
                    <a:pt x="135" y="43"/>
                  </a:lnTo>
                  <a:lnTo>
                    <a:pt x="119" y="35"/>
                  </a:lnTo>
                  <a:lnTo>
                    <a:pt x="103" y="32"/>
                  </a:lnTo>
                  <a:close/>
                  <a:moveTo>
                    <a:pt x="103" y="0"/>
                  </a:moveTo>
                  <a:lnTo>
                    <a:pt x="119" y="1"/>
                  </a:lnTo>
                  <a:lnTo>
                    <a:pt x="135" y="5"/>
                  </a:lnTo>
                  <a:lnTo>
                    <a:pt x="148" y="10"/>
                  </a:lnTo>
                  <a:lnTo>
                    <a:pt x="166" y="22"/>
                  </a:lnTo>
                  <a:lnTo>
                    <a:pt x="179" y="40"/>
                  </a:lnTo>
                  <a:lnTo>
                    <a:pt x="191" y="60"/>
                  </a:lnTo>
                  <a:lnTo>
                    <a:pt x="200" y="86"/>
                  </a:lnTo>
                  <a:lnTo>
                    <a:pt x="203" y="107"/>
                  </a:lnTo>
                  <a:lnTo>
                    <a:pt x="205" y="132"/>
                  </a:lnTo>
                  <a:lnTo>
                    <a:pt x="207" y="160"/>
                  </a:lnTo>
                  <a:lnTo>
                    <a:pt x="205" y="195"/>
                  </a:lnTo>
                  <a:lnTo>
                    <a:pt x="201" y="225"/>
                  </a:lnTo>
                  <a:lnTo>
                    <a:pt x="194" y="250"/>
                  </a:lnTo>
                  <a:lnTo>
                    <a:pt x="186" y="271"/>
                  </a:lnTo>
                  <a:lnTo>
                    <a:pt x="175" y="289"/>
                  </a:lnTo>
                  <a:lnTo>
                    <a:pt x="160" y="303"/>
                  </a:lnTo>
                  <a:lnTo>
                    <a:pt x="145" y="313"/>
                  </a:lnTo>
                  <a:lnTo>
                    <a:pt x="125" y="319"/>
                  </a:lnTo>
                  <a:lnTo>
                    <a:pt x="103" y="321"/>
                  </a:lnTo>
                  <a:lnTo>
                    <a:pt x="82" y="319"/>
                  </a:lnTo>
                  <a:lnTo>
                    <a:pt x="62" y="313"/>
                  </a:lnTo>
                  <a:lnTo>
                    <a:pt x="45" y="303"/>
                  </a:lnTo>
                  <a:lnTo>
                    <a:pt x="31" y="289"/>
                  </a:lnTo>
                  <a:lnTo>
                    <a:pt x="20" y="271"/>
                  </a:lnTo>
                  <a:lnTo>
                    <a:pt x="11" y="249"/>
                  </a:lnTo>
                  <a:lnTo>
                    <a:pt x="4" y="224"/>
                  </a:lnTo>
                  <a:lnTo>
                    <a:pt x="1" y="194"/>
                  </a:lnTo>
                  <a:lnTo>
                    <a:pt x="0" y="160"/>
                  </a:lnTo>
                  <a:lnTo>
                    <a:pt x="1" y="126"/>
                  </a:lnTo>
                  <a:lnTo>
                    <a:pt x="4" y="96"/>
                  </a:lnTo>
                  <a:lnTo>
                    <a:pt x="11" y="70"/>
                  </a:lnTo>
                  <a:lnTo>
                    <a:pt x="20" y="50"/>
                  </a:lnTo>
                  <a:lnTo>
                    <a:pt x="32" y="32"/>
                  </a:lnTo>
                  <a:lnTo>
                    <a:pt x="45" y="19"/>
                  </a:lnTo>
                  <a:lnTo>
                    <a:pt x="62" y="8"/>
                  </a:lnTo>
                  <a:lnTo>
                    <a:pt x="82" y="2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308" name="Freeform 196"/>
            <p:cNvSpPr>
              <a:spLocks/>
            </p:cNvSpPr>
            <p:nvPr/>
          </p:nvSpPr>
          <p:spPr bwMode="auto">
            <a:xfrm>
              <a:off x="-772" y="4320"/>
              <a:ext cx="19" cy="53"/>
            </a:xfrm>
            <a:custGeom>
              <a:avLst/>
              <a:gdLst>
                <a:gd name="T0" fmla="*/ 91 w 116"/>
                <a:gd name="T1" fmla="*/ 0 h 316"/>
                <a:gd name="T2" fmla="*/ 116 w 116"/>
                <a:gd name="T3" fmla="*/ 0 h 316"/>
                <a:gd name="T4" fmla="*/ 116 w 116"/>
                <a:gd name="T5" fmla="*/ 316 h 316"/>
                <a:gd name="T6" fmla="*/ 78 w 116"/>
                <a:gd name="T7" fmla="*/ 316 h 316"/>
                <a:gd name="T8" fmla="*/ 78 w 116"/>
                <a:gd name="T9" fmla="*/ 70 h 316"/>
                <a:gd name="T10" fmla="*/ 61 w 116"/>
                <a:gd name="T11" fmla="*/ 84 h 316"/>
                <a:gd name="T12" fmla="*/ 41 w 116"/>
                <a:gd name="T13" fmla="*/ 97 h 316"/>
                <a:gd name="T14" fmla="*/ 19 w 116"/>
                <a:gd name="T15" fmla="*/ 108 h 316"/>
                <a:gd name="T16" fmla="*/ 0 w 116"/>
                <a:gd name="T17" fmla="*/ 116 h 316"/>
                <a:gd name="T18" fmla="*/ 0 w 116"/>
                <a:gd name="T19" fmla="*/ 79 h 316"/>
                <a:gd name="T20" fmla="*/ 30 w 116"/>
                <a:gd name="T21" fmla="*/ 62 h 316"/>
                <a:gd name="T22" fmla="*/ 57 w 116"/>
                <a:gd name="T23" fmla="*/ 42 h 316"/>
                <a:gd name="T24" fmla="*/ 78 w 116"/>
                <a:gd name="T25" fmla="*/ 21 h 316"/>
                <a:gd name="T26" fmla="*/ 91 w 116"/>
                <a:gd name="T27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316">
                  <a:moveTo>
                    <a:pt x="91" y="0"/>
                  </a:moveTo>
                  <a:lnTo>
                    <a:pt x="116" y="0"/>
                  </a:lnTo>
                  <a:lnTo>
                    <a:pt x="116" y="316"/>
                  </a:lnTo>
                  <a:lnTo>
                    <a:pt x="78" y="316"/>
                  </a:lnTo>
                  <a:lnTo>
                    <a:pt x="78" y="70"/>
                  </a:lnTo>
                  <a:lnTo>
                    <a:pt x="61" y="84"/>
                  </a:lnTo>
                  <a:lnTo>
                    <a:pt x="41" y="97"/>
                  </a:lnTo>
                  <a:lnTo>
                    <a:pt x="19" y="108"/>
                  </a:lnTo>
                  <a:lnTo>
                    <a:pt x="0" y="116"/>
                  </a:lnTo>
                  <a:lnTo>
                    <a:pt x="0" y="79"/>
                  </a:lnTo>
                  <a:lnTo>
                    <a:pt x="30" y="62"/>
                  </a:lnTo>
                  <a:lnTo>
                    <a:pt x="57" y="42"/>
                  </a:lnTo>
                  <a:lnTo>
                    <a:pt x="78" y="21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309" name="Freeform 197"/>
            <p:cNvSpPr>
              <a:spLocks/>
            </p:cNvSpPr>
            <p:nvPr/>
          </p:nvSpPr>
          <p:spPr bwMode="auto">
            <a:xfrm>
              <a:off x="-737" y="4320"/>
              <a:ext cx="20" cy="53"/>
            </a:xfrm>
            <a:custGeom>
              <a:avLst/>
              <a:gdLst>
                <a:gd name="T0" fmla="*/ 91 w 117"/>
                <a:gd name="T1" fmla="*/ 0 h 316"/>
                <a:gd name="T2" fmla="*/ 117 w 117"/>
                <a:gd name="T3" fmla="*/ 0 h 316"/>
                <a:gd name="T4" fmla="*/ 117 w 117"/>
                <a:gd name="T5" fmla="*/ 316 h 316"/>
                <a:gd name="T6" fmla="*/ 77 w 117"/>
                <a:gd name="T7" fmla="*/ 316 h 316"/>
                <a:gd name="T8" fmla="*/ 77 w 117"/>
                <a:gd name="T9" fmla="*/ 70 h 316"/>
                <a:gd name="T10" fmla="*/ 62 w 117"/>
                <a:gd name="T11" fmla="*/ 84 h 316"/>
                <a:gd name="T12" fmla="*/ 41 w 117"/>
                <a:gd name="T13" fmla="*/ 97 h 316"/>
                <a:gd name="T14" fmla="*/ 18 w 117"/>
                <a:gd name="T15" fmla="*/ 108 h 316"/>
                <a:gd name="T16" fmla="*/ 0 w 117"/>
                <a:gd name="T17" fmla="*/ 116 h 316"/>
                <a:gd name="T18" fmla="*/ 0 w 117"/>
                <a:gd name="T19" fmla="*/ 79 h 316"/>
                <a:gd name="T20" fmla="*/ 31 w 117"/>
                <a:gd name="T21" fmla="*/ 62 h 316"/>
                <a:gd name="T22" fmla="*/ 57 w 117"/>
                <a:gd name="T23" fmla="*/ 42 h 316"/>
                <a:gd name="T24" fmla="*/ 78 w 117"/>
                <a:gd name="T25" fmla="*/ 21 h 316"/>
                <a:gd name="T26" fmla="*/ 91 w 117"/>
                <a:gd name="T27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7" h="316">
                  <a:moveTo>
                    <a:pt x="91" y="0"/>
                  </a:moveTo>
                  <a:lnTo>
                    <a:pt x="117" y="0"/>
                  </a:lnTo>
                  <a:lnTo>
                    <a:pt x="117" y="316"/>
                  </a:lnTo>
                  <a:lnTo>
                    <a:pt x="77" y="316"/>
                  </a:lnTo>
                  <a:lnTo>
                    <a:pt x="77" y="70"/>
                  </a:lnTo>
                  <a:lnTo>
                    <a:pt x="62" y="84"/>
                  </a:lnTo>
                  <a:lnTo>
                    <a:pt x="41" y="97"/>
                  </a:lnTo>
                  <a:lnTo>
                    <a:pt x="18" y="108"/>
                  </a:lnTo>
                  <a:lnTo>
                    <a:pt x="0" y="116"/>
                  </a:lnTo>
                  <a:lnTo>
                    <a:pt x="0" y="79"/>
                  </a:lnTo>
                  <a:lnTo>
                    <a:pt x="31" y="62"/>
                  </a:lnTo>
                  <a:lnTo>
                    <a:pt x="57" y="42"/>
                  </a:lnTo>
                  <a:lnTo>
                    <a:pt x="78" y="21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310" name="Freeform 198"/>
            <p:cNvSpPr>
              <a:spLocks noEditPoints="1"/>
            </p:cNvSpPr>
            <p:nvPr/>
          </p:nvSpPr>
          <p:spPr bwMode="auto">
            <a:xfrm>
              <a:off x="-701" y="4320"/>
              <a:ext cx="35" cy="54"/>
            </a:xfrm>
            <a:custGeom>
              <a:avLst/>
              <a:gdLst>
                <a:gd name="T0" fmla="*/ 87 w 207"/>
                <a:gd name="T1" fmla="*/ 34 h 321"/>
                <a:gd name="T2" fmla="*/ 60 w 207"/>
                <a:gd name="T3" fmla="*/ 55 h 321"/>
                <a:gd name="T4" fmla="*/ 46 w 207"/>
                <a:gd name="T5" fmla="*/ 96 h 321"/>
                <a:gd name="T6" fmla="*/ 40 w 207"/>
                <a:gd name="T7" fmla="*/ 160 h 321"/>
                <a:gd name="T8" fmla="*/ 44 w 207"/>
                <a:gd name="T9" fmla="*/ 214 h 321"/>
                <a:gd name="T10" fmla="*/ 52 w 207"/>
                <a:gd name="T11" fmla="*/ 251 h 321"/>
                <a:gd name="T12" fmla="*/ 72 w 207"/>
                <a:gd name="T13" fmla="*/ 279 h 321"/>
                <a:gd name="T14" fmla="*/ 103 w 207"/>
                <a:gd name="T15" fmla="*/ 290 h 321"/>
                <a:gd name="T16" fmla="*/ 135 w 207"/>
                <a:gd name="T17" fmla="*/ 279 h 321"/>
                <a:gd name="T18" fmla="*/ 155 w 207"/>
                <a:gd name="T19" fmla="*/ 251 h 321"/>
                <a:gd name="T20" fmla="*/ 164 w 207"/>
                <a:gd name="T21" fmla="*/ 214 h 321"/>
                <a:gd name="T22" fmla="*/ 167 w 207"/>
                <a:gd name="T23" fmla="*/ 160 h 321"/>
                <a:gd name="T24" fmla="*/ 164 w 207"/>
                <a:gd name="T25" fmla="*/ 107 h 321"/>
                <a:gd name="T26" fmla="*/ 155 w 207"/>
                <a:gd name="T27" fmla="*/ 69 h 321"/>
                <a:gd name="T28" fmla="*/ 135 w 207"/>
                <a:gd name="T29" fmla="*/ 43 h 321"/>
                <a:gd name="T30" fmla="*/ 103 w 207"/>
                <a:gd name="T31" fmla="*/ 32 h 321"/>
                <a:gd name="T32" fmla="*/ 128 w 207"/>
                <a:gd name="T33" fmla="*/ 2 h 321"/>
                <a:gd name="T34" fmla="*/ 161 w 207"/>
                <a:gd name="T35" fmla="*/ 18 h 321"/>
                <a:gd name="T36" fmla="*/ 181 w 207"/>
                <a:gd name="T37" fmla="*/ 40 h 321"/>
                <a:gd name="T38" fmla="*/ 201 w 207"/>
                <a:gd name="T39" fmla="*/ 86 h 321"/>
                <a:gd name="T40" fmla="*/ 206 w 207"/>
                <a:gd name="T41" fmla="*/ 132 h 321"/>
                <a:gd name="T42" fmla="*/ 206 w 207"/>
                <a:gd name="T43" fmla="*/ 195 h 321"/>
                <a:gd name="T44" fmla="*/ 196 w 207"/>
                <a:gd name="T45" fmla="*/ 250 h 321"/>
                <a:gd name="T46" fmla="*/ 175 w 207"/>
                <a:gd name="T47" fmla="*/ 289 h 321"/>
                <a:gd name="T48" fmla="*/ 145 w 207"/>
                <a:gd name="T49" fmla="*/ 313 h 321"/>
                <a:gd name="T50" fmla="*/ 103 w 207"/>
                <a:gd name="T51" fmla="*/ 321 h 321"/>
                <a:gd name="T52" fmla="*/ 62 w 207"/>
                <a:gd name="T53" fmla="*/ 313 h 321"/>
                <a:gd name="T54" fmla="*/ 31 w 207"/>
                <a:gd name="T55" fmla="*/ 289 h 321"/>
                <a:gd name="T56" fmla="*/ 11 w 207"/>
                <a:gd name="T57" fmla="*/ 249 h 321"/>
                <a:gd name="T58" fmla="*/ 2 w 207"/>
                <a:gd name="T59" fmla="*/ 194 h 321"/>
                <a:gd name="T60" fmla="*/ 2 w 207"/>
                <a:gd name="T61" fmla="*/ 126 h 321"/>
                <a:gd name="T62" fmla="*/ 11 w 207"/>
                <a:gd name="T63" fmla="*/ 70 h 321"/>
                <a:gd name="T64" fmla="*/ 32 w 207"/>
                <a:gd name="T65" fmla="*/ 32 h 321"/>
                <a:gd name="T66" fmla="*/ 62 w 207"/>
                <a:gd name="T67" fmla="*/ 8 h 321"/>
                <a:gd name="T68" fmla="*/ 103 w 207"/>
                <a:gd name="T6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7" h="321">
                  <a:moveTo>
                    <a:pt x="103" y="32"/>
                  </a:moveTo>
                  <a:lnTo>
                    <a:pt x="87" y="34"/>
                  </a:lnTo>
                  <a:lnTo>
                    <a:pt x="72" y="42"/>
                  </a:lnTo>
                  <a:lnTo>
                    <a:pt x="60" y="55"/>
                  </a:lnTo>
                  <a:lnTo>
                    <a:pt x="51" y="71"/>
                  </a:lnTo>
                  <a:lnTo>
                    <a:pt x="46" y="96"/>
                  </a:lnTo>
                  <a:lnTo>
                    <a:pt x="41" y="125"/>
                  </a:lnTo>
                  <a:lnTo>
                    <a:pt x="40" y="160"/>
                  </a:lnTo>
                  <a:lnTo>
                    <a:pt x="41" y="190"/>
                  </a:lnTo>
                  <a:lnTo>
                    <a:pt x="44" y="214"/>
                  </a:lnTo>
                  <a:lnTo>
                    <a:pt x="47" y="235"/>
                  </a:lnTo>
                  <a:lnTo>
                    <a:pt x="52" y="251"/>
                  </a:lnTo>
                  <a:lnTo>
                    <a:pt x="59" y="264"/>
                  </a:lnTo>
                  <a:lnTo>
                    <a:pt x="72" y="279"/>
                  </a:lnTo>
                  <a:lnTo>
                    <a:pt x="87" y="286"/>
                  </a:lnTo>
                  <a:lnTo>
                    <a:pt x="103" y="290"/>
                  </a:lnTo>
                  <a:lnTo>
                    <a:pt x="121" y="286"/>
                  </a:lnTo>
                  <a:lnTo>
                    <a:pt x="135" y="279"/>
                  </a:lnTo>
                  <a:lnTo>
                    <a:pt x="149" y="264"/>
                  </a:lnTo>
                  <a:lnTo>
                    <a:pt x="155" y="251"/>
                  </a:lnTo>
                  <a:lnTo>
                    <a:pt x="161" y="235"/>
                  </a:lnTo>
                  <a:lnTo>
                    <a:pt x="164" y="214"/>
                  </a:lnTo>
                  <a:lnTo>
                    <a:pt x="166" y="190"/>
                  </a:lnTo>
                  <a:lnTo>
                    <a:pt x="167" y="160"/>
                  </a:lnTo>
                  <a:lnTo>
                    <a:pt x="166" y="132"/>
                  </a:lnTo>
                  <a:lnTo>
                    <a:pt x="164" y="107"/>
                  </a:lnTo>
                  <a:lnTo>
                    <a:pt x="161" y="86"/>
                  </a:lnTo>
                  <a:lnTo>
                    <a:pt x="155" y="69"/>
                  </a:lnTo>
                  <a:lnTo>
                    <a:pt x="149" y="57"/>
                  </a:lnTo>
                  <a:lnTo>
                    <a:pt x="135" y="43"/>
                  </a:lnTo>
                  <a:lnTo>
                    <a:pt x="121" y="35"/>
                  </a:lnTo>
                  <a:lnTo>
                    <a:pt x="103" y="32"/>
                  </a:lnTo>
                  <a:close/>
                  <a:moveTo>
                    <a:pt x="103" y="0"/>
                  </a:moveTo>
                  <a:lnTo>
                    <a:pt x="128" y="2"/>
                  </a:lnTo>
                  <a:lnTo>
                    <a:pt x="149" y="10"/>
                  </a:lnTo>
                  <a:lnTo>
                    <a:pt x="161" y="18"/>
                  </a:lnTo>
                  <a:lnTo>
                    <a:pt x="171" y="28"/>
                  </a:lnTo>
                  <a:lnTo>
                    <a:pt x="181" y="40"/>
                  </a:lnTo>
                  <a:lnTo>
                    <a:pt x="192" y="60"/>
                  </a:lnTo>
                  <a:lnTo>
                    <a:pt x="201" y="86"/>
                  </a:lnTo>
                  <a:lnTo>
                    <a:pt x="204" y="107"/>
                  </a:lnTo>
                  <a:lnTo>
                    <a:pt x="206" y="132"/>
                  </a:lnTo>
                  <a:lnTo>
                    <a:pt x="207" y="160"/>
                  </a:lnTo>
                  <a:lnTo>
                    <a:pt x="206" y="195"/>
                  </a:lnTo>
                  <a:lnTo>
                    <a:pt x="203" y="225"/>
                  </a:lnTo>
                  <a:lnTo>
                    <a:pt x="196" y="250"/>
                  </a:lnTo>
                  <a:lnTo>
                    <a:pt x="187" y="271"/>
                  </a:lnTo>
                  <a:lnTo>
                    <a:pt x="175" y="289"/>
                  </a:lnTo>
                  <a:lnTo>
                    <a:pt x="162" y="303"/>
                  </a:lnTo>
                  <a:lnTo>
                    <a:pt x="145" y="313"/>
                  </a:lnTo>
                  <a:lnTo>
                    <a:pt x="125" y="319"/>
                  </a:lnTo>
                  <a:lnTo>
                    <a:pt x="103" y="321"/>
                  </a:lnTo>
                  <a:lnTo>
                    <a:pt x="82" y="319"/>
                  </a:lnTo>
                  <a:lnTo>
                    <a:pt x="62" y="313"/>
                  </a:lnTo>
                  <a:lnTo>
                    <a:pt x="46" y="303"/>
                  </a:lnTo>
                  <a:lnTo>
                    <a:pt x="31" y="289"/>
                  </a:lnTo>
                  <a:lnTo>
                    <a:pt x="20" y="271"/>
                  </a:lnTo>
                  <a:lnTo>
                    <a:pt x="11" y="249"/>
                  </a:lnTo>
                  <a:lnTo>
                    <a:pt x="6" y="224"/>
                  </a:lnTo>
                  <a:lnTo>
                    <a:pt x="2" y="194"/>
                  </a:lnTo>
                  <a:lnTo>
                    <a:pt x="0" y="160"/>
                  </a:lnTo>
                  <a:lnTo>
                    <a:pt x="2" y="126"/>
                  </a:lnTo>
                  <a:lnTo>
                    <a:pt x="6" y="96"/>
                  </a:lnTo>
                  <a:lnTo>
                    <a:pt x="11" y="70"/>
                  </a:lnTo>
                  <a:lnTo>
                    <a:pt x="21" y="50"/>
                  </a:lnTo>
                  <a:lnTo>
                    <a:pt x="32" y="32"/>
                  </a:lnTo>
                  <a:lnTo>
                    <a:pt x="47" y="19"/>
                  </a:lnTo>
                  <a:lnTo>
                    <a:pt x="62" y="8"/>
                  </a:lnTo>
                  <a:lnTo>
                    <a:pt x="82" y="2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</p:grpSp>
      <p:sp>
        <p:nvSpPr>
          <p:cNvPr id="311" name="Oval 310"/>
          <p:cNvSpPr/>
          <p:nvPr/>
        </p:nvSpPr>
        <p:spPr bwMode="ltGray">
          <a:xfrm>
            <a:off x="4709274" y="4314999"/>
            <a:ext cx="1581201" cy="158120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68" name="Group 63"/>
          <p:cNvGrpSpPr>
            <a:grpSpLocks noChangeAspect="1"/>
          </p:cNvGrpSpPr>
          <p:nvPr/>
        </p:nvGrpSpPr>
        <p:grpSpPr bwMode="auto">
          <a:xfrm>
            <a:off x="5042661" y="4517828"/>
            <a:ext cx="914427" cy="1175542"/>
            <a:chOff x="-1697" y="2004"/>
            <a:chExt cx="1744" cy="2242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269" name="Freeform 65"/>
            <p:cNvSpPr>
              <a:spLocks/>
            </p:cNvSpPr>
            <p:nvPr/>
          </p:nvSpPr>
          <p:spPr bwMode="auto">
            <a:xfrm>
              <a:off x="-1093" y="2708"/>
              <a:ext cx="51" cy="141"/>
            </a:xfrm>
            <a:custGeom>
              <a:avLst/>
              <a:gdLst>
                <a:gd name="T0" fmla="*/ 0 w 104"/>
                <a:gd name="T1" fmla="*/ 0 h 284"/>
                <a:gd name="T2" fmla="*/ 104 w 104"/>
                <a:gd name="T3" fmla="*/ 0 h 284"/>
                <a:gd name="T4" fmla="*/ 104 w 104"/>
                <a:gd name="T5" fmla="*/ 284 h 284"/>
                <a:gd name="T6" fmla="*/ 55 w 104"/>
                <a:gd name="T7" fmla="*/ 284 h 284"/>
                <a:gd name="T8" fmla="*/ 55 w 104"/>
                <a:gd name="T9" fmla="*/ 43 h 284"/>
                <a:gd name="T10" fmla="*/ 0 w 104"/>
                <a:gd name="T11" fmla="*/ 43 h 284"/>
                <a:gd name="T12" fmla="*/ 0 w 104"/>
                <a:gd name="T13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284">
                  <a:moveTo>
                    <a:pt x="0" y="0"/>
                  </a:moveTo>
                  <a:lnTo>
                    <a:pt x="104" y="0"/>
                  </a:lnTo>
                  <a:lnTo>
                    <a:pt x="104" y="284"/>
                  </a:lnTo>
                  <a:lnTo>
                    <a:pt x="55" y="284"/>
                  </a:lnTo>
                  <a:lnTo>
                    <a:pt x="55" y="43"/>
                  </a:lnTo>
                  <a:lnTo>
                    <a:pt x="0" y="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70" name="Freeform 66"/>
            <p:cNvSpPr>
              <a:spLocks noEditPoints="1"/>
            </p:cNvSpPr>
            <p:nvPr/>
          </p:nvSpPr>
          <p:spPr bwMode="auto">
            <a:xfrm>
              <a:off x="-1220" y="2707"/>
              <a:ext cx="120" cy="143"/>
            </a:xfrm>
            <a:custGeom>
              <a:avLst/>
              <a:gdLst>
                <a:gd name="T0" fmla="*/ 122 w 242"/>
                <a:gd name="T1" fmla="*/ 38 h 286"/>
                <a:gd name="T2" fmla="*/ 100 w 242"/>
                <a:gd name="T3" fmla="*/ 41 h 286"/>
                <a:gd name="T4" fmla="*/ 81 w 242"/>
                <a:gd name="T5" fmla="*/ 49 h 286"/>
                <a:gd name="T6" fmla="*/ 67 w 242"/>
                <a:gd name="T7" fmla="*/ 63 h 286"/>
                <a:gd name="T8" fmla="*/ 58 w 242"/>
                <a:gd name="T9" fmla="*/ 83 h 286"/>
                <a:gd name="T10" fmla="*/ 51 w 242"/>
                <a:gd name="T11" fmla="*/ 110 h 286"/>
                <a:gd name="T12" fmla="*/ 50 w 242"/>
                <a:gd name="T13" fmla="*/ 143 h 286"/>
                <a:gd name="T14" fmla="*/ 51 w 242"/>
                <a:gd name="T15" fmla="*/ 176 h 286"/>
                <a:gd name="T16" fmla="*/ 58 w 242"/>
                <a:gd name="T17" fmla="*/ 202 h 286"/>
                <a:gd name="T18" fmla="*/ 67 w 242"/>
                <a:gd name="T19" fmla="*/ 222 h 286"/>
                <a:gd name="T20" fmla="*/ 81 w 242"/>
                <a:gd name="T21" fmla="*/ 237 h 286"/>
                <a:gd name="T22" fmla="*/ 100 w 242"/>
                <a:gd name="T23" fmla="*/ 245 h 286"/>
                <a:gd name="T24" fmla="*/ 122 w 242"/>
                <a:gd name="T25" fmla="*/ 248 h 286"/>
                <a:gd name="T26" fmla="*/ 144 w 242"/>
                <a:gd name="T27" fmla="*/ 245 h 286"/>
                <a:gd name="T28" fmla="*/ 161 w 242"/>
                <a:gd name="T29" fmla="*/ 237 h 286"/>
                <a:gd name="T30" fmla="*/ 175 w 242"/>
                <a:gd name="T31" fmla="*/ 222 h 286"/>
                <a:gd name="T32" fmla="*/ 185 w 242"/>
                <a:gd name="T33" fmla="*/ 202 h 286"/>
                <a:gd name="T34" fmla="*/ 191 w 242"/>
                <a:gd name="T35" fmla="*/ 176 h 286"/>
                <a:gd name="T36" fmla="*/ 193 w 242"/>
                <a:gd name="T37" fmla="*/ 143 h 286"/>
                <a:gd name="T38" fmla="*/ 191 w 242"/>
                <a:gd name="T39" fmla="*/ 110 h 286"/>
                <a:gd name="T40" fmla="*/ 185 w 242"/>
                <a:gd name="T41" fmla="*/ 83 h 286"/>
                <a:gd name="T42" fmla="*/ 175 w 242"/>
                <a:gd name="T43" fmla="*/ 63 h 286"/>
                <a:gd name="T44" fmla="*/ 161 w 242"/>
                <a:gd name="T45" fmla="*/ 49 h 286"/>
                <a:gd name="T46" fmla="*/ 144 w 242"/>
                <a:gd name="T47" fmla="*/ 41 h 286"/>
                <a:gd name="T48" fmla="*/ 122 w 242"/>
                <a:gd name="T49" fmla="*/ 38 h 286"/>
                <a:gd name="T50" fmla="*/ 122 w 242"/>
                <a:gd name="T51" fmla="*/ 0 h 286"/>
                <a:gd name="T52" fmla="*/ 152 w 242"/>
                <a:gd name="T53" fmla="*/ 3 h 286"/>
                <a:gd name="T54" fmla="*/ 179 w 242"/>
                <a:gd name="T55" fmla="*/ 12 h 286"/>
                <a:gd name="T56" fmla="*/ 201 w 242"/>
                <a:gd name="T57" fmla="*/ 27 h 286"/>
                <a:gd name="T58" fmla="*/ 219 w 242"/>
                <a:gd name="T59" fmla="*/ 48 h 286"/>
                <a:gd name="T60" fmla="*/ 231 w 242"/>
                <a:gd name="T61" fmla="*/ 75 h 286"/>
                <a:gd name="T62" fmla="*/ 239 w 242"/>
                <a:gd name="T63" fmla="*/ 106 h 286"/>
                <a:gd name="T64" fmla="*/ 242 w 242"/>
                <a:gd name="T65" fmla="*/ 143 h 286"/>
                <a:gd name="T66" fmla="*/ 239 w 242"/>
                <a:gd name="T67" fmla="*/ 180 h 286"/>
                <a:gd name="T68" fmla="*/ 231 w 242"/>
                <a:gd name="T69" fmla="*/ 211 h 286"/>
                <a:gd name="T70" fmla="*/ 219 w 242"/>
                <a:gd name="T71" fmla="*/ 239 h 286"/>
                <a:gd name="T72" fmla="*/ 201 w 242"/>
                <a:gd name="T73" fmla="*/ 259 h 286"/>
                <a:gd name="T74" fmla="*/ 179 w 242"/>
                <a:gd name="T75" fmla="*/ 274 h 286"/>
                <a:gd name="T76" fmla="*/ 152 w 242"/>
                <a:gd name="T77" fmla="*/ 284 h 286"/>
                <a:gd name="T78" fmla="*/ 122 w 242"/>
                <a:gd name="T79" fmla="*/ 286 h 286"/>
                <a:gd name="T80" fmla="*/ 91 w 242"/>
                <a:gd name="T81" fmla="*/ 284 h 286"/>
                <a:gd name="T82" fmla="*/ 63 w 242"/>
                <a:gd name="T83" fmla="*/ 274 h 286"/>
                <a:gd name="T84" fmla="*/ 41 w 242"/>
                <a:gd name="T85" fmla="*/ 259 h 286"/>
                <a:gd name="T86" fmla="*/ 24 w 242"/>
                <a:gd name="T87" fmla="*/ 239 h 286"/>
                <a:gd name="T88" fmla="*/ 11 w 242"/>
                <a:gd name="T89" fmla="*/ 211 h 286"/>
                <a:gd name="T90" fmla="*/ 3 w 242"/>
                <a:gd name="T91" fmla="*/ 180 h 286"/>
                <a:gd name="T92" fmla="*/ 0 w 242"/>
                <a:gd name="T93" fmla="*/ 143 h 286"/>
                <a:gd name="T94" fmla="*/ 3 w 242"/>
                <a:gd name="T95" fmla="*/ 106 h 286"/>
                <a:gd name="T96" fmla="*/ 11 w 242"/>
                <a:gd name="T97" fmla="*/ 75 h 286"/>
                <a:gd name="T98" fmla="*/ 24 w 242"/>
                <a:gd name="T99" fmla="*/ 48 h 286"/>
                <a:gd name="T100" fmla="*/ 41 w 242"/>
                <a:gd name="T101" fmla="*/ 27 h 286"/>
                <a:gd name="T102" fmla="*/ 63 w 242"/>
                <a:gd name="T103" fmla="*/ 12 h 286"/>
                <a:gd name="T104" fmla="*/ 91 w 242"/>
                <a:gd name="T105" fmla="*/ 3 h 286"/>
                <a:gd name="T106" fmla="*/ 122 w 242"/>
                <a:gd name="T107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2" h="286">
                  <a:moveTo>
                    <a:pt x="122" y="38"/>
                  </a:moveTo>
                  <a:lnTo>
                    <a:pt x="100" y="41"/>
                  </a:lnTo>
                  <a:lnTo>
                    <a:pt x="81" y="49"/>
                  </a:lnTo>
                  <a:lnTo>
                    <a:pt x="67" y="63"/>
                  </a:lnTo>
                  <a:lnTo>
                    <a:pt x="58" y="83"/>
                  </a:lnTo>
                  <a:lnTo>
                    <a:pt x="51" y="110"/>
                  </a:lnTo>
                  <a:lnTo>
                    <a:pt x="50" y="143"/>
                  </a:lnTo>
                  <a:lnTo>
                    <a:pt x="51" y="176"/>
                  </a:lnTo>
                  <a:lnTo>
                    <a:pt x="58" y="202"/>
                  </a:lnTo>
                  <a:lnTo>
                    <a:pt x="67" y="222"/>
                  </a:lnTo>
                  <a:lnTo>
                    <a:pt x="81" y="237"/>
                  </a:lnTo>
                  <a:lnTo>
                    <a:pt x="100" y="245"/>
                  </a:lnTo>
                  <a:lnTo>
                    <a:pt x="122" y="248"/>
                  </a:lnTo>
                  <a:lnTo>
                    <a:pt x="144" y="245"/>
                  </a:lnTo>
                  <a:lnTo>
                    <a:pt x="161" y="237"/>
                  </a:lnTo>
                  <a:lnTo>
                    <a:pt x="175" y="222"/>
                  </a:lnTo>
                  <a:lnTo>
                    <a:pt x="185" y="202"/>
                  </a:lnTo>
                  <a:lnTo>
                    <a:pt x="191" y="176"/>
                  </a:lnTo>
                  <a:lnTo>
                    <a:pt x="193" y="143"/>
                  </a:lnTo>
                  <a:lnTo>
                    <a:pt x="191" y="110"/>
                  </a:lnTo>
                  <a:lnTo>
                    <a:pt x="185" y="83"/>
                  </a:lnTo>
                  <a:lnTo>
                    <a:pt x="175" y="63"/>
                  </a:lnTo>
                  <a:lnTo>
                    <a:pt x="161" y="49"/>
                  </a:lnTo>
                  <a:lnTo>
                    <a:pt x="144" y="41"/>
                  </a:lnTo>
                  <a:lnTo>
                    <a:pt x="122" y="38"/>
                  </a:lnTo>
                  <a:close/>
                  <a:moveTo>
                    <a:pt x="122" y="0"/>
                  </a:moveTo>
                  <a:lnTo>
                    <a:pt x="152" y="3"/>
                  </a:lnTo>
                  <a:lnTo>
                    <a:pt x="179" y="12"/>
                  </a:lnTo>
                  <a:lnTo>
                    <a:pt x="201" y="27"/>
                  </a:lnTo>
                  <a:lnTo>
                    <a:pt x="219" y="48"/>
                  </a:lnTo>
                  <a:lnTo>
                    <a:pt x="231" y="75"/>
                  </a:lnTo>
                  <a:lnTo>
                    <a:pt x="239" y="106"/>
                  </a:lnTo>
                  <a:lnTo>
                    <a:pt x="242" y="143"/>
                  </a:lnTo>
                  <a:lnTo>
                    <a:pt x="239" y="180"/>
                  </a:lnTo>
                  <a:lnTo>
                    <a:pt x="231" y="211"/>
                  </a:lnTo>
                  <a:lnTo>
                    <a:pt x="219" y="239"/>
                  </a:lnTo>
                  <a:lnTo>
                    <a:pt x="201" y="259"/>
                  </a:lnTo>
                  <a:lnTo>
                    <a:pt x="179" y="274"/>
                  </a:lnTo>
                  <a:lnTo>
                    <a:pt x="152" y="284"/>
                  </a:lnTo>
                  <a:lnTo>
                    <a:pt x="122" y="286"/>
                  </a:lnTo>
                  <a:lnTo>
                    <a:pt x="91" y="284"/>
                  </a:lnTo>
                  <a:lnTo>
                    <a:pt x="63" y="274"/>
                  </a:lnTo>
                  <a:lnTo>
                    <a:pt x="41" y="259"/>
                  </a:lnTo>
                  <a:lnTo>
                    <a:pt x="24" y="239"/>
                  </a:lnTo>
                  <a:lnTo>
                    <a:pt x="11" y="211"/>
                  </a:lnTo>
                  <a:lnTo>
                    <a:pt x="3" y="180"/>
                  </a:lnTo>
                  <a:lnTo>
                    <a:pt x="0" y="143"/>
                  </a:lnTo>
                  <a:lnTo>
                    <a:pt x="3" y="106"/>
                  </a:lnTo>
                  <a:lnTo>
                    <a:pt x="11" y="75"/>
                  </a:lnTo>
                  <a:lnTo>
                    <a:pt x="24" y="48"/>
                  </a:lnTo>
                  <a:lnTo>
                    <a:pt x="41" y="27"/>
                  </a:lnTo>
                  <a:lnTo>
                    <a:pt x="63" y="12"/>
                  </a:lnTo>
                  <a:lnTo>
                    <a:pt x="91" y="3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71" name="Freeform 67"/>
            <p:cNvSpPr>
              <a:spLocks/>
            </p:cNvSpPr>
            <p:nvPr/>
          </p:nvSpPr>
          <p:spPr bwMode="auto">
            <a:xfrm>
              <a:off x="-887" y="2273"/>
              <a:ext cx="51" cy="142"/>
            </a:xfrm>
            <a:custGeom>
              <a:avLst/>
              <a:gdLst>
                <a:gd name="T0" fmla="*/ 0 w 102"/>
                <a:gd name="T1" fmla="*/ 0 h 285"/>
                <a:gd name="T2" fmla="*/ 102 w 102"/>
                <a:gd name="T3" fmla="*/ 0 h 285"/>
                <a:gd name="T4" fmla="*/ 102 w 102"/>
                <a:gd name="T5" fmla="*/ 285 h 285"/>
                <a:gd name="T6" fmla="*/ 55 w 102"/>
                <a:gd name="T7" fmla="*/ 285 h 285"/>
                <a:gd name="T8" fmla="*/ 55 w 102"/>
                <a:gd name="T9" fmla="*/ 44 h 285"/>
                <a:gd name="T10" fmla="*/ 0 w 102"/>
                <a:gd name="T11" fmla="*/ 44 h 285"/>
                <a:gd name="T12" fmla="*/ 0 w 102"/>
                <a:gd name="T1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285">
                  <a:moveTo>
                    <a:pt x="0" y="0"/>
                  </a:moveTo>
                  <a:lnTo>
                    <a:pt x="102" y="0"/>
                  </a:lnTo>
                  <a:lnTo>
                    <a:pt x="102" y="285"/>
                  </a:lnTo>
                  <a:lnTo>
                    <a:pt x="55" y="285"/>
                  </a:lnTo>
                  <a:lnTo>
                    <a:pt x="55" y="44"/>
                  </a:lnTo>
                  <a:lnTo>
                    <a:pt x="0" y="4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72" name="Freeform 68"/>
            <p:cNvSpPr>
              <a:spLocks/>
            </p:cNvSpPr>
            <p:nvPr/>
          </p:nvSpPr>
          <p:spPr bwMode="auto">
            <a:xfrm>
              <a:off x="-548" y="2490"/>
              <a:ext cx="51" cy="142"/>
            </a:xfrm>
            <a:custGeom>
              <a:avLst/>
              <a:gdLst>
                <a:gd name="T0" fmla="*/ 0 w 104"/>
                <a:gd name="T1" fmla="*/ 0 h 284"/>
                <a:gd name="T2" fmla="*/ 104 w 104"/>
                <a:gd name="T3" fmla="*/ 0 h 284"/>
                <a:gd name="T4" fmla="*/ 104 w 104"/>
                <a:gd name="T5" fmla="*/ 284 h 284"/>
                <a:gd name="T6" fmla="*/ 56 w 104"/>
                <a:gd name="T7" fmla="*/ 284 h 284"/>
                <a:gd name="T8" fmla="*/ 56 w 104"/>
                <a:gd name="T9" fmla="*/ 43 h 284"/>
                <a:gd name="T10" fmla="*/ 0 w 104"/>
                <a:gd name="T11" fmla="*/ 43 h 284"/>
                <a:gd name="T12" fmla="*/ 0 w 104"/>
                <a:gd name="T13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284">
                  <a:moveTo>
                    <a:pt x="0" y="0"/>
                  </a:moveTo>
                  <a:lnTo>
                    <a:pt x="104" y="0"/>
                  </a:lnTo>
                  <a:lnTo>
                    <a:pt x="104" y="284"/>
                  </a:lnTo>
                  <a:lnTo>
                    <a:pt x="56" y="284"/>
                  </a:lnTo>
                  <a:lnTo>
                    <a:pt x="56" y="43"/>
                  </a:lnTo>
                  <a:lnTo>
                    <a:pt x="0" y="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73" name="Freeform 69"/>
            <p:cNvSpPr>
              <a:spLocks noEditPoints="1"/>
            </p:cNvSpPr>
            <p:nvPr/>
          </p:nvSpPr>
          <p:spPr bwMode="auto">
            <a:xfrm>
              <a:off x="-808" y="2272"/>
              <a:ext cx="120" cy="144"/>
            </a:xfrm>
            <a:custGeom>
              <a:avLst/>
              <a:gdLst>
                <a:gd name="T0" fmla="*/ 120 w 242"/>
                <a:gd name="T1" fmla="*/ 38 h 288"/>
                <a:gd name="T2" fmla="*/ 99 w 242"/>
                <a:gd name="T3" fmla="*/ 41 h 288"/>
                <a:gd name="T4" fmla="*/ 81 w 242"/>
                <a:gd name="T5" fmla="*/ 49 h 288"/>
                <a:gd name="T6" fmla="*/ 67 w 242"/>
                <a:gd name="T7" fmla="*/ 64 h 288"/>
                <a:gd name="T8" fmla="*/ 56 w 242"/>
                <a:gd name="T9" fmla="*/ 84 h 288"/>
                <a:gd name="T10" fmla="*/ 51 w 242"/>
                <a:gd name="T11" fmla="*/ 110 h 288"/>
                <a:gd name="T12" fmla="*/ 49 w 242"/>
                <a:gd name="T13" fmla="*/ 144 h 288"/>
                <a:gd name="T14" fmla="*/ 51 w 242"/>
                <a:gd name="T15" fmla="*/ 177 h 288"/>
                <a:gd name="T16" fmla="*/ 56 w 242"/>
                <a:gd name="T17" fmla="*/ 203 h 288"/>
                <a:gd name="T18" fmla="*/ 67 w 242"/>
                <a:gd name="T19" fmla="*/ 224 h 288"/>
                <a:gd name="T20" fmla="*/ 81 w 242"/>
                <a:gd name="T21" fmla="*/ 239 h 288"/>
                <a:gd name="T22" fmla="*/ 99 w 242"/>
                <a:gd name="T23" fmla="*/ 247 h 288"/>
                <a:gd name="T24" fmla="*/ 120 w 242"/>
                <a:gd name="T25" fmla="*/ 249 h 288"/>
                <a:gd name="T26" fmla="*/ 142 w 242"/>
                <a:gd name="T27" fmla="*/ 247 h 288"/>
                <a:gd name="T28" fmla="*/ 160 w 242"/>
                <a:gd name="T29" fmla="*/ 239 h 288"/>
                <a:gd name="T30" fmla="*/ 174 w 242"/>
                <a:gd name="T31" fmla="*/ 224 h 288"/>
                <a:gd name="T32" fmla="*/ 185 w 242"/>
                <a:gd name="T33" fmla="*/ 203 h 288"/>
                <a:gd name="T34" fmla="*/ 190 w 242"/>
                <a:gd name="T35" fmla="*/ 177 h 288"/>
                <a:gd name="T36" fmla="*/ 193 w 242"/>
                <a:gd name="T37" fmla="*/ 144 h 288"/>
                <a:gd name="T38" fmla="*/ 190 w 242"/>
                <a:gd name="T39" fmla="*/ 110 h 288"/>
                <a:gd name="T40" fmla="*/ 185 w 242"/>
                <a:gd name="T41" fmla="*/ 84 h 288"/>
                <a:gd name="T42" fmla="*/ 174 w 242"/>
                <a:gd name="T43" fmla="*/ 64 h 288"/>
                <a:gd name="T44" fmla="*/ 160 w 242"/>
                <a:gd name="T45" fmla="*/ 49 h 288"/>
                <a:gd name="T46" fmla="*/ 142 w 242"/>
                <a:gd name="T47" fmla="*/ 41 h 288"/>
                <a:gd name="T48" fmla="*/ 120 w 242"/>
                <a:gd name="T49" fmla="*/ 38 h 288"/>
                <a:gd name="T50" fmla="*/ 120 w 242"/>
                <a:gd name="T51" fmla="*/ 0 h 288"/>
                <a:gd name="T52" fmla="*/ 152 w 242"/>
                <a:gd name="T53" fmla="*/ 4 h 288"/>
                <a:gd name="T54" fmla="*/ 179 w 242"/>
                <a:gd name="T55" fmla="*/ 12 h 288"/>
                <a:gd name="T56" fmla="*/ 201 w 242"/>
                <a:gd name="T57" fmla="*/ 29 h 288"/>
                <a:gd name="T58" fmla="*/ 219 w 242"/>
                <a:gd name="T59" fmla="*/ 49 h 288"/>
                <a:gd name="T60" fmla="*/ 231 w 242"/>
                <a:gd name="T61" fmla="*/ 75 h 288"/>
                <a:gd name="T62" fmla="*/ 239 w 242"/>
                <a:gd name="T63" fmla="*/ 106 h 288"/>
                <a:gd name="T64" fmla="*/ 242 w 242"/>
                <a:gd name="T65" fmla="*/ 144 h 288"/>
                <a:gd name="T66" fmla="*/ 239 w 242"/>
                <a:gd name="T67" fmla="*/ 181 h 288"/>
                <a:gd name="T68" fmla="*/ 231 w 242"/>
                <a:gd name="T69" fmla="*/ 213 h 288"/>
                <a:gd name="T70" fmla="*/ 219 w 242"/>
                <a:gd name="T71" fmla="*/ 239 h 288"/>
                <a:gd name="T72" fmla="*/ 201 w 242"/>
                <a:gd name="T73" fmla="*/ 260 h 288"/>
                <a:gd name="T74" fmla="*/ 179 w 242"/>
                <a:gd name="T75" fmla="*/ 275 h 288"/>
                <a:gd name="T76" fmla="*/ 152 w 242"/>
                <a:gd name="T77" fmla="*/ 284 h 288"/>
                <a:gd name="T78" fmla="*/ 120 w 242"/>
                <a:gd name="T79" fmla="*/ 288 h 288"/>
                <a:gd name="T80" fmla="*/ 89 w 242"/>
                <a:gd name="T81" fmla="*/ 284 h 288"/>
                <a:gd name="T82" fmla="*/ 63 w 242"/>
                <a:gd name="T83" fmla="*/ 275 h 288"/>
                <a:gd name="T84" fmla="*/ 40 w 242"/>
                <a:gd name="T85" fmla="*/ 260 h 288"/>
                <a:gd name="T86" fmla="*/ 22 w 242"/>
                <a:gd name="T87" fmla="*/ 239 h 288"/>
                <a:gd name="T88" fmla="*/ 10 w 242"/>
                <a:gd name="T89" fmla="*/ 213 h 288"/>
                <a:gd name="T90" fmla="*/ 2 w 242"/>
                <a:gd name="T91" fmla="*/ 181 h 288"/>
                <a:gd name="T92" fmla="*/ 0 w 242"/>
                <a:gd name="T93" fmla="*/ 144 h 288"/>
                <a:gd name="T94" fmla="*/ 2 w 242"/>
                <a:gd name="T95" fmla="*/ 106 h 288"/>
                <a:gd name="T96" fmla="*/ 10 w 242"/>
                <a:gd name="T97" fmla="*/ 75 h 288"/>
                <a:gd name="T98" fmla="*/ 22 w 242"/>
                <a:gd name="T99" fmla="*/ 49 h 288"/>
                <a:gd name="T100" fmla="*/ 40 w 242"/>
                <a:gd name="T101" fmla="*/ 29 h 288"/>
                <a:gd name="T102" fmla="*/ 63 w 242"/>
                <a:gd name="T103" fmla="*/ 12 h 288"/>
                <a:gd name="T104" fmla="*/ 89 w 242"/>
                <a:gd name="T105" fmla="*/ 4 h 288"/>
                <a:gd name="T106" fmla="*/ 120 w 242"/>
                <a:gd name="T107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2" h="288">
                  <a:moveTo>
                    <a:pt x="120" y="38"/>
                  </a:moveTo>
                  <a:lnTo>
                    <a:pt x="99" y="41"/>
                  </a:lnTo>
                  <a:lnTo>
                    <a:pt x="81" y="49"/>
                  </a:lnTo>
                  <a:lnTo>
                    <a:pt x="67" y="64"/>
                  </a:lnTo>
                  <a:lnTo>
                    <a:pt x="56" y="84"/>
                  </a:lnTo>
                  <a:lnTo>
                    <a:pt x="51" y="110"/>
                  </a:lnTo>
                  <a:lnTo>
                    <a:pt x="49" y="144"/>
                  </a:lnTo>
                  <a:lnTo>
                    <a:pt x="51" y="177"/>
                  </a:lnTo>
                  <a:lnTo>
                    <a:pt x="56" y="203"/>
                  </a:lnTo>
                  <a:lnTo>
                    <a:pt x="67" y="224"/>
                  </a:lnTo>
                  <a:lnTo>
                    <a:pt x="81" y="239"/>
                  </a:lnTo>
                  <a:lnTo>
                    <a:pt x="99" y="247"/>
                  </a:lnTo>
                  <a:lnTo>
                    <a:pt x="120" y="249"/>
                  </a:lnTo>
                  <a:lnTo>
                    <a:pt x="142" y="247"/>
                  </a:lnTo>
                  <a:lnTo>
                    <a:pt x="160" y="239"/>
                  </a:lnTo>
                  <a:lnTo>
                    <a:pt x="174" y="224"/>
                  </a:lnTo>
                  <a:lnTo>
                    <a:pt x="185" y="203"/>
                  </a:lnTo>
                  <a:lnTo>
                    <a:pt x="190" y="177"/>
                  </a:lnTo>
                  <a:lnTo>
                    <a:pt x="193" y="144"/>
                  </a:lnTo>
                  <a:lnTo>
                    <a:pt x="190" y="110"/>
                  </a:lnTo>
                  <a:lnTo>
                    <a:pt x="185" y="84"/>
                  </a:lnTo>
                  <a:lnTo>
                    <a:pt x="174" y="64"/>
                  </a:lnTo>
                  <a:lnTo>
                    <a:pt x="160" y="49"/>
                  </a:lnTo>
                  <a:lnTo>
                    <a:pt x="142" y="41"/>
                  </a:lnTo>
                  <a:lnTo>
                    <a:pt x="120" y="38"/>
                  </a:lnTo>
                  <a:close/>
                  <a:moveTo>
                    <a:pt x="120" y="0"/>
                  </a:moveTo>
                  <a:lnTo>
                    <a:pt x="152" y="4"/>
                  </a:lnTo>
                  <a:lnTo>
                    <a:pt x="179" y="12"/>
                  </a:lnTo>
                  <a:lnTo>
                    <a:pt x="201" y="29"/>
                  </a:lnTo>
                  <a:lnTo>
                    <a:pt x="219" y="49"/>
                  </a:lnTo>
                  <a:lnTo>
                    <a:pt x="231" y="75"/>
                  </a:lnTo>
                  <a:lnTo>
                    <a:pt x="239" y="106"/>
                  </a:lnTo>
                  <a:lnTo>
                    <a:pt x="242" y="144"/>
                  </a:lnTo>
                  <a:lnTo>
                    <a:pt x="239" y="181"/>
                  </a:lnTo>
                  <a:lnTo>
                    <a:pt x="231" y="213"/>
                  </a:lnTo>
                  <a:lnTo>
                    <a:pt x="219" y="239"/>
                  </a:lnTo>
                  <a:lnTo>
                    <a:pt x="201" y="260"/>
                  </a:lnTo>
                  <a:lnTo>
                    <a:pt x="179" y="275"/>
                  </a:lnTo>
                  <a:lnTo>
                    <a:pt x="152" y="284"/>
                  </a:lnTo>
                  <a:lnTo>
                    <a:pt x="120" y="288"/>
                  </a:lnTo>
                  <a:lnTo>
                    <a:pt x="89" y="284"/>
                  </a:lnTo>
                  <a:lnTo>
                    <a:pt x="63" y="275"/>
                  </a:lnTo>
                  <a:lnTo>
                    <a:pt x="40" y="260"/>
                  </a:lnTo>
                  <a:lnTo>
                    <a:pt x="22" y="239"/>
                  </a:lnTo>
                  <a:lnTo>
                    <a:pt x="10" y="213"/>
                  </a:lnTo>
                  <a:lnTo>
                    <a:pt x="2" y="181"/>
                  </a:lnTo>
                  <a:lnTo>
                    <a:pt x="0" y="144"/>
                  </a:lnTo>
                  <a:lnTo>
                    <a:pt x="2" y="106"/>
                  </a:lnTo>
                  <a:lnTo>
                    <a:pt x="10" y="75"/>
                  </a:lnTo>
                  <a:lnTo>
                    <a:pt x="22" y="49"/>
                  </a:lnTo>
                  <a:lnTo>
                    <a:pt x="40" y="29"/>
                  </a:lnTo>
                  <a:lnTo>
                    <a:pt x="63" y="12"/>
                  </a:lnTo>
                  <a:lnTo>
                    <a:pt x="89" y="4"/>
                  </a:lnTo>
                  <a:lnTo>
                    <a:pt x="1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74" name="Freeform 70"/>
            <p:cNvSpPr>
              <a:spLocks noEditPoints="1"/>
            </p:cNvSpPr>
            <p:nvPr/>
          </p:nvSpPr>
          <p:spPr bwMode="auto">
            <a:xfrm>
              <a:off x="-1697" y="2004"/>
              <a:ext cx="1744" cy="2242"/>
            </a:xfrm>
            <a:custGeom>
              <a:avLst/>
              <a:gdLst>
                <a:gd name="T0" fmla="*/ 2948 w 3488"/>
                <a:gd name="T1" fmla="*/ 1170 h 4484"/>
                <a:gd name="T2" fmla="*/ 898 w 3488"/>
                <a:gd name="T3" fmla="*/ 1214 h 4484"/>
                <a:gd name="T4" fmla="*/ 1000 w 3488"/>
                <a:gd name="T5" fmla="*/ 1147 h 4484"/>
                <a:gd name="T6" fmla="*/ 2524 w 3488"/>
                <a:gd name="T7" fmla="*/ 1035 h 4484"/>
                <a:gd name="T8" fmla="*/ 2537 w 3488"/>
                <a:gd name="T9" fmla="*/ 1208 h 4484"/>
                <a:gd name="T10" fmla="*/ 2646 w 3488"/>
                <a:gd name="T11" fmla="*/ 1147 h 4484"/>
                <a:gd name="T12" fmla="*/ 2577 w 3488"/>
                <a:gd name="T13" fmla="*/ 1009 h 4484"/>
                <a:gd name="T14" fmla="*/ 1125 w 3488"/>
                <a:gd name="T15" fmla="*/ 1114 h 4484"/>
                <a:gd name="T16" fmla="*/ 1219 w 3488"/>
                <a:gd name="T17" fmla="*/ 1218 h 4484"/>
                <a:gd name="T18" fmla="*/ 1262 w 3488"/>
                <a:gd name="T19" fmla="*/ 1055 h 4484"/>
                <a:gd name="T20" fmla="*/ 2095 w 3488"/>
                <a:gd name="T21" fmla="*/ 713 h 4484"/>
                <a:gd name="T22" fmla="*/ 2204 w 3488"/>
                <a:gd name="T23" fmla="*/ 775 h 4484"/>
                <a:gd name="T24" fmla="*/ 2117 w 3488"/>
                <a:gd name="T25" fmla="*/ 680 h 4484"/>
                <a:gd name="T26" fmla="*/ 1401 w 3488"/>
                <a:gd name="T27" fmla="*/ 535 h 4484"/>
                <a:gd name="T28" fmla="*/ 1206 w 3488"/>
                <a:gd name="T29" fmla="*/ 757 h 4484"/>
                <a:gd name="T30" fmla="*/ 1229 w 3488"/>
                <a:gd name="T31" fmla="*/ 974 h 4484"/>
                <a:gd name="T32" fmla="*/ 1316 w 3488"/>
                <a:gd name="T33" fmla="*/ 1151 h 4484"/>
                <a:gd name="T34" fmla="*/ 1166 w 3488"/>
                <a:gd name="T35" fmla="*/ 1255 h 4484"/>
                <a:gd name="T36" fmla="*/ 1079 w 3488"/>
                <a:gd name="T37" fmla="*/ 1084 h 4484"/>
                <a:gd name="T38" fmla="*/ 1044 w 3488"/>
                <a:gd name="T39" fmla="*/ 1058 h 4484"/>
                <a:gd name="T40" fmla="*/ 988 w 3488"/>
                <a:gd name="T41" fmla="*/ 1245 h 4484"/>
                <a:gd name="T42" fmla="*/ 853 w 3488"/>
                <a:gd name="T43" fmla="*/ 1324 h 4484"/>
                <a:gd name="T44" fmla="*/ 997 w 3488"/>
                <a:gd name="T45" fmla="*/ 1672 h 4484"/>
                <a:gd name="T46" fmla="*/ 2663 w 3488"/>
                <a:gd name="T47" fmla="*/ 1752 h 4484"/>
                <a:gd name="T48" fmla="*/ 2910 w 3488"/>
                <a:gd name="T49" fmla="*/ 1450 h 4484"/>
                <a:gd name="T50" fmla="*/ 2998 w 3488"/>
                <a:gd name="T51" fmla="*/ 1415 h 4484"/>
                <a:gd name="T52" fmla="*/ 2890 w 3488"/>
                <a:gd name="T53" fmla="*/ 1208 h 4484"/>
                <a:gd name="T54" fmla="*/ 2813 w 3488"/>
                <a:gd name="T55" fmla="*/ 1034 h 4484"/>
                <a:gd name="T56" fmla="*/ 2620 w 3488"/>
                <a:gd name="T57" fmla="*/ 978 h 4484"/>
                <a:gd name="T58" fmla="*/ 2695 w 3488"/>
                <a:gd name="T59" fmla="*/ 1151 h 4484"/>
                <a:gd name="T60" fmla="*/ 2545 w 3488"/>
                <a:gd name="T61" fmla="*/ 1255 h 4484"/>
                <a:gd name="T62" fmla="*/ 2458 w 3488"/>
                <a:gd name="T63" fmla="*/ 1077 h 4484"/>
                <a:gd name="T64" fmla="*/ 2503 w 3488"/>
                <a:gd name="T65" fmla="*/ 885 h 4484"/>
                <a:gd name="T66" fmla="*/ 2319 w 3488"/>
                <a:gd name="T67" fmla="*/ 736 h 4484"/>
                <a:gd name="T68" fmla="*/ 2165 w 3488"/>
                <a:gd name="T69" fmla="*/ 824 h 4484"/>
                <a:gd name="T70" fmla="*/ 2045 w 3488"/>
                <a:gd name="T71" fmla="*/ 680 h 4484"/>
                <a:gd name="T72" fmla="*/ 1862 w 3488"/>
                <a:gd name="T73" fmla="*/ 483 h 4484"/>
                <a:gd name="T74" fmla="*/ 2002 w 3488"/>
                <a:gd name="T75" fmla="*/ 15 h 4484"/>
                <a:gd name="T76" fmla="*/ 2652 w 3488"/>
                <a:gd name="T77" fmla="*/ 240 h 4484"/>
                <a:gd name="T78" fmla="*/ 3088 w 3488"/>
                <a:gd name="T79" fmla="*/ 577 h 4484"/>
                <a:gd name="T80" fmla="*/ 3365 w 3488"/>
                <a:gd name="T81" fmla="*/ 1012 h 4484"/>
                <a:gd name="T82" fmla="*/ 3488 w 3488"/>
                <a:gd name="T83" fmla="*/ 1616 h 4484"/>
                <a:gd name="T84" fmla="*/ 3335 w 3488"/>
                <a:gd name="T85" fmla="*/ 2223 h 4484"/>
                <a:gd name="T86" fmla="*/ 3021 w 3488"/>
                <a:gd name="T87" fmla="*/ 2708 h 4484"/>
                <a:gd name="T88" fmla="*/ 2863 w 3488"/>
                <a:gd name="T89" fmla="*/ 3147 h 4484"/>
                <a:gd name="T90" fmla="*/ 2871 w 3488"/>
                <a:gd name="T91" fmla="*/ 3408 h 4484"/>
                <a:gd name="T92" fmla="*/ 1682 w 3488"/>
                <a:gd name="T93" fmla="*/ 4473 h 4484"/>
                <a:gd name="T94" fmla="*/ 1552 w 3488"/>
                <a:gd name="T95" fmla="*/ 4137 h 4484"/>
                <a:gd name="T96" fmla="*/ 1310 w 3488"/>
                <a:gd name="T97" fmla="*/ 3755 h 4484"/>
                <a:gd name="T98" fmla="*/ 1069 w 3488"/>
                <a:gd name="T99" fmla="*/ 3672 h 4484"/>
                <a:gd name="T100" fmla="*/ 615 w 3488"/>
                <a:gd name="T101" fmla="*/ 3705 h 4484"/>
                <a:gd name="T102" fmla="*/ 385 w 3488"/>
                <a:gd name="T103" fmla="*/ 3573 h 4484"/>
                <a:gd name="T104" fmla="*/ 311 w 3488"/>
                <a:gd name="T105" fmla="*/ 3097 h 4484"/>
                <a:gd name="T106" fmla="*/ 173 w 3488"/>
                <a:gd name="T107" fmla="*/ 2733 h 4484"/>
                <a:gd name="T108" fmla="*/ 1 w 3488"/>
                <a:gd name="T109" fmla="*/ 2527 h 4484"/>
                <a:gd name="T110" fmla="*/ 72 w 3488"/>
                <a:gd name="T111" fmla="*/ 2291 h 4484"/>
                <a:gd name="T112" fmla="*/ 217 w 3488"/>
                <a:gd name="T113" fmla="*/ 2024 h 4484"/>
                <a:gd name="T114" fmla="*/ 236 w 3488"/>
                <a:gd name="T115" fmla="*/ 1691 h 4484"/>
                <a:gd name="T116" fmla="*/ 214 w 3488"/>
                <a:gd name="T117" fmla="*/ 1143 h 4484"/>
                <a:gd name="T118" fmla="*/ 450 w 3488"/>
                <a:gd name="T119" fmla="*/ 631 h 4484"/>
                <a:gd name="T120" fmla="*/ 1074 w 3488"/>
                <a:gd name="T121" fmla="*/ 166 h 4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88" h="4484">
                  <a:moveTo>
                    <a:pt x="2916" y="1125"/>
                  </a:moveTo>
                  <a:lnTo>
                    <a:pt x="2920" y="1155"/>
                  </a:lnTo>
                  <a:lnTo>
                    <a:pt x="2927" y="1180"/>
                  </a:lnTo>
                  <a:lnTo>
                    <a:pt x="2938" y="1199"/>
                  </a:lnTo>
                  <a:lnTo>
                    <a:pt x="2953" y="1211"/>
                  </a:lnTo>
                  <a:lnTo>
                    <a:pt x="2972" y="1219"/>
                  </a:lnTo>
                  <a:lnTo>
                    <a:pt x="2948" y="1170"/>
                  </a:lnTo>
                  <a:lnTo>
                    <a:pt x="2916" y="1125"/>
                  </a:lnTo>
                  <a:close/>
                  <a:moveTo>
                    <a:pt x="996" y="1062"/>
                  </a:moveTo>
                  <a:lnTo>
                    <a:pt x="963" y="1094"/>
                  </a:lnTo>
                  <a:lnTo>
                    <a:pt x="933" y="1126"/>
                  </a:lnTo>
                  <a:lnTo>
                    <a:pt x="907" y="1165"/>
                  </a:lnTo>
                  <a:lnTo>
                    <a:pt x="885" y="1204"/>
                  </a:lnTo>
                  <a:lnTo>
                    <a:pt x="898" y="1214"/>
                  </a:lnTo>
                  <a:lnTo>
                    <a:pt x="913" y="1218"/>
                  </a:lnTo>
                  <a:lnTo>
                    <a:pt x="930" y="1220"/>
                  </a:lnTo>
                  <a:lnTo>
                    <a:pt x="952" y="1218"/>
                  </a:lnTo>
                  <a:lnTo>
                    <a:pt x="970" y="1208"/>
                  </a:lnTo>
                  <a:lnTo>
                    <a:pt x="983" y="1195"/>
                  </a:lnTo>
                  <a:lnTo>
                    <a:pt x="994" y="1174"/>
                  </a:lnTo>
                  <a:lnTo>
                    <a:pt x="1000" y="1147"/>
                  </a:lnTo>
                  <a:lnTo>
                    <a:pt x="1001" y="1114"/>
                  </a:lnTo>
                  <a:lnTo>
                    <a:pt x="1000" y="1087"/>
                  </a:lnTo>
                  <a:lnTo>
                    <a:pt x="996" y="1062"/>
                  </a:lnTo>
                  <a:close/>
                  <a:moveTo>
                    <a:pt x="2577" y="1009"/>
                  </a:moveTo>
                  <a:lnTo>
                    <a:pt x="2555" y="1012"/>
                  </a:lnTo>
                  <a:lnTo>
                    <a:pt x="2537" y="1020"/>
                  </a:lnTo>
                  <a:lnTo>
                    <a:pt x="2524" y="1035"/>
                  </a:lnTo>
                  <a:lnTo>
                    <a:pt x="2513" y="1055"/>
                  </a:lnTo>
                  <a:lnTo>
                    <a:pt x="2507" y="1081"/>
                  </a:lnTo>
                  <a:lnTo>
                    <a:pt x="2506" y="1114"/>
                  </a:lnTo>
                  <a:lnTo>
                    <a:pt x="2507" y="1147"/>
                  </a:lnTo>
                  <a:lnTo>
                    <a:pt x="2513" y="1174"/>
                  </a:lnTo>
                  <a:lnTo>
                    <a:pt x="2524" y="1195"/>
                  </a:lnTo>
                  <a:lnTo>
                    <a:pt x="2537" y="1208"/>
                  </a:lnTo>
                  <a:lnTo>
                    <a:pt x="2555" y="1218"/>
                  </a:lnTo>
                  <a:lnTo>
                    <a:pt x="2577" y="1220"/>
                  </a:lnTo>
                  <a:lnTo>
                    <a:pt x="2599" y="1218"/>
                  </a:lnTo>
                  <a:lnTo>
                    <a:pt x="2616" y="1208"/>
                  </a:lnTo>
                  <a:lnTo>
                    <a:pt x="2630" y="1195"/>
                  </a:lnTo>
                  <a:lnTo>
                    <a:pt x="2641" y="1174"/>
                  </a:lnTo>
                  <a:lnTo>
                    <a:pt x="2646" y="1147"/>
                  </a:lnTo>
                  <a:lnTo>
                    <a:pt x="2649" y="1114"/>
                  </a:lnTo>
                  <a:lnTo>
                    <a:pt x="2646" y="1081"/>
                  </a:lnTo>
                  <a:lnTo>
                    <a:pt x="2641" y="1055"/>
                  </a:lnTo>
                  <a:lnTo>
                    <a:pt x="2630" y="1035"/>
                  </a:lnTo>
                  <a:lnTo>
                    <a:pt x="2616" y="1020"/>
                  </a:lnTo>
                  <a:lnTo>
                    <a:pt x="2599" y="1012"/>
                  </a:lnTo>
                  <a:lnTo>
                    <a:pt x="2577" y="1009"/>
                  </a:lnTo>
                  <a:close/>
                  <a:moveTo>
                    <a:pt x="1198" y="1009"/>
                  </a:moveTo>
                  <a:lnTo>
                    <a:pt x="1176" y="1012"/>
                  </a:lnTo>
                  <a:lnTo>
                    <a:pt x="1158" y="1020"/>
                  </a:lnTo>
                  <a:lnTo>
                    <a:pt x="1144" y="1035"/>
                  </a:lnTo>
                  <a:lnTo>
                    <a:pt x="1134" y="1055"/>
                  </a:lnTo>
                  <a:lnTo>
                    <a:pt x="1128" y="1081"/>
                  </a:lnTo>
                  <a:lnTo>
                    <a:pt x="1125" y="1114"/>
                  </a:lnTo>
                  <a:lnTo>
                    <a:pt x="1128" y="1147"/>
                  </a:lnTo>
                  <a:lnTo>
                    <a:pt x="1134" y="1174"/>
                  </a:lnTo>
                  <a:lnTo>
                    <a:pt x="1144" y="1195"/>
                  </a:lnTo>
                  <a:lnTo>
                    <a:pt x="1158" y="1208"/>
                  </a:lnTo>
                  <a:lnTo>
                    <a:pt x="1176" y="1218"/>
                  </a:lnTo>
                  <a:lnTo>
                    <a:pt x="1198" y="1220"/>
                  </a:lnTo>
                  <a:lnTo>
                    <a:pt x="1219" y="1218"/>
                  </a:lnTo>
                  <a:lnTo>
                    <a:pt x="1237" y="1208"/>
                  </a:lnTo>
                  <a:lnTo>
                    <a:pt x="1251" y="1195"/>
                  </a:lnTo>
                  <a:lnTo>
                    <a:pt x="1262" y="1174"/>
                  </a:lnTo>
                  <a:lnTo>
                    <a:pt x="1267" y="1147"/>
                  </a:lnTo>
                  <a:lnTo>
                    <a:pt x="1269" y="1114"/>
                  </a:lnTo>
                  <a:lnTo>
                    <a:pt x="1267" y="1081"/>
                  </a:lnTo>
                  <a:lnTo>
                    <a:pt x="1262" y="1055"/>
                  </a:lnTo>
                  <a:lnTo>
                    <a:pt x="1251" y="1035"/>
                  </a:lnTo>
                  <a:lnTo>
                    <a:pt x="1237" y="1020"/>
                  </a:lnTo>
                  <a:lnTo>
                    <a:pt x="1219" y="1012"/>
                  </a:lnTo>
                  <a:lnTo>
                    <a:pt x="1198" y="1009"/>
                  </a:lnTo>
                  <a:close/>
                  <a:moveTo>
                    <a:pt x="2095" y="650"/>
                  </a:moveTo>
                  <a:lnTo>
                    <a:pt x="2094" y="680"/>
                  </a:lnTo>
                  <a:lnTo>
                    <a:pt x="2095" y="713"/>
                  </a:lnTo>
                  <a:lnTo>
                    <a:pt x="2102" y="739"/>
                  </a:lnTo>
                  <a:lnTo>
                    <a:pt x="2112" y="760"/>
                  </a:lnTo>
                  <a:lnTo>
                    <a:pt x="2125" y="775"/>
                  </a:lnTo>
                  <a:lnTo>
                    <a:pt x="2143" y="783"/>
                  </a:lnTo>
                  <a:lnTo>
                    <a:pt x="2165" y="785"/>
                  </a:lnTo>
                  <a:lnTo>
                    <a:pt x="2187" y="783"/>
                  </a:lnTo>
                  <a:lnTo>
                    <a:pt x="2204" y="775"/>
                  </a:lnTo>
                  <a:lnTo>
                    <a:pt x="2218" y="760"/>
                  </a:lnTo>
                  <a:lnTo>
                    <a:pt x="2229" y="740"/>
                  </a:lnTo>
                  <a:lnTo>
                    <a:pt x="2234" y="713"/>
                  </a:lnTo>
                  <a:lnTo>
                    <a:pt x="2206" y="710"/>
                  </a:lnTo>
                  <a:lnTo>
                    <a:pt x="2177" y="709"/>
                  </a:lnTo>
                  <a:lnTo>
                    <a:pt x="2137" y="712"/>
                  </a:lnTo>
                  <a:lnTo>
                    <a:pt x="2117" y="680"/>
                  </a:lnTo>
                  <a:lnTo>
                    <a:pt x="2095" y="650"/>
                  </a:lnTo>
                  <a:close/>
                  <a:moveTo>
                    <a:pt x="1683" y="451"/>
                  </a:moveTo>
                  <a:lnTo>
                    <a:pt x="1622" y="455"/>
                  </a:lnTo>
                  <a:lnTo>
                    <a:pt x="1562" y="466"/>
                  </a:lnTo>
                  <a:lnTo>
                    <a:pt x="1506" y="483"/>
                  </a:lnTo>
                  <a:lnTo>
                    <a:pt x="1451" y="506"/>
                  </a:lnTo>
                  <a:lnTo>
                    <a:pt x="1401" y="535"/>
                  </a:lnTo>
                  <a:lnTo>
                    <a:pt x="1353" y="569"/>
                  </a:lnTo>
                  <a:lnTo>
                    <a:pt x="1311" y="608"/>
                  </a:lnTo>
                  <a:lnTo>
                    <a:pt x="1311" y="822"/>
                  </a:lnTo>
                  <a:lnTo>
                    <a:pt x="1262" y="822"/>
                  </a:lnTo>
                  <a:lnTo>
                    <a:pt x="1262" y="663"/>
                  </a:lnTo>
                  <a:lnTo>
                    <a:pt x="1232" y="708"/>
                  </a:lnTo>
                  <a:lnTo>
                    <a:pt x="1206" y="757"/>
                  </a:lnTo>
                  <a:lnTo>
                    <a:pt x="1185" y="809"/>
                  </a:lnTo>
                  <a:lnTo>
                    <a:pt x="1170" y="862"/>
                  </a:lnTo>
                  <a:lnTo>
                    <a:pt x="1161" y="919"/>
                  </a:lnTo>
                  <a:lnTo>
                    <a:pt x="1158" y="976"/>
                  </a:lnTo>
                  <a:lnTo>
                    <a:pt x="1177" y="972"/>
                  </a:lnTo>
                  <a:lnTo>
                    <a:pt x="1198" y="971"/>
                  </a:lnTo>
                  <a:lnTo>
                    <a:pt x="1229" y="974"/>
                  </a:lnTo>
                  <a:lnTo>
                    <a:pt x="1255" y="983"/>
                  </a:lnTo>
                  <a:lnTo>
                    <a:pt x="1278" y="998"/>
                  </a:lnTo>
                  <a:lnTo>
                    <a:pt x="1296" y="1020"/>
                  </a:lnTo>
                  <a:lnTo>
                    <a:pt x="1308" y="1046"/>
                  </a:lnTo>
                  <a:lnTo>
                    <a:pt x="1316" y="1077"/>
                  </a:lnTo>
                  <a:lnTo>
                    <a:pt x="1319" y="1114"/>
                  </a:lnTo>
                  <a:lnTo>
                    <a:pt x="1316" y="1151"/>
                  </a:lnTo>
                  <a:lnTo>
                    <a:pt x="1308" y="1184"/>
                  </a:lnTo>
                  <a:lnTo>
                    <a:pt x="1296" y="1210"/>
                  </a:lnTo>
                  <a:lnTo>
                    <a:pt x="1278" y="1230"/>
                  </a:lnTo>
                  <a:lnTo>
                    <a:pt x="1255" y="1245"/>
                  </a:lnTo>
                  <a:lnTo>
                    <a:pt x="1229" y="1255"/>
                  </a:lnTo>
                  <a:lnTo>
                    <a:pt x="1198" y="1257"/>
                  </a:lnTo>
                  <a:lnTo>
                    <a:pt x="1166" y="1255"/>
                  </a:lnTo>
                  <a:lnTo>
                    <a:pt x="1140" y="1245"/>
                  </a:lnTo>
                  <a:lnTo>
                    <a:pt x="1117" y="1230"/>
                  </a:lnTo>
                  <a:lnTo>
                    <a:pt x="1099" y="1210"/>
                  </a:lnTo>
                  <a:lnTo>
                    <a:pt x="1087" y="1184"/>
                  </a:lnTo>
                  <a:lnTo>
                    <a:pt x="1079" y="1151"/>
                  </a:lnTo>
                  <a:lnTo>
                    <a:pt x="1076" y="1114"/>
                  </a:lnTo>
                  <a:lnTo>
                    <a:pt x="1079" y="1084"/>
                  </a:lnTo>
                  <a:lnTo>
                    <a:pt x="1084" y="1055"/>
                  </a:lnTo>
                  <a:lnTo>
                    <a:pt x="1093" y="1032"/>
                  </a:lnTo>
                  <a:lnTo>
                    <a:pt x="1105" y="1012"/>
                  </a:lnTo>
                  <a:lnTo>
                    <a:pt x="1121" y="995"/>
                  </a:lnTo>
                  <a:lnTo>
                    <a:pt x="1078" y="1013"/>
                  </a:lnTo>
                  <a:lnTo>
                    <a:pt x="1035" y="1035"/>
                  </a:lnTo>
                  <a:lnTo>
                    <a:pt x="1044" y="1058"/>
                  </a:lnTo>
                  <a:lnTo>
                    <a:pt x="1049" y="1084"/>
                  </a:lnTo>
                  <a:lnTo>
                    <a:pt x="1050" y="1114"/>
                  </a:lnTo>
                  <a:lnTo>
                    <a:pt x="1048" y="1151"/>
                  </a:lnTo>
                  <a:lnTo>
                    <a:pt x="1041" y="1184"/>
                  </a:lnTo>
                  <a:lnTo>
                    <a:pt x="1027" y="1210"/>
                  </a:lnTo>
                  <a:lnTo>
                    <a:pt x="1011" y="1230"/>
                  </a:lnTo>
                  <a:lnTo>
                    <a:pt x="988" y="1245"/>
                  </a:lnTo>
                  <a:lnTo>
                    <a:pt x="962" y="1255"/>
                  </a:lnTo>
                  <a:lnTo>
                    <a:pt x="930" y="1257"/>
                  </a:lnTo>
                  <a:lnTo>
                    <a:pt x="908" y="1256"/>
                  </a:lnTo>
                  <a:lnTo>
                    <a:pt x="888" y="1252"/>
                  </a:lnTo>
                  <a:lnTo>
                    <a:pt x="869" y="1244"/>
                  </a:lnTo>
                  <a:lnTo>
                    <a:pt x="859" y="1283"/>
                  </a:lnTo>
                  <a:lnTo>
                    <a:pt x="853" y="1324"/>
                  </a:lnTo>
                  <a:lnTo>
                    <a:pt x="850" y="1366"/>
                  </a:lnTo>
                  <a:lnTo>
                    <a:pt x="851" y="1407"/>
                  </a:lnTo>
                  <a:lnTo>
                    <a:pt x="899" y="1407"/>
                  </a:lnTo>
                  <a:lnTo>
                    <a:pt x="899" y="1556"/>
                  </a:lnTo>
                  <a:lnTo>
                    <a:pt x="926" y="1598"/>
                  </a:lnTo>
                  <a:lnTo>
                    <a:pt x="959" y="1638"/>
                  </a:lnTo>
                  <a:lnTo>
                    <a:pt x="997" y="1672"/>
                  </a:lnTo>
                  <a:lnTo>
                    <a:pt x="1039" y="1700"/>
                  </a:lnTo>
                  <a:lnTo>
                    <a:pt x="1084" y="1724"/>
                  </a:lnTo>
                  <a:lnTo>
                    <a:pt x="1134" y="1741"/>
                  </a:lnTo>
                  <a:lnTo>
                    <a:pt x="1185" y="1752"/>
                  </a:lnTo>
                  <a:lnTo>
                    <a:pt x="1239" y="1756"/>
                  </a:lnTo>
                  <a:lnTo>
                    <a:pt x="2612" y="1756"/>
                  </a:lnTo>
                  <a:lnTo>
                    <a:pt x="2663" y="1752"/>
                  </a:lnTo>
                  <a:lnTo>
                    <a:pt x="2710" y="1744"/>
                  </a:lnTo>
                  <a:lnTo>
                    <a:pt x="2757" y="1729"/>
                  </a:lnTo>
                  <a:lnTo>
                    <a:pt x="2800" y="1709"/>
                  </a:lnTo>
                  <a:lnTo>
                    <a:pt x="2840" y="1683"/>
                  </a:lnTo>
                  <a:lnTo>
                    <a:pt x="2877" y="1653"/>
                  </a:lnTo>
                  <a:lnTo>
                    <a:pt x="2910" y="1619"/>
                  </a:lnTo>
                  <a:lnTo>
                    <a:pt x="2910" y="1450"/>
                  </a:lnTo>
                  <a:lnTo>
                    <a:pt x="2854" y="1450"/>
                  </a:lnTo>
                  <a:lnTo>
                    <a:pt x="2854" y="1407"/>
                  </a:lnTo>
                  <a:lnTo>
                    <a:pt x="2957" y="1407"/>
                  </a:lnTo>
                  <a:lnTo>
                    <a:pt x="2957" y="1548"/>
                  </a:lnTo>
                  <a:lnTo>
                    <a:pt x="2976" y="1505"/>
                  </a:lnTo>
                  <a:lnTo>
                    <a:pt x="2990" y="1462"/>
                  </a:lnTo>
                  <a:lnTo>
                    <a:pt x="2998" y="1415"/>
                  </a:lnTo>
                  <a:lnTo>
                    <a:pt x="3002" y="1366"/>
                  </a:lnTo>
                  <a:lnTo>
                    <a:pt x="2998" y="1310"/>
                  </a:lnTo>
                  <a:lnTo>
                    <a:pt x="2986" y="1257"/>
                  </a:lnTo>
                  <a:lnTo>
                    <a:pt x="2956" y="1255"/>
                  </a:lnTo>
                  <a:lnTo>
                    <a:pt x="2929" y="1245"/>
                  </a:lnTo>
                  <a:lnTo>
                    <a:pt x="2907" y="1230"/>
                  </a:lnTo>
                  <a:lnTo>
                    <a:pt x="2890" y="1208"/>
                  </a:lnTo>
                  <a:lnTo>
                    <a:pt x="2878" y="1182"/>
                  </a:lnTo>
                  <a:lnTo>
                    <a:pt x="2870" y="1151"/>
                  </a:lnTo>
                  <a:lnTo>
                    <a:pt x="2867" y="1114"/>
                  </a:lnTo>
                  <a:lnTo>
                    <a:pt x="2869" y="1095"/>
                  </a:lnTo>
                  <a:lnTo>
                    <a:pt x="2870" y="1076"/>
                  </a:lnTo>
                  <a:lnTo>
                    <a:pt x="2843" y="1053"/>
                  </a:lnTo>
                  <a:lnTo>
                    <a:pt x="2813" y="1034"/>
                  </a:lnTo>
                  <a:lnTo>
                    <a:pt x="2813" y="1256"/>
                  </a:lnTo>
                  <a:lnTo>
                    <a:pt x="2765" y="1256"/>
                  </a:lnTo>
                  <a:lnTo>
                    <a:pt x="2765" y="1015"/>
                  </a:lnTo>
                  <a:lnTo>
                    <a:pt x="2709" y="1015"/>
                  </a:lnTo>
                  <a:lnTo>
                    <a:pt x="2709" y="990"/>
                  </a:lnTo>
                  <a:lnTo>
                    <a:pt x="2665" y="982"/>
                  </a:lnTo>
                  <a:lnTo>
                    <a:pt x="2620" y="978"/>
                  </a:lnTo>
                  <a:lnTo>
                    <a:pt x="2644" y="989"/>
                  </a:lnTo>
                  <a:lnTo>
                    <a:pt x="2663" y="1005"/>
                  </a:lnTo>
                  <a:lnTo>
                    <a:pt x="2678" y="1025"/>
                  </a:lnTo>
                  <a:lnTo>
                    <a:pt x="2689" y="1050"/>
                  </a:lnTo>
                  <a:lnTo>
                    <a:pt x="2695" y="1080"/>
                  </a:lnTo>
                  <a:lnTo>
                    <a:pt x="2698" y="1114"/>
                  </a:lnTo>
                  <a:lnTo>
                    <a:pt x="2695" y="1151"/>
                  </a:lnTo>
                  <a:lnTo>
                    <a:pt x="2687" y="1184"/>
                  </a:lnTo>
                  <a:lnTo>
                    <a:pt x="2675" y="1210"/>
                  </a:lnTo>
                  <a:lnTo>
                    <a:pt x="2657" y="1230"/>
                  </a:lnTo>
                  <a:lnTo>
                    <a:pt x="2635" y="1245"/>
                  </a:lnTo>
                  <a:lnTo>
                    <a:pt x="2608" y="1255"/>
                  </a:lnTo>
                  <a:lnTo>
                    <a:pt x="2577" y="1257"/>
                  </a:lnTo>
                  <a:lnTo>
                    <a:pt x="2545" y="1255"/>
                  </a:lnTo>
                  <a:lnTo>
                    <a:pt x="2519" y="1245"/>
                  </a:lnTo>
                  <a:lnTo>
                    <a:pt x="2496" y="1230"/>
                  </a:lnTo>
                  <a:lnTo>
                    <a:pt x="2479" y="1210"/>
                  </a:lnTo>
                  <a:lnTo>
                    <a:pt x="2466" y="1184"/>
                  </a:lnTo>
                  <a:lnTo>
                    <a:pt x="2458" y="1151"/>
                  </a:lnTo>
                  <a:lnTo>
                    <a:pt x="2455" y="1114"/>
                  </a:lnTo>
                  <a:lnTo>
                    <a:pt x="2458" y="1077"/>
                  </a:lnTo>
                  <a:lnTo>
                    <a:pt x="2466" y="1046"/>
                  </a:lnTo>
                  <a:lnTo>
                    <a:pt x="2480" y="1019"/>
                  </a:lnTo>
                  <a:lnTo>
                    <a:pt x="2496" y="998"/>
                  </a:lnTo>
                  <a:lnTo>
                    <a:pt x="2519" y="983"/>
                  </a:lnTo>
                  <a:lnTo>
                    <a:pt x="2547" y="975"/>
                  </a:lnTo>
                  <a:lnTo>
                    <a:pt x="2528" y="929"/>
                  </a:lnTo>
                  <a:lnTo>
                    <a:pt x="2503" y="885"/>
                  </a:lnTo>
                  <a:lnTo>
                    <a:pt x="2473" y="847"/>
                  </a:lnTo>
                  <a:lnTo>
                    <a:pt x="2439" y="811"/>
                  </a:lnTo>
                  <a:lnTo>
                    <a:pt x="2401" y="780"/>
                  </a:lnTo>
                  <a:lnTo>
                    <a:pt x="2401" y="822"/>
                  </a:lnTo>
                  <a:lnTo>
                    <a:pt x="2353" y="822"/>
                  </a:lnTo>
                  <a:lnTo>
                    <a:pt x="2353" y="751"/>
                  </a:lnTo>
                  <a:lnTo>
                    <a:pt x="2319" y="736"/>
                  </a:lnTo>
                  <a:lnTo>
                    <a:pt x="2282" y="724"/>
                  </a:lnTo>
                  <a:lnTo>
                    <a:pt x="2274" y="754"/>
                  </a:lnTo>
                  <a:lnTo>
                    <a:pt x="2260" y="779"/>
                  </a:lnTo>
                  <a:lnTo>
                    <a:pt x="2243" y="798"/>
                  </a:lnTo>
                  <a:lnTo>
                    <a:pt x="2221" y="811"/>
                  </a:lnTo>
                  <a:lnTo>
                    <a:pt x="2195" y="820"/>
                  </a:lnTo>
                  <a:lnTo>
                    <a:pt x="2165" y="824"/>
                  </a:lnTo>
                  <a:lnTo>
                    <a:pt x="2133" y="820"/>
                  </a:lnTo>
                  <a:lnTo>
                    <a:pt x="2107" y="811"/>
                  </a:lnTo>
                  <a:lnTo>
                    <a:pt x="2086" y="796"/>
                  </a:lnTo>
                  <a:lnTo>
                    <a:pt x="2068" y="775"/>
                  </a:lnTo>
                  <a:lnTo>
                    <a:pt x="2054" y="749"/>
                  </a:lnTo>
                  <a:lnTo>
                    <a:pt x="2047" y="717"/>
                  </a:lnTo>
                  <a:lnTo>
                    <a:pt x="2045" y="680"/>
                  </a:lnTo>
                  <a:lnTo>
                    <a:pt x="2046" y="653"/>
                  </a:lnTo>
                  <a:lnTo>
                    <a:pt x="2050" y="629"/>
                  </a:lnTo>
                  <a:lnTo>
                    <a:pt x="2056" y="607"/>
                  </a:lnTo>
                  <a:lnTo>
                    <a:pt x="2013" y="569"/>
                  </a:lnTo>
                  <a:lnTo>
                    <a:pt x="1967" y="535"/>
                  </a:lnTo>
                  <a:lnTo>
                    <a:pt x="1915" y="506"/>
                  </a:lnTo>
                  <a:lnTo>
                    <a:pt x="1862" y="483"/>
                  </a:lnTo>
                  <a:lnTo>
                    <a:pt x="1805" y="466"/>
                  </a:lnTo>
                  <a:lnTo>
                    <a:pt x="1745" y="455"/>
                  </a:lnTo>
                  <a:lnTo>
                    <a:pt x="1683" y="451"/>
                  </a:lnTo>
                  <a:close/>
                  <a:moveTo>
                    <a:pt x="1786" y="0"/>
                  </a:moveTo>
                  <a:lnTo>
                    <a:pt x="1786" y="0"/>
                  </a:lnTo>
                  <a:lnTo>
                    <a:pt x="1895" y="4"/>
                  </a:lnTo>
                  <a:lnTo>
                    <a:pt x="2002" y="15"/>
                  </a:lnTo>
                  <a:lnTo>
                    <a:pt x="2106" y="33"/>
                  </a:lnTo>
                  <a:lnTo>
                    <a:pt x="2207" y="56"/>
                  </a:lnTo>
                  <a:lnTo>
                    <a:pt x="2304" y="85"/>
                  </a:lnTo>
                  <a:lnTo>
                    <a:pt x="2397" y="117"/>
                  </a:lnTo>
                  <a:lnTo>
                    <a:pt x="2485" y="155"/>
                  </a:lnTo>
                  <a:lnTo>
                    <a:pt x="2571" y="196"/>
                  </a:lnTo>
                  <a:lnTo>
                    <a:pt x="2652" y="240"/>
                  </a:lnTo>
                  <a:lnTo>
                    <a:pt x="2729" y="286"/>
                  </a:lnTo>
                  <a:lnTo>
                    <a:pt x="2800" y="334"/>
                  </a:lnTo>
                  <a:lnTo>
                    <a:pt x="2869" y="383"/>
                  </a:lnTo>
                  <a:lnTo>
                    <a:pt x="2931" y="432"/>
                  </a:lnTo>
                  <a:lnTo>
                    <a:pt x="2989" y="481"/>
                  </a:lnTo>
                  <a:lnTo>
                    <a:pt x="3040" y="530"/>
                  </a:lnTo>
                  <a:lnTo>
                    <a:pt x="3088" y="577"/>
                  </a:lnTo>
                  <a:lnTo>
                    <a:pt x="3129" y="622"/>
                  </a:lnTo>
                  <a:lnTo>
                    <a:pt x="3165" y="665"/>
                  </a:lnTo>
                  <a:lnTo>
                    <a:pt x="3210" y="725"/>
                  </a:lnTo>
                  <a:lnTo>
                    <a:pt x="3253" y="791"/>
                  </a:lnTo>
                  <a:lnTo>
                    <a:pt x="3293" y="860"/>
                  </a:lnTo>
                  <a:lnTo>
                    <a:pt x="3331" y="934"/>
                  </a:lnTo>
                  <a:lnTo>
                    <a:pt x="3365" y="1012"/>
                  </a:lnTo>
                  <a:lnTo>
                    <a:pt x="3395" y="1092"/>
                  </a:lnTo>
                  <a:lnTo>
                    <a:pt x="3422" y="1175"/>
                  </a:lnTo>
                  <a:lnTo>
                    <a:pt x="3444" y="1260"/>
                  </a:lnTo>
                  <a:lnTo>
                    <a:pt x="3462" y="1347"/>
                  </a:lnTo>
                  <a:lnTo>
                    <a:pt x="3476" y="1436"/>
                  </a:lnTo>
                  <a:lnTo>
                    <a:pt x="3484" y="1526"/>
                  </a:lnTo>
                  <a:lnTo>
                    <a:pt x="3488" y="1616"/>
                  </a:lnTo>
                  <a:lnTo>
                    <a:pt x="3485" y="1706"/>
                  </a:lnTo>
                  <a:lnTo>
                    <a:pt x="3477" y="1796"/>
                  </a:lnTo>
                  <a:lnTo>
                    <a:pt x="3462" y="1885"/>
                  </a:lnTo>
                  <a:lnTo>
                    <a:pt x="3440" y="1972"/>
                  </a:lnTo>
                  <a:lnTo>
                    <a:pt x="3412" y="2058"/>
                  </a:lnTo>
                  <a:lnTo>
                    <a:pt x="3377" y="2142"/>
                  </a:lnTo>
                  <a:lnTo>
                    <a:pt x="3335" y="2223"/>
                  </a:lnTo>
                  <a:lnTo>
                    <a:pt x="3286" y="2305"/>
                  </a:lnTo>
                  <a:lnTo>
                    <a:pt x="3231" y="2388"/>
                  </a:lnTo>
                  <a:lnTo>
                    <a:pt x="3174" y="2474"/>
                  </a:lnTo>
                  <a:lnTo>
                    <a:pt x="3135" y="2531"/>
                  </a:lnTo>
                  <a:lnTo>
                    <a:pt x="3096" y="2588"/>
                  </a:lnTo>
                  <a:lnTo>
                    <a:pt x="3058" y="2648"/>
                  </a:lnTo>
                  <a:lnTo>
                    <a:pt x="3021" y="2708"/>
                  </a:lnTo>
                  <a:lnTo>
                    <a:pt x="2986" y="2768"/>
                  </a:lnTo>
                  <a:lnTo>
                    <a:pt x="2955" y="2830"/>
                  </a:lnTo>
                  <a:lnTo>
                    <a:pt x="2927" y="2892"/>
                  </a:lnTo>
                  <a:lnTo>
                    <a:pt x="2903" y="2955"/>
                  </a:lnTo>
                  <a:lnTo>
                    <a:pt x="2884" y="3019"/>
                  </a:lnTo>
                  <a:lnTo>
                    <a:pt x="2870" y="3083"/>
                  </a:lnTo>
                  <a:lnTo>
                    <a:pt x="2863" y="3147"/>
                  </a:lnTo>
                  <a:lnTo>
                    <a:pt x="2863" y="3213"/>
                  </a:lnTo>
                  <a:lnTo>
                    <a:pt x="2871" y="3278"/>
                  </a:lnTo>
                  <a:lnTo>
                    <a:pt x="2888" y="3344"/>
                  </a:lnTo>
                  <a:lnTo>
                    <a:pt x="2890" y="3360"/>
                  </a:lnTo>
                  <a:lnTo>
                    <a:pt x="2889" y="3378"/>
                  </a:lnTo>
                  <a:lnTo>
                    <a:pt x="2882" y="3394"/>
                  </a:lnTo>
                  <a:lnTo>
                    <a:pt x="2871" y="3408"/>
                  </a:lnTo>
                  <a:lnTo>
                    <a:pt x="1761" y="4467"/>
                  </a:lnTo>
                  <a:lnTo>
                    <a:pt x="1749" y="4477"/>
                  </a:lnTo>
                  <a:lnTo>
                    <a:pt x="1734" y="4482"/>
                  </a:lnTo>
                  <a:lnTo>
                    <a:pt x="1719" y="4484"/>
                  </a:lnTo>
                  <a:lnTo>
                    <a:pt x="1709" y="4484"/>
                  </a:lnTo>
                  <a:lnTo>
                    <a:pt x="1701" y="4481"/>
                  </a:lnTo>
                  <a:lnTo>
                    <a:pt x="1682" y="4473"/>
                  </a:lnTo>
                  <a:lnTo>
                    <a:pt x="1667" y="4458"/>
                  </a:lnTo>
                  <a:lnTo>
                    <a:pt x="1659" y="4437"/>
                  </a:lnTo>
                  <a:lnTo>
                    <a:pt x="1642" y="4383"/>
                  </a:lnTo>
                  <a:lnTo>
                    <a:pt x="1625" y="4324"/>
                  </a:lnTo>
                  <a:lnTo>
                    <a:pt x="1603" y="4264"/>
                  </a:lnTo>
                  <a:lnTo>
                    <a:pt x="1580" y="4201"/>
                  </a:lnTo>
                  <a:lnTo>
                    <a:pt x="1552" y="4137"/>
                  </a:lnTo>
                  <a:lnTo>
                    <a:pt x="1524" y="4075"/>
                  </a:lnTo>
                  <a:lnTo>
                    <a:pt x="1494" y="4012"/>
                  </a:lnTo>
                  <a:lnTo>
                    <a:pt x="1460" y="3952"/>
                  </a:lnTo>
                  <a:lnTo>
                    <a:pt x="1424" y="3896"/>
                  </a:lnTo>
                  <a:lnTo>
                    <a:pt x="1387" y="3843"/>
                  </a:lnTo>
                  <a:lnTo>
                    <a:pt x="1349" y="3796"/>
                  </a:lnTo>
                  <a:lnTo>
                    <a:pt x="1310" y="3755"/>
                  </a:lnTo>
                  <a:lnTo>
                    <a:pt x="1269" y="3721"/>
                  </a:lnTo>
                  <a:lnTo>
                    <a:pt x="1226" y="3695"/>
                  </a:lnTo>
                  <a:lnTo>
                    <a:pt x="1184" y="3679"/>
                  </a:lnTo>
                  <a:lnTo>
                    <a:pt x="1164" y="3675"/>
                  </a:lnTo>
                  <a:lnTo>
                    <a:pt x="1140" y="3672"/>
                  </a:lnTo>
                  <a:lnTo>
                    <a:pt x="1112" y="3671"/>
                  </a:lnTo>
                  <a:lnTo>
                    <a:pt x="1069" y="3672"/>
                  </a:lnTo>
                  <a:lnTo>
                    <a:pt x="1023" y="3676"/>
                  </a:lnTo>
                  <a:lnTo>
                    <a:pt x="973" y="3682"/>
                  </a:lnTo>
                  <a:lnTo>
                    <a:pt x="921" y="3687"/>
                  </a:lnTo>
                  <a:lnTo>
                    <a:pt x="836" y="3697"/>
                  </a:lnTo>
                  <a:lnTo>
                    <a:pt x="753" y="3704"/>
                  </a:lnTo>
                  <a:lnTo>
                    <a:pt x="671" y="3706"/>
                  </a:lnTo>
                  <a:lnTo>
                    <a:pt x="615" y="3705"/>
                  </a:lnTo>
                  <a:lnTo>
                    <a:pt x="563" y="3698"/>
                  </a:lnTo>
                  <a:lnTo>
                    <a:pt x="518" y="3689"/>
                  </a:lnTo>
                  <a:lnTo>
                    <a:pt x="480" y="3674"/>
                  </a:lnTo>
                  <a:lnTo>
                    <a:pt x="447" y="3655"/>
                  </a:lnTo>
                  <a:lnTo>
                    <a:pt x="420" y="3631"/>
                  </a:lnTo>
                  <a:lnTo>
                    <a:pt x="400" y="3604"/>
                  </a:lnTo>
                  <a:lnTo>
                    <a:pt x="385" y="3573"/>
                  </a:lnTo>
                  <a:lnTo>
                    <a:pt x="375" y="3536"/>
                  </a:lnTo>
                  <a:lnTo>
                    <a:pt x="360" y="3435"/>
                  </a:lnTo>
                  <a:lnTo>
                    <a:pt x="346" y="3334"/>
                  </a:lnTo>
                  <a:lnTo>
                    <a:pt x="338" y="3274"/>
                  </a:lnTo>
                  <a:lnTo>
                    <a:pt x="330" y="3215"/>
                  </a:lnTo>
                  <a:lnTo>
                    <a:pt x="322" y="3155"/>
                  </a:lnTo>
                  <a:lnTo>
                    <a:pt x="311" y="3097"/>
                  </a:lnTo>
                  <a:lnTo>
                    <a:pt x="299" y="3040"/>
                  </a:lnTo>
                  <a:lnTo>
                    <a:pt x="285" y="2982"/>
                  </a:lnTo>
                  <a:lnTo>
                    <a:pt x="269" y="2928"/>
                  </a:lnTo>
                  <a:lnTo>
                    <a:pt x="251" y="2876"/>
                  </a:lnTo>
                  <a:lnTo>
                    <a:pt x="228" y="2825"/>
                  </a:lnTo>
                  <a:lnTo>
                    <a:pt x="203" y="2778"/>
                  </a:lnTo>
                  <a:lnTo>
                    <a:pt x="173" y="2733"/>
                  </a:lnTo>
                  <a:lnTo>
                    <a:pt x="140" y="2692"/>
                  </a:lnTo>
                  <a:lnTo>
                    <a:pt x="101" y="2655"/>
                  </a:lnTo>
                  <a:lnTo>
                    <a:pt x="59" y="2621"/>
                  </a:lnTo>
                  <a:lnTo>
                    <a:pt x="34" y="2600"/>
                  </a:lnTo>
                  <a:lnTo>
                    <a:pt x="18" y="2579"/>
                  </a:lnTo>
                  <a:lnTo>
                    <a:pt x="7" y="2554"/>
                  </a:lnTo>
                  <a:lnTo>
                    <a:pt x="1" y="2527"/>
                  </a:lnTo>
                  <a:lnTo>
                    <a:pt x="0" y="2497"/>
                  </a:lnTo>
                  <a:lnTo>
                    <a:pt x="4" y="2465"/>
                  </a:lnTo>
                  <a:lnTo>
                    <a:pt x="12" y="2433"/>
                  </a:lnTo>
                  <a:lnTo>
                    <a:pt x="23" y="2399"/>
                  </a:lnTo>
                  <a:lnTo>
                    <a:pt x="37" y="2363"/>
                  </a:lnTo>
                  <a:lnTo>
                    <a:pt x="55" y="2328"/>
                  </a:lnTo>
                  <a:lnTo>
                    <a:pt x="72" y="2291"/>
                  </a:lnTo>
                  <a:lnTo>
                    <a:pt x="93" y="2254"/>
                  </a:lnTo>
                  <a:lnTo>
                    <a:pt x="113" y="2216"/>
                  </a:lnTo>
                  <a:lnTo>
                    <a:pt x="135" y="2178"/>
                  </a:lnTo>
                  <a:lnTo>
                    <a:pt x="157" y="2140"/>
                  </a:lnTo>
                  <a:lnTo>
                    <a:pt x="179" y="2100"/>
                  </a:lnTo>
                  <a:lnTo>
                    <a:pt x="199" y="2062"/>
                  </a:lnTo>
                  <a:lnTo>
                    <a:pt x="217" y="2024"/>
                  </a:lnTo>
                  <a:lnTo>
                    <a:pt x="233" y="1988"/>
                  </a:lnTo>
                  <a:lnTo>
                    <a:pt x="247" y="1953"/>
                  </a:lnTo>
                  <a:lnTo>
                    <a:pt x="255" y="1920"/>
                  </a:lnTo>
                  <a:lnTo>
                    <a:pt x="259" y="1890"/>
                  </a:lnTo>
                  <a:lnTo>
                    <a:pt x="259" y="1863"/>
                  </a:lnTo>
                  <a:lnTo>
                    <a:pt x="247" y="1777"/>
                  </a:lnTo>
                  <a:lnTo>
                    <a:pt x="236" y="1691"/>
                  </a:lnTo>
                  <a:lnTo>
                    <a:pt x="225" y="1608"/>
                  </a:lnTo>
                  <a:lnTo>
                    <a:pt x="216" y="1526"/>
                  </a:lnTo>
                  <a:lnTo>
                    <a:pt x="209" y="1447"/>
                  </a:lnTo>
                  <a:lnTo>
                    <a:pt x="205" y="1369"/>
                  </a:lnTo>
                  <a:lnTo>
                    <a:pt x="203" y="1293"/>
                  </a:lnTo>
                  <a:lnTo>
                    <a:pt x="207" y="1216"/>
                  </a:lnTo>
                  <a:lnTo>
                    <a:pt x="214" y="1143"/>
                  </a:lnTo>
                  <a:lnTo>
                    <a:pt x="228" y="1068"/>
                  </a:lnTo>
                  <a:lnTo>
                    <a:pt x="247" y="995"/>
                  </a:lnTo>
                  <a:lnTo>
                    <a:pt x="271" y="922"/>
                  </a:lnTo>
                  <a:lnTo>
                    <a:pt x="304" y="850"/>
                  </a:lnTo>
                  <a:lnTo>
                    <a:pt x="344" y="777"/>
                  </a:lnTo>
                  <a:lnTo>
                    <a:pt x="393" y="705"/>
                  </a:lnTo>
                  <a:lnTo>
                    <a:pt x="450" y="631"/>
                  </a:lnTo>
                  <a:lnTo>
                    <a:pt x="517" y="558"/>
                  </a:lnTo>
                  <a:lnTo>
                    <a:pt x="518" y="556"/>
                  </a:lnTo>
                  <a:lnTo>
                    <a:pt x="626" y="460"/>
                  </a:lnTo>
                  <a:lnTo>
                    <a:pt x="737" y="374"/>
                  </a:lnTo>
                  <a:lnTo>
                    <a:pt x="847" y="295"/>
                  </a:lnTo>
                  <a:lnTo>
                    <a:pt x="960" y="226"/>
                  </a:lnTo>
                  <a:lnTo>
                    <a:pt x="1074" y="166"/>
                  </a:lnTo>
                  <a:lnTo>
                    <a:pt x="1189" y="116"/>
                  </a:lnTo>
                  <a:lnTo>
                    <a:pt x="1305" y="74"/>
                  </a:lnTo>
                  <a:lnTo>
                    <a:pt x="1424" y="42"/>
                  </a:lnTo>
                  <a:lnTo>
                    <a:pt x="1543" y="19"/>
                  </a:lnTo>
                  <a:lnTo>
                    <a:pt x="1664" y="4"/>
                  </a:lnTo>
                  <a:lnTo>
                    <a:pt x="178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75" name="Freeform 71"/>
            <p:cNvSpPr>
              <a:spLocks noEditPoints="1"/>
            </p:cNvSpPr>
            <p:nvPr/>
          </p:nvSpPr>
          <p:spPr bwMode="auto">
            <a:xfrm>
              <a:off x="-397" y="2707"/>
              <a:ext cx="121" cy="143"/>
            </a:xfrm>
            <a:custGeom>
              <a:avLst/>
              <a:gdLst>
                <a:gd name="T0" fmla="*/ 121 w 241"/>
                <a:gd name="T1" fmla="*/ 38 h 286"/>
                <a:gd name="T2" fmla="*/ 99 w 241"/>
                <a:gd name="T3" fmla="*/ 41 h 286"/>
                <a:gd name="T4" fmla="*/ 82 w 241"/>
                <a:gd name="T5" fmla="*/ 49 h 286"/>
                <a:gd name="T6" fmla="*/ 67 w 241"/>
                <a:gd name="T7" fmla="*/ 63 h 286"/>
                <a:gd name="T8" fmla="*/ 57 w 241"/>
                <a:gd name="T9" fmla="*/ 83 h 286"/>
                <a:gd name="T10" fmla="*/ 52 w 241"/>
                <a:gd name="T11" fmla="*/ 110 h 286"/>
                <a:gd name="T12" fmla="*/ 49 w 241"/>
                <a:gd name="T13" fmla="*/ 143 h 286"/>
                <a:gd name="T14" fmla="*/ 52 w 241"/>
                <a:gd name="T15" fmla="*/ 176 h 286"/>
                <a:gd name="T16" fmla="*/ 57 w 241"/>
                <a:gd name="T17" fmla="*/ 202 h 286"/>
                <a:gd name="T18" fmla="*/ 67 w 241"/>
                <a:gd name="T19" fmla="*/ 222 h 286"/>
                <a:gd name="T20" fmla="*/ 82 w 241"/>
                <a:gd name="T21" fmla="*/ 237 h 286"/>
                <a:gd name="T22" fmla="*/ 99 w 241"/>
                <a:gd name="T23" fmla="*/ 245 h 286"/>
                <a:gd name="T24" fmla="*/ 121 w 241"/>
                <a:gd name="T25" fmla="*/ 248 h 286"/>
                <a:gd name="T26" fmla="*/ 143 w 241"/>
                <a:gd name="T27" fmla="*/ 245 h 286"/>
                <a:gd name="T28" fmla="*/ 161 w 241"/>
                <a:gd name="T29" fmla="*/ 237 h 286"/>
                <a:gd name="T30" fmla="*/ 175 w 241"/>
                <a:gd name="T31" fmla="*/ 222 h 286"/>
                <a:gd name="T32" fmla="*/ 184 w 241"/>
                <a:gd name="T33" fmla="*/ 202 h 286"/>
                <a:gd name="T34" fmla="*/ 191 w 241"/>
                <a:gd name="T35" fmla="*/ 176 h 286"/>
                <a:gd name="T36" fmla="*/ 192 w 241"/>
                <a:gd name="T37" fmla="*/ 143 h 286"/>
                <a:gd name="T38" fmla="*/ 191 w 241"/>
                <a:gd name="T39" fmla="*/ 110 h 286"/>
                <a:gd name="T40" fmla="*/ 184 w 241"/>
                <a:gd name="T41" fmla="*/ 83 h 286"/>
                <a:gd name="T42" fmla="*/ 175 w 241"/>
                <a:gd name="T43" fmla="*/ 63 h 286"/>
                <a:gd name="T44" fmla="*/ 161 w 241"/>
                <a:gd name="T45" fmla="*/ 49 h 286"/>
                <a:gd name="T46" fmla="*/ 143 w 241"/>
                <a:gd name="T47" fmla="*/ 41 h 286"/>
                <a:gd name="T48" fmla="*/ 121 w 241"/>
                <a:gd name="T49" fmla="*/ 38 h 286"/>
                <a:gd name="T50" fmla="*/ 121 w 241"/>
                <a:gd name="T51" fmla="*/ 0 h 286"/>
                <a:gd name="T52" fmla="*/ 153 w 241"/>
                <a:gd name="T53" fmla="*/ 3 h 286"/>
                <a:gd name="T54" fmla="*/ 179 w 241"/>
                <a:gd name="T55" fmla="*/ 12 h 286"/>
                <a:gd name="T56" fmla="*/ 200 w 241"/>
                <a:gd name="T57" fmla="*/ 27 h 286"/>
                <a:gd name="T58" fmla="*/ 218 w 241"/>
                <a:gd name="T59" fmla="*/ 48 h 286"/>
                <a:gd name="T60" fmla="*/ 232 w 241"/>
                <a:gd name="T61" fmla="*/ 75 h 286"/>
                <a:gd name="T62" fmla="*/ 239 w 241"/>
                <a:gd name="T63" fmla="*/ 106 h 286"/>
                <a:gd name="T64" fmla="*/ 241 w 241"/>
                <a:gd name="T65" fmla="*/ 143 h 286"/>
                <a:gd name="T66" fmla="*/ 239 w 241"/>
                <a:gd name="T67" fmla="*/ 180 h 286"/>
                <a:gd name="T68" fmla="*/ 232 w 241"/>
                <a:gd name="T69" fmla="*/ 211 h 286"/>
                <a:gd name="T70" fmla="*/ 218 w 241"/>
                <a:gd name="T71" fmla="*/ 239 h 286"/>
                <a:gd name="T72" fmla="*/ 200 w 241"/>
                <a:gd name="T73" fmla="*/ 259 h 286"/>
                <a:gd name="T74" fmla="*/ 179 w 241"/>
                <a:gd name="T75" fmla="*/ 274 h 286"/>
                <a:gd name="T76" fmla="*/ 153 w 241"/>
                <a:gd name="T77" fmla="*/ 284 h 286"/>
                <a:gd name="T78" fmla="*/ 121 w 241"/>
                <a:gd name="T79" fmla="*/ 286 h 286"/>
                <a:gd name="T80" fmla="*/ 90 w 241"/>
                <a:gd name="T81" fmla="*/ 284 h 286"/>
                <a:gd name="T82" fmla="*/ 63 w 241"/>
                <a:gd name="T83" fmla="*/ 274 h 286"/>
                <a:gd name="T84" fmla="*/ 41 w 241"/>
                <a:gd name="T85" fmla="*/ 259 h 286"/>
                <a:gd name="T86" fmla="*/ 23 w 241"/>
                <a:gd name="T87" fmla="*/ 239 h 286"/>
                <a:gd name="T88" fmla="*/ 11 w 241"/>
                <a:gd name="T89" fmla="*/ 211 h 286"/>
                <a:gd name="T90" fmla="*/ 3 w 241"/>
                <a:gd name="T91" fmla="*/ 180 h 286"/>
                <a:gd name="T92" fmla="*/ 0 w 241"/>
                <a:gd name="T93" fmla="*/ 143 h 286"/>
                <a:gd name="T94" fmla="*/ 3 w 241"/>
                <a:gd name="T95" fmla="*/ 106 h 286"/>
                <a:gd name="T96" fmla="*/ 11 w 241"/>
                <a:gd name="T97" fmla="*/ 75 h 286"/>
                <a:gd name="T98" fmla="*/ 23 w 241"/>
                <a:gd name="T99" fmla="*/ 48 h 286"/>
                <a:gd name="T100" fmla="*/ 41 w 241"/>
                <a:gd name="T101" fmla="*/ 27 h 286"/>
                <a:gd name="T102" fmla="*/ 63 w 241"/>
                <a:gd name="T103" fmla="*/ 12 h 286"/>
                <a:gd name="T104" fmla="*/ 90 w 241"/>
                <a:gd name="T105" fmla="*/ 3 h 286"/>
                <a:gd name="T106" fmla="*/ 121 w 241"/>
                <a:gd name="T107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1" h="286">
                  <a:moveTo>
                    <a:pt x="121" y="38"/>
                  </a:moveTo>
                  <a:lnTo>
                    <a:pt x="99" y="41"/>
                  </a:lnTo>
                  <a:lnTo>
                    <a:pt x="82" y="49"/>
                  </a:lnTo>
                  <a:lnTo>
                    <a:pt x="67" y="63"/>
                  </a:lnTo>
                  <a:lnTo>
                    <a:pt x="57" y="83"/>
                  </a:lnTo>
                  <a:lnTo>
                    <a:pt x="52" y="110"/>
                  </a:lnTo>
                  <a:lnTo>
                    <a:pt x="49" y="143"/>
                  </a:lnTo>
                  <a:lnTo>
                    <a:pt x="52" y="176"/>
                  </a:lnTo>
                  <a:lnTo>
                    <a:pt x="57" y="202"/>
                  </a:lnTo>
                  <a:lnTo>
                    <a:pt x="67" y="222"/>
                  </a:lnTo>
                  <a:lnTo>
                    <a:pt x="82" y="237"/>
                  </a:lnTo>
                  <a:lnTo>
                    <a:pt x="99" y="245"/>
                  </a:lnTo>
                  <a:lnTo>
                    <a:pt x="121" y="248"/>
                  </a:lnTo>
                  <a:lnTo>
                    <a:pt x="143" y="245"/>
                  </a:lnTo>
                  <a:lnTo>
                    <a:pt x="161" y="237"/>
                  </a:lnTo>
                  <a:lnTo>
                    <a:pt x="175" y="222"/>
                  </a:lnTo>
                  <a:lnTo>
                    <a:pt x="184" y="202"/>
                  </a:lnTo>
                  <a:lnTo>
                    <a:pt x="191" y="176"/>
                  </a:lnTo>
                  <a:lnTo>
                    <a:pt x="192" y="143"/>
                  </a:lnTo>
                  <a:lnTo>
                    <a:pt x="191" y="110"/>
                  </a:lnTo>
                  <a:lnTo>
                    <a:pt x="184" y="83"/>
                  </a:lnTo>
                  <a:lnTo>
                    <a:pt x="175" y="63"/>
                  </a:lnTo>
                  <a:lnTo>
                    <a:pt x="161" y="49"/>
                  </a:lnTo>
                  <a:lnTo>
                    <a:pt x="143" y="41"/>
                  </a:lnTo>
                  <a:lnTo>
                    <a:pt x="121" y="38"/>
                  </a:lnTo>
                  <a:close/>
                  <a:moveTo>
                    <a:pt x="121" y="0"/>
                  </a:moveTo>
                  <a:lnTo>
                    <a:pt x="153" y="3"/>
                  </a:lnTo>
                  <a:lnTo>
                    <a:pt x="179" y="12"/>
                  </a:lnTo>
                  <a:lnTo>
                    <a:pt x="200" y="27"/>
                  </a:lnTo>
                  <a:lnTo>
                    <a:pt x="218" y="48"/>
                  </a:lnTo>
                  <a:lnTo>
                    <a:pt x="232" y="75"/>
                  </a:lnTo>
                  <a:lnTo>
                    <a:pt x="239" y="106"/>
                  </a:lnTo>
                  <a:lnTo>
                    <a:pt x="241" y="143"/>
                  </a:lnTo>
                  <a:lnTo>
                    <a:pt x="239" y="180"/>
                  </a:lnTo>
                  <a:lnTo>
                    <a:pt x="232" y="211"/>
                  </a:lnTo>
                  <a:lnTo>
                    <a:pt x="218" y="239"/>
                  </a:lnTo>
                  <a:lnTo>
                    <a:pt x="200" y="259"/>
                  </a:lnTo>
                  <a:lnTo>
                    <a:pt x="179" y="274"/>
                  </a:lnTo>
                  <a:lnTo>
                    <a:pt x="153" y="284"/>
                  </a:lnTo>
                  <a:lnTo>
                    <a:pt x="121" y="286"/>
                  </a:lnTo>
                  <a:lnTo>
                    <a:pt x="90" y="284"/>
                  </a:lnTo>
                  <a:lnTo>
                    <a:pt x="63" y="274"/>
                  </a:lnTo>
                  <a:lnTo>
                    <a:pt x="41" y="259"/>
                  </a:lnTo>
                  <a:lnTo>
                    <a:pt x="23" y="239"/>
                  </a:lnTo>
                  <a:lnTo>
                    <a:pt x="11" y="211"/>
                  </a:lnTo>
                  <a:lnTo>
                    <a:pt x="3" y="180"/>
                  </a:lnTo>
                  <a:lnTo>
                    <a:pt x="0" y="143"/>
                  </a:lnTo>
                  <a:lnTo>
                    <a:pt x="3" y="106"/>
                  </a:lnTo>
                  <a:lnTo>
                    <a:pt x="11" y="75"/>
                  </a:lnTo>
                  <a:lnTo>
                    <a:pt x="23" y="48"/>
                  </a:lnTo>
                  <a:lnTo>
                    <a:pt x="41" y="27"/>
                  </a:lnTo>
                  <a:lnTo>
                    <a:pt x="63" y="12"/>
                  </a:lnTo>
                  <a:lnTo>
                    <a:pt x="90" y="3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76" name="Freeform 72"/>
            <p:cNvSpPr>
              <a:spLocks noEditPoints="1"/>
            </p:cNvSpPr>
            <p:nvPr/>
          </p:nvSpPr>
          <p:spPr bwMode="auto">
            <a:xfrm>
              <a:off x="-808" y="2707"/>
              <a:ext cx="120" cy="143"/>
            </a:xfrm>
            <a:custGeom>
              <a:avLst/>
              <a:gdLst>
                <a:gd name="T0" fmla="*/ 120 w 242"/>
                <a:gd name="T1" fmla="*/ 38 h 286"/>
                <a:gd name="T2" fmla="*/ 99 w 242"/>
                <a:gd name="T3" fmla="*/ 41 h 286"/>
                <a:gd name="T4" fmla="*/ 81 w 242"/>
                <a:gd name="T5" fmla="*/ 49 h 286"/>
                <a:gd name="T6" fmla="*/ 67 w 242"/>
                <a:gd name="T7" fmla="*/ 63 h 286"/>
                <a:gd name="T8" fmla="*/ 56 w 242"/>
                <a:gd name="T9" fmla="*/ 83 h 286"/>
                <a:gd name="T10" fmla="*/ 51 w 242"/>
                <a:gd name="T11" fmla="*/ 110 h 286"/>
                <a:gd name="T12" fmla="*/ 49 w 242"/>
                <a:gd name="T13" fmla="*/ 143 h 286"/>
                <a:gd name="T14" fmla="*/ 51 w 242"/>
                <a:gd name="T15" fmla="*/ 176 h 286"/>
                <a:gd name="T16" fmla="*/ 56 w 242"/>
                <a:gd name="T17" fmla="*/ 202 h 286"/>
                <a:gd name="T18" fmla="*/ 67 w 242"/>
                <a:gd name="T19" fmla="*/ 222 h 286"/>
                <a:gd name="T20" fmla="*/ 81 w 242"/>
                <a:gd name="T21" fmla="*/ 237 h 286"/>
                <a:gd name="T22" fmla="*/ 99 w 242"/>
                <a:gd name="T23" fmla="*/ 245 h 286"/>
                <a:gd name="T24" fmla="*/ 120 w 242"/>
                <a:gd name="T25" fmla="*/ 248 h 286"/>
                <a:gd name="T26" fmla="*/ 142 w 242"/>
                <a:gd name="T27" fmla="*/ 245 h 286"/>
                <a:gd name="T28" fmla="*/ 160 w 242"/>
                <a:gd name="T29" fmla="*/ 237 h 286"/>
                <a:gd name="T30" fmla="*/ 174 w 242"/>
                <a:gd name="T31" fmla="*/ 222 h 286"/>
                <a:gd name="T32" fmla="*/ 185 w 242"/>
                <a:gd name="T33" fmla="*/ 202 h 286"/>
                <a:gd name="T34" fmla="*/ 190 w 242"/>
                <a:gd name="T35" fmla="*/ 176 h 286"/>
                <a:gd name="T36" fmla="*/ 193 w 242"/>
                <a:gd name="T37" fmla="*/ 143 h 286"/>
                <a:gd name="T38" fmla="*/ 190 w 242"/>
                <a:gd name="T39" fmla="*/ 110 h 286"/>
                <a:gd name="T40" fmla="*/ 185 w 242"/>
                <a:gd name="T41" fmla="*/ 83 h 286"/>
                <a:gd name="T42" fmla="*/ 174 w 242"/>
                <a:gd name="T43" fmla="*/ 63 h 286"/>
                <a:gd name="T44" fmla="*/ 160 w 242"/>
                <a:gd name="T45" fmla="*/ 49 h 286"/>
                <a:gd name="T46" fmla="*/ 142 w 242"/>
                <a:gd name="T47" fmla="*/ 41 h 286"/>
                <a:gd name="T48" fmla="*/ 120 w 242"/>
                <a:gd name="T49" fmla="*/ 38 h 286"/>
                <a:gd name="T50" fmla="*/ 120 w 242"/>
                <a:gd name="T51" fmla="*/ 0 h 286"/>
                <a:gd name="T52" fmla="*/ 152 w 242"/>
                <a:gd name="T53" fmla="*/ 3 h 286"/>
                <a:gd name="T54" fmla="*/ 179 w 242"/>
                <a:gd name="T55" fmla="*/ 12 h 286"/>
                <a:gd name="T56" fmla="*/ 201 w 242"/>
                <a:gd name="T57" fmla="*/ 27 h 286"/>
                <a:gd name="T58" fmla="*/ 219 w 242"/>
                <a:gd name="T59" fmla="*/ 48 h 286"/>
                <a:gd name="T60" fmla="*/ 231 w 242"/>
                <a:gd name="T61" fmla="*/ 75 h 286"/>
                <a:gd name="T62" fmla="*/ 239 w 242"/>
                <a:gd name="T63" fmla="*/ 106 h 286"/>
                <a:gd name="T64" fmla="*/ 242 w 242"/>
                <a:gd name="T65" fmla="*/ 143 h 286"/>
                <a:gd name="T66" fmla="*/ 239 w 242"/>
                <a:gd name="T67" fmla="*/ 180 h 286"/>
                <a:gd name="T68" fmla="*/ 231 w 242"/>
                <a:gd name="T69" fmla="*/ 211 h 286"/>
                <a:gd name="T70" fmla="*/ 219 w 242"/>
                <a:gd name="T71" fmla="*/ 239 h 286"/>
                <a:gd name="T72" fmla="*/ 201 w 242"/>
                <a:gd name="T73" fmla="*/ 259 h 286"/>
                <a:gd name="T74" fmla="*/ 179 w 242"/>
                <a:gd name="T75" fmla="*/ 274 h 286"/>
                <a:gd name="T76" fmla="*/ 152 w 242"/>
                <a:gd name="T77" fmla="*/ 284 h 286"/>
                <a:gd name="T78" fmla="*/ 120 w 242"/>
                <a:gd name="T79" fmla="*/ 286 h 286"/>
                <a:gd name="T80" fmla="*/ 89 w 242"/>
                <a:gd name="T81" fmla="*/ 284 h 286"/>
                <a:gd name="T82" fmla="*/ 63 w 242"/>
                <a:gd name="T83" fmla="*/ 274 h 286"/>
                <a:gd name="T84" fmla="*/ 40 w 242"/>
                <a:gd name="T85" fmla="*/ 259 h 286"/>
                <a:gd name="T86" fmla="*/ 22 w 242"/>
                <a:gd name="T87" fmla="*/ 239 h 286"/>
                <a:gd name="T88" fmla="*/ 10 w 242"/>
                <a:gd name="T89" fmla="*/ 211 h 286"/>
                <a:gd name="T90" fmla="*/ 2 w 242"/>
                <a:gd name="T91" fmla="*/ 180 h 286"/>
                <a:gd name="T92" fmla="*/ 0 w 242"/>
                <a:gd name="T93" fmla="*/ 143 h 286"/>
                <a:gd name="T94" fmla="*/ 2 w 242"/>
                <a:gd name="T95" fmla="*/ 106 h 286"/>
                <a:gd name="T96" fmla="*/ 10 w 242"/>
                <a:gd name="T97" fmla="*/ 75 h 286"/>
                <a:gd name="T98" fmla="*/ 22 w 242"/>
                <a:gd name="T99" fmla="*/ 48 h 286"/>
                <a:gd name="T100" fmla="*/ 40 w 242"/>
                <a:gd name="T101" fmla="*/ 27 h 286"/>
                <a:gd name="T102" fmla="*/ 63 w 242"/>
                <a:gd name="T103" fmla="*/ 12 h 286"/>
                <a:gd name="T104" fmla="*/ 89 w 242"/>
                <a:gd name="T105" fmla="*/ 3 h 286"/>
                <a:gd name="T106" fmla="*/ 120 w 242"/>
                <a:gd name="T107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2" h="286">
                  <a:moveTo>
                    <a:pt x="120" y="38"/>
                  </a:moveTo>
                  <a:lnTo>
                    <a:pt x="99" y="41"/>
                  </a:lnTo>
                  <a:lnTo>
                    <a:pt x="81" y="49"/>
                  </a:lnTo>
                  <a:lnTo>
                    <a:pt x="67" y="63"/>
                  </a:lnTo>
                  <a:lnTo>
                    <a:pt x="56" y="83"/>
                  </a:lnTo>
                  <a:lnTo>
                    <a:pt x="51" y="110"/>
                  </a:lnTo>
                  <a:lnTo>
                    <a:pt x="49" y="143"/>
                  </a:lnTo>
                  <a:lnTo>
                    <a:pt x="51" y="176"/>
                  </a:lnTo>
                  <a:lnTo>
                    <a:pt x="56" y="202"/>
                  </a:lnTo>
                  <a:lnTo>
                    <a:pt x="67" y="222"/>
                  </a:lnTo>
                  <a:lnTo>
                    <a:pt x="81" y="237"/>
                  </a:lnTo>
                  <a:lnTo>
                    <a:pt x="99" y="245"/>
                  </a:lnTo>
                  <a:lnTo>
                    <a:pt x="120" y="248"/>
                  </a:lnTo>
                  <a:lnTo>
                    <a:pt x="142" y="245"/>
                  </a:lnTo>
                  <a:lnTo>
                    <a:pt x="160" y="237"/>
                  </a:lnTo>
                  <a:lnTo>
                    <a:pt x="174" y="222"/>
                  </a:lnTo>
                  <a:lnTo>
                    <a:pt x="185" y="202"/>
                  </a:lnTo>
                  <a:lnTo>
                    <a:pt x="190" y="176"/>
                  </a:lnTo>
                  <a:lnTo>
                    <a:pt x="193" y="143"/>
                  </a:lnTo>
                  <a:lnTo>
                    <a:pt x="190" y="110"/>
                  </a:lnTo>
                  <a:lnTo>
                    <a:pt x="185" y="83"/>
                  </a:lnTo>
                  <a:lnTo>
                    <a:pt x="174" y="63"/>
                  </a:lnTo>
                  <a:lnTo>
                    <a:pt x="160" y="49"/>
                  </a:lnTo>
                  <a:lnTo>
                    <a:pt x="142" y="41"/>
                  </a:lnTo>
                  <a:lnTo>
                    <a:pt x="120" y="38"/>
                  </a:lnTo>
                  <a:close/>
                  <a:moveTo>
                    <a:pt x="120" y="0"/>
                  </a:moveTo>
                  <a:lnTo>
                    <a:pt x="152" y="3"/>
                  </a:lnTo>
                  <a:lnTo>
                    <a:pt x="179" y="12"/>
                  </a:lnTo>
                  <a:lnTo>
                    <a:pt x="201" y="27"/>
                  </a:lnTo>
                  <a:lnTo>
                    <a:pt x="219" y="48"/>
                  </a:lnTo>
                  <a:lnTo>
                    <a:pt x="231" y="75"/>
                  </a:lnTo>
                  <a:lnTo>
                    <a:pt x="239" y="106"/>
                  </a:lnTo>
                  <a:lnTo>
                    <a:pt x="242" y="143"/>
                  </a:lnTo>
                  <a:lnTo>
                    <a:pt x="239" y="180"/>
                  </a:lnTo>
                  <a:lnTo>
                    <a:pt x="231" y="211"/>
                  </a:lnTo>
                  <a:lnTo>
                    <a:pt x="219" y="239"/>
                  </a:lnTo>
                  <a:lnTo>
                    <a:pt x="201" y="259"/>
                  </a:lnTo>
                  <a:lnTo>
                    <a:pt x="179" y="274"/>
                  </a:lnTo>
                  <a:lnTo>
                    <a:pt x="152" y="284"/>
                  </a:lnTo>
                  <a:lnTo>
                    <a:pt x="120" y="286"/>
                  </a:lnTo>
                  <a:lnTo>
                    <a:pt x="89" y="284"/>
                  </a:lnTo>
                  <a:lnTo>
                    <a:pt x="63" y="274"/>
                  </a:lnTo>
                  <a:lnTo>
                    <a:pt x="40" y="259"/>
                  </a:lnTo>
                  <a:lnTo>
                    <a:pt x="22" y="239"/>
                  </a:lnTo>
                  <a:lnTo>
                    <a:pt x="10" y="211"/>
                  </a:lnTo>
                  <a:lnTo>
                    <a:pt x="2" y="180"/>
                  </a:lnTo>
                  <a:lnTo>
                    <a:pt x="0" y="143"/>
                  </a:lnTo>
                  <a:lnTo>
                    <a:pt x="2" y="106"/>
                  </a:lnTo>
                  <a:lnTo>
                    <a:pt x="10" y="75"/>
                  </a:lnTo>
                  <a:lnTo>
                    <a:pt x="22" y="48"/>
                  </a:lnTo>
                  <a:lnTo>
                    <a:pt x="40" y="27"/>
                  </a:lnTo>
                  <a:lnTo>
                    <a:pt x="63" y="12"/>
                  </a:lnTo>
                  <a:lnTo>
                    <a:pt x="89" y="3"/>
                  </a:lnTo>
                  <a:lnTo>
                    <a:pt x="1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77" name="Freeform 73"/>
            <p:cNvSpPr>
              <a:spLocks/>
            </p:cNvSpPr>
            <p:nvPr/>
          </p:nvSpPr>
          <p:spPr bwMode="auto">
            <a:xfrm>
              <a:off x="-682" y="2708"/>
              <a:ext cx="52" cy="141"/>
            </a:xfrm>
            <a:custGeom>
              <a:avLst/>
              <a:gdLst>
                <a:gd name="T0" fmla="*/ 0 w 103"/>
                <a:gd name="T1" fmla="*/ 0 h 284"/>
                <a:gd name="T2" fmla="*/ 103 w 103"/>
                <a:gd name="T3" fmla="*/ 0 h 284"/>
                <a:gd name="T4" fmla="*/ 103 w 103"/>
                <a:gd name="T5" fmla="*/ 284 h 284"/>
                <a:gd name="T6" fmla="*/ 56 w 103"/>
                <a:gd name="T7" fmla="*/ 284 h 284"/>
                <a:gd name="T8" fmla="*/ 56 w 103"/>
                <a:gd name="T9" fmla="*/ 43 h 284"/>
                <a:gd name="T10" fmla="*/ 0 w 103"/>
                <a:gd name="T11" fmla="*/ 43 h 284"/>
                <a:gd name="T12" fmla="*/ 0 w 103"/>
                <a:gd name="T13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284">
                  <a:moveTo>
                    <a:pt x="0" y="0"/>
                  </a:moveTo>
                  <a:lnTo>
                    <a:pt x="103" y="0"/>
                  </a:lnTo>
                  <a:lnTo>
                    <a:pt x="103" y="284"/>
                  </a:lnTo>
                  <a:lnTo>
                    <a:pt x="56" y="284"/>
                  </a:lnTo>
                  <a:lnTo>
                    <a:pt x="56" y="43"/>
                  </a:lnTo>
                  <a:lnTo>
                    <a:pt x="0" y="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78" name="Freeform 74"/>
            <p:cNvSpPr>
              <a:spLocks/>
            </p:cNvSpPr>
            <p:nvPr/>
          </p:nvSpPr>
          <p:spPr bwMode="auto">
            <a:xfrm>
              <a:off x="-476" y="2708"/>
              <a:ext cx="52" cy="141"/>
            </a:xfrm>
            <a:custGeom>
              <a:avLst/>
              <a:gdLst>
                <a:gd name="T0" fmla="*/ 0 w 103"/>
                <a:gd name="T1" fmla="*/ 0 h 284"/>
                <a:gd name="T2" fmla="*/ 103 w 103"/>
                <a:gd name="T3" fmla="*/ 0 h 284"/>
                <a:gd name="T4" fmla="*/ 103 w 103"/>
                <a:gd name="T5" fmla="*/ 284 h 284"/>
                <a:gd name="T6" fmla="*/ 56 w 103"/>
                <a:gd name="T7" fmla="*/ 284 h 284"/>
                <a:gd name="T8" fmla="*/ 56 w 103"/>
                <a:gd name="T9" fmla="*/ 43 h 284"/>
                <a:gd name="T10" fmla="*/ 0 w 103"/>
                <a:gd name="T11" fmla="*/ 43 h 284"/>
                <a:gd name="T12" fmla="*/ 0 w 103"/>
                <a:gd name="T13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284">
                  <a:moveTo>
                    <a:pt x="0" y="0"/>
                  </a:moveTo>
                  <a:lnTo>
                    <a:pt x="103" y="0"/>
                  </a:lnTo>
                  <a:lnTo>
                    <a:pt x="103" y="284"/>
                  </a:lnTo>
                  <a:lnTo>
                    <a:pt x="56" y="284"/>
                  </a:lnTo>
                  <a:lnTo>
                    <a:pt x="56" y="43"/>
                  </a:lnTo>
                  <a:lnTo>
                    <a:pt x="0" y="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79" name="Freeform 75"/>
            <p:cNvSpPr>
              <a:spLocks/>
            </p:cNvSpPr>
            <p:nvPr/>
          </p:nvSpPr>
          <p:spPr bwMode="auto">
            <a:xfrm>
              <a:off x="-754" y="2490"/>
              <a:ext cx="52" cy="142"/>
            </a:xfrm>
            <a:custGeom>
              <a:avLst/>
              <a:gdLst>
                <a:gd name="T0" fmla="*/ 0 w 104"/>
                <a:gd name="T1" fmla="*/ 0 h 284"/>
                <a:gd name="T2" fmla="*/ 104 w 104"/>
                <a:gd name="T3" fmla="*/ 0 h 284"/>
                <a:gd name="T4" fmla="*/ 104 w 104"/>
                <a:gd name="T5" fmla="*/ 284 h 284"/>
                <a:gd name="T6" fmla="*/ 55 w 104"/>
                <a:gd name="T7" fmla="*/ 284 h 284"/>
                <a:gd name="T8" fmla="*/ 55 w 104"/>
                <a:gd name="T9" fmla="*/ 43 h 284"/>
                <a:gd name="T10" fmla="*/ 0 w 104"/>
                <a:gd name="T11" fmla="*/ 43 h 284"/>
                <a:gd name="T12" fmla="*/ 0 w 104"/>
                <a:gd name="T13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284">
                  <a:moveTo>
                    <a:pt x="0" y="0"/>
                  </a:moveTo>
                  <a:lnTo>
                    <a:pt x="104" y="0"/>
                  </a:lnTo>
                  <a:lnTo>
                    <a:pt x="104" y="284"/>
                  </a:lnTo>
                  <a:lnTo>
                    <a:pt x="55" y="284"/>
                  </a:lnTo>
                  <a:lnTo>
                    <a:pt x="55" y="43"/>
                  </a:lnTo>
                  <a:lnTo>
                    <a:pt x="0" y="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80" name="Freeform 76"/>
            <p:cNvSpPr>
              <a:spLocks noEditPoints="1"/>
            </p:cNvSpPr>
            <p:nvPr/>
          </p:nvSpPr>
          <p:spPr bwMode="auto">
            <a:xfrm>
              <a:off x="-953" y="2489"/>
              <a:ext cx="121" cy="144"/>
            </a:xfrm>
            <a:custGeom>
              <a:avLst/>
              <a:gdLst>
                <a:gd name="T0" fmla="*/ 122 w 242"/>
                <a:gd name="T1" fmla="*/ 38 h 286"/>
                <a:gd name="T2" fmla="*/ 100 w 242"/>
                <a:gd name="T3" fmla="*/ 41 h 286"/>
                <a:gd name="T4" fmla="*/ 82 w 242"/>
                <a:gd name="T5" fmla="*/ 49 h 286"/>
                <a:gd name="T6" fmla="*/ 67 w 242"/>
                <a:gd name="T7" fmla="*/ 64 h 286"/>
                <a:gd name="T8" fmla="*/ 57 w 242"/>
                <a:gd name="T9" fmla="*/ 84 h 286"/>
                <a:gd name="T10" fmla="*/ 52 w 242"/>
                <a:gd name="T11" fmla="*/ 110 h 286"/>
                <a:gd name="T12" fmla="*/ 49 w 242"/>
                <a:gd name="T13" fmla="*/ 143 h 286"/>
                <a:gd name="T14" fmla="*/ 52 w 242"/>
                <a:gd name="T15" fmla="*/ 176 h 286"/>
                <a:gd name="T16" fmla="*/ 57 w 242"/>
                <a:gd name="T17" fmla="*/ 203 h 286"/>
                <a:gd name="T18" fmla="*/ 67 w 242"/>
                <a:gd name="T19" fmla="*/ 224 h 286"/>
                <a:gd name="T20" fmla="*/ 82 w 242"/>
                <a:gd name="T21" fmla="*/ 237 h 286"/>
                <a:gd name="T22" fmla="*/ 100 w 242"/>
                <a:gd name="T23" fmla="*/ 247 h 286"/>
                <a:gd name="T24" fmla="*/ 122 w 242"/>
                <a:gd name="T25" fmla="*/ 249 h 286"/>
                <a:gd name="T26" fmla="*/ 143 w 242"/>
                <a:gd name="T27" fmla="*/ 247 h 286"/>
                <a:gd name="T28" fmla="*/ 161 w 242"/>
                <a:gd name="T29" fmla="*/ 237 h 286"/>
                <a:gd name="T30" fmla="*/ 175 w 242"/>
                <a:gd name="T31" fmla="*/ 224 h 286"/>
                <a:gd name="T32" fmla="*/ 184 w 242"/>
                <a:gd name="T33" fmla="*/ 203 h 286"/>
                <a:gd name="T34" fmla="*/ 191 w 242"/>
                <a:gd name="T35" fmla="*/ 176 h 286"/>
                <a:gd name="T36" fmla="*/ 193 w 242"/>
                <a:gd name="T37" fmla="*/ 143 h 286"/>
                <a:gd name="T38" fmla="*/ 191 w 242"/>
                <a:gd name="T39" fmla="*/ 110 h 286"/>
                <a:gd name="T40" fmla="*/ 184 w 242"/>
                <a:gd name="T41" fmla="*/ 84 h 286"/>
                <a:gd name="T42" fmla="*/ 175 w 242"/>
                <a:gd name="T43" fmla="*/ 64 h 286"/>
                <a:gd name="T44" fmla="*/ 161 w 242"/>
                <a:gd name="T45" fmla="*/ 49 h 286"/>
                <a:gd name="T46" fmla="*/ 143 w 242"/>
                <a:gd name="T47" fmla="*/ 41 h 286"/>
                <a:gd name="T48" fmla="*/ 122 w 242"/>
                <a:gd name="T49" fmla="*/ 38 h 286"/>
                <a:gd name="T50" fmla="*/ 122 w 242"/>
                <a:gd name="T51" fmla="*/ 0 h 286"/>
                <a:gd name="T52" fmla="*/ 153 w 242"/>
                <a:gd name="T53" fmla="*/ 3 h 286"/>
                <a:gd name="T54" fmla="*/ 179 w 242"/>
                <a:gd name="T55" fmla="*/ 12 h 286"/>
                <a:gd name="T56" fmla="*/ 202 w 242"/>
                <a:gd name="T57" fmla="*/ 27 h 286"/>
                <a:gd name="T58" fmla="*/ 218 w 242"/>
                <a:gd name="T59" fmla="*/ 49 h 286"/>
                <a:gd name="T60" fmla="*/ 232 w 242"/>
                <a:gd name="T61" fmla="*/ 75 h 286"/>
                <a:gd name="T62" fmla="*/ 239 w 242"/>
                <a:gd name="T63" fmla="*/ 106 h 286"/>
                <a:gd name="T64" fmla="*/ 242 w 242"/>
                <a:gd name="T65" fmla="*/ 143 h 286"/>
                <a:gd name="T66" fmla="*/ 239 w 242"/>
                <a:gd name="T67" fmla="*/ 180 h 286"/>
                <a:gd name="T68" fmla="*/ 232 w 242"/>
                <a:gd name="T69" fmla="*/ 213 h 286"/>
                <a:gd name="T70" fmla="*/ 218 w 242"/>
                <a:gd name="T71" fmla="*/ 239 h 286"/>
                <a:gd name="T72" fmla="*/ 202 w 242"/>
                <a:gd name="T73" fmla="*/ 259 h 286"/>
                <a:gd name="T74" fmla="*/ 179 w 242"/>
                <a:gd name="T75" fmla="*/ 274 h 286"/>
                <a:gd name="T76" fmla="*/ 153 w 242"/>
                <a:gd name="T77" fmla="*/ 284 h 286"/>
                <a:gd name="T78" fmla="*/ 122 w 242"/>
                <a:gd name="T79" fmla="*/ 286 h 286"/>
                <a:gd name="T80" fmla="*/ 90 w 242"/>
                <a:gd name="T81" fmla="*/ 284 h 286"/>
                <a:gd name="T82" fmla="*/ 63 w 242"/>
                <a:gd name="T83" fmla="*/ 274 h 286"/>
                <a:gd name="T84" fmla="*/ 41 w 242"/>
                <a:gd name="T85" fmla="*/ 259 h 286"/>
                <a:gd name="T86" fmla="*/ 23 w 242"/>
                <a:gd name="T87" fmla="*/ 239 h 286"/>
                <a:gd name="T88" fmla="*/ 11 w 242"/>
                <a:gd name="T89" fmla="*/ 213 h 286"/>
                <a:gd name="T90" fmla="*/ 3 w 242"/>
                <a:gd name="T91" fmla="*/ 180 h 286"/>
                <a:gd name="T92" fmla="*/ 0 w 242"/>
                <a:gd name="T93" fmla="*/ 143 h 286"/>
                <a:gd name="T94" fmla="*/ 3 w 242"/>
                <a:gd name="T95" fmla="*/ 106 h 286"/>
                <a:gd name="T96" fmla="*/ 11 w 242"/>
                <a:gd name="T97" fmla="*/ 75 h 286"/>
                <a:gd name="T98" fmla="*/ 23 w 242"/>
                <a:gd name="T99" fmla="*/ 49 h 286"/>
                <a:gd name="T100" fmla="*/ 41 w 242"/>
                <a:gd name="T101" fmla="*/ 27 h 286"/>
                <a:gd name="T102" fmla="*/ 63 w 242"/>
                <a:gd name="T103" fmla="*/ 12 h 286"/>
                <a:gd name="T104" fmla="*/ 90 w 242"/>
                <a:gd name="T105" fmla="*/ 3 h 286"/>
                <a:gd name="T106" fmla="*/ 122 w 242"/>
                <a:gd name="T107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2" h="286">
                  <a:moveTo>
                    <a:pt x="122" y="38"/>
                  </a:moveTo>
                  <a:lnTo>
                    <a:pt x="100" y="41"/>
                  </a:lnTo>
                  <a:lnTo>
                    <a:pt x="82" y="49"/>
                  </a:lnTo>
                  <a:lnTo>
                    <a:pt x="67" y="64"/>
                  </a:lnTo>
                  <a:lnTo>
                    <a:pt x="57" y="84"/>
                  </a:lnTo>
                  <a:lnTo>
                    <a:pt x="52" y="110"/>
                  </a:lnTo>
                  <a:lnTo>
                    <a:pt x="49" y="143"/>
                  </a:lnTo>
                  <a:lnTo>
                    <a:pt x="52" y="176"/>
                  </a:lnTo>
                  <a:lnTo>
                    <a:pt x="57" y="203"/>
                  </a:lnTo>
                  <a:lnTo>
                    <a:pt x="67" y="224"/>
                  </a:lnTo>
                  <a:lnTo>
                    <a:pt x="82" y="237"/>
                  </a:lnTo>
                  <a:lnTo>
                    <a:pt x="100" y="247"/>
                  </a:lnTo>
                  <a:lnTo>
                    <a:pt x="122" y="249"/>
                  </a:lnTo>
                  <a:lnTo>
                    <a:pt x="143" y="247"/>
                  </a:lnTo>
                  <a:lnTo>
                    <a:pt x="161" y="237"/>
                  </a:lnTo>
                  <a:lnTo>
                    <a:pt x="175" y="224"/>
                  </a:lnTo>
                  <a:lnTo>
                    <a:pt x="184" y="203"/>
                  </a:lnTo>
                  <a:lnTo>
                    <a:pt x="191" y="176"/>
                  </a:lnTo>
                  <a:lnTo>
                    <a:pt x="193" y="143"/>
                  </a:lnTo>
                  <a:lnTo>
                    <a:pt x="191" y="110"/>
                  </a:lnTo>
                  <a:lnTo>
                    <a:pt x="184" y="84"/>
                  </a:lnTo>
                  <a:lnTo>
                    <a:pt x="175" y="64"/>
                  </a:lnTo>
                  <a:lnTo>
                    <a:pt x="161" y="49"/>
                  </a:lnTo>
                  <a:lnTo>
                    <a:pt x="143" y="41"/>
                  </a:lnTo>
                  <a:lnTo>
                    <a:pt x="122" y="38"/>
                  </a:lnTo>
                  <a:close/>
                  <a:moveTo>
                    <a:pt x="122" y="0"/>
                  </a:moveTo>
                  <a:lnTo>
                    <a:pt x="153" y="3"/>
                  </a:lnTo>
                  <a:lnTo>
                    <a:pt x="179" y="12"/>
                  </a:lnTo>
                  <a:lnTo>
                    <a:pt x="202" y="27"/>
                  </a:lnTo>
                  <a:lnTo>
                    <a:pt x="218" y="49"/>
                  </a:lnTo>
                  <a:lnTo>
                    <a:pt x="232" y="75"/>
                  </a:lnTo>
                  <a:lnTo>
                    <a:pt x="239" y="106"/>
                  </a:lnTo>
                  <a:lnTo>
                    <a:pt x="242" y="143"/>
                  </a:lnTo>
                  <a:lnTo>
                    <a:pt x="239" y="180"/>
                  </a:lnTo>
                  <a:lnTo>
                    <a:pt x="232" y="213"/>
                  </a:lnTo>
                  <a:lnTo>
                    <a:pt x="218" y="239"/>
                  </a:lnTo>
                  <a:lnTo>
                    <a:pt x="202" y="259"/>
                  </a:lnTo>
                  <a:lnTo>
                    <a:pt x="179" y="274"/>
                  </a:lnTo>
                  <a:lnTo>
                    <a:pt x="153" y="284"/>
                  </a:lnTo>
                  <a:lnTo>
                    <a:pt x="122" y="286"/>
                  </a:lnTo>
                  <a:lnTo>
                    <a:pt x="90" y="284"/>
                  </a:lnTo>
                  <a:lnTo>
                    <a:pt x="63" y="274"/>
                  </a:lnTo>
                  <a:lnTo>
                    <a:pt x="41" y="259"/>
                  </a:lnTo>
                  <a:lnTo>
                    <a:pt x="23" y="239"/>
                  </a:lnTo>
                  <a:lnTo>
                    <a:pt x="11" y="213"/>
                  </a:lnTo>
                  <a:lnTo>
                    <a:pt x="3" y="180"/>
                  </a:lnTo>
                  <a:lnTo>
                    <a:pt x="0" y="143"/>
                  </a:lnTo>
                  <a:lnTo>
                    <a:pt x="3" y="106"/>
                  </a:lnTo>
                  <a:lnTo>
                    <a:pt x="11" y="75"/>
                  </a:lnTo>
                  <a:lnTo>
                    <a:pt x="23" y="49"/>
                  </a:lnTo>
                  <a:lnTo>
                    <a:pt x="41" y="27"/>
                  </a:lnTo>
                  <a:lnTo>
                    <a:pt x="63" y="12"/>
                  </a:lnTo>
                  <a:lnTo>
                    <a:pt x="90" y="3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81" name="Freeform 77"/>
            <p:cNvSpPr>
              <a:spLocks/>
            </p:cNvSpPr>
            <p:nvPr/>
          </p:nvSpPr>
          <p:spPr bwMode="auto">
            <a:xfrm>
              <a:off x="-826" y="2490"/>
              <a:ext cx="52" cy="142"/>
            </a:xfrm>
            <a:custGeom>
              <a:avLst/>
              <a:gdLst>
                <a:gd name="T0" fmla="*/ 0 w 104"/>
                <a:gd name="T1" fmla="*/ 0 h 284"/>
                <a:gd name="T2" fmla="*/ 104 w 104"/>
                <a:gd name="T3" fmla="*/ 0 h 284"/>
                <a:gd name="T4" fmla="*/ 104 w 104"/>
                <a:gd name="T5" fmla="*/ 284 h 284"/>
                <a:gd name="T6" fmla="*/ 56 w 104"/>
                <a:gd name="T7" fmla="*/ 284 h 284"/>
                <a:gd name="T8" fmla="*/ 56 w 104"/>
                <a:gd name="T9" fmla="*/ 43 h 284"/>
                <a:gd name="T10" fmla="*/ 0 w 104"/>
                <a:gd name="T11" fmla="*/ 43 h 284"/>
                <a:gd name="T12" fmla="*/ 0 w 104"/>
                <a:gd name="T13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284">
                  <a:moveTo>
                    <a:pt x="0" y="0"/>
                  </a:moveTo>
                  <a:lnTo>
                    <a:pt x="104" y="0"/>
                  </a:lnTo>
                  <a:lnTo>
                    <a:pt x="104" y="284"/>
                  </a:lnTo>
                  <a:lnTo>
                    <a:pt x="56" y="284"/>
                  </a:lnTo>
                  <a:lnTo>
                    <a:pt x="56" y="43"/>
                  </a:lnTo>
                  <a:lnTo>
                    <a:pt x="0" y="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82" name="Freeform 78"/>
            <p:cNvSpPr>
              <a:spLocks noEditPoints="1"/>
            </p:cNvSpPr>
            <p:nvPr/>
          </p:nvSpPr>
          <p:spPr bwMode="auto">
            <a:xfrm>
              <a:off x="-1014" y="2272"/>
              <a:ext cx="120" cy="144"/>
            </a:xfrm>
            <a:custGeom>
              <a:avLst/>
              <a:gdLst>
                <a:gd name="T0" fmla="*/ 120 w 242"/>
                <a:gd name="T1" fmla="*/ 38 h 288"/>
                <a:gd name="T2" fmla="*/ 99 w 242"/>
                <a:gd name="T3" fmla="*/ 41 h 288"/>
                <a:gd name="T4" fmla="*/ 81 w 242"/>
                <a:gd name="T5" fmla="*/ 49 h 288"/>
                <a:gd name="T6" fmla="*/ 67 w 242"/>
                <a:gd name="T7" fmla="*/ 64 h 288"/>
                <a:gd name="T8" fmla="*/ 58 w 242"/>
                <a:gd name="T9" fmla="*/ 84 h 288"/>
                <a:gd name="T10" fmla="*/ 51 w 242"/>
                <a:gd name="T11" fmla="*/ 110 h 288"/>
                <a:gd name="T12" fmla="*/ 50 w 242"/>
                <a:gd name="T13" fmla="*/ 144 h 288"/>
                <a:gd name="T14" fmla="*/ 51 w 242"/>
                <a:gd name="T15" fmla="*/ 177 h 288"/>
                <a:gd name="T16" fmla="*/ 58 w 242"/>
                <a:gd name="T17" fmla="*/ 203 h 288"/>
                <a:gd name="T18" fmla="*/ 67 w 242"/>
                <a:gd name="T19" fmla="*/ 224 h 288"/>
                <a:gd name="T20" fmla="*/ 81 w 242"/>
                <a:gd name="T21" fmla="*/ 239 h 288"/>
                <a:gd name="T22" fmla="*/ 99 w 242"/>
                <a:gd name="T23" fmla="*/ 247 h 288"/>
                <a:gd name="T24" fmla="*/ 120 w 242"/>
                <a:gd name="T25" fmla="*/ 249 h 288"/>
                <a:gd name="T26" fmla="*/ 142 w 242"/>
                <a:gd name="T27" fmla="*/ 247 h 288"/>
                <a:gd name="T28" fmla="*/ 160 w 242"/>
                <a:gd name="T29" fmla="*/ 239 h 288"/>
                <a:gd name="T30" fmla="*/ 175 w 242"/>
                <a:gd name="T31" fmla="*/ 224 h 288"/>
                <a:gd name="T32" fmla="*/ 185 w 242"/>
                <a:gd name="T33" fmla="*/ 203 h 288"/>
                <a:gd name="T34" fmla="*/ 190 w 242"/>
                <a:gd name="T35" fmla="*/ 177 h 288"/>
                <a:gd name="T36" fmla="*/ 193 w 242"/>
                <a:gd name="T37" fmla="*/ 144 h 288"/>
                <a:gd name="T38" fmla="*/ 190 w 242"/>
                <a:gd name="T39" fmla="*/ 110 h 288"/>
                <a:gd name="T40" fmla="*/ 185 w 242"/>
                <a:gd name="T41" fmla="*/ 84 h 288"/>
                <a:gd name="T42" fmla="*/ 175 w 242"/>
                <a:gd name="T43" fmla="*/ 64 h 288"/>
                <a:gd name="T44" fmla="*/ 160 w 242"/>
                <a:gd name="T45" fmla="*/ 49 h 288"/>
                <a:gd name="T46" fmla="*/ 142 w 242"/>
                <a:gd name="T47" fmla="*/ 41 h 288"/>
                <a:gd name="T48" fmla="*/ 120 w 242"/>
                <a:gd name="T49" fmla="*/ 38 h 288"/>
                <a:gd name="T50" fmla="*/ 120 w 242"/>
                <a:gd name="T51" fmla="*/ 0 h 288"/>
                <a:gd name="T52" fmla="*/ 152 w 242"/>
                <a:gd name="T53" fmla="*/ 4 h 288"/>
                <a:gd name="T54" fmla="*/ 179 w 242"/>
                <a:gd name="T55" fmla="*/ 12 h 288"/>
                <a:gd name="T56" fmla="*/ 201 w 242"/>
                <a:gd name="T57" fmla="*/ 29 h 288"/>
                <a:gd name="T58" fmla="*/ 219 w 242"/>
                <a:gd name="T59" fmla="*/ 49 h 288"/>
                <a:gd name="T60" fmla="*/ 231 w 242"/>
                <a:gd name="T61" fmla="*/ 75 h 288"/>
                <a:gd name="T62" fmla="*/ 239 w 242"/>
                <a:gd name="T63" fmla="*/ 106 h 288"/>
                <a:gd name="T64" fmla="*/ 242 w 242"/>
                <a:gd name="T65" fmla="*/ 144 h 288"/>
                <a:gd name="T66" fmla="*/ 239 w 242"/>
                <a:gd name="T67" fmla="*/ 181 h 288"/>
                <a:gd name="T68" fmla="*/ 231 w 242"/>
                <a:gd name="T69" fmla="*/ 213 h 288"/>
                <a:gd name="T70" fmla="*/ 219 w 242"/>
                <a:gd name="T71" fmla="*/ 239 h 288"/>
                <a:gd name="T72" fmla="*/ 201 w 242"/>
                <a:gd name="T73" fmla="*/ 260 h 288"/>
                <a:gd name="T74" fmla="*/ 179 w 242"/>
                <a:gd name="T75" fmla="*/ 275 h 288"/>
                <a:gd name="T76" fmla="*/ 152 w 242"/>
                <a:gd name="T77" fmla="*/ 284 h 288"/>
                <a:gd name="T78" fmla="*/ 120 w 242"/>
                <a:gd name="T79" fmla="*/ 288 h 288"/>
                <a:gd name="T80" fmla="*/ 90 w 242"/>
                <a:gd name="T81" fmla="*/ 284 h 288"/>
                <a:gd name="T82" fmla="*/ 63 w 242"/>
                <a:gd name="T83" fmla="*/ 275 h 288"/>
                <a:gd name="T84" fmla="*/ 41 w 242"/>
                <a:gd name="T85" fmla="*/ 260 h 288"/>
                <a:gd name="T86" fmla="*/ 24 w 242"/>
                <a:gd name="T87" fmla="*/ 239 h 288"/>
                <a:gd name="T88" fmla="*/ 10 w 242"/>
                <a:gd name="T89" fmla="*/ 213 h 288"/>
                <a:gd name="T90" fmla="*/ 3 w 242"/>
                <a:gd name="T91" fmla="*/ 181 h 288"/>
                <a:gd name="T92" fmla="*/ 0 w 242"/>
                <a:gd name="T93" fmla="*/ 144 h 288"/>
                <a:gd name="T94" fmla="*/ 3 w 242"/>
                <a:gd name="T95" fmla="*/ 106 h 288"/>
                <a:gd name="T96" fmla="*/ 10 w 242"/>
                <a:gd name="T97" fmla="*/ 75 h 288"/>
                <a:gd name="T98" fmla="*/ 24 w 242"/>
                <a:gd name="T99" fmla="*/ 49 h 288"/>
                <a:gd name="T100" fmla="*/ 41 w 242"/>
                <a:gd name="T101" fmla="*/ 29 h 288"/>
                <a:gd name="T102" fmla="*/ 63 w 242"/>
                <a:gd name="T103" fmla="*/ 12 h 288"/>
                <a:gd name="T104" fmla="*/ 90 w 242"/>
                <a:gd name="T105" fmla="*/ 4 h 288"/>
                <a:gd name="T106" fmla="*/ 120 w 242"/>
                <a:gd name="T107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2" h="288">
                  <a:moveTo>
                    <a:pt x="120" y="38"/>
                  </a:moveTo>
                  <a:lnTo>
                    <a:pt x="99" y="41"/>
                  </a:lnTo>
                  <a:lnTo>
                    <a:pt x="81" y="49"/>
                  </a:lnTo>
                  <a:lnTo>
                    <a:pt x="67" y="64"/>
                  </a:lnTo>
                  <a:lnTo>
                    <a:pt x="58" y="84"/>
                  </a:lnTo>
                  <a:lnTo>
                    <a:pt x="51" y="110"/>
                  </a:lnTo>
                  <a:lnTo>
                    <a:pt x="50" y="144"/>
                  </a:lnTo>
                  <a:lnTo>
                    <a:pt x="51" y="177"/>
                  </a:lnTo>
                  <a:lnTo>
                    <a:pt x="58" y="203"/>
                  </a:lnTo>
                  <a:lnTo>
                    <a:pt x="67" y="224"/>
                  </a:lnTo>
                  <a:lnTo>
                    <a:pt x="81" y="239"/>
                  </a:lnTo>
                  <a:lnTo>
                    <a:pt x="99" y="247"/>
                  </a:lnTo>
                  <a:lnTo>
                    <a:pt x="120" y="249"/>
                  </a:lnTo>
                  <a:lnTo>
                    <a:pt x="142" y="247"/>
                  </a:lnTo>
                  <a:lnTo>
                    <a:pt x="160" y="239"/>
                  </a:lnTo>
                  <a:lnTo>
                    <a:pt x="175" y="224"/>
                  </a:lnTo>
                  <a:lnTo>
                    <a:pt x="185" y="203"/>
                  </a:lnTo>
                  <a:lnTo>
                    <a:pt x="190" y="177"/>
                  </a:lnTo>
                  <a:lnTo>
                    <a:pt x="193" y="144"/>
                  </a:lnTo>
                  <a:lnTo>
                    <a:pt x="190" y="110"/>
                  </a:lnTo>
                  <a:lnTo>
                    <a:pt x="185" y="84"/>
                  </a:lnTo>
                  <a:lnTo>
                    <a:pt x="175" y="64"/>
                  </a:lnTo>
                  <a:lnTo>
                    <a:pt x="160" y="49"/>
                  </a:lnTo>
                  <a:lnTo>
                    <a:pt x="142" y="41"/>
                  </a:lnTo>
                  <a:lnTo>
                    <a:pt x="120" y="38"/>
                  </a:lnTo>
                  <a:close/>
                  <a:moveTo>
                    <a:pt x="120" y="0"/>
                  </a:moveTo>
                  <a:lnTo>
                    <a:pt x="152" y="4"/>
                  </a:lnTo>
                  <a:lnTo>
                    <a:pt x="179" y="12"/>
                  </a:lnTo>
                  <a:lnTo>
                    <a:pt x="201" y="29"/>
                  </a:lnTo>
                  <a:lnTo>
                    <a:pt x="219" y="49"/>
                  </a:lnTo>
                  <a:lnTo>
                    <a:pt x="231" y="75"/>
                  </a:lnTo>
                  <a:lnTo>
                    <a:pt x="239" y="106"/>
                  </a:lnTo>
                  <a:lnTo>
                    <a:pt x="242" y="144"/>
                  </a:lnTo>
                  <a:lnTo>
                    <a:pt x="239" y="181"/>
                  </a:lnTo>
                  <a:lnTo>
                    <a:pt x="231" y="213"/>
                  </a:lnTo>
                  <a:lnTo>
                    <a:pt x="219" y="239"/>
                  </a:lnTo>
                  <a:lnTo>
                    <a:pt x="201" y="260"/>
                  </a:lnTo>
                  <a:lnTo>
                    <a:pt x="179" y="275"/>
                  </a:lnTo>
                  <a:lnTo>
                    <a:pt x="152" y="284"/>
                  </a:lnTo>
                  <a:lnTo>
                    <a:pt x="120" y="288"/>
                  </a:lnTo>
                  <a:lnTo>
                    <a:pt x="90" y="284"/>
                  </a:lnTo>
                  <a:lnTo>
                    <a:pt x="63" y="275"/>
                  </a:lnTo>
                  <a:lnTo>
                    <a:pt x="41" y="260"/>
                  </a:lnTo>
                  <a:lnTo>
                    <a:pt x="24" y="239"/>
                  </a:lnTo>
                  <a:lnTo>
                    <a:pt x="10" y="213"/>
                  </a:lnTo>
                  <a:lnTo>
                    <a:pt x="3" y="181"/>
                  </a:lnTo>
                  <a:lnTo>
                    <a:pt x="0" y="144"/>
                  </a:lnTo>
                  <a:lnTo>
                    <a:pt x="3" y="106"/>
                  </a:lnTo>
                  <a:lnTo>
                    <a:pt x="10" y="75"/>
                  </a:lnTo>
                  <a:lnTo>
                    <a:pt x="24" y="49"/>
                  </a:lnTo>
                  <a:lnTo>
                    <a:pt x="41" y="29"/>
                  </a:lnTo>
                  <a:lnTo>
                    <a:pt x="63" y="12"/>
                  </a:lnTo>
                  <a:lnTo>
                    <a:pt x="90" y="4"/>
                  </a:lnTo>
                  <a:lnTo>
                    <a:pt x="1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83" name="Freeform 79"/>
            <p:cNvSpPr>
              <a:spLocks noEditPoints="1"/>
            </p:cNvSpPr>
            <p:nvPr/>
          </p:nvSpPr>
          <p:spPr bwMode="auto">
            <a:xfrm>
              <a:off x="-675" y="2489"/>
              <a:ext cx="121" cy="144"/>
            </a:xfrm>
            <a:custGeom>
              <a:avLst/>
              <a:gdLst>
                <a:gd name="T0" fmla="*/ 120 w 241"/>
                <a:gd name="T1" fmla="*/ 38 h 286"/>
                <a:gd name="T2" fmla="*/ 98 w 241"/>
                <a:gd name="T3" fmla="*/ 41 h 286"/>
                <a:gd name="T4" fmla="*/ 80 w 241"/>
                <a:gd name="T5" fmla="*/ 49 h 286"/>
                <a:gd name="T6" fmla="*/ 67 w 241"/>
                <a:gd name="T7" fmla="*/ 64 h 286"/>
                <a:gd name="T8" fmla="*/ 57 w 241"/>
                <a:gd name="T9" fmla="*/ 84 h 286"/>
                <a:gd name="T10" fmla="*/ 50 w 241"/>
                <a:gd name="T11" fmla="*/ 110 h 286"/>
                <a:gd name="T12" fmla="*/ 49 w 241"/>
                <a:gd name="T13" fmla="*/ 143 h 286"/>
                <a:gd name="T14" fmla="*/ 50 w 241"/>
                <a:gd name="T15" fmla="*/ 176 h 286"/>
                <a:gd name="T16" fmla="*/ 57 w 241"/>
                <a:gd name="T17" fmla="*/ 203 h 286"/>
                <a:gd name="T18" fmla="*/ 67 w 241"/>
                <a:gd name="T19" fmla="*/ 224 h 286"/>
                <a:gd name="T20" fmla="*/ 80 w 241"/>
                <a:gd name="T21" fmla="*/ 237 h 286"/>
                <a:gd name="T22" fmla="*/ 98 w 241"/>
                <a:gd name="T23" fmla="*/ 247 h 286"/>
                <a:gd name="T24" fmla="*/ 120 w 241"/>
                <a:gd name="T25" fmla="*/ 249 h 286"/>
                <a:gd name="T26" fmla="*/ 142 w 241"/>
                <a:gd name="T27" fmla="*/ 247 h 286"/>
                <a:gd name="T28" fmla="*/ 159 w 241"/>
                <a:gd name="T29" fmla="*/ 237 h 286"/>
                <a:gd name="T30" fmla="*/ 174 w 241"/>
                <a:gd name="T31" fmla="*/ 224 h 286"/>
                <a:gd name="T32" fmla="*/ 184 w 241"/>
                <a:gd name="T33" fmla="*/ 203 h 286"/>
                <a:gd name="T34" fmla="*/ 189 w 241"/>
                <a:gd name="T35" fmla="*/ 176 h 286"/>
                <a:gd name="T36" fmla="*/ 192 w 241"/>
                <a:gd name="T37" fmla="*/ 143 h 286"/>
                <a:gd name="T38" fmla="*/ 189 w 241"/>
                <a:gd name="T39" fmla="*/ 110 h 286"/>
                <a:gd name="T40" fmla="*/ 184 w 241"/>
                <a:gd name="T41" fmla="*/ 84 h 286"/>
                <a:gd name="T42" fmla="*/ 174 w 241"/>
                <a:gd name="T43" fmla="*/ 64 h 286"/>
                <a:gd name="T44" fmla="*/ 159 w 241"/>
                <a:gd name="T45" fmla="*/ 49 h 286"/>
                <a:gd name="T46" fmla="*/ 142 w 241"/>
                <a:gd name="T47" fmla="*/ 41 h 286"/>
                <a:gd name="T48" fmla="*/ 120 w 241"/>
                <a:gd name="T49" fmla="*/ 38 h 286"/>
                <a:gd name="T50" fmla="*/ 120 w 241"/>
                <a:gd name="T51" fmla="*/ 0 h 286"/>
                <a:gd name="T52" fmla="*/ 151 w 241"/>
                <a:gd name="T53" fmla="*/ 3 h 286"/>
                <a:gd name="T54" fmla="*/ 178 w 241"/>
                <a:gd name="T55" fmla="*/ 12 h 286"/>
                <a:gd name="T56" fmla="*/ 200 w 241"/>
                <a:gd name="T57" fmla="*/ 27 h 286"/>
                <a:gd name="T58" fmla="*/ 218 w 241"/>
                <a:gd name="T59" fmla="*/ 49 h 286"/>
                <a:gd name="T60" fmla="*/ 230 w 241"/>
                <a:gd name="T61" fmla="*/ 75 h 286"/>
                <a:gd name="T62" fmla="*/ 238 w 241"/>
                <a:gd name="T63" fmla="*/ 106 h 286"/>
                <a:gd name="T64" fmla="*/ 241 w 241"/>
                <a:gd name="T65" fmla="*/ 143 h 286"/>
                <a:gd name="T66" fmla="*/ 238 w 241"/>
                <a:gd name="T67" fmla="*/ 180 h 286"/>
                <a:gd name="T68" fmla="*/ 230 w 241"/>
                <a:gd name="T69" fmla="*/ 213 h 286"/>
                <a:gd name="T70" fmla="*/ 218 w 241"/>
                <a:gd name="T71" fmla="*/ 239 h 286"/>
                <a:gd name="T72" fmla="*/ 200 w 241"/>
                <a:gd name="T73" fmla="*/ 259 h 286"/>
                <a:gd name="T74" fmla="*/ 178 w 241"/>
                <a:gd name="T75" fmla="*/ 274 h 286"/>
                <a:gd name="T76" fmla="*/ 151 w 241"/>
                <a:gd name="T77" fmla="*/ 284 h 286"/>
                <a:gd name="T78" fmla="*/ 120 w 241"/>
                <a:gd name="T79" fmla="*/ 286 h 286"/>
                <a:gd name="T80" fmla="*/ 88 w 241"/>
                <a:gd name="T81" fmla="*/ 284 h 286"/>
                <a:gd name="T82" fmla="*/ 62 w 241"/>
                <a:gd name="T83" fmla="*/ 274 h 286"/>
                <a:gd name="T84" fmla="*/ 41 w 241"/>
                <a:gd name="T85" fmla="*/ 259 h 286"/>
                <a:gd name="T86" fmla="*/ 23 w 241"/>
                <a:gd name="T87" fmla="*/ 239 h 286"/>
                <a:gd name="T88" fmla="*/ 9 w 241"/>
                <a:gd name="T89" fmla="*/ 213 h 286"/>
                <a:gd name="T90" fmla="*/ 2 w 241"/>
                <a:gd name="T91" fmla="*/ 180 h 286"/>
                <a:gd name="T92" fmla="*/ 0 w 241"/>
                <a:gd name="T93" fmla="*/ 143 h 286"/>
                <a:gd name="T94" fmla="*/ 2 w 241"/>
                <a:gd name="T95" fmla="*/ 106 h 286"/>
                <a:gd name="T96" fmla="*/ 9 w 241"/>
                <a:gd name="T97" fmla="*/ 75 h 286"/>
                <a:gd name="T98" fmla="*/ 23 w 241"/>
                <a:gd name="T99" fmla="*/ 49 h 286"/>
                <a:gd name="T100" fmla="*/ 41 w 241"/>
                <a:gd name="T101" fmla="*/ 27 h 286"/>
                <a:gd name="T102" fmla="*/ 62 w 241"/>
                <a:gd name="T103" fmla="*/ 12 h 286"/>
                <a:gd name="T104" fmla="*/ 88 w 241"/>
                <a:gd name="T105" fmla="*/ 3 h 286"/>
                <a:gd name="T106" fmla="*/ 120 w 241"/>
                <a:gd name="T107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1" h="286">
                  <a:moveTo>
                    <a:pt x="120" y="38"/>
                  </a:moveTo>
                  <a:lnTo>
                    <a:pt x="98" y="41"/>
                  </a:lnTo>
                  <a:lnTo>
                    <a:pt x="80" y="49"/>
                  </a:lnTo>
                  <a:lnTo>
                    <a:pt x="67" y="64"/>
                  </a:lnTo>
                  <a:lnTo>
                    <a:pt x="57" y="84"/>
                  </a:lnTo>
                  <a:lnTo>
                    <a:pt x="50" y="110"/>
                  </a:lnTo>
                  <a:lnTo>
                    <a:pt x="49" y="143"/>
                  </a:lnTo>
                  <a:lnTo>
                    <a:pt x="50" y="176"/>
                  </a:lnTo>
                  <a:lnTo>
                    <a:pt x="57" y="203"/>
                  </a:lnTo>
                  <a:lnTo>
                    <a:pt x="67" y="224"/>
                  </a:lnTo>
                  <a:lnTo>
                    <a:pt x="80" y="237"/>
                  </a:lnTo>
                  <a:lnTo>
                    <a:pt x="98" y="247"/>
                  </a:lnTo>
                  <a:lnTo>
                    <a:pt x="120" y="249"/>
                  </a:lnTo>
                  <a:lnTo>
                    <a:pt x="142" y="247"/>
                  </a:lnTo>
                  <a:lnTo>
                    <a:pt x="159" y="237"/>
                  </a:lnTo>
                  <a:lnTo>
                    <a:pt x="174" y="224"/>
                  </a:lnTo>
                  <a:lnTo>
                    <a:pt x="184" y="203"/>
                  </a:lnTo>
                  <a:lnTo>
                    <a:pt x="189" y="176"/>
                  </a:lnTo>
                  <a:lnTo>
                    <a:pt x="192" y="143"/>
                  </a:lnTo>
                  <a:lnTo>
                    <a:pt x="189" y="110"/>
                  </a:lnTo>
                  <a:lnTo>
                    <a:pt x="184" y="84"/>
                  </a:lnTo>
                  <a:lnTo>
                    <a:pt x="174" y="64"/>
                  </a:lnTo>
                  <a:lnTo>
                    <a:pt x="159" y="49"/>
                  </a:lnTo>
                  <a:lnTo>
                    <a:pt x="142" y="41"/>
                  </a:lnTo>
                  <a:lnTo>
                    <a:pt x="120" y="38"/>
                  </a:lnTo>
                  <a:close/>
                  <a:moveTo>
                    <a:pt x="120" y="0"/>
                  </a:moveTo>
                  <a:lnTo>
                    <a:pt x="151" y="3"/>
                  </a:lnTo>
                  <a:lnTo>
                    <a:pt x="178" y="12"/>
                  </a:lnTo>
                  <a:lnTo>
                    <a:pt x="200" y="27"/>
                  </a:lnTo>
                  <a:lnTo>
                    <a:pt x="218" y="49"/>
                  </a:lnTo>
                  <a:lnTo>
                    <a:pt x="230" y="75"/>
                  </a:lnTo>
                  <a:lnTo>
                    <a:pt x="238" y="106"/>
                  </a:lnTo>
                  <a:lnTo>
                    <a:pt x="241" y="143"/>
                  </a:lnTo>
                  <a:lnTo>
                    <a:pt x="238" y="180"/>
                  </a:lnTo>
                  <a:lnTo>
                    <a:pt x="230" y="213"/>
                  </a:lnTo>
                  <a:lnTo>
                    <a:pt x="218" y="239"/>
                  </a:lnTo>
                  <a:lnTo>
                    <a:pt x="200" y="259"/>
                  </a:lnTo>
                  <a:lnTo>
                    <a:pt x="178" y="274"/>
                  </a:lnTo>
                  <a:lnTo>
                    <a:pt x="151" y="284"/>
                  </a:lnTo>
                  <a:lnTo>
                    <a:pt x="120" y="286"/>
                  </a:lnTo>
                  <a:lnTo>
                    <a:pt x="88" y="284"/>
                  </a:lnTo>
                  <a:lnTo>
                    <a:pt x="62" y="274"/>
                  </a:lnTo>
                  <a:lnTo>
                    <a:pt x="41" y="259"/>
                  </a:lnTo>
                  <a:lnTo>
                    <a:pt x="23" y="239"/>
                  </a:lnTo>
                  <a:lnTo>
                    <a:pt x="9" y="213"/>
                  </a:lnTo>
                  <a:lnTo>
                    <a:pt x="2" y="180"/>
                  </a:lnTo>
                  <a:lnTo>
                    <a:pt x="0" y="143"/>
                  </a:lnTo>
                  <a:lnTo>
                    <a:pt x="2" y="106"/>
                  </a:lnTo>
                  <a:lnTo>
                    <a:pt x="9" y="75"/>
                  </a:lnTo>
                  <a:lnTo>
                    <a:pt x="23" y="49"/>
                  </a:lnTo>
                  <a:lnTo>
                    <a:pt x="41" y="27"/>
                  </a:lnTo>
                  <a:lnTo>
                    <a:pt x="62" y="12"/>
                  </a:lnTo>
                  <a:lnTo>
                    <a:pt x="88" y="3"/>
                  </a:lnTo>
                  <a:lnTo>
                    <a:pt x="1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84" name="Freeform 80"/>
            <p:cNvSpPr>
              <a:spLocks noEditPoints="1"/>
            </p:cNvSpPr>
            <p:nvPr/>
          </p:nvSpPr>
          <p:spPr bwMode="auto">
            <a:xfrm>
              <a:off x="-603" y="2707"/>
              <a:ext cx="121" cy="143"/>
            </a:xfrm>
            <a:custGeom>
              <a:avLst/>
              <a:gdLst>
                <a:gd name="T0" fmla="*/ 121 w 241"/>
                <a:gd name="T1" fmla="*/ 38 h 286"/>
                <a:gd name="T2" fmla="*/ 100 w 241"/>
                <a:gd name="T3" fmla="*/ 41 h 286"/>
                <a:gd name="T4" fmla="*/ 82 w 241"/>
                <a:gd name="T5" fmla="*/ 49 h 286"/>
                <a:gd name="T6" fmla="*/ 68 w 241"/>
                <a:gd name="T7" fmla="*/ 63 h 286"/>
                <a:gd name="T8" fmla="*/ 57 w 241"/>
                <a:gd name="T9" fmla="*/ 83 h 286"/>
                <a:gd name="T10" fmla="*/ 52 w 241"/>
                <a:gd name="T11" fmla="*/ 110 h 286"/>
                <a:gd name="T12" fmla="*/ 49 w 241"/>
                <a:gd name="T13" fmla="*/ 143 h 286"/>
                <a:gd name="T14" fmla="*/ 52 w 241"/>
                <a:gd name="T15" fmla="*/ 176 h 286"/>
                <a:gd name="T16" fmla="*/ 57 w 241"/>
                <a:gd name="T17" fmla="*/ 202 h 286"/>
                <a:gd name="T18" fmla="*/ 68 w 241"/>
                <a:gd name="T19" fmla="*/ 222 h 286"/>
                <a:gd name="T20" fmla="*/ 82 w 241"/>
                <a:gd name="T21" fmla="*/ 237 h 286"/>
                <a:gd name="T22" fmla="*/ 100 w 241"/>
                <a:gd name="T23" fmla="*/ 245 h 286"/>
                <a:gd name="T24" fmla="*/ 121 w 241"/>
                <a:gd name="T25" fmla="*/ 248 h 286"/>
                <a:gd name="T26" fmla="*/ 143 w 241"/>
                <a:gd name="T27" fmla="*/ 245 h 286"/>
                <a:gd name="T28" fmla="*/ 161 w 241"/>
                <a:gd name="T29" fmla="*/ 237 h 286"/>
                <a:gd name="T30" fmla="*/ 175 w 241"/>
                <a:gd name="T31" fmla="*/ 222 h 286"/>
                <a:gd name="T32" fmla="*/ 185 w 241"/>
                <a:gd name="T33" fmla="*/ 202 h 286"/>
                <a:gd name="T34" fmla="*/ 191 w 241"/>
                <a:gd name="T35" fmla="*/ 176 h 286"/>
                <a:gd name="T36" fmla="*/ 192 w 241"/>
                <a:gd name="T37" fmla="*/ 143 h 286"/>
                <a:gd name="T38" fmla="*/ 191 w 241"/>
                <a:gd name="T39" fmla="*/ 110 h 286"/>
                <a:gd name="T40" fmla="*/ 185 w 241"/>
                <a:gd name="T41" fmla="*/ 83 h 286"/>
                <a:gd name="T42" fmla="*/ 175 w 241"/>
                <a:gd name="T43" fmla="*/ 63 h 286"/>
                <a:gd name="T44" fmla="*/ 161 w 241"/>
                <a:gd name="T45" fmla="*/ 49 h 286"/>
                <a:gd name="T46" fmla="*/ 143 w 241"/>
                <a:gd name="T47" fmla="*/ 41 h 286"/>
                <a:gd name="T48" fmla="*/ 121 w 241"/>
                <a:gd name="T49" fmla="*/ 38 h 286"/>
                <a:gd name="T50" fmla="*/ 121 w 241"/>
                <a:gd name="T51" fmla="*/ 0 h 286"/>
                <a:gd name="T52" fmla="*/ 153 w 241"/>
                <a:gd name="T53" fmla="*/ 3 h 286"/>
                <a:gd name="T54" fmla="*/ 179 w 241"/>
                <a:gd name="T55" fmla="*/ 12 h 286"/>
                <a:gd name="T56" fmla="*/ 202 w 241"/>
                <a:gd name="T57" fmla="*/ 27 h 286"/>
                <a:gd name="T58" fmla="*/ 220 w 241"/>
                <a:gd name="T59" fmla="*/ 48 h 286"/>
                <a:gd name="T60" fmla="*/ 232 w 241"/>
                <a:gd name="T61" fmla="*/ 75 h 286"/>
                <a:gd name="T62" fmla="*/ 239 w 241"/>
                <a:gd name="T63" fmla="*/ 106 h 286"/>
                <a:gd name="T64" fmla="*/ 241 w 241"/>
                <a:gd name="T65" fmla="*/ 143 h 286"/>
                <a:gd name="T66" fmla="*/ 239 w 241"/>
                <a:gd name="T67" fmla="*/ 180 h 286"/>
                <a:gd name="T68" fmla="*/ 232 w 241"/>
                <a:gd name="T69" fmla="*/ 211 h 286"/>
                <a:gd name="T70" fmla="*/ 220 w 241"/>
                <a:gd name="T71" fmla="*/ 239 h 286"/>
                <a:gd name="T72" fmla="*/ 202 w 241"/>
                <a:gd name="T73" fmla="*/ 259 h 286"/>
                <a:gd name="T74" fmla="*/ 179 w 241"/>
                <a:gd name="T75" fmla="*/ 274 h 286"/>
                <a:gd name="T76" fmla="*/ 153 w 241"/>
                <a:gd name="T77" fmla="*/ 284 h 286"/>
                <a:gd name="T78" fmla="*/ 121 w 241"/>
                <a:gd name="T79" fmla="*/ 286 h 286"/>
                <a:gd name="T80" fmla="*/ 90 w 241"/>
                <a:gd name="T81" fmla="*/ 284 h 286"/>
                <a:gd name="T82" fmla="*/ 63 w 241"/>
                <a:gd name="T83" fmla="*/ 274 h 286"/>
                <a:gd name="T84" fmla="*/ 41 w 241"/>
                <a:gd name="T85" fmla="*/ 259 h 286"/>
                <a:gd name="T86" fmla="*/ 23 w 241"/>
                <a:gd name="T87" fmla="*/ 239 h 286"/>
                <a:gd name="T88" fmla="*/ 11 w 241"/>
                <a:gd name="T89" fmla="*/ 211 h 286"/>
                <a:gd name="T90" fmla="*/ 3 w 241"/>
                <a:gd name="T91" fmla="*/ 180 h 286"/>
                <a:gd name="T92" fmla="*/ 0 w 241"/>
                <a:gd name="T93" fmla="*/ 143 h 286"/>
                <a:gd name="T94" fmla="*/ 3 w 241"/>
                <a:gd name="T95" fmla="*/ 106 h 286"/>
                <a:gd name="T96" fmla="*/ 11 w 241"/>
                <a:gd name="T97" fmla="*/ 75 h 286"/>
                <a:gd name="T98" fmla="*/ 23 w 241"/>
                <a:gd name="T99" fmla="*/ 48 h 286"/>
                <a:gd name="T100" fmla="*/ 41 w 241"/>
                <a:gd name="T101" fmla="*/ 27 h 286"/>
                <a:gd name="T102" fmla="*/ 63 w 241"/>
                <a:gd name="T103" fmla="*/ 12 h 286"/>
                <a:gd name="T104" fmla="*/ 90 w 241"/>
                <a:gd name="T105" fmla="*/ 3 h 286"/>
                <a:gd name="T106" fmla="*/ 121 w 241"/>
                <a:gd name="T107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1" h="286">
                  <a:moveTo>
                    <a:pt x="121" y="38"/>
                  </a:moveTo>
                  <a:lnTo>
                    <a:pt x="100" y="41"/>
                  </a:lnTo>
                  <a:lnTo>
                    <a:pt x="82" y="49"/>
                  </a:lnTo>
                  <a:lnTo>
                    <a:pt x="68" y="63"/>
                  </a:lnTo>
                  <a:lnTo>
                    <a:pt x="57" y="83"/>
                  </a:lnTo>
                  <a:lnTo>
                    <a:pt x="52" y="110"/>
                  </a:lnTo>
                  <a:lnTo>
                    <a:pt x="49" y="143"/>
                  </a:lnTo>
                  <a:lnTo>
                    <a:pt x="52" y="176"/>
                  </a:lnTo>
                  <a:lnTo>
                    <a:pt x="57" y="202"/>
                  </a:lnTo>
                  <a:lnTo>
                    <a:pt x="68" y="222"/>
                  </a:lnTo>
                  <a:lnTo>
                    <a:pt x="82" y="237"/>
                  </a:lnTo>
                  <a:lnTo>
                    <a:pt x="100" y="245"/>
                  </a:lnTo>
                  <a:lnTo>
                    <a:pt x="121" y="248"/>
                  </a:lnTo>
                  <a:lnTo>
                    <a:pt x="143" y="245"/>
                  </a:lnTo>
                  <a:lnTo>
                    <a:pt x="161" y="237"/>
                  </a:lnTo>
                  <a:lnTo>
                    <a:pt x="175" y="222"/>
                  </a:lnTo>
                  <a:lnTo>
                    <a:pt x="185" y="202"/>
                  </a:lnTo>
                  <a:lnTo>
                    <a:pt x="191" y="176"/>
                  </a:lnTo>
                  <a:lnTo>
                    <a:pt x="192" y="143"/>
                  </a:lnTo>
                  <a:lnTo>
                    <a:pt x="191" y="110"/>
                  </a:lnTo>
                  <a:lnTo>
                    <a:pt x="185" y="83"/>
                  </a:lnTo>
                  <a:lnTo>
                    <a:pt x="175" y="63"/>
                  </a:lnTo>
                  <a:lnTo>
                    <a:pt x="161" y="49"/>
                  </a:lnTo>
                  <a:lnTo>
                    <a:pt x="143" y="41"/>
                  </a:lnTo>
                  <a:lnTo>
                    <a:pt x="121" y="38"/>
                  </a:lnTo>
                  <a:close/>
                  <a:moveTo>
                    <a:pt x="121" y="0"/>
                  </a:moveTo>
                  <a:lnTo>
                    <a:pt x="153" y="3"/>
                  </a:lnTo>
                  <a:lnTo>
                    <a:pt x="179" y="12"/>
                  </a:lnTo>
                  <a:lnTo>
                    <a:pt x="202" y="27"/>
                  </a:lnTo>
                  <a:lnTo>
                    <a:pt x="220" y="48"/>
                  </a:lnTo>
                  <a:lnTo>
                    <a:pt x="232" y="75"/>
                  </a:lnTo>
                  <a:lnTo>
                    <a:pt x="239" y="106"/>
                  </a:lnTo>
                  <a:lnTo>
                    <a:pt x="241" y="143"/>
                  </a:lnTo>
                  <a:lnTo>
                    <a:pt x="239" y="180"/>
                  </a:lnTo>
                  <a:lnTo>
                    <a:pt x="232" y="211"/>
                  </a:lnTo>
                  <a:lnTo>
                    <a:pt x="220" y="239"/>
                  </a:lnTo>
                  <a:lnTo>
                    <a:pt x="202" y="259"/>
                  </a:lnTo>
                  <a:lnTo>
                    <a:pt x="179" y="274"/>
                  </a:lnTo>
                  <a:lnTo>
                    <a:pt x="153" y="284"/>
                  </a:lnTo>
                  <a:lnTo>
                    <a:pt x="121" y="286"/>
                  </a:lnTo>
                  <a:lnTo>
                    <a:pt x="90" y="284"/>
                  </a:lnTo>
                  <a:lnTo>
                    <a:pt x="63" y="274"/>
                  </a:lnTo>
                  <a:lnTo>
                    <a:pt x="41" y="259"/>
                  </a:lnTo>
                  <a:lnTo>
                    <a:pt x="23" y="239"/>
                  </a:lnTo>
                  <a:lnTo>
                    <a:pt x="11" y="211"/>
                  </a:lnTo>
                  <a:lnTo>
                    <a:pt x="3" y="180"/>
                  </a:lnTo>
                  <a:lnTo>
                    <a:pt x="0" y="143"/>
                  </a:lnTo>
                  <a:lnTo>
                    <a:pt x="3" y="106"/>
                  </a:lnTo>
                  <a:lnTo>
                    <a:pt x="11" y="75"/>
                  </a:lnTo>
                  <a:lnTo>
                    <a:pt x="23" y="48"/>
                  </a:lnTo>
                  <a:lnTo>
                    <a:pt x="41" y="27"/>
                  </a:lnTo>
                  <a:lnTo>
                    <a:pt x="63" y="12"/>
                  </a:lnTo>
                  <a:lnTo>
                    <a:pt x="90" y="3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85" name="Freeform 81"/>
            <p:cNvSpPr>
              <a:spLocks/>
            </p:cNvSpPr>
            <p:nvPr/>
          </p:nvSpPr>
          <p:spPr bwMode="auto">
            <a:xfrm>
              <a:off x="-1032" y="2490"/>
              <a:ext cx="52" cy="142"/>
            </a:xfrm>
            <a:custGeom>
              <a:avLst/>
              <a:gdLst>
                <a:gd name="T0" fmla="*/ 0 w 104"/>
                <a:gd name="T1" fmla="*/ 0 h 284"/>
                <a:gd name="T2" fmla="*/ 104 w 104"/>
                <a:gd name="T3" fmla="*/ 0 h 284"/>
                <a:gd name="T4" fmla="*/ 104 w 104"/>
                <a:gd name="T5" fmla="*/ 284 h 284"/>
                <a:gd name="T6" fmla="*/ 56 w 104"/>
                <a:gd name="T7" fmla="*/ 284 h 284"/>
                <a:gd name="T8" fmla="*/ 56 w 104"/>
                <a:gd name="T9" fmla="*/ 43 h 284"/>
                <a:gd name="T10" fmla="*/ 0 w 104"/>
                <a:gd name="T11" fmla="*/ 43 h 284"/>
                <a:gd name="T12" fmla="*/ 0 w 104"/>
                <a:gd name="T13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284">
                  <a:moveTo>
                    <a:pt x="0" y="0"/>
                  </a:moveTo>
                  <a:lnTo>
                    <a:pt x="104" y="0"/>
                  </a:lnTo>
                  <a:lnTo>
                    <a:pt x="104" y="284"/>
                  </a:lnTo>
                  <a:lnTo>
                    <a:pt x="56" y="284"/>
                  </a:lnTo>
                  <a:lnTo>
                    <a:pt x="56" y="43"/>
                  </a:lnTo>
                  <a:lnTo>
                    <a:pt x="0" y="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86" name="Freeform 82"/>
            <p:cNvSpPr>
              <a:spLocks noEditPoints="1"/>
            </p:cNvSpPr>
            <p:nvPr/>
          </p:nvSpPr>
          <p:spPr bwMode="auto">
            <a:xfrm>
              <a:off x="-1014" y="2707"/>
              <a:ext cx="120" cy="143"/>
            </a:xfrm>
            <a:custGeom>
              <a:avLst/>
              <a:gdLst>
                <a:gd name="T0" fmla="*/ 120 w 242"/>
                <a:gd name="T1" fmla="*/ 38 h 286"/>
                <a:gd name="T2" fmla="*/ 99 w 242"/>
                <a:gd name="T3" fmla="*/ 41 h 286"/>
                <a:gd name="T4" fmla="*/ 81 w 242"/>
                <a:gd name="T5" fmla="*/ 49 h 286"/>
                <a:gd name="T6" fmla="*/ 67 w 242"/>
                <a:gd name="T7" fmla="*/ 63 h 286"/>
                <a:gd name="T8" fmla="*/ 58 w 242"/>
                <a:gd name="T9" fmla="*/ 83 h 286"/>
                <a:gd name="T10" fmla="*/ 51 w 242"/>
                <a:gd name="T11" fmla="*/ 110 h 286"/>
                <a:gd name="T12" fmla="*/ 50 w 242"/>
                <a:gd name="T13" fmla="*/ 143 h 286"/>
                <a:gd name="T14" fmla="*/ 51 w 242"/>
                <a:gd name="T15" fmla="*/ 176 h 286"/>
                <a:gd name="T16" fmla="*/ 58 w 242"/>
                <a:gd name="T17" fmla="*/ 202 h 286"/>
                <a:gd name="T18" fmla="*/ 67 w 242"/>
                <a:gd name="T19" fmla="*/ 222 h 286"/>
                <a:gd name="T20" fmla="*/ 81 w 242"/>
                <a:gd name="T21" fmla="*/ 237 h 286"/>
                <a:gd name="T22" fmla="*/ 99 w 242"/>
                <a:gd name="T23" fmla="*/ 245 h 286"/>
                <a:gd name="T24" fmla="*/ 120 w 242"/>
                <a:gd name="T25" fmla="*/ 248 h 286"/>
                <a:gd name="T26" fmla="*/ 142 w 242"/>
                <a:gd name="T27" fmla="*/ 245 h 286"/>
                <a:gd name="T28" fmla="*/ 160 w 242"/>
                <a:gd name="T29" fmla="*/ 237 h 286"/>
                <a:gd name="T30" fmla="*/ 175 w 242"/>
                <a:gd name="T31" fmla="*/ 222 h 286"/>
                <a:gd name="T32" fmla="*/ 185 w 242"/>
                <a:gd name="T33" fmla="*/ 202 h 286"/>
                <a:gd name="T34" fmla="*/ 190 w 242"/>
                <a:gd name="T35" fmla="*/ 176 h 286"/>
                <a:gd name="T36" fmla="*/ 193 w 242"/>
                <a:gd name="T37" fmla="*/ 143 h 286"/>
                <a:gd name="T38" fmla="*/ 190 w 242"/>
                <a:gd name="T39" fmla="*/ 110 h 286"/>
                <a:gd name="T40" fmla="*/ 185 w 242"/>
                <a:gd name="T41" fmla="*/ 83 h 286"/>
                <a:gd name="T42" fmla="*/ 175 w 242"/>
                <a:gd name="T43" fmla="*/ 63 h 286"/>
                <a:gd name="T44" fmla="*/ 160 w 242"/>
                <a:gd name="T45" fmla="*/ 49 h 286"/>
                <a:gd name="T46" fmla="*/ 142 w 242"/>
                <a:gd name="T47" fmla="*/ 41 h 286"/>
                <a:gd name="T48" fmla="*/ 120 w 242"/>
                <a:gd name="T49" fmla="*/ 38 h 286"/>
                <a:gd name="T50" fmla="*/ 120 w 242"/>
                <a:gd name="T51" fmla="*/ 0 h 286"/>
                <a:gd name="T52" fmla="*/ 152 w 242"/>
                <a:gd name="T53" fmla="*/ 3 h 286"/>
                <a:gd name="T54" fmla="*/ 179 w 242"/>
                <a:gd name="T55" fmla="*/ 12 h 286"/>
                <a:gd name="T56" fmla="*/ 201 w 242"/>
                <a:gd name="T57" fmla="*/ 27 h 286"/>
                <a:gd name="T58" fmla="*/ 219 w 242"/>
                <a:gd name="T59" fmla="*/ 48 h 286"/>
                <a:gd name="T60" fmla="*/ 231 w 242"/>
                <a:gd name="T61" fmla="*/ 75 h 286"/>
                <a:gd name="T62" fmla="*/ 239 w 242"/>
                <a:gd name="T63" fmla="*/ 106 h 286"/>
                <a:gd name="T64" fmla="*/ 242 w 242"/>
                <a:gd name="T65" fmla="*/ 143 h 286"/>
                <a:gd name="T66" fmla="*/ 239 w 242"/>
                <a:gd name="T67" fmla="*/ 180 h 286"/>
                <a:gd name="T68" fmla="*/ 231 w 242"/>
                <a:gd name="T69" fmla="*/ 211 h 286"/>
                <a:gd name="T70" fmla="*/ 219 w 242"/>
                <a:gd name="T71" fmla="*/ 239 h 286"/>
                <a:gd name="T72" fmla="*/ 201 w 242"/>
                <a:gd name="T73" fmla="*/ 259 h 286"/>
                <a:gd name="T74" fmla="*/ 179 w 242"/>
                <a:gd name="T75" fmla="*/ 274 h 286"/>
                <a:gd name="T76" fmla="*/ 152 w 242"/>
                <a:gd name="T77" fmla="*/ 284 h 286"/>
                <a:gd name="T78" fmla="*/ 120 w 242"/>
                <a:gd name="T79" fmla="*/ 286 h 286"/>
                <a:gd name="T80" fmla="*/ 90 w 242"/>
                <a:gd name="T81" fmla="*/ 284 h 286"/>
                <a:gd name="T82" fmla="*/ 63 w 242"/>
                <a:gd name="T83" fmla="*/ 274 h 286"/>
                <a:gd name="T84" fmla="*/ 41 w 242"/>
                <a:gd name="T85" fmla="*/ 259 h 286"/>
                <a:gd name="T86" fmla="*/ 24 w 242"/>
                <a:gd name="T87" fmla="*/ 239 h 286"/>
                <a:gd name="T88" fmla="*/ 10 w 242"/>
                <a:gd name="T89" fmla="*/ 211 h 286"/>
                <a:gd name="T90" fmla="*/ 3 w 242"/>
                <a:gd name="T91" fmla="*/ 180 h 286"/>
                <a:gd name="T92" fmla="*/ 0 w 242"/>
                <a:gd name="T93" fmla="*/ 143 h 286"/>
                <a:gd name="T94" fmla="*/ 3 w 242"/>
                <a:gd name="T95" fmla="*/ 106 h 286"/>
                <a:gd name="T96" fmla="*/ 10 w 242"/>
                <a:gd name="T97" fmla="*/ 75 h 286"/>
                <a:gd name="T98" fmla="*/ 24 w 242"/>
                <a:gd name="T99" fmla="*/ 48 h 286"/>
                <a:gd name="T100" fmla="*/ 41 w 242"/>
                <a:gd name="T101" fmla="*/ 27 h 286"/>
                <a:gd name="T102" fmla="*/ 63 w 242"/>
                <a:gd name="T103" fmla="*/ 12 h 286"/>
                <a:gd name="T104" fmla="*/ 90 w 242"/>
                <a:gd name="T105" fmla="*/ 3 h 286"/>
                <a:gd name="T106" fmla="*/ 120 w 242"/>
                <a:gd name="T107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2" h="286">
                  <a:moveTo>
                    <a:pt x="120" y="38"/>
                  </a:moveTo>
                  <a:lnTo>
                    <a:pt x="99" y="41"/>
                  </a:lnTo>
                  <a:lnTo>
                    <a:pt x="81" y="49"/>
                  </a:lnTo>
                  <a:lnTo>
                    <a:pt x="67" y="63"/>
                  </a:lnTo>
                  <a:lnTo>
                    <a:pt x="58" y="83"/>
                  </a:lnTo>
                  <a:lnTo>
                    <a:pt x="51" y="110"/>
                  </a:lnTo>
                  <a:lnTo>
                    <a:pt x="50" y="143"/>
                  </a:lnTo>
                  <a:lnTo>
                    <a:pt x="51" y="176"/>
                  </a:lnTo>
                  <a:lnTo>
                    <a:pt x="58" y="202"/>
                  </a:lnTo>
                  <a:lnTo>
                    <a:pt x="67" y="222"/>
                  </a:lnTo>
                  <a:lnTo>
                    <a:pt x="81" y="237"/>
                  </a:lnTo>
                  <a:lnTo>
                    <a:pt x="99" y="245"/>
                  </a:lnTo>
                  <a:lnTo>
                    <a:pt x="120" y="248"/>
                  </a:lnTo>
                  <a:lnTo>
                    <a:pt x="142" y="245"/>
                  </a:lnTo>
                  <a:lnTo>
                    <a:pt x="160" y="237"/>
                  </a:lnTo>
                  <a:lnTo>
                    <a:pt x="175" y="222"/>
                  </a:lnTo>
                  <a:lnTo>
                    <a:pt x="185" y="202"/>
                  </a:lnTo>
                  <a:lnTo>
                    <a:pt x="190" y="176"/>
                  </a:lnTo>
                  <a:lnTo>
                    <a:pt x="193" y="143"/>
                  </a:lnTo>
                  <a:lnTo>
                    <a:pt x="190" y="110"/>
                  </a:lnTo>
                  <a:lnTo>
                    <a:pt x="185" y="83"/>
                  </a:lnTo>
                  <a:lnTo>
                    <a:pt x="175" y="63"/>
                  </a:lnTo>
                  <a:lnTo>
                    <a:pt x="160" y="49"/>
                  </a:lnTo>
                  <a:lnTo>
                    <a:pt x="142" y="41"/>
                  </a:lnTo>
                  <a:lnTo>
                    <a:pt x="120" y="38"/>
                  </a:lnTo>
                  <a:close/>
                  <a:moveTo>
                    <a:pt x="120" y="0"/>
                  </a:moveTo>
                  <a:lnTo>
                    <a:pt x="152" y="3"/>
                  </a:lnTo>
                  <a:lnTo>
                    <a:pt x="179" y="12"/>
                  </a:lnTo>
                  <a:lnTo>
                    <a:pt x="201" y="27"/>
                  </a:lnTo>
                  <a:lnTo>
                    <a:pt x="219" y="48"/>
                  </a:lnTo>
                  <a:lnTo>
                    <a:pt x="231" y="75"/>
                  </a:lnTo>
                  <a:lnTo>
                    <a:pt x="239" y="106"/>
                  </a:lnTo>
                  <a:lnTo>
                    <a:pt x="242" y="143"/>
                  </a:lnTo>
                  <a:lnTo>
                    <a:pt x="239" y="180"/>
                  </a:lnTo>
                  <a:lnTo>
                    <a:pt x="231" y="211"/>
                  </a:lnTo>
                  <a:lnTo>
                    <a:pt x="219" y="239"/>
                  </a:lnTo>
                  <a:lnTo>
                    <a:pt x="201" y="259"/>
                  </a:lnTo>
                  <a:lnTo>
                    <a:pt x="179" y="274"/>
                  </a:lnTo>
                  <a:lnTo>
                    <a:pt x="152" y="284"/>
                  </a:lnTo>
                  <a:lnTo>
                    <a:pt x="120" y="286"/>
                  </a:lnTo>
                  <a:lnTo>
                    <a:pt x="90" y="284"/>
                  </a:lnTo>
                  <a:lnTo>
                    <a:pt x="63" y="274"/>
                  </a:lnTo>
                  <a:lnTo>
                    <a:pt x="41" y="259"/>
                  </a:lnTo>
                  <a:lnTo>
                    <a:pt x="24" y="239"/>
                  </a:lnTo>
                  <a:lnTo>
                    <a:pt x="10" y="211"/>
                  </a:lnTo>
                  <a:lnTo>
                    <a:pt x="3" y="180"/>
                  </a:lnTo>
                  <a:lnTo>
                    <a:pt x="0" y="143"/>
                  </a:lnTo>
                  <a:lnTo>
                    <a:pt x="3" y="106"/>
                  </a:lnTo>
                  <a:lnTo>
                    <a:pt x="10" y="75"/>
                  </a:lnTo>
                  <a:lnTo>
                    <a:pt x="24" y="48"/>
                  </a:lnTo>
                  <a:lnTo>
                    <a:pt x="41" y="27"/>
                  </a:lnTo>
                  <a:lnTo>
                    <a:pt x="63" y="12"/>
                  </a:lnTo>
                  <a:lnTo>
                    <a:pt x="90" y="3"/>
                  </a:lnTo>
                  <a:lnTo>
                    <a:pt x="1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  <p:sp>
          <p:nvSpPr>
            <p:cNvPr id="287" name="Freeform 83"/>
            <p:cNvSpPr>
              <a:spLocks/>
            </p:cNvSpPr>
            <p:nvPr/>
          </p:nvSpPr>
          <p:spPr bwMode="auto">
            <a:xfrm>
              <a:off x="-887" y="2708"/>
              <a:ext cx="51" cy="141"/>
            </a:xfrm>
            <a:custGeom>
              <a:avLst/>
              <a:gdLst>
                <a:gd name="T0" fmla="*/ 0 w 102"/>
                <a:gd name="T1" fmla="*/ 0 h 284"/>
                <a:gd name="T2" fmla="*/ 102 w 102"/>
                <a:gd name="T3" fmla="*/ 0 h 284"/>
                <a:gd name="T4" fmla="*/ 102 w 102"/>
                <a:gd name="T5" fmla="*/ 284 h 284"/>
                <a:gd name="T6" fmla="*/ 55 w 102"/>
                <a:gd name="T7" fmla="*/ 284 h 284"/>
                <a:gd name="T8" fmla="*/ 55 w 102"/>
                <a:gd name="T9" fmla="*/ 43 h 284"/>
                <a:gd name="T10" fmla="*/ 0 w 102"/>
                <a:gd name="T11" fmla="*/ 43 h 284"/>
                <a:gd name="T12" fmla="*/ 0 w 102"/>
                <a:gd name="T13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284">
                  <a:moveTo>
                    <a:pt x="0" y="0"/>
                  </a:moveTo>
                  <a:lnTo>
                    <a:pt x="102" y="0"/>
                  </a:lnTo>
                  <a:lnTo>
                    <a:pt x="102" y="284"/>
                  </a:lnTo>
                  <a:lnTo>
                    <a:pt x="55" y="284"/>
                  </a:lnTo>
                  <a:lnTo>
                    <a:pt x="55" y="43"/>
                  </a:lnTo>
                  <a:lnTo>
                    <a:pt x="0" y="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2338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34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Rectangle 84"/>
          <p:cNvSpPr/>
          <p:nvPr/>
        </p:nvSpPr>
        <p:spPr bwMode="ltGray">
          <a:xfrm>
            <a:off x="1472895" y="4903580"/>
            <a:ext cx="7137400" cy="1425113"/>
          </a:xfrm>
          <a:prstGeom prst="rect">
            <a:avLst/>
          </a:prstGeom>
          <a:solidFill>
            <a:srgbClr val="A7A49B">
              <a:alpha val="5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i="1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651051"/>
            <a:ext cx="73896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9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Обработка в режиме реального времени</a:t>
            </a:r>
            <a:endParaRPr lang="ru-RU" sz="9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611665" y="5014397"/>
            <a:ext cx="2988183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МСФО 9 </a:t>
            </a:r>
            <a:r>
              <a:rPr lang="ru-RU" sz="1100" i="1" dirty="0" smtClean="0">
                <a:solidFill>
                  <a:schemeClr val="bg1"/>
                </a:solidFill>
                <a:latin typeface="+mj-lt"/>
              </a:rPr>
              <a:t>позволяет проводить глубокий анализ на базе диагностических расчетов.</a:t>
            </a:r>
          </a:p>
          <a:p>
            <a:endParaRPr lang="ru-RU" sz="1100" i="1" dirty="0" smtClean="0">
              <a:solidFill>
                <a:schemeClr val="bg1"/>
              </a:solidFill>
              <a:latin typeface="+mj-lt"/>
            </a:endParaRPr>
          </a:p>
          <a:p>
            <a:r>
              <a:rPr lang="ru-RU" sz="1100" i="1" dirty="0" smtClean="0">
                <a:solidFill>
                  <a:schemeClr val="bg1"/>
                </a:solidFill>
                <a:latin typeface="+mj-lt"/>
              </a:rPr>
              <a:t>На запуск уходит всего несколько </a:t>
            </a:r>
          </a:p>
          <a:p>
            <a:r>
              <a:rPr lang="ru-RU" sz="1100" i="1" dirty="0" smtClean="0">
                <a:solidFill>
                  <a:schemeClr val="bg1"/>
                </a:solidFill>
                <a:latin typeface="+mj-lt"/>
              </a:rPr>
              <a:t>минут, результат можно </a:t>
            </a:r>
          </a:p>
          <a:p>
            <a:r>
              <a:rPr lang="ru-RU" sz="1100" i="1" dirty="0" smtClean="0">
                <a:solidFill>
                  <a:schemeClr val="bg1"/>
                </a:solidFill>
                <a:latin typeface="+mj-lt"/>
              </a:rPr>
              <a:t>получить через 3 минуты после </a:t>
            </a:r>
          </a:p>
          <a:p>
            <a:r>
              <a:rPr lang="ru-RU" sz="1100" i="1" dirty="0" smtClean="0">
                <a:solidFill>
                  <a:schemeClr val="bg1"/>
                </a:solidFill>
                <a:latin typeface="+mj-lt"/>
              </a:rPr>
              <a:t>загрузки данных</a:t>
            </a:r>
            <a:endParaRPr lang="ru-RU" sz="11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4004419" y="5062769"/>
            <a:ext cx="2074353" cy="1106735"/>
            <a:chOff x="6018754" y="5243180"/>
            <a:chExt cx="2074353" cy="1106735"/>
          </a:xfrm>
        </p:grpSpPr>
        <p:pic>
          <p:nvPicPr>
            <p:cNvPr id="53" name="Picture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4549" y="5243180"/>
              <a:ext cx="1338558" cy="7933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2" name="Picture 4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18754" y="5565984"/>
              <a:ext cx="1316871" cy="7839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5" name="Rectangle 14"/>
          <p:cNvSpPr/>
          <p:nvPr/>
        </p:nvSpPr>
        <p:spPr>
          <a:xfrm>
            <a:off x="6405842" y="5055411"/>
            <a:ext cx="2083828" cy="11849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100" i="1" dirty="0" smtClean="0">
                <a:solidFill>
                  <a:schemeClr val="bg1"/>
                </a:solidFill>
                <a:latin typeface="+mj-lt"/>
              </a:rPr>
              <a:t>Этот инструмент позволяет разрабатывать сценарии и оперативно видеть последствия изменений в макроэкономических допущениях, критериях перехода и других переменных</a:t>
            </a:r>
            <a:endParaRPr lang="ru-RU" sz="11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472895" y="1634878"/>
            <a:ext cx="209759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i="1" dirty="0" smtClean="0">
                <a:solidFill>
                  <a:schemeClr val="bg1"/>
                </a:solidFill>
                <a:latin typeface="+mj-lt"/>
              </a:rPr>
              <a:t>Этапы расчета</a:t>
            </a:r>
            <a:endParaRPr lang="ru-RU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1472895" y="2234681"/>
            <a:ext cx="2028117" cy="2201304"/>
            <a:chOff x="1472895" y="2094214"/>
            <a:chExt cx="2028117" cy="2201304"/>
          </a:xfrm>
        </p:grpSpPr>
        <p:sp>
          <p:nvSpPr>
            <p:cNvPr id="28" name="Arc 27"/>
            <p:cNvSpPr/>
            <p:nvPr/>
          </p:nvSpPr>
          <p:spPr>
            <a:xfrm>
              <a:off x="1472895" y="2267402"/>
              <a:ext cx="2028117" cy="2028116"/>
            </a:xfrm>
            <a:prstGeom prst="arc">
              <a:avLst>
                <a:gd name="adj1" fmla="val 20369113"/>
                <a:gd name="adj2" fmla="val 16797269"/>
              </a:avLst>
            </a:prstGeom>
            <a:ln w="127000">
              <a:solidFill>
                <a:srgbClr val="A7A4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" name="Chord 32"/>
            <p:cNvSpPr/>
            <p:nvPr/>
          </p:nvSpPr>
          <p:spPr bwMode="ltGray">
            <a:xfrm>
              <a:off x="1595948" y="2390231"/>
              <a:ext cx="1796326" cy="1796325"/>
            </a:xfrm>
            <a:prstGeom prst="chord">
              <a:avLst>
                <a:gd name="adj1" fmla="val 6349068"/>
                <a:gd name="adj2" fmla="val 15238606"/>
              </a:avLst>
            </a:prstGeom>
            <a:solidFill>
              <a:srgbClr val="A7A49B">
                <a:alpha val="50196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2318163" y="3080098"/>
              <a:ext cx="1059520" cy="7594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ru-RU" sz="1100" i="1" dirty="0" smtClean="0">
                  <a:solidFill>
                    <a:schemeClr val="bg1"/>
                  </a:solidFill>
                  <a:latin typeface="+mj-lt"/>
                </a:rPr>
                <a:t>Наполнение</a:t>
              </a:r>
              <a:r>
                <a:rPr i="1">
                  <a:solidFill>
                    <a:schemeClr val="bg1"/>
                  </a:solidFill>
                  <a:latin typeface="+mj-lt"/>
                </a:rPr>
                <a:t/>
              </a:r>
              <a:br>
                <a:rPr i="1">
                  <a:solidFill>
                    <a:schemeClr val="bg1"/>
                  </a:solidFill>
                  <a:latin typeface="+mj-lt"/>
                </a:rPr>
              </a:br>
              <a:r>
                <a:rPr lang="ru-RU" sz="1100" i="1" dirty="0" smtClean="0">
                  <a:solidFill>
                    <a:schemeClr val="bg1"/>
                  </a:solidFill>
                  <a:latin typeface="+mj-lt"/>
                </a:rPr>
                <a:t>инструмента</a:t>
              </a:r>
              <a:r>
                <a:rPr i="1">
                  <a:solidFill>
                    <a:schemeClr val="bg1"/>
                  </a:solidFill>
                  <a:latin typeface="+mj-lt"/>
                </a:rPr>
                <a:t/>
              </a:r>
              <a:br>
                <a:rPr i="1">
                  <a:solidFill>
                    <a:schemeClr val="bg1"/>
                  </a:solidFill>
                  <a:latin typeface="+mj-lt"/>
                </a:rPr>
              </a:br>
              <a:r>
                <a:rPr lang="ru-RU" sz="1100" i="1" dirty="0" smtClean="0">
                  <a:solidFill>
                    <a:schemeClr val="bg1"/>
                  </a:solidFill>
                  <a:latin typeface="+mj-lt"/>
                </a:rPr>
                <a:t>данными</a:t>
              </a:r>
              <a:endParaRPr lang="ru-RU" sz="11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813195" y="2862373"/>
              <a:ext cx="358994" cy="5903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ru-RU" sz="4400" b="1" i="1" dirty="0" smtClean="0">
                  <a:solidFill>
                    <a:schemeClr val="bg1"/>
                  </a:solidFill>
                  <a:latin typeface="+mj-lt"/>
                </a:rPr>
                <a:t>1</a:t>
              </a:r>
              <a:endParaRPr lang="ru-RU" sz="4400" i="1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0" name="Freeform 109"/>
            <p:cNvSpPr>
              <a:spLocks noEditPoints="1"/>
            </p:cNvSpPr>
            <p:nvPr/>
          </p:nvSpPr>
          <p:spPr bwMode="auto">
            <a:xfrm>
              <a:off x="2858888" y="2094214"/>
              <a:ext cx="561467" cy="729289"/>
            </a:xfrm>
            <a:custGeom>
              <a:avLst/>
              <a:gdLst>
                <a:gd name="T0" fmla="*/ 292 w 3445"/>
                <a:gd name="T1" fmla="*/ 3944 h 4476"/>
                <a:gd name="T2" fmla="*/ 481 w 3445"/>
                <a:gd name="T3" fmla="*/ 4159 h 4476"/>
                <a:gd name="T4" fmla="*/ 2735 w 3445"/>
                <a:gd name="T5" fmla="*/ 4220 h 4476"/>
                <a:gd name="T6" fmla="*/ 3011 w 3445"/>
                <a:gd name="T7" fmla="*/ 4126 h 4476"/>
                <a:gd name="T8" fmla="*/ 3172 w 3445"/>
                <a:gd name="T9" fmla="*/ 3887 h 4476"/>
                <a:gd name="T10" fmla="*/ 3134 w 3445"/>
                <a:gd name="T11" fmla="*/ 3563 h 4476"/>
                <a:gd name="T12" fmla="*/ 2807 w 3445"/>
                <a:gd name="T13" fmla="*/ 3683 h 4476"/>
                <a:gd name="T14" fmla="*/ 497 w 3445"/>
                <a:gd name="T15" fmla="*/ 3654 h 4476"/>
                <a:gd name="T16" fmla="*/ 257 w 3445"/>
                <a:gd name="T17" fmla="*/ 2733 h 4476"/>
                <a:gd name="T18" fmla="*/ 318 w 3445"/>
                <a:gd name="T19" fmla="*/ 3205 h 4476"/>
                <a:gd name="T20" fmla="*/ 534 w 3445"/>
                <a:gd name="T21" fmla="*/ 3394 h 4476"/>
                <a:gd name="T22" fmla="*/ 2796 w 3445"/>
                <a:gd name="T23" fmla="*/ 3425 h 4476"/>
                <a:gd name="T24" fmla="*/ 3055 w 3445"/>
                <a:gd name="T25" fmla="*/ 3296 h 4476"/>
                <a:gd name="T26" fmla="*/ 3184 w 3445"/>
                <a:gd name="T27" fmla="*/ 3038 h 4476"/>
                <a:gd name="T28" fmla="*/ 3075 w 3445"/>
                <a:gd name="T29" fmla="*/ 2810 h 4476"/>
                <a:gd name="T30" fmla="*/ 2735 w 3445"/>
                <a:gd name="T31" fmla="*/ 2897 h 4476"/>
                <a:gd name="T32" fmla="*/ 432 w 3445"/>
                <a:gd name="T33" fmla="*/ 2840 h 4476"/>
                <a:gd name="T34" fmla="*/ 257 w 3445"/>
                <a:gd name="T35" fmla="*/ 2186 h 4476"/>
                <a:gd name="T36" fmla="*/ 350 w 3445"/>
                <a:gd name="T37" fmla="*/ 2463 h 4476"/>
                <a:gd name="T38" fmla="*/ 590 w 3445"/>
                <a:gd name="T39" fmla="*/ 2623 h 4476"/>
                <a:gd name="T40" fmla="*/ 2855 w 3445"/>
                <a:gd name="T41" fmla="*/ 2623 h 4476"/>
                <a:gd name="T42" fmla="*/ 3094 w 3445"/>
                <a:gd name="T43" fmla="*/ 2463 h 4476"/>
                <a:gd name="T44" fmla="*/ 3188 w 3445"/>
                <a:gd name="T45" fmla="*/ 2186 h 4476"/>
                <a:gd name="T46" fmla="*/ 3013 w 3445"/>
                <a:gd name="T47" fmla="*/ 2052 h 4476"/>
                <a:gd name="T48" fmla="*/ 709 w 3445"/>
                <a:gd name="T49" fmla="*/ 2109 h 4476"/>
                <a:gd name="T50" fmla="*/ 369 w 3445"/>
                <a:gd name="T51" fmla="*/ 2022 h 4476"/>
                <a:gd name="T52" fmla="*/ 1533 w 3445"/>
                <a:gd name="T53" fmla="*/ 298 h 4476"/>
                <a:gd name="T54" fmla="*/ 1102 w 3445"/>
                <a:gd name="T55" fmla="*/ 415 h 4476"/>
                <a:gd name="T56" fmla="*/ 783 w 3445"/>
                <a:gd name="T57" fmla="*/ 640 h 4476"/>
                <a:gd name="T58" fmla="*/ 624 w 3445"/>
                <a:gd name="T59" fmla="*/ 928 h 4476"/>
                <a:gd name="T60" fmla="*/ 643 w 3445"/>
                <a:gd name="T61" fmla="*/ 1244 h 4476"/>
                <a:gd name="T62" fmla="*/ 834 w 3445"/>
                <a:gd name="T63" fmla="*/ 1520 h 4476"/>
                <a:gd name="T64" fmla="*/ 1183 w 3445"/>
                <a:gd name="T65" fmla="*/ 1728 h 4476"/>
                <a:gd name="T66" fmla="*/ 1627 w 3445"/>
                <a:gd name="T67" fmla="*/ 1819 h 4476"/>
                <a:gd name="T68" fmla="*/ 2092 w 3445"/>
                <a:gd name="T69" fmla="*/ 1780 h 4476"/>
                <a:gd name="T70" fmla="*/ 2488 w 3445"/>
                <a:gd name="T71" fmla="*/ 1614 h 4476"/>
                <a:gd name="T72" fmla="*/ 2746 w 3445"/>
                <a:gd name="T73" fmla="*/ 1360 h 4476"/>
                <a:gd name="T74" fmla="*/ 2835 w 3445"/>
                <a:gd name="T75" fmla="*/ 1055 h 4476"/>
                <a:gd name="T76" fmla="*/ 2746 w 3445"/>
                <a:gd name="T77" fmla="*/ 749 h 4476"/>
                <a:gd name="T78" fmla="*/ 2488 w 3445"/>
                <a:gd name="T79" fmla="*/ 495 h 4476"/>
                <a:gd name="T80" fmla="*/ 2092 w 3445"/>
                <a:gd name="T81" fmla="*/ 330 h 4476"/>
                <a:gd name="T82" fmla="*/ 709 w 3445"/>
                <a:gd name="T83" fmla="*/ 0 h 4476"/>
                <a:gd name="T84" fmla="*/ 3028 w 3445"/>
                <a:gd name="T85" fmla="*/ 64 h 4476"/>
                <a:gd name="T86" fmla="*/ 3308 w 3445"/>
                <a:gd name="T87" fmla="*/ 290 h 4476"/>
                <a:gd name="T88" fmla="*/ 3441 w 3445"/>
                <a:gd name="T89" fmla="*/ 631 h 4476"/>
                <a:gd name="T90" fmla="*/ 3408 w 3445"/>
                <a:gd name="T91" fmla="*/ 3992 h 4476"/>
                <a:gd name="T92" fmla="*/ 3210 w 3445"/>
                <a:gd name="T93" fmla="*/ 4293 h 4476"/>
                <a:gd name="T94" fmla="*/ 2886 w 3445"/>
                <a:gd name="T95" fmla="*/ 4460 h 4476"/>
                <a:gd name="T96" fmla="*/ 557 w 3445"/>
                <a:gd name="T97" fmla="*/ 4460 h 4476"/>
                <a:gd name="T98" fmla="*/ 235 w 3445"/>
                <a:gd name="T99" fmla="*/ 4293 h 4476"/>
                <a:gd name="T100" fmla="*/ 36 w 3445"/>
                <a:gd name="T101" fmla="*/ 3992 h 4476"/>
                <a:gd name="T102" fmla="*/ 4 w 3445"/>
                <a:gd name="T103" fmla="*/ 631 h 4476"/>
                <a:gd name="T104" fmla="*/ 137 w 3445"/>
                <a:gd name="T105" fmla="*/ 290 h 4476"/>
                <a:gd name="T106" fmla="*/ 417 w 3445"/>
                <a:gd name="T107" fmla="*/ 64 h 4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45" h="4476">
                  <a:moveTo>
                    <a:pt x="257" y="3522"/>
                  </a:moveTo>
                  <a:lnTo>
                    <a:pt x="257" y="3768"/>
                  </a:lnTo>
                  <a:lnTo>
                    <a:pt x="261" y="3829"/>
                  </a:lnTo>
                  <a:lnTo>
                    <a:pt x="273" y="3887"/>
                  </a:lnTo>
                  <a:lnTo>
                    <a:pt x="292" y="3944"/>
                  </a:lnTo>
                  <a:lnTo>
                    <a:pt x="318" y="3996"/>
                  </a:lnTo>
                  <a:lnTo>
                    <a:pt x="350" y="4045"/>
                  </a:lnTo>
                  <a:lnTo>
                    <a:pt x="389" y="4088"/>
                  </a:lnTo>
                  <a:lnTo>
                    <a:pt x="433" y="4126"/>
                  </a:lnTo>
                  <a:lnTo>
                    <a:pt x="481" y="4159"/>
                  </a:lnTo>
                  <a:lnTo>
                    <a:pt x="534" y="4184"/>
                  </a:lnTo>
                  <a:lnTo>
                    <a:pt x="590" y="4203"/>
                  </a:lnTo>
                  <a:lnTo>
                    <a:pt x="648" y="4216"/>
                  </a:lnTo>
                  <a:lnTo>
                    <a:pt x="709" y="4220"/>
                  </a:lnTo>
                  <a:lnTo>
                    <a:pt x="2735" y="4220"/>
                  </a:lnTo>
                  <a:lnTo>
                    <a:pt x="2796" y="4216"/>
                  </a:lnTo>
                  <a:lnTo>
                    <a:pt x="2855" y="4203"/>
                  </a:lnTo>
                  <a:lnTo>
                    <a:pt x="2911" y="4184"/>
                  </a:lnTo>
                  <a:lnTo>
                    <a:pt x="2964" y="4159"/>
                  </a:lnTo>
                  <a:lnTo>
                    <a:pt x="3011" y="4126"/>
                  </a:lnTo>
                  <a:lnTo>
                    <a:pt x="3055" y="4088"/>
                  </a:lnTo>
                  <a:lnTo>
                    <a:pt x="3094" y="4045"/>
                  </a:lnTo>
                  <a:lnTo>
                    <a:pt x="3127" y="3996"/>
                  </a:lnTo>
                  <a:lnTo>
                    <a:pt x="3153" y="3944"/>
                  </a:lnTo>
                  <a:lnTo>
                    <a:pt x="3172" y="3887"/>
                  </a:lnTo>
                  <a:lnTo>
                    <a:pt x="3184" y="3829"/>
                  </a:lnTo>
                  <a:lnTo>
                    <a:pt x="3188" y="3768"/>
                  </a:lnTo>
                  <a:lnTo>
                    <a:pt x="3188" y="3768"/>
                  </a:lnTo>
                  <a:lnTo>
                    <a:pt x="3188" y="3522"/>
                  </a:lnTo>
                  <a:lnTo>
                    <a:pt x="3134" y="3563"/>
                  </a:lnTo>
                  <a:lnTo>
                    <a:pt x="3075" y="3598"/>
                  </a:lnTo>
                  <a:lnTo>
                    <a:pt x="3013" y="3630"/>
                  </a:lnTo>
                  <a:lnTo>
                    <a:pt x="2947" y="3654"/>
                  </a:lnTo>
                  <a:lnTo>
                    <a:pt x="2878" y="3672"/>
                  </a:lnTo>
                  <a:lnTo>
                    <a:pt x="2807" y="3683"/>
                  </a:lnTo>
                  <a:lnTo>
                    <a:pt x="2735" y="3685"/>
                  </a:lnTo>
                  <a:lnTo>
                    <a:pt x="709" y="3685"/>
                  </a:lnTo>
                  <a:lnTo>
                    <a:pt x="637" y="3683"/>
                  </a:lnTo>
                  <a:lnTo>
                    <a:pt x="567" y="3672"/>
                  </a:lnTo>
                  <a:lnTo>
                    <a:pt x="497" y="3654"/>
                  </a:lnTo>
                  <a:lnTo>
                    <a:pt x="432" y="3630"/>
                  </a:lnTo>
                  <a:lnTo>
                    <a:pt x="369" y="3598"/>
                  </a:lnTo>
                  <a:lnTo>
                    <a:pt x="311" y="3563"/>
                  </a:lnTo>
                  <a:lnTo>
                    <a:pt x="257" y="3522"/>
                  </a:lnTo>
                  <a:close/>
                  <a:moveTo>
                    <a:pt x="257" y="2733"/>
                  </a:moveTo>
                  <a:lnTo>
                    <a:pt x="257" y="2977"/>
                  </a:lnTo>
                  <a:lnTo>
                    <a:pt x="261" y="3038"/>
                  </a:lnTo>
                  <a:lnTo>
                    <a:pt x="273" y="3097"/>
                  </a:lnTo>
                  <a:lnTo>
                    <a:pt x="292" y="3152"/>
                  </a:lnTo>
                  <a:lnTo>
                    <a:pt x="318" y="3205"/>
                  </a:lnTo>
                  <a:lnTo>
                    <a:pt x="350" y="3253"/>
                  </a:lnTo>
                  <a:lnTo>
                    <a:pt x="389" y="3296"/>
                  </a:lnTo>
                  <a:lnTo>
                    <a:pt x="433" y="3335"/>
                  </a:lnTo>
                  <a:lnTo>
                    <a:pt x="481" y="3368"/>
                  </a:lnTo>
                  <a:lnTo>
                    <a:pt x="534" y="3394"/>
                  </a:lnTo>
                  <a:lnTo>
                    <a:pt x="590" y="3413"/>
                  </a:lnTo>
                  <a:lnTo>
                    <a:pt x="648" y="3425"/>
                  </a:lnTo>
                  <a:lnTo>
                    <a:pt x="709" y="3429"/>
                  </a:lnTo>
                  <a:lnTo>
                    <a:pt x="2735" y="3429"/>
                  </a:lnTo>
                  <a:lnTo>
                    <a:pt x="2796" y="3425"/>
                  </a:lnTo>
                  <a:lnTo>
                    <a:pt x="2855" y="3413"/>
                  </a:lnTo>
                  <a:lnTo>
                    <a:pt x="2911" y="3394"/>
                  </a:lnTo>
                  <a:lnTo>
                    <a:pt x="2964" y="3368"/>
                  </a:lnTo>
                  <a:lnTo>
                    <a:pt x="3011" y="3335"/>
                  </a:lnTo>
                  <a:lnTo>
                    <a:pt x="3055" y="3296"/>
                  </a:lnTo>
                  <a:lnTo>
                    <a:pt x="3094" y="3253"/>
                  </a:lnTo>
                  <a:lnTo>
                    <a:pt x="3127" y="3205"/>
                  </a:lnTo>
                  <a:lnTo>
                    <a:pt x="3153" y="3152"/>
                  </a:lnTo>
                  <a:lnTo>
                    <a:pt x="3172" y="3097"/>
                  </a:lnTo>
                  <a:lnTo>
                    <a:pt x="3184" y="3038"/>
                  </a:lnTo>
                  <a:lnTo>
                    <a:pt x="3188" y="2977"/>
                  </a:lnTo>
                  <a:lnTo>
                    <a:pt x="3188" y="2977"/>
                  </a:lnTo>
                  <a:lnTo>
                    <a:pt x="3188" y="2733"/>
                  </a:lnTo>
                  <a:lnTo>
                    <a:pt x="3134" y="2774"/>
                  </a:lnTo>
                  <a:lnTo>
                    <a:pt x="3075" y="2810"/>
                  </a:lnTo>
                  <a:lnTo>
                    <a:pt x="3013" y="2840"/>
                  </a:lnTo>
                  <a:lnTo>
                    <a:pt x="2947" y="2865"/>
                  </a:lnTo>
                  <a:lnTo>
                    <a:pt x="2878" y="2882"/>
                  </a:lnTo>
                  <a:lnTo>
                    <a:pt x="2807" y="2893"/>
                  </a:lnTo>
                  <a:lnTo>
                    <a:pt x="2735" y="2897"/>
                  </a:lnTo>
                  <a:lnTo>
                    <a:pt x="709" y="2897"/>
                  </a:lnTo>
                  <a:lnTo>
                    <a:pt x="637" y="2893"/>
                  </a:lnTo>
                  <a:lnTo>
                    <a:pt x="567" y="2882"/>
                  </a:lnTo>
                  <a:lnTo>
                    <a:pt x="497" y="2865"/>
                  </a:lnTo>
                  <a:lnTo>
                    <a:pt x="432" y="2840"/>
                  </a:lnTo>
                  <a:lnTo>
                    <a:pt x="369" y="2810"/>
                  </a:lnTo>
                  <a:lnTo>
                    <a:pt x="311" y="2774"/>
                  </a:lnTo>
                  <a:lnTo>
                    <a:pt x="257" y="2733"/>
                  </a:lnTo>
                  <a:close/>
                  <a:moveTo>
                    <a:pt x="257" y="1945"/>
                  </a:moveTo>
                  <a:lnTo>
                    <a:pt x="257" y="2186"/>
                  </a:lnTo>
                  <a:lnTo>
                    <a:pt x="261" y="2247"/>
                  </a:lnTo>
                  <a:lnTo>
                    <a:pt x="273" y="2307"/>
                  </a:lnTo>
                  <a:lnTo>
                    <a:pt x="292" y="2363"/>
                  </a:lnTo>
                  <a:lnTo>
                    <a:pt x="318" y="2414"/>
                  </a:lnTo>
                  <a:lnTo>
                    <a:pt x="350" y="2463"/>
                  </a:lnTo>
                  <a:lnTo>
                    <a:pt x="389" y="2507"/>
                  </a:lnTo>
                  <a:lnTo>
                    <a:pt x="433" y="2545"/>
                  </a:lnTo>
                  <a:lnTo>
                    <a:pt x="481" y="2577"/>
                  </a:lnTo>
                  <a:lnTo>
                    <a:pt x="534" y="2603"/>
                  </a:lnTo>
                  <a:lnTo>
                    <a:pt x="590" y="2623"/>
                  </a:lnTo>
                  <a:lnTo>
                    <a:pt x="648" y="2635"/>
                  </a:lnTo>
                  <a:lnTo>
                    <a:pt x="709" y="2639"/>
                  </a:lnTo>
                  <a:lnTo>
                    <a:pt x="2735" y="2639"/>
                  </a:lnTo>
                  <a:lnTo>
                    <a:pt x="2796" y="2635"/>
                  </a:lnTo>
                  <a:lnTo>
                    <a:pt x="2855" y="2623"/>
                  </a:lnTo>
                  <a:lnTo>
                    <a:pt x="2911" y="2603"/>
                  </a:lnTo>
                  <a:lnTo>
                    <a:pt x="2964" y="2577"/>
                  </a:lnTo>
                  <a:lnTo>
                    <a:pt x="3011" y="2545"/>
                  </a:lnTo>
                  <a:lnTo>
                    <a:pt x="3055" y="2507"/>
                  </a:lnTo>
                  <a:lnTo>
                    <a:pt x="3094" y="2463"/>
                  </a:lnTo>
                  <a:lnTo>
                    <a:pt x="3127" y="2414"/>
                  </a:lnTo>
                  <a:lnTo>
                    <a:pt x="3153" y="2363"/>
                  </a:lnTo>
                  <a:lnTo>
                    <a:pt x="3172" y="2307"/>
                  </a:lnTo>
                  <a:lnTo>
                    <a:pt x="3184" y="2247"/>
                  </a:lnTo>
                  <a:lnTo>
                    <a:pt x="3188" y="2186"/>
                  </a:lnTo>
                  <a:lnTo>
                    <a:pt x="3188" y="2186"/>
                  </a:lnTo>
                  <a:lnTo>
                    <a:pt x="3188" y="1945"/>
                  </a:lnTo>
                  <a:lnTo>
                    <a:pt x="3134" y="1986"/>
                  </a:lnTo>
                  <a:lnTo>
                    <a:pt x="3075" y="2022"/>
                  </a:lnTo>
                  <a:lnTo>
                    <a:pt x="3013" y="2052"/>
                  </a:lnTo>
                  <a:lnTo>
                    <a:pt x="2947" y="2077"/>
                  </a:lnTo>
                  <a:lnTo>
                    <a:pt x="2878" y="2094"/>
                  </a:lnTo>
                  <a:lnTo>
                    <a:pt x="2807" y="2105"/>
                  </a:lnTo>
                  <a:lnTo>
                    <a:pt x="2735" y="2109"/>
                  </a:lnTo>
                  <a:lnTo>
                    <a:pt x="709" y="2109"/>
                  </a:lnTo>
                  <a:lnTo>
                    <a:pt x="637" y="2105"/>
                  </a:lnTo>
                  <a:lnTo>
                    <a:pt x="567" y="2094"/>
                  </a:lnTo>
                  <a:lnTo>
                    <a:pt x="497" y="2077"/>
                  </a:lnTo>
                  <a:lnTo>
                    <a:pt x="432" y="2052"/>
                  </a:lnTo>
                  <a:lnTo>
                    <a:pt x="369" y="2022"/>
                  </a:lnTo>
                  <a:lnTo>
                    <a:pt x="311" y="1986"/>
                  </a:lnTo>
                  <a:lnTo>
                    <a:pt x="257" y="1945"/>
                  </a:lnTo>
                  <a:close/>
                  <a:moveTo>
                    <a:pt x="1721" y="288"/>
                  </a:moveTo>
                  <a:lnTo>
                    <a:pt x="1627" y="290"/>
                  </a:lnTo>
                  <a:lnTo>
                    <a:pt x="1533" y="298"/>
                  </a:lnTo>
                  <a:lnTo>
                    <a:pt x="1442" y="312"/>
                  </a:lnTo>
                  <a:lnTo>
                    <a:pt x="1352" y="330"/>
                  </a:lnTo>
                  <a:lnTo>
                    <a:pt x="1265" y="354"/>
                  </a:lnTo>
                  <a:lnTo>
                    <a:pt x="1183" y="382"/>
                  </a:lnTo>
                  <a:lnTo>
                    <a:pt x="1102" y="415"/>
                  </a:lnTo>
                  <a:lnTo>
                    <a:pt x="1028" y="453"/>
                  </a:lnTo>
                  <a:lnTo>
                    <a:pt x="957" y="495"/>
                  </a:lnTo>
                  <a:lnTo>
                    <a:pt x="892" y="541"/>
                  </a:lnTo>
                  <a:lnTo>
                    <a:pt x="834" y="589"/>
                  </a:lnTo>
                  <a:lnTo>
                    <a:pt x="783" y="640"/>
                  </a:lnTo>
                  <a:lnTo>
                    <a:pt x="738" y="693"/>
                  </a:lnTo>
                  <a:lnTo>
                    <a:pt x="699" y="749"/>
                  </a:lnTo>
                  <a:lnTo>
                    <a:pt x="667" y="807"/>
                  </a:lnTo>
                  <a:lnTo>
                    <a:pt x="643" y="867"/>
                  </a:lnTo>
                  <a:lnTo>
                    <a:pt x="624" y="928"/>
                  </a:lnTo>
                  <a:lnTo>
                    <a:pt x="613" y="990"/>
                  </a:lnTo>
                  <a:lnTo>
                    <a:pt x="610" y="1055"/>
                  </a:lnTo>
                  <a:lnTo>
                    <a:pt x="613" y="1119"/>
                  </a:lnTo>
                  <a:lnTo>
                    <a:pt x="624" y="1181"/>
                  </a:lnTo>
                  <a:lnTo>
                    <a:pt x="643" y="1244"/>
                  </a:lnTo>
                  <a:lnTo>
                    <a:pt x="667" y="1303"/>
                  </a:lnTo>
                  <a:lnTo>
                    <a:pt x="699" y="1360"/>
                  </a:lnTo>
                  <a:lnTo>
                    <a:pt x="738" y="1416"/>
                  </a:lnTo>
                  <a:lnTo>
                    <a:pt x="783" y="1470"/>
                  </a:lnTo>
                  <a:lnTo>
                    <a:pt x="834" y="1520"/>
                  </a:lnTo>
                  <a:lnTo>
                    <a:pt x="892" y="1569"/>
                  </a:lnTo>
                  <a:lnTo>
                    <a:pt x="957" y="1614"/>
                  </a:lnTo>
                  <a:lnTo>
                    <a:pt x="1028" y="1656"/>
                  </a:lnTo>
                  <a:lnTo>
                    <a:pt x="1102" y="1694"/>
                  </a:lnTo>
                  <a:lnTo>
                    <a:pt x="1183" y="1728"/>
                  </a:lnTo>
                  <a:lnTo>
                    <a:pt x="1265" y="1756"/>
                  </a:lnTo>
                  <a:lnTo>
                    <a:pt x="1352" y="1780"/>
                  </a:lnTo>
                  <a:lnTo>
                    <a:pt x="1442" y="1799"/>
                  </a:lnTo>
                  <a:lnTo>
                    <a:pt x="1533" y="1811"/>
                  </a:lnTo>
                  <a:lnTo>
                    <a:pt x="1627" y="1819"/>
                  </a:lnTo>
                  <a:lnTo>
                    <a:pt x="1721" y="1822"/>
                  </a:lnTo>
                  <a:lnTo>
                    <a:pt x="1817" y="1819"/>
                  </a:lnTo>
                  <a:lnTo>
                    <a:pt x="1911" y="1811"/>
                  </a:lnTo>
                  <a:lnTo>
                    <a:pt x="2002" y="1799"/>
                  </a:lnTo>
                  <a:lnTo>
                    <a:pt x="2092" y="1780"/>
                  </a:lnTo>
                  <a:lnTo>
                    <a:pt x="2179" y="1756"/>
                  </a:lnTo>
                  <a:lnTo>
                    <a:pt x="2262" y="1728"/>
                  </a:lnTo>
                  <a:lnTo>
                    <a:pt x="2341" y="1694"/>
                  </a:lnTo>
                  <a:lnTo>
                    <a:pt x="2417" y="1656"/>
                  </a:lnTo>
                  <a:lnTo>
                    <a:pt x="2488" y="1614"/>
                  </a:lnTo>
                  <a:lnTo>
                    <a:pt x="2553" y="1569"/>
                  </a:lnTo>
                  <a:lnTo>
                    <a:pt x="2610" y="1520"/>
                  </a:lnTo>
                  <a:lnTo>
                    <a:pt x="2662" y="1470"/>
                  </a:lnTo>
                  <a:lnTo>
                    <a:pt x="2707" y="1416"/>
                  </a:lnTo>
                  <a:lnTo>
                    <a:pt x="2746" y="1360"/>
                  </a:lnTo>
                  <a:lnTo>
                    <a:pt x="2777" y="1303"/>
                  </a:lnTo>
                  <a:lnTo>
                    <a:pt x="2802" y="1244"/>
                  </a:lnTo>
                  <a:lnTo>
                    <a:pt x="2821" y="1181"/>
                  </a:lnTo>
                  <a:lnTo>
                    <a:pt x="2832" y="1119"/>
                  </a:lnTo>
                  <a:lnTo>
                    <a:pt x="2835" y="1055"/>
                  </a:lnTo>
                  <a:lnTo>
                    <a:pt x="2832" y="990"/>
                  </a:lnTo>
                  <a:lnTo>
                    <a:pt x="2821" y="928"/>
                  </a:lnTo>
                  <a:lnTo>
                    <a:pt x="2802" y="867"/>
                  </a:lnTo>
                  <a:lnTo>
                    <a:pt x="2777" y="807"/>
                  </a:lnTo>
                  <a:lnTo>
                    <a:pt x="2746" y="749"/>
                  </a:lnTo>
                  <a:lnTo>
                    <a:pt x="2707" y="693"/>
                  </a:lnTo>
                  <a:lnTo>
                    <a:pt x="2662" y="640"/>
                  </a:lnTo>
                  <a:lnTo>
                    <a:pt x="2610" y="589"/>
                  </a:lnTo>
                  <a:lnTo>
                    <a:pt x="2553" y="541"/>
                  </a:lnTo>
                  <a:lnTo>
                    <a:pt x="2488" y="495"/>
                  </a:lnTo>
                  <a:lnTo>
                    <a:pt x="2417" y="453"/>
                  </a:lnTo>
                  <a:lnTo>
                    <a:pt x="2341" y="415"/>
                  </a:lnTo>
                  <a:lnTo>
                    <a:pt x="2262" y="382"/>
                  </a:lnTo>
                  <a:lnTo>
                    <a:pt x="2179" y="354"/>
                  </a:lnTo>
                  <a:lnTo>
                    <a:pt x="2092" y="330"/>
                  </a:lnTo>
                  <a:lnTo>
                    <a:pt x="2002" y="312"/>
                  </a:lnTo>
                  <a:lnTo>
                    <a:pt x="1911" y="298"/>
                  </a:lnTo>
                  <a:lnTo>
                    <a:pt x="1817" y="290"/>
                  </a:lnTo>
                  <a:lnTo>
                    <a:pt x="1721" y="288"/>
                  </a:lnTo>
                  <a:close/>
                  <a:moveTo>
                    <a:pt x="709" y="0"/>
                  </a:moveTo>
                  <a:lnTo>
                    <a:pt x="2735" y="0"/>
                  </a:lnTo>
                  <a:lnTo>
                    <a:pt x="2811" y="4"/>
                  </a:lnTo>
                  <a:lnTo>
                    <a:pt x="2888" y="16"/>
                  </a:lnTo>
                  <a:lnTo>
                    <a:pt x="2960" y="37"/>
                  </a:lnTo>
                  <a:lnTo>
                    <a:pt x="3028" y="64"/>
                  </a:lnTo>
                  <a:lnTo>
                    <a:pt x="3093" y="96"/>
                  </a:lnTo>
                  <a:lnTo>
                    <a:pt x="3154" y="137"/>
                  </a:lnTo>
                  <a:lnTo>
                    <a:pt x="3210" y="183"/>
                  </a:lnTo>
                  <a:lnTo>
                    <a:pt x="3261" y="235"/>
                  </a:lnTo>
                  <a:lnTo>
                    <a:pt x="3308" y="290"/>
                  </a:lnTo>
                  <a:lnTo>
                    <a:pt x="3347" y="351"/>
                  </a:lnTo>
                  <a:lnTo>
                    <a:pt x="3381" y="416"/>
                  </a:lnTo>
                  <a:lnTo>
                    <a:pt x="3408" y="484"/>
                  </a:lnTo>
                  <a:lnTo>
                    <a:pt x="3429" y="556"/>
                  </a:lnTo>
                  <a:lnTo>
                    <a:pt x="3441" y="631"/>
                  </a:lnTo>
                  <a:lnTo>
                    <a:pt x="3445" y="708"/>
                  </a:lnTo>
                  <a:lnTo>
                    <a:pt x="3445" y="3768"/>
                  </a:lnTo>
                  <a:lnTo>
                    <a:pt x="3441" y="3845"/>
                  </a:lnTo>
                  <a:lnTo>
                    <a:pt x="3429" y="3920"/>
                  </a:lnTo>
                  <a:lnTo>
                    <a:pt x="3408" y="3992"/>
                  </a:lnTo>
                  <a:lnTo>
                    <a:pt x="3381" y="4060"/>
                  </a:lnTo>
                  <a:lnTo>
                    <a:pt x="3347" y="4125"/>
                  </a:lnTo>
                  <a:lnTo>
                    <a:pt x="3308" y="4186"/>
                  </a:lnTo>
                  <a:lnTo>
                    <a:pt x="3261" y="4241"/>
                  </a:lnTo>
                  <a:lnTo>
                    <a:pt x="3210" y="4293"/>
                  </a:lnTo>
                  <a:lnTo>
                    <a:pt x="3154" y="4339"/>
                  </a:lnTo>
                  <a:lnTo>
                    <a:pt x="3093" y="4380"/>
                  </a:lnTo>
                  <a:lnTo>
                    <a:pt x="3028" y="4412"/>
                  </a:lnTo>
                  <a:lnTo>
                    <a:pt x="2958" y="4439"/>
                  </a:lnTo>
                  <a:lnTo>
                    <a:pt x="2886" y="4460"/>
                  </a:lnTo>
                  <a:lnTo>
                    <a:pt x="2811" y="4472"/>
                  </a:lnTo>
                  <a:lnTo>
                    <a:pt x="2735" y="4476"/>
                  </a:lnTo>
                  <a:lnTo>
                    <a:pt x="709" y="4476"/>
                  </a:lnTo>
                  <a:lnTo>
                    <a:pt x="632" y="4472"/>
                  </a:lnTo>
                  <a:lnTo>
                    <a:pt x="557" y="4460"/>
                  </a:lnTo>
                  <a:lnTo>
                    <a:pt x="485" y="4439"/>
                  </a:lnTo>
                  <a:lnTo>
                    <a:pt x="417" y="4412"/>
                  </a:lnTo>
                  <a:lnTo>
                    <a:pt x="352" y="4380"/>
                  </a:lnTo>
                  <a:lnTo>
                    <a:pt x="291" y="4339"/>
                  </a:lnTo>
                  <a:lnTo>
                    <a:pt x="235" y="4293"/>
                  </a:lnTo>
                  <a:lnTo>
                    <a:pt x="183" y="4241"/>
                  </a:lnTo>
                  <a:lnTo>
                    <a:pt x="137" y="4186"/>
                  </a:lnTo>
                  <a:lnTo>
                    <a:pt x="96" y="4125"/>
                  </a:lnTo>
                  <a:lnTo>
                    <a:pt x="64" y="4060"/>
                  </a:lnTo>
                  <a:lnTo>
                    <a:pt x="36" y="3992"/>
                  </a:lnTo>
                  <a:lnTo>
                    <a:pt x="16" y="3920"/>
                  </a:lnTo>
                  <a:lnTo>
                    <a:pt x="4" y="3845"/>
                  </a:lnTo>
                  <a:lnTo>
                    <a:pt x="0" y="3768"/>
                  </a:lnTo>
                  <a:lnTo>
                    <a:pt x="0" y="708"/>
                  </a:lnTo>
                  <a:lnTo>
                    <a:pt x="4" y="631"/>
                  </a:lnTo>
                  <a:lnTo>
                    <a:pt x="16" y="556"/>
                  </a:lnTo>
                  <a:lnTo>
                    <a:pt x="36" y="484"/>
                  </a:lnTo>
                  <a:lnTo>
                    <a:pt x="64" y="416"/>
                  </a:lnTo>
                  <a:lnTo>
                    <a:pt x="96" y="351"/>
                  </a:lnTo>
                  <a:lnTo>
                    <a:pt x="137" y="290"/>
                  </a:lnTo>
                  <a:lnTo>
                    <a:pt x="183" y="235"/>
                  </a:lnTo>
                  <a:lnTo>
                    <a:pt x="235" y="183"/>
                  </a:lnTo>
                  <a:lnTo>
                    <a:pt x="291" y="137"/>
                  </a:lnTo>
                  <a:lnTo>
                    <a:pt x="352" y="96"/>
                  </a:lnTo>
                  <a:lnTo>
                    <a:pt x="417" y="64"/>
                  </a:lnTo>
                  <a:lnTo>
                    <a:pt x="485" y="37"/>
                  </a:lnTo>
                  <a:lnTo>
                    <a:pt x="557" y="16"/>
                  </a:lnTo>
                  <a:lnTo>
                    <a:pt x="632" y="4"/>
                  </a:lnTo>
                  <a:lnTo>
                    <a:pt x="70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027690" y="2216565"/>
            <a:ext cx="2028117" cy="2219420"/>
            <a:chOff x="4256216" y="2076098"/>
            <a:chExt cx="2028117" cy="2219420"/>
          </a:xfrm>
        </p:grpSpPr>
        <p:sp>
          <p:nvSpPr>
            <p:cNvPr id="67" name="Arc 66"/>
            <p:cNvSpPr/>
            <p:nvPr/>
          </p:nvSpPr>
          <p:spPr>
            <a:xfrm>
              <a:off x="4256216" y="2267402"/>
              <a:ext cx="2028117" cy="2028116"/>
            </a:xfrm>
            <a:prstGeom prst="arc">
              <a:avLst>
                <a:gd name="adj1" fmla="val 20369113"/>
                <a:gd name="adj2" fmla="val 16797269"/>
              </a:avLst>
            </a:prstGeom>
            <a:ln w="127000">
              <a:solidFill>
                <a:srgbClr val="A7A4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8" name="Chord 67"/>
            <p:cNvSpPr/>
            <p:nvPr/>
          </p:nvSpPr>
          <p:spPr bwMode="ltGray">
            <a:xfrm>
              <a:off x="4379269" y="2390231"/>
              <a:ext cx="1796326" cy="1796325"/>
            </a:xfrm>
            <a:prstGeom prst="chord">
              <a:avLst>
                <a:gd name="adj1" fmla="val 6349068"/>
                <a:gd name="adj2" fmla="val 15238606"/>
              </a:avLst>
            </a:prstGeom>
            <a:solidFill>
              <a:srgbClr val="A7A49B">
                <a:alpha val="50196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5101484" y="3080098"/>
              <a:ext cx="1059520" cy="7594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ru-RU" sz="1100" i="1" dirty="0" smtClean="0">
                  <a:solidFill>
                    <a:schemeClr val="bg1"/>
                  </a:solidFill>
                  <a:latin typeface="+mj-lt"/>
                </a:rPr>
                <a:t>Классификация рисков по модели</a:t>
              </a:r>
              <a:r>
                <a:rPr i="1">
                  <a:solidFill>
                    <a:schemeClr val="bg1"/>
                  </a:solidFill>
                  <a:latin typeface="+mj-lt"/>
                </a:rPr>
                <a:t/>
              </a:r>
              <a:br>
                <a:rPr i="1">
                  <a:solidFill>
                    <a:schemeClr val="bg1"/>
                  </a:solidFill>
                  <a:latin typeface="+mj-lt"/>
                </a:rPr>
              </a:br>
              <a:r>
                <a:rPr lang="ru-RU" sz="1100" i="1" dirty="0" smtClean="0">
                  <a:solidFill>
                    <a:schemeClr val="bg1"/>
                  </a:solidFill>
                  <a:latin typeface="+mj-lt"/>
                </a:rPr>
                <a:t>ухудшения кредитного качества</a:t>
              </a:r>
              <a:endParaRPr lang="ru-RU" sz="11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535027" y="2862373"/>
              <a:ext cx="358994" cy="5903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ru-RU" sz="4400" b="1" i="1" dirty="0" smtClean="0">
                  <a:solidFill>
                    <a:schemeClr val="bg1"/>
                  </a:solidFill>
                  <a:latin typeface="+mj-lt"/>
                </a:rPr>
                <a:t>2</a:t>
              </a:r>
              <a:endParaRPr lang="ru-RU" sz="4400" i="1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2" name="Freeform 7"/>
            <p:cNvSpPr>
              <a:spLocks/>
            </p:cNvSpPr>
            <p:nvPr/>
          </p:nvSpPr>
          <p:spPr bwMode="auto">
            <a:xfrm>
              <a:off x="5674403" y="2076098"/>
              <a:ext cx="497079" cy="765518"/>
            </a:xfrm>
            <a:custGeom>
              <a:avLst/>
              <a:gdLst>
                <a:gd name="T0" fmla="*/ 1510 w 2798"/>
                <a:gd name="T1" fmla="*/ 16 h 4309"/>
                <a:gd name="T2" fmla="*/ 1621 w 2798"/>
                <a:gd name="T3" fmla="*/ 111 h 4309"/>
                <a:gd name="T4" fmla="*/ 1998 w 2798"/>
                <a:gd name="T5" fmla="*/ 793 h 4309"/>
                <a:gd name="T6" fmla="*/ 1951 w 2798"/>
                <a:gd name="T7" fmla="*/ 925 h 4309"/>
                <a:gd name="T8" fmla="*/ 1828 w 2798"/>
                <a:gd name="T9" fmla="*/ 1000 h 4309"/>
                <a:gd name="T10" fmla="*/ 2205 w 2798"/>
                <a:gd name="T11" fmla="*/ 2263 h 4309"/>
                <a:gd name="T12" fmla="*/ 2035 w 2798"/>
                <a:gd name="T13" fmla="*/ 1990 h 4309"/>
                <a:gd name="T14" fmla="*/ 1916 w 2798"/>
                <a:gd name="T15" fmla="*/ 1889 h 4309"/>
                <a:gd name="T16" fmla="*/ 1883 w 2798"/>
                <a:gd name="T17" fmla="*/ 1391 h 4309"/>
                <a:gd name="T18" fmla="*/ 1938 w 2798"/>
                <a:gd name="T19" fmla="*/ 1242 h 4309"/>
                <a:gd name="T20" fmla="*/ 2074 w 2798"/>
                <a:gd name="T21" fmla="*/ 1162 h 4309"/>
                <a:gd name="T22" fmla="*/ 2646 w 2798"/>
                <a:gd name="T23" fmla="*/ 1173 h 4309"/>
                <a:gd name="T24" fmla="*/ 2766 w 2798"/>
                <a:gd name="T25" fmla="*/ 1275 h 4309"/>
                <a:gd name="T26" fmla="*/ 2798 w 2798"/>
                <a:gd name="T27" fmla="*/ 1771 h 4309"/>
                <a:gd name="T28" fmla="*/ 2743 w 2798"/>
                <a:gd name="T29" fmla="*/ 1920 h 4309"/>
                <a:gd name="T30" fmla="*/ 2607 w 2798"/>
                <a:gd name="T31" fmla="*/ 2000 h 4309"/>
                <a:gd name="T32" fmla="*/ 2473 w 2798"/>
                <a:gd name="T33" fmla="*/ 2280 h 4309"/>
                <a:gd name="T34" fmla="*/ 2403 w 2798"/>
                <a:gd name="T35" fmla="*/ 2441 h 4309"/>
                <a:gd name="T36" fmla="*/ 1560 w 2798"/>
                <a:gd name="T37" fmla="*/ 3287 h 4309"/>
                <a:gd name="T38" fmla="*/ 1772 w 2798"/>
                <a:gd name="T39" fmla="*/ 3405 h 4309"/>
                <a:gd name="T40" fmla="*/ 1908 w 2798"/>
                <a:gd name="T41" fmla="*/ 3604 h 4309"/>
                <a:gd name="T42" fmla="*/ 1938 w 2798"/>
                <a:gd name="T43" fmla="*/ 3854 h 4309"/>
                <a:gd name="T44" fmla="*/ 1849 w 2798"/>
                <a:gd name="T45" fmla="*/ 4086 h 4309"/>
                <a:gd name="T46" fmla="*/ 1667 w 2798"/>
                <a:gd name="T47" fmla="*/ 4248 h 4309"/>
                <a:gd name="T48" fmla="*/ 1422 w 2798"/>
                <a:gd name="T49" fmla="*/ 4309 h 4309"/>
                <a:gd name="T50" fmla="*/ 1178 w 2798"/>
                <a:gd name="T51" fmla="*/ 4248 h 4309"/>
                <a:gd name="T52" fmla="*/ 996 w 2798"/>
                <a:gd name="T53" fmla="*/ 4086 h 4309"/>
                <a:gd name="T54" fmla="*/ 907 w 2798"/>
                <a:gd name="T55" fmla="*/ 3854 h 4309"/>
                <a:gd name="T56" fmla="*/ 936 w 2798"/>
                <a:gd name="T57" fmla="*/ 3605 h 4309"/>
                <a:gd name="T58" fmla="*/ 1069 w 2798"/>
                <a:gd name="T59" fmla="*/ 3407 h 4309"/>
                <a:gd name="T60" fmla="*/ 1278 w 2798"/>
                <a:gd name="T61" fmla="*/ 3290 h 4309"/>
                <a:gd name="T62" fmla="*/ 347 w 2798"/>
                <a:gd name="T63" fmla="*/ 2557 h 4309"/>
                <a:gd name="T64" fmla="*/ 304 w 2798"/>
                <a:gd name="T65" fmla="*/ 2392 h 4309"/>
                <a:gd name="T66" fmla="*/ 160 w 2798"/>
                <a:gd name="T67" fmla="*/ 2147 h 4309"/>
                <a:gd name="T68" fmla="*/ 33 w 2798"/>
                <a:gd name="T69" fmla="*/ 1974 h 4309"/>
                <a:gd name="T70" fmla="*/ 4 w 2798"/>
                <a:gd name="T71" fmla="*/ 1749 h 4309"/>
                <a:gd name="T72" fmla="*/ 93 w 2798"/>
                <a:gd name="T73" fmla="*/ 1538 h 4309"/>
                <a:gd name="T74" fmla="*/ 273 w 2798"/>
                <a:gd name="T75" fmla="*/ 1402 h 4309"/>
                <a:gd name="T76" fmla="*/ 506 w 2798"/>
                <a:gd name="T77" fmla="*/ 1376 h 4309"/>
                <a:gd name="T78" fmla="*/ 711 w 2798"/>
                <a:gd name="T79" fmla="*/ 1467 h 4309"/>
                <a:gd name="T80" fmla="*/ 844 w 2798"/>
                <a:gd name="T81" fmla="*/ 1644 h 4309"/>
                <a:gd name="T82" fmla="*/ 874 w 2798"/>
                <a:gd name="T83" fmla="*/ 1869 h 4309"/>
                <a:gd name="T84" fmla="*/ 792 w 2798"/>
                <a:gd name="T85" fmla="*/ 2070 h 4309"/>
                <a:gd name="T86" fmla="*/ 626 w 2798"/>
                <a:gd name="T87" fmla="*/ 2204 h 4309"/>
                <a:gd name="T88" fmla="*/ 1289 w 2798"/>
                <a:gd name="T89" fmla="*/ 1003 h 4309"/>
                <a:gd name="T90" fmla="*/ 938 w 2798"/>
                <a:gd name="T91" fmla="*/ 973 h 4309"/>
                <a:gd name="T92" fmla="*/ 849 w 2798"/>
                <a:gd name="T93" fmla="*/ 863 h 4309"/>
                <a:gd name="T94" fmla="*/ 851 w 2798"/>
                <a:gd name="T95" fmla="*/ 719 h 4309"/>
                <a:gd name="T96" fmla="*/ 1275 w 2798"/>
                <a:gd name="T97" fmla="*/ 51 h 4309"/>
                <a:gd name="T98" fmla="*/ 1405 w 2798"/>
                <a:gd name="T99" fmla="*/ 0 h 4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98" h="4309">
                  <a:moveTo>
                    <a:pt x="1405" y="0"/>
                  </a:moveTo>
                  <a:lnTo>
                    <a:pt x="1442" y="0"/>
                  </a:lnTo>
                  <a:lnTo>
                    <a:pt x="1476" y="5"/>
                  </a:lnTo>
                  <a:lnTo>
                    <a:pt x="1510" y="16"/>
                  </a:lnTo>
                  <a:lnTo>
                    <a:pt x="1543" y="31"/>
                  </a:lnTo>
                  <a:lnTo>
                    <a:pt x="1573" y="54"/>
                  </a:lnTo>
                  <a:lnTo>
                    <a:pt x="1599" y="80"/>
                  </a:lnTo>
                  <a:lnTo>
                    <a:pt x="1621" y="111"/>
                  </a:lnTo>
                  <a:lnTo>
                    <a:pt x="1968" y="685"/>
                  </a:lnTo>
                  <a:lnTo>
                    <a:pt x="1985" y="720"/>
                  </a:lnTo>
                  <a:lnTo>
                    <a:pt x="1996" y="757"/>
                  </a:lnTo>
                  <a:lnTo>
                    <a:pt x="1998" y="793"/>
                  </a:lnTo>
                  <a:lnTo>
                    <a:pt x="1996" y="830"/>
                  </a:lnTo>
                  <a:lnTo>
                    <a:pt x="1986" y="864"/>
                  </a:lnTo>
                  <a:lnTo>
                    <a:pt x="1971" y="897"/>
                  </a:lnTo>
                  <a:lnTo>
                    <a:pt x="1951" y="925"/>
                  </a:lnTo>
                  <a:lnTo>
                    <a:pt x="1926" y="952"/>
                  </a:lnTo>
                  <a:lnTo>
                    <a:pt x="1897" y="973"/>
                  </a:lnTo>
                  <a:lnTo>
                    <a:pt x="1865" y="990"/>
                  </a:lnTo>
                  <a:lnTo>
                    <a:pt x="1828" y="1000"/>
                  </a:lnTo>
                  <a:lnTo>
                    <a:pt x="1789" y="1003"/>
                  </a:lnTo>
                  <a:lnTo>
                    <a:pt x="1560" y="1003"/>
                  </a:lnTo>
                  <a:lnTo>
                    <a:pt x="1560" y="2711"/>
                  </a:lnTo>
                  <a:lnTo>
                    <a:pt x="2205" y="2263"/>
                  </a:lnTo>
                  <a:lnTo>
                    <a:pt x="2205" y="2004"/>
                  </a:lnTo>
                  <a:lnTo>
                    <a:pt x="2116" y="2004"/>
                  </a:lnTo>
                  <a:lnTo>
                    <a:pt x="2074" y="2000"/>
                  </a:lnTo>
                  <a:lnTo>
                    <a:pt x="2035" y="1990"/>
                  </a:lnTo>
                  <a:lnTo>
                    <a:pt x="2000" y="1971"/>
                  </a:lnTo>
                  <a:lnTo>
                    <a:pt x="1967" y="1949"/>
                  </a:lnTo>
                  <a:lnTo>
                    <a:pt x="1938" y="1920"/>
                  </a:lnTo>
                  <a:lnTo>
                    <a:pt x="1916" y="1889"/>
                  </a:lnTo>
                  <a:lnTo>
                    <a:pt x="1897" y="1852"/>
                  </a:lnTo>
                  <a:lnTo>
                    <a:pt x="1887" y="1813"/>
                  </a:lnTo>
                  <a:lnTo>
                    <a:pt x="1883" y="1771"/>
                  </a:lnTo>
                  <a:lnTo>
                    <a:pt x="1883" y="1391"/>
                  </a:lnTo>
                  <a:lnTo>
                    <a:pt x="1887" y="1350"/>
                  </a:lnTo>
                  <a:lnTo>
                    <a:pt x="1897" y="1310"/>
                  </a:lnTo>
                  <a:lnTo>
                    <a:pt x="1916" y="1275"/>
                  </a:lnTo>
                  <a:lnTo>
                    <a:pt x="1938" y="1242"/>
                  </a:lnTo>
                  <a:lnTo>
                    <a:pt x="1967" y="1213"/>
                  </a:lnTo>
                  <a:lnTo>
                    <a:pt x="2000" y="1191"/>
                  </a:lnTo>
                  <a:lnTo>
                    <a:pt x="2035" y="1173"/>
                  </a:lnTo>
                  <a:lnTo>
                    <a:pt x="2074" y="1162"/>
                  </a:lnTo>
                  <a:lnTo>
                    <a:pt x="2116" y="1158"/>
                  </a:lnTo>
                  <a:lnTo>
                    <a:pt x="2565" y="1158"/>
                  </a:lnTo>
                  <a:lnTo>
                    <a:pt x="2607" y="1162"/>
                  </a:lnTo>
                  <a:lnTo>
                    <a:pt x="2646" y="1173"/>
                  </a:lnTo>
                  <a:lnTo>
                    <a:pt x="2683" y="1191"/>
                  </a:lnTo>
                  <a:lnTo>
                    <a:pt x="2715" y="1213"/>
                  </a:lnTo>
                  <a:lnTo>
                    <a:pt x="2743" y="1242"/>
                  </a:lnTo>
                  <a:lnTo>
                    <a:pt x="2766" y="1275"/>
                  </a:lnTo>
                  <a:lnTo>
                    <a:pt x="2783" y="1310"/>
                  </a:lnTo>
                  <a:lnTo>
                    <a:pt x="2794" y="1350"/>
                  </a:lnTo>
                  <a:lnTo>
                    <a:pt x="2798" y="1391"/>
                  </a:lnTo>
                  <a:lnTo>
                    <a:pt x="2798" y="1771"/>
                  </a:lnTo>
                  <a:lnTo>
                    <a:pt x="2794" y="1813"/>
                  </a:lnTo>
                  <a:lnTo>
                    <a:pt x="2783" y="1852"/>
                  </a:lnTo>
                  <a:lnTo>
                    <a:pt x="2766" y="1889"/>
                  </a:lnTo>
                  <a:lnTo>
                    <a:pt x="2743" y="1920"/>
                  </a:lnTo>
                  <a:lnTo>
                    <a:pt x="2715" y="1949"/>
                  </a:lnTo>
                  <a:lnTo>
                    <a:pt x="2683" y="1971"/>
                  </a:lnTo>
                  <a:lnTo>
                    <a:pt x="2646" y="1990"/>
                  </a:lnTo>
                  <a:lnTo>
                    <a:pt x="2607" y="2000"/>
                  </a:lnTo>
                  <a:lnTo>
                    <a:pt x="2565" y="2004"/>
                  </a:lnTo>
                  <a:lnTo>
                    <a:pt x="2476" y="2004"/>
                  </a:lnTo>
                  <a:lnTo>
                    <a:pt x="2476" y="2235"/>
                  </a:lnTo>
                  <a:lnTo>
                    <a:pt x="2473" y="2280"/>
                  </a:lnTo>
                  <a:lnTo>
                    <a:pt x="2464" y="2324"/>
                  </a:lnTo>
                  <a:lnTo>
                    <a:pt x="2448" y="2365"/>
                  </a:lnTo>
                  <a:lnTo>
                    <a:pt x="2429" y="2406"/>
                  </a:lnTo>
                  <a:lnTo>
                    <a:pt x="2403" y="2441"/>
                  </a:lnTo>
                  <a:lnTo>
                    <a:pt x="2371" y="2474"/>
                  </a:lnTo>
                  <a:lnTo>
                    <a:pt x="2336" y="2503"/>
                  </a:lnTo>
                  <a:lnTo>
                    <a:pt x="1560" y="3042"/>
                  </a:lnTo>
                  <a:lnTo>
                    <a:pt x="1560" y="3287"/>
                  </a:lnTo>
                  <a:lnTo>
                    <a:pt x="1619" y="3308"/>
                  </a:lnTo>
                  <a:lnTo>
                    <a:pt x="1674" y="3334"/>
                  </a:lnTo>
                  <a:lnTo>
                    <a:pt x="1725" y="3367"/>
                  </a:lnTo>
                  <a:lnTo>
                    <a:pt x="1772" y="3405"/>
                  </a:lnTo>
                  <a:lnTo>
                    <a:pt x="1815" y="3448"/>
                  </a:lnTo>
                  <a:lnTo>
                    <a:pt x="1852" y="3495"/>
                  </a:lnTo>
                  <a:lnTo>
                    <a:pt x="1883" y="3548"/>
                  </a:lnTo>
                  <a:lnTo>
                    <a:pt x="1908" y="3604"/>
                  </a:lnTo>
                  <a:lnTo>
                    <a:pt x="1926" y="3663"/>
                  </a:lnTo>
                  <a:lnTo>
                    <a:pt x="1938" y="3724"/>
                  </a:lnTo>
                  <a:lnTo>
                    <a:pt x="1942" y="3788"/>
                  </a:lnTo>
                  <a:lnTo>
                    <a:pt x="1938" y="3854"/>
                  </a:lnTo>
                  <a:lnTo>
                    <a:pt x="1926" y="3917"/>
                  </a:lnTo>
                  <a:lnTo>
                    <a:pt x="1907" y="3977"/>
                  </a:lnTo>
                  <a:lnTo>
                    <a:pt x="1882" y="4033"/>
                  </a:lnTo>
                  <a:lnTo>
                    <a:pt x="1849" y="4086"/>
                  </a:lnTo>
                  <a:lnTo>
                    <a:pt x="1811" y="4134"/>
                  </a:lnTo>
                  <a:lnTo>
                    <a:pt x="1768" y="4177"/>
                  </a:lnTo>
                  <a:lnTo>
                    <a:pt x="1719" y="4215"/>
                  </a:lnTo>
                  <a:lnTo>
                    <a:pt x="1667" y="4248"/>
                  </a:lnTo>
                  <a:lnTo>
                    <a:pt x="1611" y="4274"/>
                  </a:lnTo>
                  <a:lnTo>
                    <a:pt x="1551" y="4292"/>
                  </a:lnTo>
                  <a:lnTo>
                    <a:pt x="1488" y="4304"/>
                  </a:lnTo>
                  <a:lnTo>
                    <a:pt x="1422" y="4309"/>
                  </a:lnTo>
                  <a:lnTo>
                    <a:pt x="1357" y="4304"/>
                  </a:lnTo>
                  <a:lnTo>
                    <a:pt x="1294" y="4292"/>
                  </a:lnTo>
                  <a:lnTo>
                    <a:pt x="1234" y="4274"/>
                  </a:lnTo>
                  <a:lnTo>
                    <a:pt x="1178" y="4248"/>
                  </a:lnTo>
                  <a:lnTo>
                    <a:pt x="1125" y="4215"/>
                  </a:lnTo>
                  <a:lnTo>
                    <a:pt x="1077" y="4177"/>
                  </a:lnTo>
                  <a:lnTo>
                    <a:pt x="1034" y="4134"/>
                  </a:lnTo>
                  <a:lnTo>
                    <a:pt x="996" y="4086"/>
                  </a:lnTo>
                  <a:lnTo>
                    <a:pt x="963" y="4033"/>
                  </a:lnTo>
                  <a:lnTo>
                    <a:pt x="937" y="3977"/>
                  </a:lnTo>
                  <a:lnTo>
                    <a:pt x="919" y="3917"/>
                  </a:lnTo>
                  <a:lnTo>
                    <a:pt x="907" y="3854"/>
                  </a:lnTo>
                  <a:lnTo>
                    <a:pt x="903" y="3788"/>
                  </a:lnTo>
                  <a:lnTo>
                    <a:pt x="907" y="3726"/>
                  </a:lnTo>
                  <a:lnTo>
                    <a:pt x="917" y="3664"/>
                  </a:lnTo>
                  <a:lnTo>
                    <a:pt x="936" y="3605"/>
                  </a:lnTo>
                  <a:lnTo>
                    <a:pt x="961" y="3550"/>
                  </a:lnTo>
                  <a:lnTo>
                    <a:pt x="992" y="3498"/>
                  </a:lnTo>
                  <a:lnTo>
                    <a:pt x="1027" y="3451"/>
                  </a:lnTo>
                  <a:lnTo>
                    <a:pt x="1069" y="3407"/>
                  </a:lnTo>
                  <a:lnTo>
                    <a:pt x="1115" y="3370"/>
                  </a:lnTo>
                  <a:lnTo>
                    <a:pt x="1166" y="3337"/>
                  </a:lnTo>
                  <a:lnTo>
                    <a:pt x="1220" y="3309"/>
                  </a:lnTo>
                  <a:lnTo>
                    <a:pt x="1278" y="3290"/>
                  </a:lnTo>
                  <a:lnTo>
                    <a:pt x="433" y="2652"/>
                  </a:lnTo>
                  <a:lnTo>
                    <a:pt x="400" y="2625"/>
                  </a:lnTo>
                  <a:lnTo>
                    <a:pt x="372" y="2592"/>
                  </a:lnTo>
                  <a:lnTo>
                    <a:pt x="347" y="2557"/>
                  </a:lnTo>
                  <a:lnTo>
                    <a:pt x="328" y="2519"/>
                  </a:lnTo>
                  <a:lnTo>
                    <a:pt x="314" y="2478"/>
                  </a:lnTo>
                  <a:lnTo>
                    <a:pt x="306" y="2436"/>
                  </a:lnTo>
                  <a:lnTo>
                    <a:pt x="304" y="2392"/>
                  </a:lnTo>
                  <a:lnTo>
                    <a:pt x="304" y="2225"/>
                  </a:lnTo>
                  <a:lnTo>
                    <a:pt x="251" y="2204"/>
                  </a:lnTo>
                  <a:lnTo>
                    <a:pt x="204" y="2178"/>
                  </a:lnTo>
                  <a:lnTo>
                    <a:pt x="160" y="2147"/>
                  </a:lnTo>
                  <a:lnTo>
                    <a:pt x="120" y="2110"/>
                  </a:lnTo>
                  <a:lnTo>
                    <a:pt x="86" y="2068"/>
                  </a:lnTo>
                  <a:lnTo>
                    <a:pt x="56" y="2024"/>
                  </a:lnTo>
                  <a:lnTo>
                    <a:pt x="33" y="1974"/>
                  </a:lnTo>
                  <a:lnTo>
                    <a:pt x="14" y="1922"/>
                  </a:lnTo>
                  <a:lnTo>
                    <a:pt x="4" y="1867"/>
                  </a:lnTo>
                  <a:lnTo>
                    <a:pt x="0" y="1809"/>
                  </a:lnTo>
                  <a:lnTo>
                    <a:pt x="4" y="1749"/>
                  </a:lnTo>
                  <a:lnTo>
                    <a:pt x="16" y="1691"/>
                  </a:lnTo>
                  <a:lnTo>
                    <a:pt x="35" y="1636"/>
                  </a:lnTo>
                  <a:lnTo>
                    <a:pt x="62" y="1585"/>
                  </a:lnTo>
                  <a:lnTo>
                    <a:pt x="93" y="1538"/>
                  </a:lnTo>
                  <a:lnTo>
                    <a:pt x="131" y="1496"/>
                  </a:lnTo>
                  <a:lnTo>
                    <a:pt x="174" y="1460"/>
                  </a:lnTo>
                  <a:lnTo>
                    <a:pt x="222" y="1428"/>
                  </a:lnTo>
                  <a:lnTo>
                    <a:pt x="273" y="1402"/>
                  </a:lnTo>
                  <a:lnTo>
                    <a:pt x="330" y="1384"/>
                  </a:lnTo>
                  <a:lnTo>
                    <a:pt x="387" y="1373"/>
                  </a:lnTo>
                  <a:lnTo>
                    <a:pt x="448" y="1371"/>
                  </a:lnTo>
                  <a:lnTo>
                    <a:pt x="506" y="1376"/>
                  </a:lnTo>
                  <a:lnTo>
                    <a:pt x="561" y="1389"/>
                  </a:lnTo>
                  <a:lnTo>
                    <a:pt x="615" y="1409"/>
                  </a:lnTo>
                  <a:lnTo>
                    <a:pt x="665" y="1435"/>
                  </a:lnTo>
                  <a:lnTo>
                    <a:pt x="711" y="1467"/>
                  </a:lnTo>
                  <a:lnTo>
                    <a:pt x="752" y="1504"/>
                  </a:lnTo>
                  <a:lnTo>
                    <a:pt x="789" y="1547"/>
                  </a:lnTo>
                  <a:lnTo>
                    <a:pt x="819" y="1594"/>
                  </a:lnTo>
                  <a:lnTo>
                    <a:pt x="844" y="1644"/>
                  </a:lnTo>
                  <a:lnTo>
                    <a:pt x="864" y="1698"/>
                  </a:lnTo>
                  <a:lnTo>
                    <a:pt x="874" y="1754"/>
                  </a:lnTo>
                  <a:lnTo>
                    <a:pt x="878" y="1813"/>
                  </a:lnTo>
                  <a:lnTo>
                    <a:pt x="874" y="1869"/>
                  </a:lnTo>
                  <a:lnTo>
                    <a:pt x="862" y="1924"/>
                  </a:lnTo>
                  <a:lnTo>
                    <a:pt x="845" y="1977"/>
                  </a:lnTo>
                  <a:lnTo>
                    <a:pt x="820" y="2025"/>
                  </a:lnTo>
                  <a:lnTo>
                    <a:pt x="792" y="2070"/>
                  </a:lnTo>
                  <a:lnTo>
                    <a:pt x="756" y="2111"/>
                  </a:lnTo>
                  <a:lnTo>
                    <a:pt x="717" y="2147"/>
                  </a:lnTo>
                  <a:lnTo>
                    <a:pt x="673" y="2178"/>
                  </a:lnTo>
                  <a:lnTo>
                    <a:pt x="626" y="2204"/>
                  </a:lnTo>
                  <a:lnTo>
                    <a:pt x="574" y="2225"/>
                  </a:lnTo>
                  <a:lnTo>
                    <a:pt x="574" y="2419"/>
                  </a:lnTo>
                  <a:lnTo>
                    <a:pt x="1289" y="2957"/>
                  </a:lnTo>
                  <a:lnTo>
                    <a:pt x="1289" y="1003"/>
                  </a:lnTo>
                  <a:lnTo>
                    <a:pt x="1048" y="1003"/>
                  </a:lnTo>
                  <a:lnTo>
                    <a:pt x="1008" y="999"/>
                  </a:lnTo>
                  <a:lnTo>
                    <a:pt x="971" y="990"/>
                  </a:lnTo>
                  <a:lnTo>
                    <a:pt x="938" y="973"/>
                  </a:lnTo>
                  <a:lnTo>
                    <a:pt x="909" y="952"/>
                  </a:lnTo>
                  <a:lnTo>
                    <a:pt x="885" y="925"/>
                  </a:lnTo>
                  <a:lnTo>
                    <a:pt x="864" y="895"/>
                  </a:lnTo>
                  <a:lnTo>
                    <a:pt x="849" y="863"/>
                  </a:lnTo>
                  <a:lnTo>
                    <a:pt x="840" y="827"/>
                  </a:lnTo>
                  <a:lnTo>
                    <a:pt x="837" y="792"/>
                  </a:lnTo>
                  <a:lnTo>
                    <a:pt x="840" y="755"/>
                  </a:lnTo>
                  <a:lnTo>
                    <a:pt x="851" y="719"/>
                  </a:lnTo>
                  <a:lnTo>
                    <a:pt x="869" y="683"/>
                  </a:lnTo>
                  <a:lnTo>
                    <a:pt x="1225" y="109"/>
                  </a:lnTo>
                  <a:lnTo>
                    <a:pt x="1247" y="77"/>
                  </a:lnTo>
                  <a:lnTo>
                    <a:pt x="1275" y="51"/>
                  </a:lnTo>
                  <a:lnTo>
                    <a:pt x="1305" y="30"/>
                  </a:lnTo>
                  <a:lnTo>
                    <a:pt x="1337" y="14"/>
                  </a:lnTo>
                  <a:lnTo>
                    <a:pt x="1371" y="4"/>
                  </a:lnTo>
                  <a:lnTo>
                    <a:pt x="140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582484" y="2212269"/>
            <a:ext cx="2028117" cy="2223716"/>
            <a:chOff x="7039536" y="2071802"/>
            <a:chExt cx="2028117" cy="2223716"/>
          </a:xfrm>
        </p:grpSpPr>
        <p:sp>
          <p:nvSpPr>
            <p:cNvPr id="74" name="Arc 73"/>
            <p:cNvSpPr/>
            <p:nvPr/>
          </p:nvSpPr>
          <p:spPr>
            <a:xfrm>
              <a:off x="7039536" y="2267402"/>
              <a:ext cx="2028117" cy="2028116"/>
            </a:xfrm>
            <a:prstGeom prst="arc">
              <a:avLst>
                <a:gd name="adj1" fmla="val 20369113"/>
                <a:gd name="adj2" fmla="val 16797269"/>
              </a:avLst>
            </a:prstGeom>
            <a:ln w="127000">
              <a:solidFill>
                <a:srgbClr val="A7A4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5" name="Chord 74"/>
            <p:cNvSpPr/>
            <p:nvPr/>
          </p:nvSpPr>
          <p:spPr bwMode="ltGray">
            <a:xfrm>
              <a:off x="7162589" y="2390231"/>
              <a:ext cx="1796326" cy="1796325"/>
            </a:xfrm>
            <a:prstGeom prst="chord">
              <a:avLst>
                <a:gd name="adj1" fmla="val 6349068"/>
                <a:gd name="adj2" fmla="val 15238606"/>
              </a:avLst>
            </a:prstGeom>
            <a:solidFill>
              <a:srgbClr val="A7A49B">
                <a:alpha val="50196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884804" y="3080098"/>
              <a:ext cx="1059520" cy="7594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ru-RU" sz="1100" i="1" dirty="0" smtClean="0">
                  <a:solidFill>
                    <a:schemeClr val="bg1"/>
                  </a:solidFill>
                  <a:latin typeface="+mj-lt"/>
                </a:rPr>
                <a:t>Расчеты и </a:t>
              </a:r>
              <a:r>
                <a:rPr i="1">
                  <a:solidFill>
                    <a:schemeClr val="bg1"/>
                  </a:solidFill>
                  <a:latin typeface="+mj-lt"/>
                </a:rPr>
                <a:t/>
              </a:r>
              <a:br>
                <a:rPr i="1">
                  <a:solidFill>
                    <a:schemeClr val="bg1"/>
                  </a:solidFill>
                  <a:latin typeface="+mj-lt"/>
                </a:rPr>
              </a:br>
              <a:r>
                <a:rPr lang="ru-RU" sz="1100" i="1" dirty="0" smtClean="0">
                  <a:solidFill>
                    <a:schemeClr val="bg1"/>
                  </a:solidFill>
                  <a:latin typeface="+mj-lt"/>
                </a:rPr>
                <a:t>визуализация результатов</a:t>
              </a:r>
              <a:endParaRPr lang="ru-RU" sz="11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7318347" y="2862373"/>
              <a:ext cx="358994" cy="5903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ru-RU" sz="4400" b="1" i="1" dirty="0" smtClean="0">
                  <a:solidFill>
                    <a:schemeClr val="bg1"/>
                  </a:solidFill>
                  <a:latin typeface="+mj-lt"/>
                </a:rPr>
                <a:t>3</a:t>
              </a:r>
              <a:endParaRPr lang="ru-RU" sz="4400" i="1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4" name="Freeform 4889"/>
            <p:cNvSpPr>
              <a:spLocks noEditPoints="1"/>
            </p:cNvSpPr>
            <p:nvPr/>
          </p:nvSpPr>
          <p:spPr bwMode="auto">
            <a:xfrm>
              <a:off x="8466525" y="2071802"/>
              <a:ext cx="439468" cy="774110"/>
            </a:xfrm>
            <a:custGeom>
              <a:avLst/>
              <a:gdLst>
                <a:gd name="T0" fmla="*/ 12 w 218"/>
                <a:gd name="T1" fmla="*/ 62 h 384"/>
                <a:gd name="T2" fmla="*/ 6 w 218"/>
                <a:gd name="T3" fmla="*/ 46 h 384"/>
                <a:gd name="T4" fmla="*/ 124 w 218"/>
                <a:gd name="T5" fmla="*/ 0 h 384"/>
                <a:gd name="T6" fmla="*/ 142 w 218"/>
                <a:gd name="T7" fmla="*/ 6 h 384"/>
                <a:gd name="T8" fmla="*/ 144 w 218"/>
                <a:gd name="T9" fmla="*/ 24 h 384"/>
                <a:gd name="T10" fmla="*/ 26 w 218"/>
                <a:gd name="T11" fmla="*/ 64 h 384"/>
                <a:gd name="T12" fmla="*/ 22 w 218"/>
                <a:gd name="T13" fmla="*/ 118 h 384"/>
                <a:gd name="T14" fmla="*/ 218 w 218"/>
                <a:gd name="T15" fmla="*/ 54 h 384"/>
                <a:gd name="T16" fmla="*/ 216 w 218"/>
                <a:gd name="T17" fmla="*/ 36 h 384"/>
                <a:gd name="T18" fmla="*/ 12 w 218"/>
                <a:gd name="T19" fmla="*/ 86 h 384"/>
                <a:gd name="T20" fmla="*/ 2 w 218"/>
                <a:gd name="T21" fmla="*/ 100 h 384"/>
                <a:gd name="T22" fmla="*/ 8 w 218"/>
                <a:gd name="T23" fmla="*/ 116 h 384"/>
                <a:gd name="T24" fmla="*/ 68 w 218"/>
                <a:gd name="T25" fmla="*/ 236 h 384"/>
                <a:gd name="T26" fmla="*/ 84 w 218"/>
                <a:gd name="T27" fmla="*/ 218 h 384"/>
                <a:gd name="T28" fmla="*/ 68 w 218"/>
                <a:gd name="T29" fmla="*/ 172 h 384"/>
                <a:gd name="T30" fmla="*/ 212 w 218"/>
                <a:gd name="T31" fmla="*/ 114 h 384"/>
                <a:gd name="T32" fmla="*/ 218 w 218"/>
                <a:gd name="T33" fmla="*/ 96 h 384"/>
                <a:gd name="T34" fmla="*/ 198 w 218"/>
                <a:gd name="T35" fmla="*/ 84 h 384"/>
                <a:gd name="T36" fmla="*/ 4 w 218"/>
                <a:gd name="T37" fmla="*/ 146 h 384"/>
                <a:gd name="T38" fmla="*/ 2 w 218"/>
                <a:gd name="T39" fmla="*/ 160 h 384"/>
                <a:gd name="T40" fmla="*/ 12 w 218"/>
                <a:gd name="T41" fmla="*/ 172 h 384"/>
                <a:gd name="T42" fmla="*/ 44 w 218"/>
                <a:gd name="T43" fmla="*/ 198 h 384"/>
                <a:gd name="T44" fmla="*/ 52 w 218"/>
                <a:gd name="T45" fmla="*/ 224 h 384"/>
                <a:gd name="T46" fmla="*/ 148 w 218"/>
                <a:gd name="T47" fmla="*/ 236 h 384"/>
                <a:gd name="T48" fmla="*/ 164 w 218"/>
                <a:gd name="T49" fmla="*/ 224 h 384"/>
                <a:gd name="T50" fmla="*/ 172 w 218"/>
                <a:gd name="T51" fmla="*/ 198 h 384"/>
                <a:gd name="T52" fmla="*/ 204 w 218"/>
                <a:gd name="T53" fmla="*/ 172 h 384"/>
                <a:gd name="T54" fmla="*/ 216 w 218"/>
                <a:gd name="T55" fmla="*/ 156 h 384"/>
                <a:gd name="T56" fmla="*/ 206 w 218"/>
                <a:gd name="T57" fmla="*/ 140 h 384"/>
                <a:gd name="T58" fmla="*/ 182 w 218"/>
                <a:gd name="T59" fmla="*/ 144 h 384"/>
                <a:gd name="T60" fmla="*/ 142 w 218"/>
                <a:gd name="T61" fmla="*/ 182 h 384"/>
                <a:gd name="T62" fmla="*/ 132 w 218"/>
                <a:gd name="T63" fmla="*/ 218 h 384"/>
                <a:gd name="T64" fmla="*/ 148 w 218"/>
                <a:gd name="T65" fmla="*/ 236 h 384"/>
                <a:gd name="T66" fmla="*/ 150 w 218"/>
                <a:gd name="T67" fmla="*/ 354 h 384"/>
                <a:gd name="T68" fmla="*/ 152 w 218"/>
                <a:gd name="T69" fmla="*/ 344 h 384"/>
                <a:gd name="T70" fmla="*/ 76 w 218"/>
                <a:gd name="T71" fmla="*/ 340 h 384"/>
                <a:gd name="T72" fmla="*/ 68 w 218"/>
                <a:gd name="T73" fmla="*/ 344 h 384"/>
                <a:gd name="T74" fmla="*/ 70 w 218"/>
                <a:gd name="T75" fmla="*/ 354 h 384"/>
                <a:gd name="T76" fmla="*/ 128 w 218"/>
                <a:gd name="T77" fmla="*/ 384 h 384"/>
                <a:gd name="T78" fmla="*/ 136 w 218"/>
                <a:gd name="T79" fmla="*/ 380 h 384"/>
                <a:gd name="T80" fmla="*/ 134 w 218"/>
                <a:gd name="T81" fmla="*/ 370 h 384"/>
                <a:gd name="T82" fmla="*/ 92 w 218"/>
                <a:gd name="T83" fmla="*/ 368 h 384"/>
                <a:gd name="T84" fmla="*/ 82 w 218"/>
                <a:gd name="T85" fmla="*/ 376 h 384"/>
                <a:gd name="T86" fmla="*/ 88 w 218"/>
                <a:gd name="T87" fmla="*/ 384 h 384"/>
                <a:gd name="T88" fmla="*/ 48 w 218"/>
                <a:gd name="T89" fmla="*/ 248 h 384"/>
                <a:gd name="T90" fmla="*/ 40 w 218"/>
                <a:gd name="T91" fmla="*/ 254 h 384"/>
                <a:gd name="T92" fmla="*/ 40 w 218"/>
                <a:gd name="T93" fmla="*/ 310 h 384"/>
                <a:gd name="T94" fmla="*/ 60 w 218"/>
                <a:gd name="T95" fmla="*/ 328 h 384"/>
                <a:gd name="T96" fmla="*/ 160 w 218"/>
                <a:gd name="T97" fmla="*/ 328 h 384"/>
                <a:gd name="T98" fmla="*/ 180 w 218"/>
                <a:gd name="T99" fmla="*/ 310 h 384"/>
                <a:gd name="T100" fmla="*/ 178 w 218"/>
                <a:gd name="T101" fmla="*/ 254 h 384"/>
                <a:gd name="T102" fmla="*/ 172 w 218"/>
                <a:gd name="T103" fmla="*/ 248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8" h="384">
                  <a:moveTo>
                    <a:pt x="22" y="66"/>
                  </a:moveTo>
                  <a:lnTo>
                    <a:pt x="22" y="66"/>
                  </a:lnTo>
                  <a:lnTo>
                    <a:pt x="16" y="64"/>
                  </a:lnTo>
                  <a:lnTo>
                    <a:pt x="12" y="62"/>
                  </a:lnTo>
                  <a:lnTo>
                    <a:pt x="8" y="58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46"/>
                  </a:lnTo>
                  <a:lnTo>
                    <a:pt x="8" y="40"/>
                  </a:lnTo>
                  <a:lnTo>
                    <a:pt x="12" y="36"/>
                  </a:lnTo>
                  <a:lnTo>
                    <a:pt x="18" y="32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30" y="0"/>
                  </a:lnTo>
                  <a:lnTo>
                    <a:pt x="136" y="2"/>
                  </a:lnTo>
                  <a:lnTo>
                    <a:pt x="142" y="6"/>
                  </a:lnTo>
                  <a:lnTo>
                    <a:pt x="146" y="12"/>
                  </a:lnTo>
                  <a:lnTo>
                    <a:pt x="146" y="12"/>
                  </a:lnTo>
                  <a:lnTo>
                    <a:pt x="146" y="18"/>
                  </a:lnTo>
                  <a:lnTo>
                    <a:pt x="144" y="24"/>
                  </a:lnTo>
                  <a:lnTo>
                    <a:pt x="140" y="28"/>
                  </a:lnTo>
                  <a:lnTo>
                    <a:pt x="134" y="32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2" y="66"/>
                  </a:lnTo>
                  <a:close/>
                  <a:moveTo>
                    <a:pt x="18" y="118"/>
                  </a:moveTo>
                  <a:lnTo>
                    <a:pt x="18" y="118"/>
                  </a:lnTo>
                  <a:lnTo>
                    <a:pt x="22" y="118"/>
                  </a:lnTo>
                  <a:lnTo>
                    <a:pt x="208" y="64"/>
                  </a:lnTo>
                  <a:lnTo>
                    <a:pt x="208" y="64"/>
                  </a:lnTo>
                  <a:lnTo>
                    <a:pt x="212" y="60"/>
                  </a:lnTo>
                  <a:lnTo>
                    <a:pt x="218" y="54"/>
                  </a:lnTo>
                  <a:lnTo>
                    <a:pt x="218" y="48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16" y="36"/>
                  </a:lnTo>
                  <a:lnTo>
                    <a:pt x="210" y="32"/>
                  </a:lnTo>
                  <a:lnTo>
                    <a:pt x="204" y="30"/>
                  </a:lnTo>
                  <a:lnTo>
                    <a:pt x="198" y="30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8" y="90"/>
                  </a:lnTo>
                  <a:lnTo>
                    <a:pt x="2" y="94"/>
                  </a:lnTo>
                  <a:lnTo>
                    <a:pt x="2" y="100"/>
                  </a:lnTo>
                  <a:lnTo>
                    <a:pt x="2" y="106"/>
                  </a:lnTo>
                  <a:lnTo>
                    <a:pt x="2" y="106"/>
                  </a:lnTo>
                  <a:lnTo>
                    <a:pt x="4" y="112"/>
                  </a:lnTo>
                  <a:lnTo>
                    <a:pt x="8" y="116"/>
                  </a:lnTo>
                  <a:lnTo>
                    <a:pt x="12" y="118"/>
                  </a:lnTo>
                  <a:lnTo>
                    <a:pt x="18" y="118"/>
                  </a:lnTo>
                  <a:close/>
                  <a:moveTo>
                    <a:pt x="68" y="236"/>
                  </a:moveTo>
                  <a:lnTo>
                    <a:pt x="68" y="236"/>
                  </a:lnTo>
                  <a:lnTo>
                    <a:pt x="74" y="234"/>
                  </a:lnTo>
                  <a:lnTo>
                    <a:pt x="80" y="230"/>
                  </a:lnTo>
                  <a:lnTo>
                    <a:pt x="84" y="224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82" y="200"/>
                  </a:lnTo>
                  <a:lnTo>
                    <a:pt x="76" y="184"/>
                  </a:lnTo>
                  <a:lnTo>
                    <a:pt x="68" y="172"/>
                  </a:lnTo>
                  <a:lnTo>
                    <a:pt x="58" y="162"/>
                  </a:lnTo>
                  <a:lnTo>
                    <a:pt x="208" y="116"/>
                  </a:lnTo>
                  <a:lnTo>
                    <a:pt x="208" y="116"/>
                  </a:lnTo>
                  <a:lnTo>
                    <a:pt x="212" y="114"/>
                  </a:lnTo>
                  <a:lnTo>
                    <a:pt x="218" y="108"/>
                  </a:lnTo>
                  <a:lnTo>
                    <a:pt x="218" y="102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16" y="90"/>
                  </a:lnTo>
                  <a:lnTo>
                    <a:pt x="210" y="86"/>
                  </a:lnTo>
                  <a:lnTo>
                    <a:pt x="204" y="84"/>
                  </a:lnTo>
                  <a:lnTo>
                    <a:pt x="198" y="84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8" y="142"/>
                  </a:lnTo>
                  <a:lnTo>
                    <a:pt x="4" y="146"/>
                  </a:lnTo>
                  <a:lnTo>
                    <a:pt x="2" y="150"/>
                  </a:lnTo>
                  <a:lnTo>
                    <a:pt x="0" y="156"/>
                  </a:lnTo>
                  <a:lnTo>
                    <a:pt x="0" y="156"/>
                  </a:lnTo>
                  <a:lnTo>
                    <a:pt x="2" y="160"/>
                  </a:lnTo>
                  <a:lnTo>
                    <a:pt x="4" y="166"/>
                  </a:lnTo>
                  <a:lnTo>
                    <a:pt x="8" y="168"/>
                  </a:lnTo>
                  <a:lnTo>
                    <a:pt x="12" y="172"/>
                  </a:lnTo>
                  <a:lnTo>
                    <a:pt x="12" y="172"/>
                  </a:lnTo>
                  <a:lnTo>
                    <a:pt x="18" y="174"/>
                  </a:lnTo>
                  <a:lnTo>
                    <a:pt x="32" y="182"/>
                  </a:lnTo>
                  <a:lnTo>
                    <a:pt x="38" y="190"/>
                  </a:lnTo>
                  <a:lnTo>
                    <a:pt x="44" y="198"/>
                  </a:lnTo>
                  <a:lnTo>
                    <a:pt x="50" y="206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2" y="224"/>
                  </a:lnTo>
                  <a:lnTo>
                    <a:pt x="56" y="230"/>
                  </a:lnTo>
                  <a:lnTo>
                    <a:pt x="62" y="234"/>
                  </a:lnTo>
                  <a:lnTo>
                    <a:pt x="68" y="236"/>
                  </a:lnTo>
                  <a:close/>
                  <a:moveTo>
                    <a:pt x="148" y="236"/>
                  </a:moveTo>
                  <a:lnTo>
                    <a:pt x="148" y="236"/>
                  </a:lnTo>
                  <a:lnTo>
                    <a:pt x="156" y="234"/>
                  </a:lnTo>
                  <a:lnTo>
                    <a:pt x="160" y="230"/>
                  </a:lnTo>
                  <a:lnTo>
                    <a:pt x="164" y="224"/>
                  </a:lnTo>
                  <a:lnTo>
                    <a:pt x="166" y="218"/>
                  </a:lnTo>
                  <a:lnTo>
                    <a:pt x="166" y="218"/>
                  </a:lnTo>
                  <a:lnTo>
                    <a:pt x="168" y="206"/>
                  </a:lnTo>
                  <a:lnTo>
                    <a:pt x="172" y="198"/>
                  </a:lnTo>
                  <a:lnTo>
                    <a:pt x="178" y="190"/>
                  </a:lnTo>
                  <a:lnTo>
                    <a:pt x="184" y="182"/>
                  </a:lnTo>
                  <a:lnTo>
                    <a:pt x="198" y="174"/>
                  </a:lnTo>
                  <a:lnTo>
                    <a:pt x="204" y="172"/>
                  </a:lnTo>
                  <a:lnTo>
                    <a:pt x="204" y="172"/>
                  </a:lnTo>
                  <a:lnTo>
                    <a:pt x="210" y="168"/>
                  </a:lnTo>
                  <a:lnTo>
                    <a:pt x="214" y="162"/>
                  </a:lnTo>
                  <a:lnTo>
                    <a:pt x="216" y="156"/>
                  </a:lnTo>
                  <a:lnTo>
                    <a:pt x="214" y="150"/>
                  </a:lnTo>
                  <a:lnTo>
                    <a:pt x="214" y="150"/>
                  </a:lnTo>
                  <a:lnTo>
                    <a:pt x="212" y="144"/>
                  </a:lnTo>
                  <a:lnTo>
                    <a:pt x="206" y="140"/>
                  </a:lnTo>
                  <a:lnTo>
                    <a:pt x="200" y="138"/>
                  </a:lnTo>
                  <a:lnTo>
                    <a:pt x="194" y="140"/>
                  </a:lnTo>
                  <a:lnTo>
                    <a:pt x="194" y="140"/>
                  </a:lnTo>
                  <a:lnTo>
                    <a:pt x="182" y="144"/>
                  </a:lnTo>
                  <a:lnTo>
                    <a:pt x="172" y="150"/>
                  </a:lnTo>
                  <a:lnTo>
                    <a:pt x="162" y="158"/>
                  </a:lnTo>
                  <a:lnTo>
                    <a:pt x="150" y="168"/>
                  </a:lnTo>
                  <a:lnTo>
                    <a:pt x="142" y="182"/>
                  </a:lnTo>
                  <a:lnTo>
                    <a:pt x="134" y="198"/>
                  </a:lnTo>
                  <a:lnTo>
                    <a:pt x="132" y="208"/>
                  </a:lnTo>
                  <a:lnTo>
                    <a:pt x="132" y="218"/>
                  </a:lnTo>
                  <a:lnTo>
                    <a:pt x="132" y="218"/>
                  </a:lnTo>
                  <a:lnTo>
                    <a:pt x="134" y="224"/>
                  </a:lnTo>
                  <a:lnTo>
                    <a:pt x="136" y="230"/>
                  </a:lnTo>
                  <a:lnTo>
                    <a:pt x="142" y="234"/>
                  </a:lnTo>
                  <a:lnTo>
                    <a:pt x="148" y="236"/>
                  </a:lnTo>
                  <a:close/>
                  <a:moveTo>
                    <a:pt x="144" y="356"/>
                  </a:moveTo>
                  <a:lnTo>
                    <a:pt x="144" y="356"/>
                  </a:lnTo>
                  <a:lnTo>
                    <a:pt x="148" y="356"/>
                  </a:lnTo>
                  <a:lnTo>
                    <a:pt x="150" y="354"/>
                  </a:lnTo>
                  <a:lnTo>
                    <a:pt x="152" y="350"/>
                  </a:lnTo>
                  <a:lnTo>
                    <a:pt x="152" y="348"/>
                  </a:lnTo>
                  <a:lnTo>
                    <a:pt x="152" y="348"/>
                  </a:lnTo>
                  <a:lnTo>
                    <a:pt x="152" y="344"/>
                  </a:lnTo>
                  <a:lnTo>
                    <a:pt x="150" y="342"/>
                  </a:lnTo>
                  <a:lnTo>
                    <a:pt x="148" y="340"/>
                  </a:lnTo>
                  <a:lnTo>
                    <a:pt x="144" y="340"/>
                  </a:lnTo>
                  <a:lnTo>
                    <a:pt x="76" y="340"/>
                  </a:lnTo>
                  <a:lnTo>
                    <a:pt x="76" y="340"/>
                  </a:lnTo>
                  <a:lnTo>
                    <a:pt x="72" y="340"/>
                  </a:lnTo>
                  <a:lnTo>
                    <a:pt x="70" y="342"/>
                  </a:lnTo>
                  <a:lnTo>
                    <a:pt x="68" y="344"/>
                  </a:lnTo>
                  <a:lnTo>
                    <a:pt x="68" y="348"/>
                  </a:lnTo>
                  <a:lnTo>
                    <a:pt x="68" y="348"/>
                  </a:lnTo>
                  <a:lnTo>
                    <a:pt x="68" y="350"/>
                  </a:lnTo>
                  <a:lnTo>
                    <a:pt x="70" y="354"/>
                  </a:lnTo>
                  <a:lnTo>
                    <a:pt x="72" y="356"/>
                  </a:lnTo>
                  <a:lnTo>
                    <a:pt x="76" y="356"/>
                  </a:lnTo>
                  <a:lnTo>
                    <a:pt x="144" y="356"/>
                  </a:lnTo>
                  <a:close/>
                  <a:moveTo>
                    <a:pt x="128" y="384"/>
                  </a:moveTo>
                  <a:lnTo>
                    <a:pt x="128" y="384"/>
                  </a:lnTo>
                  <a:lnTo>
                    <a:pt x="132" y="384"/>
                  </a:lnTo>
                  <a:lnTo>
                    <a:pt x="134" y="382"/>
                  </a:lnTo>
                  <a:lnTo>
                    <a:pt x="136" y="380"/>
                  </a:lnTo>
                  <a:lnTo>
                    <a:pt x="138" y="376"/>
                  </a:lnTo>
                  <a:lnTo>
                    <a:pt x="138" y="376"/>
                  </a:lnTo>
                  <a:lnTo>
                    <a:pt x="136" y="374"/>
                  </a:lnTo>
                  <a:lnTo>
                    <a:pt x="134" y="370"/>
                  </a:lnTo>
                  <a:lnTo>
                    <a:pt x="132" y="368"/>
                  </a:lnTo>
                  <a:lnTo>
                    <a:pt x="128" y="368"/>
                  </a:lnTo>
                  <a:lnTo>
                    <a:pt x="92" y="368"/>
                  </a:lnTo>
                  <a:lnTo>
                    <a:pt x="92" y="368"/>
                  </a:lnTo>
                  <a:lnTo>
                    <a:pt x="88" y="368"/>
                  </a:lnTo>
                  <a:lnTo>
                    <a:pt x="86" y="370"/>
                  </a:lnTo>
                  <a:lnTo>
                    <a:pt x="84" y="374"/>
                  </a:lnTo>
                  <a:lnTo>
                    <a:pt x="82" y="376"/>
                  </a:lnTo>
                  <a:lnTo>
                    <a:pt x="82" y="376"/>
                  </a:lnTo>
                  <a:lnTo>
                    <a:pt x="84" y="380"/>
                  </a:lnTo>
                  <a:lnTo>
                    <a:pt x="86" y="382"/>
                  </a:lnTo>
                  <a:lnTo>
                    <a:pt x="88" y="384"/>
                  </a:lnTo>
                  <a:lnTo>
                    <a:pt x="92" y="384"/>
                  </a:lnTo>
                  <a:lnTo>
                    <a:pt x="128" y="384"/>
                  </a:lnTo>
                  <a:close/>
                  <a:moveTo>
                    <a:pt x="172" y="248"/>
                  </a:moveTo>
                  <a:lnTo>
                    <a:pt x="48" y="248"/>
                  </a:lnTo>
                  <a:lnTo>
                    <a:pt x="48" y="248"/>
                  </a:lnTo>
                  <a:lnTo>
                    <a:pt x="46" y="250"/>
                  </a:lnTo>
                  <a:lnTo>
                    <a:pt x="42" y="250"/>
                  </a:lnTo>
                  <a:lnTo>
                    <a:pt x="40" y="254"/>
                  </a:lnTo>
                  <a:lnTo>
                    <a:pt x="40" y="25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10"/>
                  </a:lnTo>
                  <a:lnTo>
                    <a:pt x="42" y="312"/>
                  </a:lnTo>
                  <a:lnTo>
                    <a:pt x="56" y="326"/>
                  </a:lnTo>
                  <a:lnTo>
                    <a:pt x="56" y="326"/>
                  </a:lnTo>
                  <a:lnTo>
                    <a:pt x="60" y="328"/>
                  </a:lnTo>
                  <a:lnTo>
                    <a:pt x="62" y="328"/>
                  </a:lnTo>
                  <a:lnTo>
                    <a:pt x="158" y="328"/>
                  </a:lnTo>
                  <a:lnTo>
                    <a:pt x="158" y="328"/>
                  </a:lnTo>
                  <a:lnTo>
                    <a:pt x="160" y="328"/>
                  </a:lnTo>
                  <a:lnTo>
                    <a:pt x="164" y="326"/>
                  </a:lnTo>
                  <a:lnTo>
                    <a:pt x="178" y="312"/>
                  </a:lnTo>
                  <a:lnTo>
                    <a:pt x="178" y="312"/>
                  </a:lnTo>
                  <a:lnTo>
                    <a:pt x="180" y="310"/>
                  </a:lnTo>
                  <a:lnTo>
                    <a:pt x="180" y="306"/>
                  </a:lnTo>
                  <a:lnTo>
                    <a:pt x="180" y="256"/>
                  </a:lnTo>
                  <a:lnTo>
                    <a:pt x="180" y="256"/>
                  </a:lnTo>
                  <a:lnTo>
                    <a:pt x="178" y="254"/>
                  </a:lnTo>
                  <a:lnTo>
                    <a:pt x="178" y="250"/>
                  </a:lnTo>
                  <a:lnTo>
                    <a:pt x="174" y="250"/>
                  </a:lnTo>
                  <a:lnTo>
                    <a:pt x="172" y="248"/>
                  </a:lnTo>
                  <a:lnTo>
                    <a:pt x="172" y="2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472895" y="304800"/>
            <a:ext cx="7137706" cy="914400"/>
          </a:xfrm>
        </p:spPr>
        <p:txBody>
          <a:bodyPr/>
          <a:lstStyle/>
          <a:p>
            <a:r>
              <a:rPr lang="ru-RU" smtClean="0"/>
              <a:t>Разработанный PwC инструмент моделирования позволяет рассчитать эффект от внедрения МСФО 9 на уровне компании, портфеля и отдельных рисков</a:t>
            </a:r>
            <a:endParaRPr lang="ru-RU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003" y="2451547"/>
            <a:ext cx="753856" cy="296017"/>
          </a:xfrm>
          <a:prstGeom prst="rect">
            <a:avLst/>
          </a:prstGeom>
        </p:spPr>
      </p:pic>
      <p:sp>
        <p:nvSpPr>
          <p:cNvPr id="48" name="Rectangle 17"/>
          <p:cNvSpPr>
            <a:spLocks/>
          </p:cNvSpPr>
          <p:nvPr/>
        </p:nvSpPr>
        <p:spPr bwMode="auto">
          <a:xfrm>
            <a:off x="142451" y="1389716"/>
            <a:ext cx="73896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900" i="1" dirty="0">
                <a:solidFill>
                  <a:schemeClr val="bg1"/>
                </a:solidFill>
                <a:latin typeface="+mj-lt"/>
                <a:sym typeface="Helvetica Neue" charset="0"/>
              </a:rPr>
              <a:t>Машинное обучение</a:t>
            </a:r>
          </a:p>
        </p:txBody>
      </p:sp>
      <p:sp>
        <p:nvSpPr>
          <p:cNvPr id="36" name="Rectangle 35"/>
          <p:cNvSpPr/>
          <p:nvPr/>
        </p:nvSpPr>
        <p:spPr bwMode="ltGray">
          <a:xfrm>
            <a:off x="6174395" y="-1"/>
            <a:ext cx="2969606" cy="24504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100" b="1" i="1" dirty="0" smtClean="0">
                <a:solidFill>
                  <a:schemeClr val="bg1"/>
                </a:solidFill>
                <a:latin typeface="+mj-lt"/>
              </a:rPr>
              <a:t>Банковские услуги </a:t>
            </a:r>
            <a:endParaRPr lang="ru-RU" sz="1100" b="1" i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72197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6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1"/>
          <p:cNvSpPr txBox="1">
            <a:spLocks/>
          </p:cNvSpPr>
          <p:nvPr/>
        </p:nvSpPr>
        <p:spPr>
          <a:xfrm>
            <a:off x="457200" y="304800"/>
            <a:ext cx="8394699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800" dirty="0" smtClean="0">
                <a:solidFill>
                  <a:srgbClr val="FFFFFF"/>
                </a:solidFill>
              </a:rPr>
              <a:t>Анализ данных о финансовых преступлениях </a:t>
            </a:r>
            <a:r>
              <a:rPr lang="en-US" sz="4800" dirty="0" smtClean="0">
                <a:solidFill>
                  <a:srgbClr val="FFFFFF"/>
                </a:solidFill>
              </a:rPr>
              <a:t>\ </a:t>
            </a:r>
            <a:r>
              <a:rPr lang="ru-RU" sz="4800" dirty="0" smtClean="0">
                <a:solidFill>
                  <a:srgbClr val="FFFFFF"/>
                </a:solidFill>
              </a:rPr>
              <a:t>выявление мошенничества</a:t>
            </a:r>
            <a:endParaRPr lang="ru-RU" sz="6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939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907646"/>
            <a:ext cx="73896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9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Машинное обучение</a:t>
            </a:r>
            <a:endParaRPr lang="ru-RU" sz="9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72895" y="304800"/>
            <a:ext cx="7137706" cy="914400"/>
          </a:xfrm>
        </p:spPr>
        <p:txBody>
          <a:bodyPr/>
          <a:lstStyle/>
          <a:p>
            <a:r>
              <a:rPr lang="ru-RU" sz="1800" dirty="0" smtClean="0"/>
              <a:t>Сокращение затрат на соблюдение обязательных требований за счет внедрения инновационного автоматизированного приложения для проверки клиентов («Знай своего клиента») </a:t>
            </a:r>
            <a:r>
              <a:rPr sz="1800" dirty="0"/>
              <a:t/>
            </a:r>
            <a:br>
              <a:rPr sz="1800" dirty="0"/>
            </a:br>
            <a:endParaRPr lang="ru-RU" sz="1800" dirty="0"/>
          </a:p>
        </p:txBody>
      </p:sp>
      <p:sp>
        <p:nvSpPr>
          <p:cNvPr id="48" name="Rectangle 17"/>
          <p:cNvSpPr>
            <a:spLocks/>
          </p:cNvSpPr>
          <p:nvPr/>
        </p:nvSpPr>
        <p:spPr bwMode="auto">
          <a:xfrm>
            <a:off x="142451" y="1556658"/>
            <a:ext cx="73896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9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рограммирование</a:t>
            </a:r>
            <a:endParaRPr lang="ru-RU" sz="90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36" name="Rectangle 35"/>
          <p:cNvSpPr/>
          <p:nvPr/>
        </p:nvSpPr>
        <p:spPr bwMode="ltGray">
          <a:xfrm>
            <a:off x="6174395" y="-1"/>
            <a:ext cx="2969606" cy="24504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+mj-lt"/>
              </a:rPr>
              <a:t>Банковские услуги </a:t>
            </a:r>
            <a:endParaRPr lang="ru-RU" sz="11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66" name="Picture 6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4640169" y="2080820"/>
            <a:ext cx="4005358" cy="2197697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67" name="Rectangle 66"/>
          <p:cNvSpPr/>
          <p:nvPr/>
        </p:nvSpPr>
        <p:spPr bwMode="ltGray">
          <a:xfrm>
            <a:off x="1306389" y="2439739"/>
            <a:ext cx="2936875" cy="147732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«Мы должны хранить актуальную информацию о своих клиентах и проводить регулярные проверки с целью выявления устаревших или непроверенных данных во избежание рисков, так как мы должны иметь возможность оперативно и точно отвечать на запросы регуляторов».</a:t>
            </a:r>
            <a:endParaRPr lang="ru-RU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8" name="Rectangle 67"/>
          <p:cNvSpPr/>
          <p:nvPr/>
        </p:nvSpPr>
        <p:spPr bwMode="ltGray">
          <a:xfrm>
            <a:off x="1306389" y="4729742"/>
            <a:ext cx="2975367" cy="20313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180000" indent="-1800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Обработка всех сведений, относящихся к каждому отдельному клиенту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Классификация материалов, относящихся к проверке клиентов («Знай своего клиента»)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Извлечение и валидация данных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Составление отчета для отдела обеспечения нормативно-правового соответствия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Внесение корректировок</a:t>
            </a:r>
            <a:endParaRPr lang="ru-RU" sz="12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69" name="Group 68"/>
          <p:cNvGrpSpPr/>
          <p:nvPr/>
        </p:nvGrpSpPr>
        <p:grpSpPr>
          <a:xfrm>
            <a:off x="1306389" y="4228742"/>
            <a:ext cx="2936875" cy="394500"/>
            <a:chOff x="533401" y="3936807"/>
            <a:chExt cx="2936875" cy="394500"/>
          </a:xfrm>
        </p:grpSpPr>
        <p:sp>
          <p:nvSpPr>
            <p:cNvPr id="73" name="Rectangle 72"/>
            <p:cNvSpPr/>
            <p:nvPr/>
          </p:nvSpPr>
          <p:spPr bwMode="ltGray">
            <a:xfrm>
              <a:off x="533401" y="4043307"/>
              <a:ext cx="2936875" cy="288000"/>
            </a:xfrm>
            <a:prstGeom prst="rect">
              <a:avLst/>
            </a:prstGeom>
            <a:solidFill>
              <a:srgbClr val="B0A89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84" tIns="35984" rIns="0" bIns="35984" rtlCol="0" anchor="ctr">
              <a:noAutofit/>
            </a:bodyPr>
            <a:lstStyle/>
            <a:p>
              <a:r>
                <a:rPr lang="ru-RU" sz="1300" b="1" dirty="0" smtClean="0">
                  <a:solidFill>
                    <a:schemeClr val="bg1"/>
                  </a:solidFill>
                  <a:latin typeface="+mj-lt"/>
                </a:rPr>
                <a:t>Как?</a:t>
              </a:r>
              <a:endParaRPr lang="ru-RU" sz="1300" b="1" baseline="300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74" name="Group 73"/>
            <p:cNvGrpSpPr/>
            <p:nvPr/>
          </p:nvGrpSpPr>
          <p:grpSpPr>
            <a:xfrm>
              <a:off x="3067586" y="3936807"/>
              <a:ext cx="335079" cy="335079"/>
              <a:chOff x="3067586" y="3936807"/>
              <a:chExt cx="335079" cy="335079"/>
            </a:xfrm>
          </p:grpSpPr>
          <p:sp>
            <p:nvSpPr>
              <p:cNvPr id="75" name="Oval 74"/>
              <p:cNvSpPr/>
              <p:nvPr/>
            </p:nvSpPr>
            <p:spPr bwMode="ltGray">
              <a:xfrm>
                <a:off x="3067586" y="3936807"/>
                <a:ext cx="335079" cy="335079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28575">
                <a:solidFill>
                  <a:srgbClr val="F2F1E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76" name="Freeform 19"/>
              <p:cNvSpPr>
                <a:spLocks noEditPoints="1"/>
              </p:cNvSpPr>
              <p:nvPr/>
            </p:nvSpPr>
            <p:spPr bwMode="auto">
              <a:xfrm>
                <a:off x="3136115" y="4005336"/>
                <a:ext cx="198020" cy="198020"/>
              </a:xfrm>
              <a:custGeom>
                <a:avLst/>
                <a:gdLst>
                  <a:gd name="T0" fmla="*/ 1202 w 2260"/>
                  <a:gd name="T1" fmla="*/ 26 h 2260"/>
                  <a:gd name="T2" fmla="*/ 942 w 2260"/>
                  <a:gd name="T3" fmla="*/ 144 h 2260"/>
                  <a:gd name="T4" fmla="*/ 736 w 2260"/>
                  <a:gd name="T5" fmla="*/ 340 h 2260"/>
                  <a:gd name="T6" fmla="*/ 606 w 2260"/>
                  <a:gd name="T7" fmla="*/ 594 h 2260"/>
                  <a:gd name="T8" fmla="*/ 568 w 2260"/>
                  <a:gd name="T9" fmla="*/ 846 h 2260"/>
                  <a:gd name="T10" fmla="*/ 620 w 2260"/>
                  <a:gd name="T11" fmla="*/ 1136 h 2260"/>
                  <a:gd name="T12" fmla="*/ 762 w 2260"/>
                  <a:gd name="T13" fmla="*/ 1382 h 2260"/>
                  <a:gd name="T14" fmla="*/ 976 w 2260"/>
                  <a:gd name="T15" fmla="*/ 1568 h 2260"/>
                  <a:gd name="T16" fmla="*/ 1244 w 2260"/>
                  <a:gd name="T17" fmla="*/ 1674 h 2260"/>
                  <a:gd name="T18" fmla="*/ 1500 w 2260"/>
                  <a:gd name="T19" fmla="*/ 1686 h 2260"/>
                  <a:gd name="T20" fmla="*/ 1780 w 2260"/>
                  <a:gd name="T21" fmla="*/ 1608 h 2260"/>
                  <a:gd name="T22" fmla="*/ 2012 w 2260"/>
                  <a:gd name="T23" fmla="*/ 1442 h 2260"/>
                  <a:gd name="T24" fmla="*/ 2176 w 2260"/>
                  <a:gd name="T25" fmla="*/ 1212 h 2260"/>
                  <a:gd name="T26" fmla="*/ 2256 w 2260"/>
                  <a:gd name="T27" fmla="*/ 932 h 2260"/>
                  <a:gd name="T28" fmla="*/ 2242 w 2260"/>
                  <a:gd name="T29" fmla="*/ 674 h 2260"/>
                  <a:gd name="T30" fmla="*/ 2138 w 2260"/>
                  <a:gd name="T31" fmla="*/ 406 h 2260"/>
                  <a:gd name="T32" fmla="*/ 1952 w 2260"/>
                  <a:gd name="T33" fmla="*/ 192 h 2260"/>
                  <a:gd name="T34" fmla="*/ 1706 w 2260"/>
                  <a:gd name="T35" fmla="*/ 50 h 2260"/>
                  <a:gd name="T36" fmla="*/ 1414 w 2260"/>
                  <a:gd name="T37" fmla="*/ 0 h 2260"/>
                  <a:gd name="T38" fmla="*/ 1286 w 2260"/>
                  <a:gd name="T39" fmla="*/ 1466 h 2260"/>
                  <a:gd name="T40" fmla="*/ 1086 w 2260"/>
                  <a:gd name="T41" fmla="*/ 1388 h 2260"/>
                  <a:gd name="T42" fmla="*/ 924 w 2260"/>
                  <a:gd name="T43" fmla="*/ 1248 h 2260"/>
                  <a:gd name="T44" fmla="*/ 818 w 2260"/>
                  <a:gd name="T45" fmla="*/ 1064 h 2260"/>
                  <a:gd name="T46" fmla="*/ 780 w 2260"/>
                  <a:gd name="T47" fmla="*/ 846 h 2260"/>
                  <a:gd name="T48" fmla="*/ 808 w 2260"/>
                  <a:gd name="T49" fmla="*/ 656 h 2260"/>
                  <a:gd name="T50" fmla="*/ 906 w 2260"/>
                  <a:gd name="T51" fmla="*/ 466 h 2260"/>
                  <a:gd name="T52" fmla="*/ 1060 w 2260"/>
                  <a:gd name="T53" fmla="*/ 320 h 2260"/>
                  <a:gd name="T54" fmla="*/ 1256 w 2260"/>
                  <a:gd name="T55" fmla="*/ 230 h 2260"/>
                  <a:gd name="T56" fmla="*/ 1446 w 2260"/>
                  <a:gd name="T57" fmla="*/ 212 h 2260"/>
                  <a:gd name="T58" fmla="*/ 1662 w 2260"/>
                  <a:gd name="T59" fmla="*/ 260 h 2260"/>
                  <a:gd name="T60" fmla="*/ 1840 w 2260"/>
                  <a:gd name="T61" fmla="*/ 376 h 2260"/>
                  <a:gd name="T62" fmla="*/ 1972 w 2260"/>
                  <a:gd name="T63" fmla="*/ 542 h 2260"/>
                  <a:gd name="T64" fmla="*/ 2042 w 2260"/>
                  <a:gd name="T65" fmla="*/ 748 h 2260"/>
                  <a:gd name="T66" fmla="*/ 2042 w 2260"/>
                  <a:gd name="T67" fmla="*/ 942 h 2260"/>
                  <a:gd name="T68" fmla="*/ 1972 w 2260"/>
                  <a:gd name="T69" fmla="*/ 1148 h 2260"/>
                  <a:gd name="T70" fmla="*/ 1840 w 2260"/>
                  <a:gd name="T71" fmla="*/ 1314 h 2260"/>
                  <a:gd name="T72" fmla="*/ 1662 w 2260"/>
                  <a:gd name="T73" fmla="*/ 1430 h 2260"/>
                  <a:gd name="T74" fmla="*/ 1446 w 2260"/>
                  <a:gd name="T75" fmla="*/ 1478 h 2260"/>
                  <a:gd name="T76" fmla="*/ 958 w 2260"/>
                  <a:gd name="T77" fmla="*/ 902 h 2260"/>
                  <a:gd name="T78" fmla="*/ 928 w 2260"/>
                  <a:gd name="T79" fmla="*/ 820 h 2260"/>
                  <a:gd name="T80" fmla="*/ 986 w 2260"/>
                  <a:gd name="T81" fmla="*/ 612 h 2260"/>
                  <a:gd name="T82" fmla="*/ 1224 w 2260"/>
                  <a:gd name="T83" fmla="*/ 396 h 2260"/>
                  <a:gd name="T84" fmla="*/ 1414 w 2260"/>
                  <a:gd name="T85" fmla="*/ 358 h 2260"/>
                  <a:gd name="T86" fmla="*/ 1478 w 2260"/>
                  <a:gd name="T87" fmla="*/ 400 h 2260"/>
                  <a:gd name="T88" fmla="*/ 1464 w 2260"/>
                  <a:gd name="T89" fmla="*/ 476 h 2260"/>
                  <a:gd name="T90" fmla="*/ 1344 w 2260"/>
                  <a:gd name="T91" fmla="*/ 504 h 2260"/>
                  <a:gd name="T92" fmla="*/ 1146 w 2260"/>
                  <a:gd name="T93" fmla="*/ 624 h 2260"/>
                  <a:gd name="T94" fmla="*/ 1066 w 2260"/>
                  <a:gd name="T95" fmla="*/ 846 h 2260"/>
                  <a:gd name="T96" fmla="*/ 1024 w 2260"/>
                  <a:gd name="T97" fmla="*/ 910 h 2260"/>
                  <a:gd name="T98" fmla="*/ 318 w 2260"/>
                  <a:gd name="T99" fmla="*/ 2216 h 2260"/>
                  <a:gd name="T100" fmla="*/ 194 w 2260"/>
                  <a:gd name="T101" fmla="*/ 2260 h 2260"/>
                  <a:gd name="T102" fmla="*/ 88 w 2260"/>
                  <a:gd name="T103" fmla="*/ 2228 h 2260"/>
                  <a:gd name="T104" fmla="*/ 14 w 2260"/>
                  <a:gd name="T105" fmla="*/ 2138 h 2260"/>
                  <a:gd name="T106" fmla="*/ 8 w 2260"/>
                  <a:gd name="T107" fmla="*/ 2010 h 2260"/>
                  <a:gd name="T108" fmla="*/ 594 w 2260"/>
                  <a:gd name="T109" fmla="*/ 1390 h 2260"/>
                  <a:gd name="T110" fmla="*/ 830 w 2260"/>
                  <a:gd name="T111" fmla="*/ 1636 h 2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260" h="2260">
                    <a:moveTo>
                      <a:pt x="1414" y="0"/>
                    </a:moveTo>
                    <a:lnTo>
                      <a:pt x="1414" y="0"/>
                    </a:lnTo>
                    <a:lnTo>
                      <a:pt x="1370" y="0"/>
                    </a:lnTo>
                    <a:lnTo>
                      <a:pt x="1328" y="4"/>
                    </a:lnTo>
                    <a:lnTo>
                      <a:pt x="1286" y="10"/>
                    </a:lnTo>
                    <a:lnTo>
                      <a:pt x="1244" y="16"/>
                    </a:lnTo>
                    <a:lnTo>
                      <a:pt x="1202" y="26"/>
                    </a:lnTo>
                    <a:lnTo>
                      <a:pt x="1162" y="38"/>
                    </a:lnTo>
                    <a:lnTo>
                      <a:pt x="1124" y="50"/>
                    </a:lnTo>
                    <a:lnTo>
                      <a:pt x="1086" y="66"/>
                    </a:lnTo>
                    <a:lnTo>
                      <a:pt x="1048" y="82"/>
                    </a:lnTo>
                    <a:lnTo>
                      <a:pt x="1012" y="102"/>
                    </a:lnTo>
                    <a:lnTo>
                      <a:pt x="976" y="122"/>
                    </a:lnTo>
                    <a:lnTo>
                      <a:pt x="942" y="144"/>
                    </a:lnTo>
                    <a:lnTo>
                      <a:pt x="908" y="168"/>
                    </a:lnTo>
                    <a:lnTo>
                      <a:pt x="876" y="192"/>
                    </a:lnTo>
                    <a:lnTo>
                      <a:pt x="846" y="220"/>
                    </a:lnTo>
                    <a:lnTo>
                      <a:pt x="816" y="248"/>
                    </a:lnTo>
                    <a:lnTo>
                      <a:pt x="788" y="276"/>
                    </a:lnTo>
                    <a:lnTo>
                      <a:pt x="762" y="308"/>
                    </a:lnTo>
                    <a:lnTo>
                      <a:pt x="736" y="340"/>
                    </a:lnTo>
                    <a:lnTo>
                      <a:pt x="712" y="372"/>
                    </a:lnTo>
                    <a:lnTo>
                      <a:pt x="690" y="406"/>
                    </a:lnTo>
                    <a:lnTo>
                      <a:pt x="670" y="442"/>
                    </a:lnTo>
                    <a:lnTo>
                      <a:pt x="652" y="478"/>
                    </a:lnTo>
                    <a:lnTo>
                      <a:pt x="636" y="516"/>
                    </a:lnTo>
                    <a:lnTo>
                      <a:pt x="620" y="554"/>
                    </a:lnTo>
                    <a:lnTo>
                      <a:pt x="606" y="594"/>
                    </a:lnTo>
                    <a:lnTo>
                      <a:pt x="596" y="634"/>
                    </a:lnTo>
                    <a:lnTo>
                      <a:pt x="586" y="674"/>
                    </a:lnTo>
                    <a:lnTo>
                      <a:pt x="578" y="716"/>
                    </a:lnTo>
                    <a:lnTo>
                      <a:pt x="572" y="758"/>
                    </a:lnTo>
                    <a:lnTo>
                      <a:pt x="570" y="802"/>
                    </a:lnTo>
                    <a:lnTo>
                      <a:pt x="568" y="846"/>
                    </a:lnTo>
                    <a:lnTo>
                      <a:pt x="568" y="846"/>
                    </a:lnTo>
                    <a:lnTo>
                      <a:pt x="570" y="888"/>
                    </a:lnTo>
                    <a:lnTo>
                      <a:pt x="572" y="932"/>
                    </a:lnTo>
                    <a:lnTo>
                      <a:pt x="578" y="974"/>
                    </a:lnTo>
                    <a:lnTo>
                      <a:pt x="586" y="1016"/>
                    </a:lnTo>
                    <a:lnTo>
                      <a:pt x="596" y="1056"/>
                    </a:lnTo>
                    <a:lnTo>
                      <a:pt x="606" y="1096"/>
                    </a:lnTo>
                    <a:lnTo>
                      <a:pt x="620" y="1136"/>
                    </a:lnTo>
                    <a:lnTo>
                      <a:pt x="636" y="1174"/>
                    </a:lnTo>
                    <a:lnTo>
                      <a:pt x="652" y="1212"/>
                    </a:lnTo>
                    <a:lnTo>
                      <a:pt x="670" y="1248"/>
                    </a:lnTo>
                    <a:lnTo>
                      <a:pt x="690" y="1284"/>
                    </a:lnTo>
                    <a:lnTo>
                      <a:pt x="712" y="1318"/>
                    </a:lnTo>
                    <a:lnTo>
                      <a:pt x="736" y="1350"/>
                    </a:lnTo>
                    <a:lnTo>
                      <a:pt x="762" y="1382"/>
                    </a:lnTo>
                    <a:lnTo>
                      <a:pt x="788" y="1414"/>
                    </a:lnTo>
                    <a:lnTo>
                      <a:pt x="816" y="1442"/>
                    </a:lnTo>
                    <a:lnTo>
                      <a:pt x="846" y="1470"/>
                    </a:lnTo>
                    <a:lnTo>
                      <a:pt x="876" y="1498"/>
                    </a:lnTo>
                    <a:lnTo>
                      <a:pt x="908" y="1522"/>
                    </a:lnTo>
                    <a:lnTo>
                      <a:pt x="942" y="1546"/>
                    </a:lnTo>
                    <a:lnTo>
                      <a:pt x="976" y="1568"/>
                    </a:lnTo>
                    <a:lnTo>
                      <a:pt x="1012" y="1588"/>
                    </a:lnTo>
                    <a:lnTo>
                      <a:pt x="1048" y="1608"/>
                    </a:lnTo>
                    <a:lnTo>
                      <a:pt x="1086" y="1624"/>
                    </a:lnTo>
                    <a:lnTo>
                      <a:pt x="1124" y="1640"/>
                    </a:lnTo>
                    <a:lnTo>
                      <a:pt x="1162" y="1652"/>
                    </a:lnTo>
                    <a:lnTo>
                      <a:pt x="1202" y="1664"/>
                    </a:lnTo>
                    <a:lnTo>
                      <a:pt x="1244" y="1674"/>
                    </a:lnTo>
                    <a:lnTo>
                      <a:pt x="1286" y="1680"/>
                    </a:lnTo>
                    <a:lnTo>
                      <a:pt x="1328" y="1686"/>
                    </a:lnTo>
                    <a:lnTo>
                      <a:pt x="1370" y="1690"/>
                    </a:lnTo>
                    <a:lnTo>
                      <a:pt x="1414" y="1690"/>
                    </a:lnTo>
                    <a:lnTo>
                      <a:pt x="1414" y="1690"/>
                    </a:lnTo>
                    <a:lnTo>
                      <a:pt x="1458" y="1690"/>
                    </a:lnTo>
                    <a:lnTo>
                      <a:pt x="1500" y="1686"/>
                    </a:lnTo>
                    <a:lnTo>
                      <a:pt x="1544" y="1680"/>
                    </a:lnTo>
                    <a:lnTo>
                      <a:pt x="1584" y="1674"/>
                    </a:lnTo>
                    <a:lnTo>
                      <a:pt x="1626" y="1664"/>
                    </a:lnTo>
                    <a:lnTo>
                      <a:pt x="1666" y="1652"/>
                    </a:lnTo>
                    <a:lnTo>
                      <a:pt x="1706" y="1640"/>
                    </a:lnTo>
                    <a:lnTo>
                      <a:pt x="1744" y="1624"/>
                    </a:lnTo>
                    <a:lnTo>
                      <a:pt x="1780" y="1608"/>
                    </a:lnTo>
                    <a:lnTo>
                      <a:pt x="1818" y="1588"/>
                    </a:lnTo>
                    <a:lnTo>
                      <a:pt x="1852" y="1568"/>
                    </a:lnTo>
                    <a:lnTo>
                      <a:pt x="1888" y="1546"/>
                    </a:lnTo>
                    <a:lnTo>
                      <a:pt x="1920" y="1522"/>
                    </a:lnTo>
                    <a:lnTo>
                      <a:pt x="1952" y="1498"/>
                    </a:lnTo>
                    <a:lnTo>
                      <a:pt x="1982" y="1470"/>
                    </a:lnTo>
                    <a:lnTo>
                      <a:pt x="2012" y="1442"/>
                    </a:lnTo>
                    <a:lnTo>
                      <a:pt x="2040" y="1414"/>
                    </a:lnTo>
                    <a:lnTo>
                      <a:pt x="2066" y="1382"/>
                    </a:lnTo>
                    <a:lnTo>
                      <a:pt x="2092" y="1350"/>
                    </a:lnTo>
                    <a:lnTo>
                      <a:pt x="2116" y="1318"/>
                    </a:lnTo>
                    <a:lnTo>
                      <a:pt x="2138" y="1284"/>
                    </a:lnTo>
                    <a:lnTo>
                      <a:pt x="2158" y="1248"/>
                    </a:lnTo>
                    <a:lnTo>
                      <a:pt x="2176" y="1212"/>
                    </a:lnTo>
                    <a:lnTo>
                      <a:pt x="2194" y="1174"/>
                    </a:lnTo>
                    <a:lnTo>
                      <a:pt x="2208" y="1136"/>
                    </a:lnTo>
                    <a:lnTo>
                      <a:pt x="2222" y="1096"/>
                    </a:lnTo>
                    <a:lnTo>
                      <a:pt x="2234" y="1056"/>
                    </a:lnTo>
                    <a:lnTo>
                      <a:pt x="2242" y="1016"/>
                    </a:lnTo>
                    <a:lnTo>
                      <a:pt x="2250" y="974"/>
                    </a:lnTo>
                    <a:lnTo>
                      <a:pt x="2256" y="932"/>
                    </a:lnTo>
                    <a:lnTo>
                      <a:pt x="2258" y="888"/>
                    </a:lnTo>
                    <a:lnTo>
                      <a:pt x="2260" y="846"/>
                    </a:lnTo>
                    <a:lnTo>
                      <a:pt x="2260" y="846"/>
                    </a:lnTo>
                    <a:lnTo>
                      <a:pt x="2258" y="802"/>
                    </a:lnTo>
                    <a:lnTo>
                      <a:pt x="2256" y="758"/>
                    </a:lnTo>
                    <a:lnTo>
                      <a:pt x="2250" y="716"/>
                    </a:lnTo>
                    <a:lnTo>
                      <a:pt x="2242" y="674"/>
                    </a:lnTo>
                    <a:lnTo>
                      <a:pt x="2234" y="634"/>
                    </a:lnTo>
                    <a:lnTo>
                      <a:pt x="2222" y="594"/>
                    </a:lnTo>
                    <a:lnTo>
                      <a:pt x="2208" y="554"/>
                    </a:lnTo>
                    <a:lnTo>
                      <a:pt x="2194" y="516"/>
                    </a:lnTo>
                    <a:lnTo>
                      <a:pt x="2176" y="478"/>
                    </a:lnTo>
                    <a:lnTo>
                      <a:pt x="2158" y="442"/>
                    </a:lnTo>
                    <a:lnTo>
                      <a:pt x="2138" y="406"/>
                    </a:lnTo>
                    <a:lnTo>
                      <a:pt x="2116" y="372"/>
                    </a:lnTo>
                    <a:lnTo>
                      <a:pt x="2092" y="340"/>
                    </a:lnTo>
                    <a:lnTo>
                      <a:pt x="2066" y="308"/>
                    </a:lnTo>
                    <a:lnTo>
                      <a:pt x="2040" y="276"/>
                    </a:lnTo>
                    <a:lnTo>
                      <a:pt x="2012" y="248"/>
                    </a:lnTo>
                    <a:lnTo>
                      <a:pt x="1982" y="220"/>
                    </a:lnTo>
                    <a:lnTo>
                      <a:pt x="1952" y="192"/>
                    </a:lnTo>
                    <a:lnTo>
                      <a:pt x="1920" y="168"/>
                    </a:lnTo>
                    <a:lnTo>
                      <a:pt x="1888" y="144"/>
                    </a:lnTo>
                    <a:lnTo>
                      <a:pt x="1852" y="122"/>
                    </a:lnTo>
                    <a:lnTo>
                      <a:pt x="1818" y="102"/>
                    </a:lnTo>
                    <a:lnTo>
                      <a:pt x="1780" y="82"/>
                    </a:lnTo>
                    <a:lnTo>
                      <a:pt x="1744" y="66"/>
                    </a:lnTo>
                    <a:lnTo>
                      <a:pt x="1706" y="50"/>
                    </a:lnTo>
                    <a:lnTo>
                      <a:pt x="1666" y="38"/>
                    </a:lnTo>
                    <a:lnTo>
                      <a:pt x="1626" y="26"/>
                    </a:lnTo>
                    <a:lnTo>
                      <a:pt x="1584" y="16"/>
                    </a:lnTo>
                    <a:lnTo>
                      <a:pt x="1544" y="10"/>
                    </a:lnTo>
                    <a:lnTo>
                      <a:pt x="1500" y="4"/>
                    </a:lnTo>
                    <a:lnTo>
                      <a:pt x="1458" y="0"/>
                    </a:lnTo>
                    <a:lnTo>
                      <a:pt x="1414" y="0"/>
                    </a:lnTo>
                    <a:lnTo>
                      <a:pt x="1414" y="0"/>
                    </a:lnTo>
                    <a:close/>
                    <a:moveTo>
                      <a:pt x="1414" y="1480"/>
                    </a:moveTo>
                    <a:lnTo>
                      <a:pt x="1414" y="1480"/>
                    </a:lnTo>
                    <a:lnTo>
                      <a:pt x="1382" y="1478"/>
                    </a:lnTo>
                    <a:lnTo>
                      <a:pt x="1350" y="1476"/>
                    </a:lnTo>
                    <a:lnTo>
                      <a:pt x="1318" y="1472"/>
                    </a:lnTo>
                    <a:lnTo>
                      <a:pt x="1286" y="1466"/>
                    </a:lnTo>
                    <a:lnTo>
                      <a:pt x="1256" y="1460"/>
                    </a:lnTo>
                    <a:lnTo>
                      <a:pt x="1226" y="1450"/>
                    </a:lnTo>
                    <a:lnTo>
                      <a:pt x="1196" y="1440"/>
                    </a:lnTo>
                    <a:lnTo>
                      <a:pt x="1168" y="1430"/>
                    </a:lnTo>
                    <a:lnTo>
                      <a:pt x="1140" y="1416"/>
                    </a:lnTo>
                    <a:lnTo>
                      <a:pt x="1112" y="1402"/>
                    </a:lnTo>
                    <a:lnTo>
                      <a:pt x="1086" y="1388"/>
                    </a:lnTo>
                    <a:lnTo>
                      <a:pt x="1060" y="1370"/>
                    </a:lnTo>
                    <a:lnTo>
                      <a:pt x="1034" y="1354"/>
                    </a:lnTo>
                    <a:lnTo>
                      <a:pt x="1010" y="1334"/>
                    </a:lnTo>
                    <a:lnTo>
                      <a:pt x="988" y="1314"/>
                    </a:lnTo>
                    <a:lnTo>
                      <a:pt x="966" y="1294"/>
                    </a:lnTo>
                    <a:lnTo>
                      <a:pt x="944" y="1272"/>
                    </a:lnTo>
                    <a:lnTo>
                      <a:pt x="924" y="1248"/>
                    </a:lnTo>
                    <a:lnTo>
                      <a:pt x="906" y="1224"/>
                    </a:lnTo>
                    <a:lnTo>
                      <a:pt x="888" y="1200"/>
                    </a:lnTo>
                    <a:lnTo>
                      <a:pt x="872" y="1174"/>
                    </a:lnTo>
                    <a:lnTo>
                      <a:pt x="856" y="1148"/>
                    </a:lnTo>
                    <a:lnTo>
                      <a:pt x="842" y="1120"/>
                    </a:lnTo>
                    <a:lnTo>
                      <a:pt x="830" y="1092"/>
                    </a:lnTo>
                    <a:lnTo>
                      <a:pt x="818" y="1064"/>
                    </a:lnTo>
                    <a:lnTo>
                      <a:pt x="808" y="1034"/>
                    </a:lnTo>
                    <a:lnTo>
                      <a:pt x="800" y="1004"/>
                    </a:lnTo>
                    <a:lnTo>
                      <a:pt x="792" y="972"/>
                    </a:lnTo>
                    <a:lnTo>
                      <a:pt x="788" y="942"/>
                    </a:lnTo>
                    <a:lnTo>
                      <a:pt x="784" y="910"/>
                    </a:lnTo>
                    <a:lnTo>
                      <a:pt x="780" y="878"/>
                    </a:lnTo>
                    <a:lnTo>
                      <a:pt x="780" y="846"/>
                    </a:lnTo>
                    <a:lnTo>
                      <a:pt x="780" y="846"/>
                    </a:lnTo>
                    <a:lnTo>
                      <a:pt x="780" y="812"/>
                    </a:lnTo>
                    <a:lnTo>
                      <a:pt x="784" y="780"/>
                    </a:lnTo>
                    <a:lnTo>
                      <a:pt x="788" y="748"/>
                    </a:lnTo>
                    <a:lnTo>
                      <a:pt x="792" y="718"/>
                    </a:lnTo>
                    <a:lnTo>
                      <a:pt x="800" y="686"/>
                    </a:lnTo>
                    <a:lnTo>
                      <a:pt x="808" y="656"/>
                    </a:lnTo>
                    <a:lnTo>
                      <a:pt x="818" y="626"/>
                    </a:lnTo>
                    <a:lnTo>
                      <a:pt x="830" y="598"/>
                    </a:lnTo>
                    <a:lnTo>
                      <a:pt x="842" y="570"/>
                    </a:lnTo>
                    <a:lnTo>
                      <a:pt x="856" y="542"/>
                    </a:lnTo>
                    <a:lnTo>
                      <a:pt x="872" y="516"/>
                    </a:lnTo>
                    <a:lnTo>
                      <a:pt x="888" y="490"/>
                    </a:lnTo>
                    <a:lnTo>
                      <a:pt x="906" y="466"/>
                    </a:lnTo>
                    <a:lnTo>
                      <a:pt x="924" y="442"/>
                    </a:lnTo>
                    <a:lnTo>
                      <a:pt x="944" y="418"/>
                    </a:lnTo>
                    <a:lnTo>
                      <a:pt x="966" y="396"/>
                    </a:lnTo>
                    <a:lnTo>
                      <a:pt x="988" y="376"/>
                    </a:lnTo>
                    <a:lnTo>
                      <a:pt x="1010" y="356"/>
                    </a:lnTo>
                    <a:lnTo>
                      <a:pt x="1034" y="336"/>
                    </a:lnTo>
                    <a:lnTo>
                      <a:pt x="1060" y="320"/>
                    </a:lnTo>
                    <a:lnTo>
                      <a:pt x="1086" y="302"/>
                    </a:lnTo>
                    <a:lnTo>
                      <a:pt x="1112" y="288"/>
                    </a:lnTo>
                    <a:lnTo>
                      <a:pt x="1140" y="274"/>
                    </a:lnTo>
                    <a:lnTo>
                      <a:pt x="1168" y="260"/>
                    </a:lnTo>
                    <a:lnTo>
                      <a:pt x="1196" y="250"/>
                    </a:lnTo>
                    <a:lnTo>
                      <a:pt x="1226" y="240"/>
                    </a:lnTo>
                    <a:lnTo>
                      <a:pt x="1256" y="230"/>
                    </a:lnTo>
                    <a:lnTo>
                      <a:pt x="1286" y="224"/>
                    </a:lnTo>
                    <a:lnTo>
                      <a:pt x="1318" y="218"/>
                    </a:lnTo>
                    <a:lnTo>
                      <a:pt x="1350" y="214"/>
                    </a:lnTo>
                    <a:lnTo>
                      <a:pt x="1382" y="212"/>
                    </a:lnTo>
                    <a:lnTo>
                      <a:pt x="1414" y="210"/>
                    </a:lnTo>
                    <a:lnTo>
                      <a:pt x="1414" y="210"/>
                    </a:lnTo>
                    <a:lnTo>
                      <a:pt x="1446" y="212"/>
                    </a:lnTo>
                    <a:lnTo>
                      <a:pt x="1480" y="214"/>
                    </a:lnTo>
                    <a:lnTo>
                      <a:pt x="1510" y="218"/>
                    </a:lnTo>
                    <a:lnTo>
                      <a:pt x="1542" y="224"/>
                    </a:lnTo>
                    <a:lnTo>
                      <a:pt x="1572" y="230"/>
                    </a:lnTo>
                    <a:lnTo>
                      <a:pt x="1602" y="240"/>
                    </a:lnTo>
                    <a:lnTo>
                      <a:pt x="1632" y="250"/>
                    </a:lnTo>
                    <a:lnTo>
                      <a:pt x="1662" y="260"/>
                    </a:lnTo>
                    <a:lnTo>
                      <a:pt x="1690" y="274"/>
                    </a:lnTo>
                    <a:lnTo>
                      <a:pt x="1716" y="288"/>
                    </a:lnTo>
                    <a:lnTo>
                      <a:pt x="1744" y="302"/>
                    </a:lnTo>
                    <a:lnTo>
                      <a:pt x="1768" y="320"/>
                    </a:lnTo>
                    <a:lnTo>
                      <a:pt x="1794" y="336"/>
                    </a:lnTo>
                    <a:lnTo>
                      <a:pt x="1818" y="356"/>
                    </a:lnTo>
                    <a:lnTo>
                      <a:pt x="1840" y="376"/>
                    </a:lnTo>
                    <a:lnTo>
                      <a:pt x="1862" y="396"/>
                    </a:lnTo>
                    <a:lnTo>
                      <a:pt x="1884" y="418"/>
                    </a:lnTo>
                    <a:lnTo>
                      <a:pt x="1904" y="442"/>
                    </a:lnTo>
                    <a:lnTo>
                      <a:pt x="1922" y="466"/>
                    </a:lnTo>
                    <a:lnTo>
                      <a:pt x="1940" y="490"/>
                    </a:lnTo>
                    <a:lnTo>
                      <a:pt x="1956" y="516"/>
                    </a:lnTo>
                    <a:lnTo>
                      <a:pt x="1972" y="542"/>
                    </a:lnTo>
                    <a:lnTo>
                      <a:pt x="1986" y="570"/>
                    </a:lnTo>
                    <a:lnTo>
                      <a:pt x="1998" y="598"/>
                    </a:lnTo>
                    <a:lnTo>
                      <a:pt x="2010" y="626"/>
                    </a:lnTo>
                    <a:lnTo>
                      <a:pt x="2020" y="656"/>
                    </a:lnTo>
                    <a:lnTo>
                      <a:pt x="2028" y="686"/>
                    </a:lnTo>
                    <a:lnTo>
                      <a:pt x="2036" y="718"/>
                    </a:lnTo>
                    <a:lnTo>
                      <a:pt x="2042" y="748"/>
                    </a:lnTo>
                    <a:lnTo>
                      <a:pt x="2046" y="780"/>
                    </a:lnTo>
                    <a:lnTo>
                      <a:pt x="2048" y="812"/>
                    </a:lnTo>
                    <a:lnTo>
                      <a:pt x="2048" y="846"/>
                    </a:lnTo>
                    <a:lnTo>
                      <a:pt x="2048" y="846"/>
                    </a:lnTo>
                    <a:lnTo>
                      <a:pt x="2048" y="878"/>
                    </a:lnTo>
                    <a:lnTo>
                      <a:pt x="2046" y="910"/>
                    </a:lnTo>
                    <a:lnTo>
                      <a:pt x="2042" y="942"/>
                    </a:lnTo>
                    <a:lnTo>
                      <a:pt x="2036" y="972"/>
                    </a:lnTo>
                    <a:lnTo>
                      <a:pt x="2028" y="1004"/>
                    </a:lnTo>
                    <a:lnTo>
                      <a:pt x="2020" y="1034"/>
                    </a:lnTo>
                    <a:lnTo>
                      <a:pt x="2010" y="1064"/>
                    </a:lnTo>
                    <a:lnTo>
                      <a:pt x="1998" y="1092"/>
                    </a:lnTo>
                    <a:lnTo>
                      <a:pt x="1986" y="1120"/>
                    </a:lnTo>
                    <a:lnTo>
                      <a:pt x="1972" y="1148"/>
                    </a:lnTo>
                    <a:lnTo>
                      <a:pt x="1956" y="1174"/>
                    </a:lnTo>
                    <a:lnTo>
                      <a:pt x="1940" y="1200"/>
                    </a:lnTo>
                    <a:lnTo>
                      <a:pt x="1922" y="1224"/>
                    </a:lnTo>
                    <a:lnTo>
                      <a:pt x="1904" y="1248"/>
                    </a:lnTo>
                    <a:lnTo>
                      <a:pt x="1884" y="1272"/>
                    </a:lnTo>
                    <a:lnTo>
                      <a:pt x="1862" y="1294"/>
                    </a:lnTo>
                    <a:lnTo>
                      <a:pt x="1840" y="1314"/>
                    </a:lnTo>
                    <a:lnTo>
                      <a:pt x="1818" y="1334"/>
                    </a:lnTo>
                    <a:lnTo>
                      <a:pt x="1794" y="1354"/>
                    </a:lnTo>
                    <a:lnTo>
                      <a:pt x="1768" y="1370"/>
                    </a:lnTo>
                    <a:lnTo>
                      <a:pt x="1744" y="1388"/>
                    </a:lnTo>
                    <a:lnTo>
                      <a:pt x="1716" y="1402"/>
                    </a:lnTo>
                    <a:lnTo>
                      <a:pt x="1690" y="1416"/>
                    </a:lnTo>
                    <a:lnTo>
                      <a:pt x="1662" y="1430"/>
                    </a:lnTo>
                    <a:lnTo>
                      <a:pt x="1632" y="1440"/>
                    </a:lnTo>
                    <a:lnTo>
                      <a:pt x="1602" y="1450"/>
                    </a:lnTo>
                    <a:lnTo>
                      <a:pt x="1572" y="1460"/>
                    </a:lnTo>
                    <a:lnTo>
                      <a:pt x="1542" y="1466"/>
                    </a:lnTo>
                    <a:lnTo>
                      <a:pt x="1510" y="1472"/>
                    </a:lnTo>
                    <a:lnTo>
                      <a:pt x="1480" y="1476"/>
                    </a:lnTo>
                    <a:lnTo>
                      <a:pt x="1446" y="1478"/>
                    </a:lnTo>
                    <a:lnTo>
                      <a:pt x="1414" y="1480"/>
                    </a:lnTo>
                    <a:lnTo>
                      <a:pt x="1414" y="1480"/>
                    </a:lnTo>
                    <a:close/>
                    <a:moveTo>
                      <a:pt x="996" y="914"/>
                    </a:moveTo>
                    <a:lnTo>
                      <a:pt x="996" y="914"/>
                    </a:lnTo>
                    <a:lnTo>
                      <a:pt x="982" y="914"/>
                    </a:lnTo>
                    <a:lnTo>
                      <a:pt x="970" y="910"/>
                    </a:lnTo>
                    <a:lnTo>
                      <a:pt x="958" y="902"/>
                    </a:lnTo>
                    <a:lnTo>
                      <a:pt x="948" y="894"/>
                    </a:lnTo>
                    <a:lnTo>
                      <a:pt x="938" y="884"/>
                    </a:lnTo>
                    <a:lnTo>
                      <a:pt x="932" y="872"/>
                    </a:lnTo>
                    <a:lnTo>
                      <a:pt x="928" y="860"/>
                    </a:lnTo>
                    <a:lnTo>
                      <a:pt x="926" y="846"/>
                    </a:lnTo>
                    <a:lnTo>
                      <a:pt x="926" y="846"/>
                    </a:lnTo>
                    <a:lnTo>
                      <a:pt x="928" y="820"/>
                    </a:lnTo>
                    <a:lnTo>
                      <a:pt x="930" y="796"/>
                    </a:lnTo>
                    <a:lnTo>
                      <a:pt x="932" y="770"/>
                    </a:lnTo>
                    <a:lnTo>
                      <a:pt x="936" y="746"/>
                    </a:lnTo>
                    <a:lnTo>
                      <a:pt x="942" y="724"/>
                    </a:lnTo>
                    <a:lnTo>
                      <a:pt x="948" y="700"/>
                    </a:lnTo>
                    <a:lnTo>
                      <a:pt x="964" y="656"/>
                    </a:lnTo>
                    <a:lnTo>
                      <a:pt x="986" y="612"/>
                    </a:lnTo>
                    <a:lnTo>
                      <a:pt x="1010" y="572"/>
                    </a:lnTo>
                    <a:lnTo>
                      <a:pt x="1038" y="534"/>
                    </a:lnTo>
                    <a:lnTo>
                      <a:pt x="1070" y="500"/>
                    </a:lnTo>
                    <a:lnTo>
                      <a:pt x="1104" y="468"/>
                    </a:lnTo>
                    <a:lnTo>
                      <a:pt x="1142" y="440"/>
                    </a:lnTo>
                    <a:lnTo>
                      <a:pt x="1182" y="416"/>
                    </a:lnTo>
                    <a:lnTo>
                      <a:pt x="1224" y="396"/>
                    </a:lnTo>
                    <a:lnTo>
                      <a:pt x="1270" y="380"/>
                    </a:lnTo>
                    <a:lnTo>
                      <a:pt x="1292" y="372"/>
                    </a:lnTo>
                    <a:lnTo>
                      <a:pt x="1316" y="368"/>
                    </a:lnTo>
                    <a:lnTo>
                      <a:pt x="1340" y="362"/>
                    </a:lnTo>
                    <a:lnTo>
                      <a:pt x="1364" y="360"/>
                    </a:lnTo>
                    <a:lnTo>
                      <a:pt x="1390" y="358"/>
                    </a:lnTo>
                    <a:lnTo>
                      <a:pt x="1414" y="358"/>
                    </a:lnTo>
                    <a:lnTo>
                      <a:pt x="1414" y="358"/>
                    </a:lnTo>
                    <a:lnTo>
                      <a:pt x="1428" y="358"/>
                    </a:lnTo>
                    <a:lnTo>
                      <a:pt x="1442" y="362"/>
                    </a:lnTo>
                    <a:lnTo>
                      <a:pt x="1454" y="370"/>
                    </a:lnTo>
                    <a:lnTo>
                      <a:pt x="1464" y="378"/>
                    </a:lnTo>
                    <a:lnTo>
                      <a:pt x="1472" y="388"/>
                    </a:lnTo>
                    <a:lnTo>
                      <a:pt x="1478" y="400"/>
                    </a:lnTo>
                    <a:lnTo>
                      <a:pt x="1482" y="412"/>
                    </a:lnTo>
                    <a:lnTo>
                      <a:pt x="1484" y="428"/>
                    </a:lnTo>
                    <a:lnTo>
                      <a:pt x="1484" y="428"/>
                    </a:lnTo>
                    <a:lnTo>
                      <a:pt x="1482" y="442"/>
                    </a:lnTo>
                    <a:lnTo>
                      <a:pt x="1478" y="454"/>
                    </a:lnTo>
                    <a:lnTo>
                      <a:pt x="1472" y="466"/>
                    </a:lnTo>
                    <a:lnTo>
                      <a:pt x="1464" y="476"/>
                    </a:lnTo>
                    <a:lnTo>
                      <a:pt x="1454" y="484"/>
                    </a:lnTo>
                    <a:lnTo>
                      <a:pt x="1442" y="492"/>
                    </a:lnTo>
                    <a:lnTo>
                      <a:pt x="1428" y="496"/>
                    </a:lnTo>
                    <a:lnTo>
                      <a:pt x="1414" y="496"/>
                    </a:lnTo>
                    <a:lnTo>
                      <a:pt x="1414" y="496"/>
                    </a:lnTo>
                    <a:lnTo>
                      <a:pt x="1378" y="498"/>
                    </a:lnTo>
                    <a:lnTo>
                      <a:pt x="1344" y="504"/>
                    </a:lnTo>
                    <a:lnTo>
                      <a:pt x="1310" y="512"/>
                    </a:lnTo>
                    <a:lnTo>
                      <a:pt x="1278" y="524"/>
                    </a:lnTo>
                    <a:lnTo>
                      <a:pt x="1248" y="538"/>
                    </a:lnTo>
                    <a:lnTo>
                      <a:pt x="1220" y="556"/>
                    </a:lnTo>
                    <a:lnTo>
                      <a:pt x="1192" y="576"/>
                    </a:lnTo>
                    <a:lnTo>
                      <a:pt x="1168" y="598"/>
                    </a:lnTo>
                    <a:lnTo>
                      <a:pt x="1146" y="624"/>
                    </a:lnTo>
                    <a:lnTo>
                      <a:pt x="1126" y="650"/>
                    </a:lnTo>
                    <a:lnTo>
                      <a:pt x="1108" y="680"/>
                    </a:lnTo>
                    <a:lnTo>
                      <a:pt x="1094" y="710"/>
                    </a:lnTo>
                    <a:lnTo>
                      <a:pt x="1082" y="742"/>
                    </a:lnTo>
                    <a:lnTo>
                      <a:pt x="1074" y="774"/>
                    </a:lnTo>
                    <a:lnTo>
                      <a:pt x="1068" y="810"/>
                    </a:lnTo>
                    <a:lnTo>
                      <a:pt x="1066" y="846"/>
                    </a:lnTo>
                    <a:lnTo>
                      <a:pt x="1066" y="846"/>
                    </a:lnTo>
                    <a:lnTo>
                      <a:pt x="1064" y="860"/>
                    </a:lnTo>
                    <a:lnTo>
                      <a:pt x="1060" y="872"/>
                    </a:lnTo>
                    <a:lnTo>
                      <a:pt x="1054" y="884"/>
                    </a:lnTo>
                    <a:lnTo>
                      <a:pt x="1046" y="894"/>
                    </a:lnTo>
                    <a:lnTo>
                      <a:pt x="1036" y="902"/>
                    </a:lnTo>
                    <a:lnTo>
                      <a:pt x="1024" y="910"/>
                    </a:lnTo>
                    <a:lnTo>
                      <a:pt x="1010" y="914"/>
                    </a:lnTo>
                    <a:lnTo>
                      <a:pt x="996" y="914"/>
                    </a:lnTo>
                    <a:lnTo>
                      <a:pt x="996" y="914"/>
                    </a:lnTo>
                    <a:close/>
                    <a:moveTo>
                      <a:pt x="870" y="1666"/>
                    </a:moveTo>
                    <a:lnTo>
                      <a:pt x="332" y="2202"/>
                    </a:lnTo>
                    <a:lnTo>
                      <a:pt x="332" y="2202"/>
                    </a:lnTo>
                    <a:lnTo>
                      <a:pt x="318" y="2216"/>
                    </a:lnTo>
                    <a:lnTo>
                      <a:pt x="302" y="2228"/>
                    </a:lnTo>
                    <a:lnTo>
                      <a:pt x="286" y="2238"/>
                    </a:lnTo>
                    <a:lnTo>
                      <a:pt x="268" y="2246"/>
                    </a:lnTo>
                    <a:lnTo>
                      <a:pt x="250" y="2252"/>
                    </a:lnTo>
                    <a:lnTo>
                      <a:pt x="232" y="2256"/>
                    </a:lnTo>
                    <a:lnTo>
                      <a:pt x="214" y="2258"/>
                    </a:lnTo>
                    <a:lnTo>
                      <a:pt x="194" y="2260"/>
                    </a:lnTo>
                    <a:lnTo>
                      <a:pt x="194" y="2260"/>
                    </a:lnTo>
                    <a:lnTo>
                      <a:pt x="176" y="2258"/>
                    </a:lnTo>
                    <a:lnTo>
                      <a:pt x="158" y="2256"/>
                    </a:lnTo>
                    <a:lnTo>
                      <a:pt x="140" y="2252"/>
                    </a:lnTo>
                    <a:lnTo>
                      <a:pt x="122" y="2246"/>
                    </a:lnTo>
                    <a:lnTo>
                      <a:pt x="104" y="2238"/>
                    </a:lnTo>
                    <a:lnTo>
                      <a:pt x="88" y="2228"/>
                    </a:lnTo>
                    <a:lnTo>
                      <a:pt x="72" y="2216"/>
                    </a:lnTo>
                    <a:lnTo>
                      <a:pt x="56" y="2202"/>
                    </a:lnTo>
                    <a:lnTo>
                      <a:pt x="56" y="2202"/>
                    </a:lnTo>
                    <a:lnTo>
                      <a:pt x="44" y="2188"/>
                    </a:lnTo>
                    <a:lnTo>
                      <a:pt x="32" y="2172"/>
                    </a:lnTo>
                    <a:lnTo>
                      <a:pt x="22" y="2156"/>
                    </a:lnTo>
                    <a:lnTo>
                      <a:pt x="14" y="2138"/>
                    </a:lnTo>
                    <a:lnTo>
                      <a:pt x="8" y="2120"/>
                    </a:lnTo>
                    <a:lnTo>
                      <a:pt x="4" y="2102"/>
                    </a:lnTo>
                    <a:lnTo>
                      <a:pt x="0" y="2084"/>
                    </a:lnTo>
                    <a:lnTo>
                      <a:pt x="0" y="2064"/>
                    </a:lnTo>
                    <a:lnTo>
                      <a:pt x="0" y="2046"/>
                    </a:lnTo>
                    <a:lnTo>
                      <a:pt x="4" y="2028"/>
                    </a:lnTo>
                    <a:lnTo>
                      <a:pt x="8" y="2010"/>
                    </a:lnTo>
                    <a:lnTo>
                      <a:pt x="14" y="1992"/>
                    </a:lnTo>
                    <a:lnTo>
                      <a:pt x="22" y="1974"/>
                    </a:lnTo>
                    <a:lnTo>
                      <a:pt x="32" y="1958"/>
                    </a:lnTo>
                    <a:lnTo>
                      <a:pt x="44" y="1942"/>
                    </a:lnTo>
                    <a:lnTo>
                      <a:pt x="56" y="1926"/>
                    </a:lnTo>
                    <a:lnTo>
                      <a:pt x="594" y="1390"/>
                    </a:lnTo>
                    <a:lnTo>
                      <a:pt x="594" y="1390"/>
                    </a:lnTo>
                    <a:lnTo>
                      <a:pt x="622" y="1430"/>
                    </a:lnTo>
                    <a:lnTo>
                      <a:pt x="652" y="1468"/>
                    </a:lnTo>
                    <a:lnTo>
                      <a:pt x="684" y="1506"/>
                    </a:lnTo>
                    <a:lnTo>
                      <a:pt x="718" y="1540"/>
                    </a:lnTo>
                    <a:lnTo>
                      <a:pt x="754" y="1574"/>
                    </a:lnTo>
                    <a:lnTo>
                      <a:pt x="790" y="1606"/>
                    </a:lnTo>
                    <a:lnTo>
                      <a:pt x="830" y="1636"/>
                    </a:lnTo>
                    <a:lnTo>
                      <a:pt x="870" y="1666"/>
                    </a:lnTo>
                    <a:lnTo>
                      <a:pt x="870" y="1666"/>
                    </a:lnTo>
                    <a:close/>
                  </a:path>
                </a:pathLst>
              </a:custGeom>
              <a:solidFill>
                <a:srgbClr val="F2F1EE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77" name="Group 76"/>
          <p:cNvGrpSpPr/>
          <p:nvPr/>
        </p:nvGrpSpPr>
        <p:grpSpPr>
          <a:xfrm>
            <a:off x="1306389" y="1933228"/>
            <a:ext cx="2936875" cy="394500"/>
            <a:chOff x="533401" y="1652354"/>
            <a:chExt cx="2936875" cy="394500"/>
          </a:xfrm>
        </p:grpSpPr>
        <p:sp>
          <p:nvSpPr>
            <p:cNvPr id="78" name="Rectangle 77"/>
            <p:cNvSpPr/>
            <p:nvPr/>
          </p:nvSpPr>
          <p:spPr bwMode="ltGray">
            <a:xfrm>
              <a:off x="533401" y="1758854"/>
              <a:ext cx="2936875" cy="288000"/>
            </a:xfrm>
            <a:prstGeom prst="rect">
              <a:avLst/>
            </a:prstGeom>
            <a:solidFill>
              <a:srgbClr val="B0A89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84" tIns="35984" rIns="0" bIns="35984" rtlCol="0" anchor="ctr">
              <a:noAutofit/>
            </a:bodyPr>
            <a:lstStyle/>
            <a:p>
              <a:r>
                <a:rPr lang="ru-RU" sz="1300" b="1" dirty="0" smtClean="0">
                  <a:solidFill>
                    <a:schemeClr val="bg1"/>
                  </a:solidFill>
                  <a:latin typeface="+mj-lt"/>
                </a:rPr>
                <a:t>Почему?</a:t>
              </a:r>
              <a:endParaRPr lang="ru-RU" sz="1300" b="1" baseline="30000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79" name="Group 78"/>
            <p:cNvGrpSpPr/>
            <p:nvPr/>
          </p:nvGrpSpPr>
          <p:grpSpPr>
            <a:xfrm>
              <a:off x="3067586" y="1652354"/>
              <a:ext cx="335079" cy="335079"/>
              <a:chOff x="3067586" y="1652354"/>
              <a:chExt cx="335079" cy="335079"/>
            </a:xfrm>
          </p:grpSpPr>
          <p:sp>
            <p:nvSpPr>
              <p:cNvPr id="80" name="Oval 79"/>
              <p:cNvSpPr/>
              <p:nvPr/>
            </p:nvSpPr>
            <p:spPr bwMode="ltGray">
              <a:xfrm>
                <a:off x="3067586" y="1652354"/>
                <a:ext cx="335079" cy="335079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28575">
                <a:solidFill>
                  <a:srgbClr val="F2F1E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81" name="Freeform 294"/>
              <p:cNvSpPr>
                <a:spLocks noEditPoints="1"/>
              </p:cNvSpPr>
              <p:nvPr/>
            </p:nvSpPr>
            <p:spPr bwMode="auto">
              <a:xfrm>
                <a:off x="3157146" y="1714921"/>
                <a:ext cx="155959" cy="209945"/>
              </a:xfrm>
              <a:custGeom>
                <a:avLst/>
                <a:gdLst>
                  <a:gd name="T0" fmla="*/ 198266225 w 580"/>
                  <a:gd name="T1" fmla="*/ 613374536 h 782"/>
                  <a:gd name="T2" fmla="*/ 198266225 w 580"/>
                  <a:gd name="T3" fmla="*/ 590657523 h 782"/>
                  <a:gd name="T4" fmla="*/ 202824264 w 580"/>
                  <a:gd name="T5" fmla="*/ 538406662 h 782"/>
                  <a:gd name="T6" fmla="*/ 211940342 w 580"/>
                  <a:gd name="T7" fmla="*/ 497514973 h 782"/>
                  <a:gd name="T8" fmla="*/ 218777400 w 580"/>
                  <a:gd name="T9" fmla="*/ 479341362 h 782"/>
                  <a:gd name="T10" fmla="*/ 239287509 w 580"/>
                  <a:gd name="T11" fmla="*/ 445264244 h 782"/>
                  <a:gd name="T12" fmla="*/ 250681539 w 580"/>
                  <a:gd name="T13" fmla="*/ 431634037 h 782"/>
                  <a:gd name="T14" fmla="*/ 293981909 w 580"/>
                  <a:gd name="T15" fmla="*/ 390742348 h 782"/>
                  <a:gd name="T16" fmla="*/ 369186350 w 580"/>
                  <a:gd name="T17" fmla="*/ 327133646 h 782"/>
                  <a:gd name="T18" fmla="*/ 405649595 w 580"/>
                  <a:gd name="T19" fmla="*/ 288513125 h 782"/>
                  <a:gd name="T20" fmla="*/ 417043625 w 580"/>
                  <a:gd name="T21" fmla="*/ 263523811 h 782"/>
                  <a:gd name="T22" fmla="*/ 417043625 w 580"/>
                  <a:gd name="T23" fmla="*/ 254437006 h 782"/>
                  <a:gd name="T24" fmla="*/ 412485586 w 580"/>
                  <a:gd name="T25" fmla="*/ 224904356 h 782"/>
                  <a:gd name="T26" fmla="*/ 398812537 w 580"/>
                  <a:gd name="T27" fmla="*/ 204458512 h 782"/>
                  <a:gd name="T28" fmla="*/ 387417439 w 580"/>
                  <a:gd name="T29" fmla="*/ 195371707 h 782"/>
                  <a:gd name="T30" fmla="*/ 357791253 w 580"/>
                  <a:gd name="T31" fmla="*/ 186283836 h 782"/>
                  <a:gd name="T32" fmla="*/ 339560164 w 580"/>
                  <a:gd name="T33" fmla="*/ 186283836 h 782"/>
                  <a:gd name="T34" fmla="*/ 300818967 w 580"/>
                  <a:gd name="T35" fmla="*/ 193099472 h 782"/>
                  <a:gd name="T36" fmla="*/ 268913695 w 580"/>
                  <a:gd name="T37" fmla="*/ 213545317 h 782"/>
                  <a:gd name="T38" fmla="*/ 255239578 w 580"/>
                  <a:gd name="T39" fmla="*/ 229447759 h 782"/>
                  <a:gd name="T40" fmla="*/ 237008489 w 580"/>
                  <a:gd name="T41" fmla="*/ 279426320 h 782"/>
                  <a:gd name="T42" fmla="*/ 0 w 580"/>
                  <a:gd name="T43" fmla="*/ 281697488 h 782"/>
                  <a:gd name="T44" fmla="*/ 4558041 w 580"/>
                  <a:gd name="T45" fmla="*/ 252164772 h 782"/>
                  <a:gd name="T46" fmla="*/ 18231097 w 580"/>
                  <a:gd name="T47" fmla="*/ 193099472 h 782"/>
                  <a:gd name="T48" fmla="*/ 43299253 w 580"/>
                  <a:gd name="T49" fmla="*/ 143120978 h 782"/>
                  <a:gd name="T50" fmla="*/ 72925455 w 580"/>
                  <a:gd name="T51" fmla="*/ 97685853 h 782"/>
                  <a:gd name="T52" fmla="*/ 93435564 w 580"/>
                  <a:gd name="T53" fmla="*/ 77240009 h 782"/>
                  <a:gd name="T54" fmla="*/ 139014886 w 580"/>
                  <a:gd name="T55" fmla="*/ 43162874 h 782"/>
                  <a:gd name="T56" fmla="*/ 195988273 w 580"/>
                  <a:gd name="T57" fmla="*/ 20445853 h 782"/>
                  <a:gd name="T58" fmla="*/ 264355656 w 580"/>
                  <a:gd name="T59" fmla="*/ 4543405 h 782"/>
                  <a:gd name="T60" fmla="*/ 341839184 w 580"/>
                  <a:gd name="T61" fmla="*/ 0 h 782"/>
                  <a:gd name="T62" fmla="*/ 373744389 w 580"/>
                  <a:gd name="T63" fmla="*/ 0 h 782"/>
                  <a:gd name="T64" fmla="*/ 432996762 w 580"/>
                  <a:gd name="T65" fmla="*/ 6815639 h 782"/>
                  <a:gd name="T66" fmla="*/ 485412076 w 580"/>
                  <a:gd name="T67" fmla="*/ 20445853 h 782"/>
                  <a:gd name="T68" fmla="*/ 530990331 w 580"/>
                  <a:gd name="T69" fmla="*/ 40891706 h 782"/>
                  <a:gd name="T70" fmla="*/ 551500439 w 580"/>
                  <a:gd name="T71" fmla="*/ 54521913 h 782"/>
                  <a:gd name="T72" fmla="*/ 599357848 w 580"/>
                  <a:gd name="T73" fmla="*/ 93142451 h 782"/>
                  <a:gd name="T74" fmla="*/ 633542073 w 580"/>
                  <a:gd name="T75" fmla="*/ 138577542 h 782"/>
                  <a:gd name="T76" fmla="*/ 654052181 w 580"/>
                  <a:gd name="T77" fmla="*/ 190827238 h 782"/>
                  <a:gd name="T78" fmla="*/ 660889240 w 580"/>
                  <a:gd name="T79" fmla="*/ 249893603 h 782"/>
                  <a:gd name="T80" fmla="*/ 658610220 w 580"/>
                  <a:gd name="T81" fmla="*/ 274882851 h 782"/>
                  <a:gd name="T82" fmla="*/ 644937171 w 580"/>
                  <a:gd name="T83" fmla="*/ 322589177 h 782"/>
                  <a:gd name="T84" fmla="*/ 633542073 w 580"/>
                  <a:gd name="T85" fmla="*/ 345307256 h 782"/>
                  <a:gd name="T86" fmla="*/ 590242837 w 580"/>
                  <a:gd name="T87" fmla="*/ 397557984 h 782"/>
                  <a:gd name="T88" fmla="*/ 519595234 w 580"/>
                  <a:gd name="T89" fmla="*/ 461166686 h 782"/>
                  <a:gd name="T90" fmla="*/ 492248067 w 580"/>
                  <a:gd name="T91" fmla="*/ 483884765 h 782"/>
                  <a:gd name="T92" fmla="*/ 453506870 w 580"/>
                  <a:gd name="T93" fmla="*/ 522504220 h 782"/>
                  <a:gd name="T94" fmla="*/ 442111773 w 580"/>
                  <a:gd name="T95" fmla="*/ 538406662 h 782"/>
                  <a:gd name="T96" fmla="*/ 430717742 w 580"/>
                  <a:gd name="T97" fmla="*/ 570211679 h 782"/>
                  <a:gd name="T98" fmla="*/ 426159703 w 580"/>
                  <a:gd name="T99" fmla="*/ 613374536 h 782"/>
                  <a:gd name="T100" fmla="*/ 191430234 w 580"/>
                  <a:gd name="T101" fmla="*/ 672440901 h 782"/>
                  <a:gd name="T102" fmla="*/ 435274714 w 580"/>
                  <a:gd name="T103" fmla="*/ 888257320 h 782"/>
                  <a:gd name="T104" fmla="*/ 191430234 w 580"/>
                  <a:gd name="T105" fmla="*/ 672440901 h 78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80"/>
                  <a:gd name="T160" fmla="*/ 0 h 782"/>
                  <a:gd name="T161" fmla="*/ 580 w 580"/>
                  <a:gd name="T162" fmla="*/ 782 h 78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80" h="782">
                    <a:moveTo>
                      <a:pt x="374" y="540"/>
                    </a:moveTo>
                    <a:lnTo>
                      <a:pt x="174" y="540"/>
                    </a:lnTo>
                    <a:lnTo>
                      <a:pt x="174" y="520"/>
                    </a:lnTo>
                    <a:lnTo>
                      <a:pt x="176" y="496"/>
                    </a:lnTo>
                    <a:lnTo>
                      <a:pt x="178" y="474"/>
                    </a:lnTo>
                    <a:lnTo>
                      <a:pt x="182" y="454"/>
                    </a:lnTo>
                    <a:lnTo>
                      <a:pt x="186" y="438"/>
                    </a:lnTo>
                    <a:lnTo>
                      <a:pt x="192" y="422"/>
                    </a:lnTo>
                    <a:lnTo>
                      <a:pt x="200" y="406"/>
                    </a:lnTo>
                    <a:lnTo>
                      <a:pt x="210" y="392"/>
                    </a:lnTo>
                    <a:lnTo>
                      <a:pt x="220" y="380"/>
                    </a:lnTo>
                    <a:lnTo>
                      <a:pt x="236" y="364"/>
                    </a:lnTo>
                    <a:lnTo>
                      <a:pt x="258" y="344"/>
                    </a:lnTo>
                    <a:lnTo>
                      <a:pt x="324" y="288"/>
                    </a:lnTo>
                    <a:lnTo>
                      <a:pt x="342" y="270"/>
                    </a:lnTo>
                    <a:lnTo>
                      <a:pt x="356" y="254"/>
                    </a:lnTo>
                    <a:lnTo>
                      <a:pt x="364" y="238"/>
                    </a:lnTo>
                    <a:lnTo>
                      <a:pt x="366" y="232"/>
                    </a:lnTo>
                    <a:lnTo>
                      <a:pt x="366" y="224"/>
                    </a:lnTo>
                    <a:lnTo>
                      <a:pt x="366" y="210"/>
                    </a:lnTo>
                    <a:lnTo>
                      <a:pt x="362" y="198"/>
                    </a:lnTo>
                    <a:lnTo>
                      <a:pt x="356" y="188"/>
                    </a:lnTo>
                    <a:lnTo>
                      <a:pt x="350" y="180"/>
                    </a:lnTo>
                    <a:lnTo>
                      <a:pt x="340" y="172"/>
                    </a:lnTo>
                    <a:lnTo>
                      <a:pt x="328" y="168"/>
                    </a:lnTo>
                    <a:lnTo>
                      <a:pt x="314" y="164"/>
                    </a:lnTo>
                    <a:lnTo>
                      <a:pt x="298" y="164"/>
                    </a:lnTo>
                    <a:lnTo>
                      <a:pt x="280" y="166"/>
                    </a:lnTo>
                    <a:lnTo>
                      <a:pt x="264" y="170"/>
                    </a:lnTo>
                    <a:lnTo>
                      <a:pt x="248" y="178"/>
                    </a:lnTo>
                    <a:lnTo>
                      <a:pt x="236" y="188"/>
                    </a:lnTo>
                    <a:lnTo>
                      <a:pt x="224" y="202"/>
                    </a:lnTo>
                    <a:lnTo>
                      <a:pt x="216" y="222"/>
                    </a:lnTo>
                    <a:lnTo>
                      <a:pt x="208" y="246"/>
                    </a:lnTo>
                    <a:lnTo>
                      <a:pt x="204" y="274"/>
                    </a:lnTo>
                    <a:lnTo>
                      <a:pt x="0" y="248"/>
                    </a:lnTo>
                    <a:lnTo>
                      <a:pt x="4" y="222"/>
                    </a:lnTo>
                    <a:lnTo>
                      <a:pt x="10" y="196"/>
                    </a:lnTo>
                    <a:lnTo>
                      <a:pt x="16" y="170"/>
                    </a:lnTo>
                    <a:lnTo>
                      <a:pt x="26" y="148"/>
                    </a:lnTo>
                    <a:lnTo>
                      <a:pt x="38" y="126"/>
                    </a:lnTo>
                    <a:lnTo>
                      <a:pt x="50" y="106"/>
                    </a:lnTo>
                    <a:lnTo>
                      <a:pt x="64" y="86"/>
                    </a:lnTo>
                    <a:lnTo>
                      <a:pt x="82" y="68"/>
                    </a:lnTo>
                    <a:lnTo>
                      <a:pt x="100" y="52"/>
                    </a:lnTo>
                    <a:lnTo>
                      <a:pt x="122" y="38"/>
                    </a:lnTo>
                    <a:lnTo>
                      <a:pt x="146" y="26"/>
                    </a:lnTo>
                    <a:lnTo>
                      <a:pt x="172" y="18"/>
                    </a:lnTo>
                    <a:lnTo>
                      <a:pt x="200" y="10"/>
                    </a:lnTo>
                    <a:lnTo>
                      <a:pt x="232" y="4"/>
                    </a:lnTo>
                    <a:lnTo>
                      <a:pt x="264" y="2"/>
                    </a:lnTo>
                    <a:lnTo>
                      <a:pt x="300" y="0"/>
                    </a:lnTo>
                    <a:lnTo>
                      <a:pt x="328" y="0"/>
                    </a:lnTo>
                    <a:lnTo>
                      <a:pt x="354" y="2"/>
                    </a:lnTo>
                    <a:lnTo>
                      <a:pt x="380" y="6"/>
                    </a:lnTo>
                    <a:lnTo>
                      <a:pt x="404" y="12"/>
                    </a:lnTo>
                    <a:lnTo>
                      <a:pt x="426" y="18"/>
                    </a:lnTo>
                    <a:lnTo>
                      <a:pt x="446" y="26"/>
                    </a:lnTo>
                    <a:lnTo>
                      <a:pt x="466" y="36"/>
                    </a:lnTo>
                    <a:lnTo>
                      <a:pt x="484" y="48"/>
                    </a:lnTo>
                    <a:lnTo>
                      <a:pt x="508" y="64"/>
                    </a:lnTo>
                    <a:lnTo>
                      <a:pt x="526" y="82"/>
                    </a:lnTo>
                    <a:lnTo>
                      <a:pt x="542" y="102"/>
                    </a:lnTo>
                    <a:lnTo>
                      <a:pt x="556" y="122"/>
                    </a:lnTo>
                    <a:lnTo>
                      <a:pt x="566" y="144"/>
                    </a:lnTo>
                    <a:lnTo>
                      <a:pt x="574" y="168"/>
                    </a:lnTo>
                    <a:lnTo>
                      <a:pt x="578" y="194"/>
                    </a:lnTo>
                    <a:lnTo>
                      <a:pt x="580" y="220"/>
                    </a:lnTo>
                    <a:lnTo>
                      <a:pt x="578" y="242"/>
                    </a:lnTo>
                    <a:lnTo>
                      <a:pt x="574" y="262"/>
                    </a:lnTo>
                    <a:lnTo>
                      <a:pt x="566" y="284"/>
                    </a:lnTo>
                    <a:lnTo>
                      <a:pt x="556" y="304"/>
                    </a:lnTo>
                    <a:lnTo>
                      <a:pt x="540" y="326"/>
                    </a:lnTo>
                    <a:lnTo>
                      <a:pt x="518" y="350"/>
                    </a:lnTo>
                    <a:lnTo>
                      <a:pt x="490" y="378"/>
                    </a:lnTo>
                    <a:lnTo>
                      <a:pt x="456" y="406"/>
                    </a:lnTo>
                    <a:lnTo>
                      <a:pt x="432" y="426"/>
                    </a:lnTo>
                    <a:lnTo>
                      <a:pt x="412" y="444"/>
                    </a:lnTo>
                    <a:lnTo>
                      <a:pt x="398" y="460"/>
                    </a:lnTo>
                    <a:lnTo>
                      <a:pt x="388" y="474"/>
                    </a:lnTo>
                    <a:lnTo>
                      <a:pt x="382" y="486"/>
                    </a:lnTo>
                    <a:lnTo>
                      <a:pt x="378" y="502"/>
                    </a:lnTo>
                    <a:lnTo>
                      <a:pt x="376" y="520"/>
                    </a:lnTo>
                    <a:lnTo>
                      <a:pt x="374" y="540"/>
                    </a:lnTo>
                    <a:close/>
                    <a:moveTo>
                      <a:pt x="168" y="592"/>
                    </a:moveTo>
                    <a:lnTo>
                      <a:pt x="382" y="592"/>
                    </a:lnTo>
                    <a:lnTo>
                      <a:pt x="382" y="782"/>
                    </a:lnTo>
                    <a:lnTo>
                      <a:pt x="168" y="782"/>
                    </a:lnTo>
                    <a:lnTo>
                      <a:pt x="168" y="592"/>
                    </a:lnTo>
                    <a:close/>
                  </a:path>
                </a:pathLst>
              </a:custGeom>
              <a:solidFill>
                <a:srgbClr val="F2F1E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3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82" name="Rectangle 81"/>
          <p:cNvSpPr/>
          <p:nvPr/>
        </p:nvSpPr>
        <p:spPr bwMode="ltGray">
          <a:xfrm>
            <a:off x="4608414" y="4907474"/>
            <a:ext cx="4103112" cy="129266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180000" indent="-1800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Обработка данных о более чем 4 млн клиентов 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100%-ная точность классификации, 96%-ная точность извлечения данных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Сокращение численности сотрудников более чем на 75 %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Сокращение продолжительности проверок более чем на 60 %</a:t>
            </a:r>
          </a:p>
        </p:txBody>
      </p:sp>
      <p:sp>
        <p:nvSpPr>
          <p:cNvPr id="83" name="Rectangle 82"/>
          <p:cNvSpPr/>
          <p:nvPr/>
        </p:nvSpPr>
        <p:spPr bwMode="ltGray">
          <a:xfrm>
            <a:off x="4608414" y="4512974"/>
            <a:ext cx="4103112" cy="288000"/>
          </a:xfrm>
          <a:prstGeom prst="rect">
            <a:avLst/>
          </a:prstGeom>
          <a:solidFill>
            <a:srgbClr val="B0A89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5984" tIns="35984" rIns="0" bIns="35984" rtlCol="0" anchor="ctr">
            <a:noAutofit/>
          </a:bodyPr>
          <a:lstStyle/>
          <a:p>
            <a:r>
              <a:rPr lang="ru-RU" sz="1300" b="1" dirty="0" smtClean="0">
                <a:solidFill>
                  <a:schemeClr val="bg1"/>
                </a:solidFill>
                <a:latin typeface="+mj-lt"/>
              </a:rPr>
              <a:t>Результаты</a:t>
            </a:r>
            <a:endParaRPr lang="ru-RU" sz="1300" b="1" baseline="30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4" name="Oval 83"/>
          <p:cNvSpPr/>
          <p:nvPr/>
        </p:nvSpPr>
        <p:spPr bwMode="ltGray">
          <a:xfrm>
            <a:off x="8284023" y="4412656"/>
            <a:ext cx="335079" cy="335079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rgbClr val="F2F1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5" name="Freeform 19"/>
          <p:cNvSpPr>
            <a:spLocks noEditPoints="1"/>
          </p:cNvSpPr>
          <p:nvPr/>
        </p:nvSpPr>
        <p:spPr bwMode="auto">
          <a:xfrm>
            <a:off x="8352552" y="4470482"/>
            <a:ext cx="198020" cy="198020"/>
          </a:xfrm>
          <a:custGeom>
            <a:avLst/>
            <a:gdLst>
              <a:gd name="T0" fmla="*/ 1202 w 2260"/>
              <a:gd name="T1" fmla="*/ 26 h 2260"/>
              <a:gd name="T2" fmla="*/ 942 w 2260"/>
              <a:gd name="T3" fmla="*/ 144 h 2260"/>
              <a:gd name="T4" fmla="*/ 736 w 2260"/>
              <a:gd name="T5" fmla="*/ 340 h 2260"/>
              <a:gd name="T6" fmla="*/ 606 w 2260"/>
              <a:gd name="T7" fmla="*/ 594 h 2260"/>
              <a:gd name="T8" fmla="*/ 568 w 2260"/>
              <a:gd name="T9" fmla="*/ 846 h 2260"/>
              <a:gd name="T10" fmla="*/ 620 w 2260"/>
              <a:gd name="T11" fmla="*/ 1136 h 2260"/>
              <a:gd name="T12" fmla="*/ 762 w 2260"/>
              <a:gd name="T13" fmla="*/ 1382 h 2260"/>
              <a:gd name="T14" fmla="*/ 976 w 2260"/>
              <a:gd name="T15" fmla="*/ 1568 h 2260"/>
              <a:gd name="T16" fmla="*/ 1244 w 2260"/>
              <a:gd name="T17" fmla="*/ 1674 h 2260"/>
              <a:gd name="T18" fmla="*/ 1500 w 2260"/>
              <a:gd name="T19" fmla="*/ 1686 h 2260"/>
              <a:gd name="T20" fmla="*/ 1780 w 2260"/>
              <a:gd name="T21" fmla="*/ 1608 h 2260"/>
              <a:gd name="T22" fmla="*/ 2012 w 2260"/>
              <a:gd name="T23" fmla="*/ 1442 h 2260"/>
              <a:gd name="T24" fmla="*/ 2176 w 2260"/>
              <a:gd name="T25" fmla="*/ 1212 h 2260"/>
              <a:gd name="T26" fmla="*/ 2256 w 2260"/>
              <a:gd name="T27" fmla="*/ 932 h 2260"/>
              <a:gd name="T28" fmla="*/ 2242 w 2260"/>
              <a:gd name="T29" fmla="*/ 674 h 2260"/>
              <a:gd name="T30" fmla="*/ 2138 w 2260"/>
              <a:gd name="T31" fmla="*/ 406 h 2260"/>
              <a:gd name="T32" fmla="*/ 1952 w 2260"/>
              <a:gd name="T33" fmla="*/ 192 h 2260"/>
              <a:gd name="T34" fmla="*/ 1706 w 2260"/>
              <a:gd name="T35" fmla="*/ 50 h 2260"/>
              <a:gd name="T36" fmla="*/ 1414 w 2260"/>
              <a:gd name="T37" fmla="*/ 0 h 2260"/>
              <a:gd name="T38" fmla="*/ 1286 w 2260"/>
              <a:gd name="T39" fmla="*/ 1466 h 2260"/>
              <a:gd name="T40" fmla="*/ 1086 w 2260"/>
              <a:gd name="T41" fmla="*/ 1388 h 2260"/>
              <a:gd name="T42" fmla="*/ 924 w 2260"/>
              <a:gd name="T43" fmla="*/ 1248 h 2260"/>
              <a:gd name="T44" fmla="*/ 818 w 2260"/>
              <a:gd name="T45" fmla="*/ 1064 h 2260"/>
              <a:gd name="T46" fmla="*/ 780 w 2260"/>
              <a:gd name="T47" fmla="*/ 846 h 2260"/>
              <a:gd name="T48" fmla="*/ 808 w 2260"/>
              <a:gd name="T49" fmla="*/ 656 h 2260"/>
              <a:gd name="T50" fmla="*/ 906 w 2260"/>
              <a:gd name="T51" fmla="*/ 466 h 2260"/>
              <a:gd name="T52" fmla="*/ 1060 w 2260"/>
              <a:gd name="T53" fmla="*/ 320 h 2260"/>
              <a:gd name="T54" fmla="*/ 1256 w 2260"/>
              <a:gd name="T55" fmla="*/ 230 h 2260"/>
              <a:gd name="T56" fmla="*/ 1446 w 2260"/>
              <a:gd name="T57" fmla="*/ 212 h 2260"/>
              <a:gd name="T58" fmla="*/ 1662 w 2260"/>
              <a:gd name="T59" fmla="*/ 260 h 2260"/>
              <a:gd name="T60" fmla="*/ 1840 w 2260"/>
              <a:gd name="T61" fmla="*/ 376 h 2260"/>
              <a:gd name="T62" fmla="*/ 1972 w 2260"/>
              <a:gd name="T63" fmla="*/ 542 h 2260"/>
              <a:gd name="T64" fmla="*/ 2042 w 2260"/>
              <a:gd name="T65" fmla="*/ 748 h 2260"/>
              <a:gd name="T66" fmla="*/ 2042 w 2260"/>
              <a:gd name="T67" fmla="*/ 942 h 2260"/>
              <a:gd name="T68" fmla="*/ 1972 w 2260"/>
              <a:gd name="T69" fmla="*/ 1148 h 2260"/>
              <a:gd name="T70" fmla="*/ 1840 w 2260"/>
              <a:gd name="T71" fmla="*/ 1314 h 2260"/>
              <a:gd name="T72" fmla="*/ 1662 w 2260"/>
              <a:gd name="T73" fmla="*/ 1430 h 2260"/>
              <a:gd name="T74" fmla="*/ 1446 w 2260"/>
              <a:gd name="T75" fmla="*/ 1478 h 2260"/>
              <a:gd name="T76" fmla="*/ 958 w 2260"/>
              <a:gd name="T77" fmla="*/ 902 h 2260"/>
              <a:gd name="T78" fmla="*/ 928 w 2260"/>
              <a:gd name="T79" fmla="*/ 820 h 2260"/>
              <a:gd name="T80" fmla="*/ 986 w 2260"/>
              <a:gd name="T81" fmla="*/ 612 h 2260"/>
              <a:gd name="T82" fmla="*/ 1224 w 2260"/>
              <a:gd name="T83" fmla="*/ 396 h 2260"/>
              <a:gd name="T84" fmla="*/ 1414 w 2260"/>
              <a:gd name="T85" fmla="*/ 358 h 2260"/>
              <a:gd name="T86" fmla="*/ 1478 w 2260"/>
              <a:gd name="T87" fmla="*/ 400 h 2260"/>
              <a:gd name="T88" fmla="*/ 1464 w 2260"/>
              <a:gd name="T89" fmla="*/ 476 h 2260"/>
              <a:gd name="T90" fmla="*/ 1344 w 2260"/>
              <a:gd name="T91" fmla="*/ 504 h 2260"/>
              <a:gd name="T92" fmla="*/ 1146 w 2260"/>
              <a:gd name="T93" fmla="*/ 624 h 2260"/>
              <a:gd name="T94" fmla="*/ 1066 w 2260"/>
              <a:gd name="T95" fmla="*/ 846 h 2260"/>
              <a:gd name="T96" fmla="*/ 1024 w 2260"/>
              <a:gd name="T97" fmla="*/ 910 h 2260"/>
              <a:gd name="T98" fmla="*/ 318 w 2260"/>
              <a:gd name="T99" fmla="*/ 2216 h 2260"/>
              <a:gd name="T100" fmla="*/ 194 w 2260"/>
              <a:gd name="T101" fmla="*/ 2260 h 2260"/>
              <a:gd name="T102" fmla="*/ 88 w 2260"/>
              <a:gd name="T103" fmla="*/ 2228 h 2260"/>
              <a:gd name="T104" fmla="*/ 14 w 2260"/>
              <a:gd name="T105" fmla="*/ 2138 h 2260"/>
              <a:gd name="T106" fmla="*/ 8 w 2260"/>
              <a:gd name="T107" fmla="*/ 2010 h 2260"/>
              <a:gd name="T108" fmla="*/ 594 w 2260"/>
              <a:gd name="T109" fmla="*/ 1390 h 2260"/>
              <a:gd name="T110" fmla="*/ 830 w 2260"/>
              <a:gd name="T111" fmla="*/ 1636 h 2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260" h="2260">
                <a:moveTo>
                  <a:pt x="1414" y="0"/>
                </a:moveTo>
                <a:lnTo>
                  <a:pt x="1414" y="0"/>
                </a:lnTo>
                <a:lnTo>
                  <a:pt x="1370" y="0"/>
                </a:lnTo>
                <a:lnTo>
                  <a:pt x="1328" y="4"/>
                </a:lnTo>
                <a:lnTo>
                  <a:pt x="1286" y="10"/>
                </a:lnTo>
                <a:lnTo>
                  <a:pt x="1244" y="16"/>
                </a:lnTo>
                <a:lnTo>
                  <a:pt x="1202" y="26"/>
                </a:lnTo>
                <a:lnTo>
                  <a:pt x="1162" y="38"/>
                </a:lnTo>
                <a:lnTo>
                  <a:pt x="1124" y="50"/>
                </a:lnTo>
                <a:lnTo>
                  <a:pt x="1086" y="66"/>
                </a:lnTo>
                <a:lnTo>
                  <a:pt x="1048" y="82"/>
                </a:lnTo>
                <a:lnTo>
                  <a:pt x="1012" y="102"/>
                </a:lnTo>
                <a:lnTo>
                  <a:pt x="976" y="122"/>
                </a:lnTo>
                <a:lnTo>
                  <a:pt x="942" y="144"/>
                </a:lnTo>
                <a:lnTo>
                  <a:pt x="908" y="168"/>
                </a:lnTo>
                <a:lnTo>
                  <a:pt x="876" y="192"/>
                </a:lnTo>
                <a:lnTo>
                  <a:pt x="846" y="220"/>
                </a:lnTo>
                <a:lnTo>
                  <a:pt x="816" y="248"/>
                </a:lnTo>
                <a:lnTo>
                  <a:pt x="788" y="276"/>
                </a:lnTo>
                <a:lnTo>
                  <a:pt x="762" y="308"/>
                </a:lnTo>
                <a:lnTo>
                  <a:pt x="736" y="340"/>
                </a:lnTo>
                <a:lnTo>
                  <a:pt x="712" y="372"/>
                </a:lnTo>
                <a:lnTo>
                  <a:pt x="690" y="406"/>
                </a:lnTo>
                <a:lnTo>
                  <a:pt x="670" y="442"/>
                </a:lnTo>
                <a:lnTo>
                  <a:pt x="652" y="478"/>
                </a:lnTo>
                <a:lnTo>
                  <a:pt x="636" y="516"/>
                </a:lnTo>
                <a:lnTo>
                  <a:pt x="620" y="554"/>
                </a:lnTo>
                <a:lnTo>
                  <a:pt x="606" y="594"/>
                </a:lnTo>
                <a:lnTo>
                  <a:pt x="596" y="634"/>
                </a:lnTo>
                <a:lnTo>
                  <a:pt x="586" y="674"/>
                </a:lnTo>
                <a:lnTo>
                  <a:pt x="578" y="716"/>
                </a:lnTo>
                <a:lnTo>
                  <a:pt x="572" y="758"/>
                </a:lnTo>
                <a:lnTo>
                  <a:pt x="570" y="802"/>
                </a:lnTo>
                <a:lnTo>
                  <a:pt x="568" y="846"/>
                </a:lnTo>
                <a:lnTo>
                  <a:pt x="568" y="846"/>
                </a:lnTo>
                <a:lnTo>
                  <a:pt x="570" y="888"/>
                </a:lnTo>
                <a:lnTo>
                  <a:pt x="572" y="932"/>
                </a:lnTo>
                <a:lnTo>
                  <a:pt x="578" y="974"/>
                </a:lnTo>
                <a:lnTo>
                  <a:pt x="586" y="1016"/>
                </a:lnTo>
                <a:lnTo>
                  <a:pt x="596" y="1056"/>
                </a:lnTo>
                <a:lnTo>
                  <a:pt x="606" y="1096"/>
                </a:lnTo>
                <a:lnTo>
                  <a:pt x="620" y="1136"/>
                </a:lnTo>
                <a:lnTo>
                  <a:pt x="636" y="1174"/>
                </a:lnTo>
                <a:lnTo>
                  <a:pt x="652" y="1212"/>
                </a:lnTo>
                <a:lnTo>
                  <a:pt x="670" y="1248"/>
                </a:lnTo>
                <a:lnTo>
                  <a:pt x="690" y="1284"/>
                </a:lnTo>
                <a:lnTo>
                  <a:pt x="712" y="1318"/>
                </a:lnTo>
                <a:lnTo>
                  <a:pt x="736" y="1350"/>
                </a:lnTo>
                <a:lnTo>
                  <a:pt x="762" y="1382"/>
                </a:lnTo>
                <a:lnTo>
                  <a:pt x="788" y="1414"/>
                </a:lnTo>
                <a:lnTo>
                  <a:pt x="816" y="1442"/>
                </a:lnTo>
                <a:lnTo>
                  <a:pt x="846" y="1470"/>
                </a:lnTo>
                <a:lnTo>
                  <a:pt x="876" y="1498"/>
                </a:lnTo>
                <a:lnTo>
                  <a:pt x="908" y="1522"/>
                </a:lnTo>
                <a:lnTo>
                  <a:pt x="942" y="1546"/>
                </a:lnTo>
                <a:lnTo>
                  <a:pt x="976" y="1568"/>
                </a:lnTo>
                <a:lnTo>
                  <a:pt x="1012" y="1588"/>
                </a:lnTo>
                <a:lnTo>
                  <a:pt x="1048" y="1608"/>
                </a:lnTo>
                <a:lnTo>
                  <a:pt x="1086" y="1624"/>
                </a:lnTo>
                <a:lnTo>
                  <a:pt x="1124" y="1640"/>
                </a:lnTo>
                <a:lnTo>
                  <a:pt x="1162" y="1652"/>
                </a:lnTo>
                <a:lnTo>
                  <a:pt x="1202" y="1664"/>
                </a:lnTo>
                <a:lnTo>
                  <a:pt x="1244" y="1674"/>
                </a:lnTo>
                <a:lnTo>
                  <a:pt x="1286" y="1680"/>
                </a:lnTo>
                <a:lnTo>
                  <a:pt x="1328" y="1686"/>
                </a:lnTo>
                <a:lnTo>
                  <a:pt x="1370" y="1690"/>
                </a:lnTo>
                <a:lnTo>
                  <a:pt x="1414" y="1690"/>
                </a:lnTo>
                <a:lnTo>
                  <a:pt x="1414" y="1690"/>
                </a:lnTo>
                <a:lnTo>
                  <a:pt x="1458" y="1690"/>
                </a:lnTo>
                <a:lnTo>
                  <a:pt x="1500" y="1686"/>
                </a:lnTo>
                <a:lnTo>
                  <a:pt x="1544" y="1680"/>
                </a:lnTo>
                <a:lnTo>
                  <a:pt x="1584" y="1674"/>
                </a:lnTo>
                <a:lnTo>
                  <a:pt x="1626" y="1664"/>
                </a:lnTo>
                <a:lnTo>
                  <a:pt x="1666" y="1652"/>
                </a:lnTo>
                <a:lnTo>
                  <a:pt x="1706" y="1640"/>
                </a:lnTo>
                <a:lnTo>
                  <a:pt x="1744" y="1624"/>
                </a:lnTo>
                <a:lnTo>
                  <a:pt x="1780" y="1608"/>
                </a:lnTo>
                <a:lnTo>
                  <a:pt x="1818" y="1588"/>
                </a:lnTo>
                <a:lnTo>
                  <a:pt x="1852" y="1568"/>
                </a:lnTo>
                <a:lnTo>
                  <a:pt x="1888" y="1546"/>
                </a:lnTo>
                <a:lnTo>
                  <a:pt x="1920" y="1522"/>
                </a:lnTo>
                <a:lnTo>
                  <a:pt x="1952" y="1498"/>
                </a:lnTo>
                <a:lnTo>
                  <a:pt x="1982" y="1470"/>
                </a:lnTo>
                <a:lnTo>
                  <a:pt x="2012" y="1442"/>
                </a:lnTo>
                <a:lnTo>
                  <a:pt x="2040" y="1414"/>
                </a:lnTo>
                <a:lnTo>
                  <a:pt x="2066" y="1382"/>
                </a:lnTo>
                <a:lnTo>
                  <a:pt x="2092" y="1350"/>
                </a:lnTo>
                <a:lnTo>
                  <a:pt x="2116" y="1318"/>
                </a:lnTo>
                <a:lnTo>
                  <a:pt x="2138" y="1284"/>
                </a:lnTo>
                <a:lnTo>
                  <a:pt x="2158" y="1248"/>
                </a:lnTo>
                <a:lnTo>
                  <a:pt x="2176" y="1212"/>
                </a:lnTo>
                <a:lnTo>
                  <a:pt x="2194" y="1174"/>
                </a:lnTo>
                <a:lnTo>
                  <a:pt x="2208" y="1136"/>
                </a:lnTo>
                <a:lnTo>
                  <a:pt x="2222" y="1096"/>
                </a:lnTo>
                <a:lnTo>
                  <a:pt x="2234" y="1056"/>
                </a:lnTo>
                <a:lnTo>
                  <a:pt x="2242" y="1016"/>
                </a:lnTo>
                <a:lnTo>
                  <a:pt x="2250" y="974"/>
                </a:lnTo>
                <a:lnTo>
                  <a:pt x="2256" y="932"/>
                </a:lnTo>
                <a:lnTo>
                  <a:pt x="2258" y="888"/>
                </a:lnTo>
                <a:lnTo>
                  <a:pt x="2260" y="846"/>
                </a:lnTo>
                <a:lnTo>
                  <a:pt x="2260" y="846"/>
                </a:lnTo>
                <a:lnTo>
                  <a:pt x="2258" y="802"/>
                </a:lnTo>
                <a:lnTo>
                  <a:pt x="2256" y="758"/>
                </a:lnTo>
                <a:lnTo>
                  <a:pt x="2250" y="716"/>
                </a:lnTo>
                <a:lnTo>
                  <a:pt x="2242" y="674"/>
                </a:lnTo>
                <a:lnTo>
                  <a:pt x="2234" y="634"/>
                </a:lnTo>
                <a:lnTo>
                  <a:pt x="2222" y="594"/>
                </a:lnTo>
                <a:lnTo>
                  <a:pt x="2208" y="554"/>
                </a:lnTo>
                <a:lnTo>
                  <a:pt x="2194" y="516"/>
                </a:lnTo>
                <a:lnTo>
                  <a:pt x="2176" y="478"/>
                </a:lnTo>
                <a:lnTo>
                  <a:pt x="2158" y="442"/>
                </a:lnTo>
                <a:lnTo>
                  <a:pt x="2138" y="406"/>
                </a:lnTo>
                <a:lnTo>
                  <a:pt x="2116" y="372"/>
                </a:lnTo>
                <a:lnTo>
                  <a:pt x="2092" y="340"/>
                </a:lnTo>
                <a:lnTo>
                  <a:pt x="2066" y="308"/>
                </a:lnTo>
                <a:lnTo>
                  <a:pt x="2040" y="276"/>
                </a:lnTo>
                <a:lnTo>
                  <a:pt x="2012" y="248"/>
                </a:lnTo>
                <a:lnTo>
                  <a:pt x="1982" y="220"/>
                </a:lnTo>
                <a:lnTo>
                  <a:pt x="1952" y="192"/>
                </a:lnTo>
                <a:lnTo>
                  <a:pt x="1920" y="168"/>
                </a:lnTo>
                <a:lnTo>
                  <a:pt x="1888" y="144"/>
                </a:lnTo>
                <a:lnTo>
                  <a:pt x="1852" y="122"/>
                </a:lnTo>
                <a:lnTo>
                  <a:pt x="1818" y="102"/>
                </a:lnTo>
                <a:lnTo>
                  <a:pt x="1780" y="82"/>
                </a:lnTo>
                <a:lnTo>
                  <a:pt x="1744" y="66"/>
                </a:lnTo>
                <a:lnTo>
                  <a:pt x="1706" y="50"/>
                </a:lnTo>
                <a:lnTo>
                  <a:pt x="1666" y="38"/>
                </a:lnTo>
                <a:lnTo>
                  <a:pt x="1626" y="26"/>
                </a:lnTo>
                <a:lnTo>
                  <a:pt x="1584" y="16"/>
                </a:lnTo>
                <a:lnTo>
                  <a:pt x="1544" y="10"/>
                </a:lnTo>
                <a:lnTo>
                  <a:pt x="1500" y="4"/>
                </a:lnTo>
                <a:lnTo>
                  <a:pt x="1458" y="0"/>
                </a:lnTo>
                <a:lnTo>
                  <a:pt x="1414" y="0"/>
                </a:lnTo>
                <a:lnTo>
                  <a:pt x="1414" y="0"/>
                </a:lnTo>
                <a:close/>
                <a:moveTo>
                  <a:pt x="1414" y="1480"/>
                </a:moveTo>
                <a:lnTo>
                  <a:pt x="1414" y="1480"/>
                </a:lnTo>
                <a:lnTo>
                  <a:pt x="1382" y="1478"/>
                </a:lnTo>
                <a:lnTo>
                  <a:pt x="1350" y="1476"/>
                </a:lnTo>
                <a:lnTo>
                  <a:pt x="1318" y="1472"/>
                </a:lnTo>
                <a:lnTo>
                  <a:pt x="1286" y="1466"/>
                </a:lnTo>
                <a:lnTo>
                  <a:pt x="1256" y="1460"/>
                </a:lnTo>
                <a:lnTo>
                  <a:pt x="1226" y="1450"/>
                </a:lnTo>
                <a:lnTo>
                  <a:pt x="1196" y="1440"/>
                </a:lnTo>
                <a:lnTo>
                  <a:pt x="1168" y="1430"/>
                </a:lnTo>
                <a:lnTo>
                  <a:pt x="1140" y="1416"/>
                </a:lnTo>
                <a:lnTo>
                  <a:pt x="1112" y="1402"/>
                </a:lnTo>
                <a:lnTo>
                  <a:pt x="1086" y="1388"/>
                </a:lnTo>
                <a:lnTo>
                  <a:pt x="1060" y="1370"/>
                </a:lnTo>
                <a:lnTo>
                  <a:pt x="1034" y="1354"/>
                </a:lnTo>
                <a:lnTo>
                  <a:pt x="1010" y="1334"/>
                </a:lnTo>
                <a:lnTo>
                  <a:pt x="988" y="1314"/>
                </a:lnTo>
                <a:lnTo>
                  <a:pt x="966" y="1294"/>
                </a:lnTo>
                <a:lnTo>
                  <a:pt x="944" y="1272"/>
                </a:lnTo>
                <a:lnTo>
                  <a:pt x="924" y="1248"/>
                </a:lnTo>
                <a:lnTo>
                  <a:pt x="906" y="1224"/>
                </a:lnTo>
                <a:lnTo>
                  <a:pt x="888" y="1200"/>
                </a:lnTo>
                <a:lnTo>
                  <a:pt x="872" y="1174"/>
                </a:lnTo>
                <a:lnTo>
                  <a:pt x="856" y="1148"/>
                </a:lnTo>
                <a:lnTo>
                  <a:pt x="842" y="1120"/>
                </a:lnTo>
                <a:lnTo>
                  <a:pt x="830" y="1092"/>
                </a:lnTo>
                <a:lnTo>
                  <a:pt x="818" y="1064"/>
                </a:lnTo>
                <a:lnTo>
                  <a:pt x="808" y="1034"/>
                </a:lnTo>
                <a:lnTo>
                  <a:pt x="800" y="1004"/>
                </a:lnTo>
                <a:lnTo>
                  <a:pt x="792" y="972"/>
                </a:lnTo>
                <a:lnTo>
                  <a:pt x="788" y="942"/>
                </a:lnTo>
                <a:lnTo>
                  <a:pt x="784" y="910"/>
                </a:lnTo>
                <a:lnTo>
                  <a:pt x="780" y="878"/>
                </a:lnTo>
                <a:lnTo>
                  <a:pt x="780" y="846"/>
                </a:lnTo>
                <a:lnTo>
                  <a:pt x="780" y="846"/>
                </a:lnTo>
                <a:lnTo>
                  <a:pt x="780" y="812"/>
                </a:lnTo>
                <a:lnTo>
                  <a:pt x="784" y="780"/>
                </a:lnTo>
                <a:lnTo>
                  <a:pt x="788" y="748"/>
                </a:lnTo>
                <a:lnTo>
                  <a:pt x="792" y="718"/>
                </a:lnTo>
                <a:lnTo>
                  <a:pt x="800" y="686"/>
                </a:lnTo>
                <a:lnTo>
                  <a:pt x="808" y="656"/>
                </a:lnTo>
                <a:lnTo>
                  <a:pt x="818" y="626"/>
                </a:lnTo>
                <a:lnTo>
                  <a:pt x="830" y="598"/>
                </a:lnTo>
                <a:lnTo>
                  <a:pt x="842" y="570"/>
                </a:lnTo>
                <a:lnTo>
                  <a:pt x="856" y="542"/>
                </a:lnTo>
                <a:lnTo>
                  <a:pt x="872" y="516"/>
                </a:lnTo>
                <a:lnTo>
                  <a:pt x="888" y="490"/>
                </a:lnTo>
                <a:lnTo>
                  <a:pt x="906" y="466"/>
                </a:lnTo>
                <a:lnTo>
                  <a:pt x="924" y="442"/>
                </a:lnTo>
                <a:lnTo>
                  <a:pt x="944" y="418"/>
                </a:lnTo>
                <a:lnTo>
                  <a:pt x="966" y="396"/>
                </a:lnTo>
                <a:lnTo>
                  <a:pt x="988" y="376"/>
                </a:lnTo>
                <a:lnTo>
                  <a:pt x="1010" y="356"/>
                </a:lnTo>
                <a:lnTo>
                  <a:pt x="1034" y="336"/>
                </a:lnTo>
                <a:lnTo>
                  <a:pt x="1060" y="320"/>
                </a:lnTo>
                <a:lnTo>
                  <a:pt x="1086" y="302"/>
                </a:lnTo>
                <a:lnTo>
                  <a:pt x="1112" y="288"/>
                </a:lnTo>
                <a:lnTo>
                  <a:pt x="1140" y="274"/>
                </a:lnTo>
                <a:lnTo>
                  <a:pt x="1168" y="260"/>
                </a:lnTo>
                <a:lnTo>
                  <a:pt x="1196" y="250"/>
                </a:lnTo>
                <a:lnTo>
                  <a:pt x="1226" y="240"/>
                </a:lnTo>
                <a:lnTo>
                  <a:pt x="1256" y="230"/>
                </a:lnTo>
                <a:lnTo>
                  <a:pt x="1286" y="224"/>
                </a:lnTo>
                <a:lnTo>
                  <a:pt x="1318" y="218"/>
                </a:lnTo>
                <a:lnTo>
                  <a:pt x="1350" y="214"/>
                </a:lnTo>
                <a:lnTo>
                  <a:pt x="1382" y="212"/>
                </a:lnTo>
                <a:lnTo>
                  <a:pt x="1414" y="210"/>
                </a:lnTo>
                <a:lnTo>
                  <a:pt x="1414" y="210"/>
                </a:lnTo>
                <a:lnTo>
                  <a:pt x="1446" y="212"/>
                </a:lnTo>
                <a:lnTo>
                  <a:pt x="1480" y="214"/>
                </a:lnTo>
                <a:lnTo>
                  <a:pt x="1510" y="218"/>
                </a:lnTo>
                <a:lnTo>
                  <a:pt x="1542" y="224"/>
                </a:lnTo>
                <a:lnTo>
                  <a:pt x="1572" y="230"/>
                </a:lnTo>
                <a:lnTo>
                  <a:pt x="1602" y="240"/>
                </a:lnTo>
                <a:lnTo>
                  <a:pt x="1632" y="250"/>
                </a:lnTo>
                <a:lnTo>
                  <a:pt x="1662" y="260"/>
                </a:lnTo>
                <a:lnTo>
                  <a:pt x="1690" y="274"/>
                </a:lnTo>
                <a:lnTo>
                  <a:pt x="1716" y="288"/>
                </a:lnTo>
                <a:lnTo>
                  <a:pt x="1744" y="302"/>
                </a:lnTo>
                <a:lnTo>
                  <a:pt x="1768" y="320"/>
                </a:lnTo>
                <a:lnTo>
                  <a:pt x="1794" y="336"/>
                </a:lnTo>
                <a:lnTo>
                  <a:pt x="1818" y="356"/>
                </a:lnTo>
                <a:lnTo>
                  <a:pt x="1840" y="376"/>
                </a:lnTo>
                <a:lnTo>
                  <a:pt x="1862" y="396"/>
                </a:lnTo>
                <a:lnTo>
                  <a:pt x="1884" y="418"/>
                </a:lnTo>
                <a:lnTo>
                  <a:pt x="1904" y="442"/>
                </a:lnTo>
                <a:lnTo>
                  <a:pt x="1922" y="466"/>
                </a:lnTo>
                <a:lnTo>
                  <a:pt x="1940" y="490"/>
                </a:lnTo>
                <a:lnTo>
                  <a:pt x="1956" y="516"/>
                </a:lnTo>
                <a:lnTo>
                  <a:pt x="1972" y="542"/>
                </a:lnTo>
                <a:lnTo>
                  <a:pt x="1986" y="570"/>
                </a:lnTo>
                <a:lnTo>
                  <a:pt x="1998" y="598"/>
                </a:lnTo>
                <a:lnTo>
                  <a:pt x="2010" y="626"/>
                </a:lnTo>
                <a:lnTo>
                  <a:pt x="2020" y="656"/>
                </a:lnTo>
                <a:lnTo>
                  <a:pt x="2028" y="686"/>
                </a:lnTo>
                <a:lnTo>
                  <a:pt x="2036" y="718"/>
                </a:lnTo>
                <a:lnTo>
                  <a:pt x="2042" y="748"/>
                </a:lnTo>
                <a:lnTo>
                  <a:pt x="2046" y="780"/>
                </a:lnTo>
                <a:lnTo>
                  <a:pt x="2048" y="812"/>
                </a:lnTo>
                <a:lnTo>
                  <a:pt x="2048" y="846"/>
                </a:lnTo>
                <a:lnTo>
                  <a:pt x="2048" y="846"/>
                </a:lnTo>
                <a:lnTo>
                  <a:pt x="2048" y="878"/>
                </a:lnTo>
                <a:lnTo>
                  <a:pt x="2046" y="910"/>
                </a:lnTo>
                <a:lnTo>
                  <a:pt x="2042" y="942"/>
                </a:lnTo>
                <a:lnTo>
                  <a:pt x="2036" y="972"/>
                </a:lnTo>
                <a:lnTo>
                  <a:pt x="2028" y="1004"/>
                </a:lnTo>
                <a:lnTo>
                  <a:pt x="2020" y="1034"/>
                </a:lnTo>
                <a:lnTo>
                  <a:pt x="2010" y="1064"/>
                </a:lnTo>
                <a:lnTo>
                  <a:pt x="1998" y="1092"/>
                </a:lnTo>
                <a:lnTo>
                  <a:pt x="1986" y="1120"/>
                </a:lnTo>
                <a:lnTo>
                  <a:pt x="1972" y="1148"/>
                </a:lnTo>
                <a:lnTo>
                  <a:pt x="1956" y="1174"/>
                </a:lnTo>
                <a:lnTo>
                  <a:pt x="1940" y="1200"/>
                </a:lnTo>
                <a:lnTo>
                  <a:pt x="1922" y="1224"/>
                </a:lnTo>
                <a:lnTo>
                  <a:pt x="1904" y="1248"/>
                </a:lnTo>
                <a:lnTo>
                  <a:pt x="1884" y="1272"/>
                </a:lnTo>
                <a:lnTo>
                  <a:pt x="1862" y="1294"/>
                </a:lnTo>
                <a:lnTo>
                  <a:pt x="1840" y="1314"/>
                </a:lnTo>
                <a:lnTo>
                  <a:pt x="1818" y="1334"/>
                </a:lnTo>
                <a:lnTo>
                  <a:pt x="1794" y="1354"/>
                </a:lnTo>
                <a:lnTo>
                  <a:pt x="1768" y="1370"/>
                </a:lnTo>
                <a:lnTo>
                  <a:pt x="1744" y="1388"/>
                </a:lnTo>
                <a:lnTo>
                  <a:pt x="1716" y="1402"/>
                </a:lnTo>
                <a:lnTo>
                  <a:pt x="1690" y="1416"/>
                </a:lnTo>
                <a:lnTo>
                  <a:pt x="1662" y="1430"/>
                </a:lnTo>
                <a:lnTo>
                  <a:pt x="1632" y="1440"/>
                </a:lnTo>
                <a:lnTo>
                  <a:pt x="1602" y="1450"/>
                </a:lnTo>
                <a:lnTo>
                  <a:pt x="1572" y="1460"/>
                </a:lnTo>
                <a:lnTo>
                  <a:pt x="1542" y="1466"/>
                </a:lnTo>
                <a:lnTo>
                  <a:pt x="1510" y="1472"/>
                </a:lnTo>
                <a:lnTo>
                  <a:pt x="1480" y="1476"/>
                </a:lnTo>
                <a:lnTo>
                  <a:pt x="1446" y="1478"/>
                </a:lnTo>
                <a:lnTo>
                  <a:pt x="1414" y="1480"/>
                </a:lnTo>
                <a:lnTo>
                  <a:pt x="1414" y="1480"/>
                </a:lnTo>
                <a:close/>
                <a:moveTo>
                  <a:pt x="996" y="914"/>
                </a:moveTo>
                <a:lnTo>
                  <a:pt x="996" y="914"/>
                </a:lnTo>
                <a:lnTo>
                  <a:pt x="982" y="914"/>
                </a:lnTo>
                <a:lnTo>
                  <a:pt x="970" y="910"/>
                </a:lnTo>
                <a:lnTo>
                  <a:pt x="958" y="902"/>
                </a:lnTo>
                <a:lnTo>
                  <a:pt x="948" y="894"/>
                </a:lnTo>
                <a:lnTo>
                  <a:pt x="938" y="884"/>
                </a:lnTo>
                <a:lnTo>
                  <a:pt x="932" y="872"/>
                </a:lnTo>
                <a:lnTo>
                  <a:pt x="928" y="860"/>
                </a:lnTo>
                <a:lnTo>
                  <a:pt x="926" y="846"/>
                </a:lnTo>
                <a:lnTo>
                  <a:pt x="926" y="846"/>
                </a:lnTo>
                <a:lnTo>
                  <a:pt x="928" y="820"/>
                </a:lnTo>
                <a:lnTo>
                  <a:pt x="930" y="796"/>
                </a:lnTo>
                <a:lnTo>
                  <a:pt x="932" y="770"/>
                </a:lnTo>
                <a:lnTo>
                  <a:pt x="936" y="746"/>
                </a:lnTo>
                <a:lnTo>
                  <a:pt x="942" y="724"/>
                </a:lnTo>
                <a:lnTo>
                  <a:pt x="948" y="700"/>
                </a:lnTo>
                <a:lnTo>
                  <a:pt x="964" y="656"/>
                </a:lnTo>
                <a:lnTo>
                  <a:pt x="986" y="612"/>
                </a:lnTo>
                <a:lnTo>
                  <a:pt x="1010" y="572"/>
                </a:lnTo>
                <a:lnTo>
                  <a:pt x="1038" y="534"/>
                </a:lnTo>
                <a:lnTo>
                  <a:pt x="1070" y="500"/>
                </a:lnTo>
                <a:lnTo>
                  <a:pt x="1104" y="468"/>
                </a:lnTo>
                <a:lnTo>
                  <a:pt x="1142" y="440"/>
                </a:lnTo>
                <a:lnTo>
                  <a:pt x="1182" y="416"/>
                </a:lnTo>
                <a:lnTo>
                  <a:pt x="1224" y="396"/>
                </a:lnTo>
                <a:lnTo>
                  <a:pt x="1270" y="380"/>
                </a:lnTo>
                <a:lnTo>
                  <a:pt x="1292" y="372"/>
                </a:lnTo>
                <a:lnTo>
                  <a:pt x="1316" y="368"/>
                </a:lnTo>
                <a:lnTo>
                  <a:pt x="1340" y="362"/>
                </a:lnTo>
                <a:lnTo>
                  <a:pt x="1364" y="360"/>
                </a:lnTo>
                <a:lnTo>
                  <a:pt x="1390" y="358"/>
                </a:lnTo>
                <a:lnTo>
                  <a:pt x="1414" y="358"/>
                </a:lnTo>
                <a:lnTo>
                  <a:pt x="1414" y="358"/>
                </a:lnTo>
                <a:lnTo>
                  <a:pt x="1428" y="358"/>
                </a:lnTo>
                <a:lnTo>
                  <a:pt x="1442" y="362"/>
                </a:lnTo>
                <a:lnTo>
                  <a:pt x="1454" y="370"/>
                </a:lnTo>
                <a:lnTo>
                  <a:pt x="1464" y="378"/>
                </a:lnTo>
                <a:lnTo>
                  <a:pt x="1472" y="388"/>
                </a:lnTo>
                <a:lnTo>
                  <a:pt x="1478" y="400"/>
                </a:lnTo>
                <a:lnTo>
                  <a:pt x="1482" y="412"/>
                </a:lnTo>
                <a:lnTo>
                  <a:pt x="1484" y="428"/>
                </a:lnTo>
                <a:lnTo>
                  <a:pt x="1484" y="428"/>
                </a:lnTo>
                <a:lnTo>
                  <a:pt x="1482" y="442"/>
                </a:lnTo>
                <a:lnTo>
                  <a:pt x="1478" y="454"/>
                </a:lnTo>
                <a:lnTo>
                  <a:pt x="1472" y="466"/>
                </a:lnTo>
                <a:lnTo>
                  <a:pt x="1464" y="476"/>
                </a:lnTo>
                <a:lnTo>
                  <a:pt x="1454" y="484"/>
                </a:lnTo>
                <a:lnTo>
                  <a:pt x="1442" y="492"/>
                </a:lnTo>
                <a:lnTo>
                  <a:pt x="1428" y="496"/>
                </a:lnTo>
                <a:lnTo>
                  <a:pt x="1414" y="496"/>
                </a:lnTo>
                <a:lnTo>
                  <a:pt x="1414" y="496"/>
                </a:lnTo>
                <a:lnTo>
                  <a:pt x="1378" y="498"/>
                </a:lnTo>
                <a:lnTo>
                  <a:pt x="1344" y="504"/>
                </a:lnTo>
                <a:lnTo>
                  <a:pt x="1310" y="512"/>
                </a:lnTo>
                <a:lnTo>
                  <a:pt x="1278" y="524"/>
                </a:lnTo>
                <a:lnTo>
                  <a:pt x="1248" y="538"/>
                </a:lnTo>
                <a:lnTo>
                  <a:pt x="1220" y="556"/>
                </a:lnTo>
                <a:lnTo>
                  <a:pt x="1192" y="576"/>
                </a:lnTo>
                <a:lnTo>
                  <a:pt x="1168" y="598"/>
                </a:lnTo>
                <a:lnTo>
                  <a:pt x="1146" y="624"/>
                </a:lnTo>
                <a:lnTo>
                  <a:pt x="1126" y="650"/>
                </a:lnTo>
                <a:lnTo>
                  <a:pt x="1108" y="680"/>
                </a:lnTo>
                <a:lnTo>
                  <a:pt x="1094" y="710"/>
                </a:lnTo>
                <a:lnTo>
                  <a:pt x="1082" y="742"/>
                </a:lnTo>
                <a:lnTo>
                  <a:pt x="1074" y="774"/>
                </a:lnTo>
                <a:lnTo>
                  <a:pt x="1068" y="810"/>
                </a:lnTo>
                <a:lnTo>
                  <a:pt x="1066" y="846"/>
                </a:lnTo>
                <a:lnTo>
                  <a:pt x="1066" y="846"/>
                </a:lnTo>
                <a:lnTo>
                  <a:pt x="1064" y="860"/>
                </a:lnTo>
                <a:lnTo>
                  <a:pt x="1060" y="872"/>
                </a:lnTo>
                <a:lnTo>
                  <a:pt x="1054" y="884"/>
                </a:lnTo>
                <a:lnTo>
                  <a:pt x="1046" y="894"/>
                </a:lnTo>
                <a:lnTo>
                  <a:pt x="1036" y="902"/>
                </a:lnTo>
                <a:lnTo>
                  <a:pt x="1024" y="910"/>
                </a:lnTo>
                <a:lnTo>
                  <a:pt x="1010" y="914"/>
                </a:lnTo>
                <a:lnTo>
                  <a:pt x="996" y="914"/>
                </a:lnTo>
                <a:lnTo>
                  <a:pt x="996" y="914"/>
                </a:lnTo>
                <a:close/>
                <a:moveTo>
                  <a:pt x="870" y="1666"/>
                </a:moveTo>
                <a:lnTo>
                  <a:pt x="332" y="2202"/>
                </a:lnTo>
                <a:lnTo>
                  <a:pt x="332" y="2202"/>
                </a:lnTo>
                <a:lnTo>
                  <a:pt x="318" y="2216"/>
                </a:lnTo>
                <a:lnTo>
                  <a:pt x="302" y="2228"/>
                </a:lnTo>
                <a:lnTo>
                  <a:pt x="286" y="2238"/>
                </a:lnTo>
                <a:lnTo>
                  <a:pt x="268" y="2246"/>
                </a:lnTo>
                <a:lnTo>
                  <a:pt x="250" y="2252"/>
                </a:lnTo>
                <a:lnTo>
                  <a:pt x="232" y="2256"/>
                </a:lnTo>
                <a:lnTo>
                  <a:pt x="214" y="2258"/>
                </a:lnTo>
                <a:lnTo>
                  <a:pt x="194" y="2260"/>
                </a:lnTo>
                <a:lnTo>
                  <a:pt x="194" y="2260"/>
                </a:lnTo>
                <a:lnTo>
                  <a:pt x="176" y="2258"/>
                </a:lnTo>
                <a:lnTo>
                  <a:pt x="158" y="2256"/>
                </a:lnTo>
                <a:lnTo>
                  <a:pt x="140" y="2252"/>
                </a:lnTo>
                <a:lnTo>
                  <a:pt x="122" y="2246"/>
                </a:lnTo>
                <a:lnTo>
                  <a:pt x="104" y="2238"/>
                </a:lnTo>
                <a:lnTo>
                  <a:pt x="88" y="2228"/>
                </a:lnTo>
                <a:lnTo>
                  <a:pt x="72" y="2216"/>
                </a:lnTo>
                <a:lnTo>
                  <a:pt x="56" y="2202"/>
                </a:lnTo>
                <a:lnTo>
                  <a:pt x="56" y="2202"/>
                </a:lnTo>
                <a:lnTo>
                  <a:pt x="44" y="2188"/>
                </a:lnTo>
                <a:lnTo>
                  <a:pt x="32" y="2172"/>
                </a:lnTo>
                <a:lnTo>
                  <a:pt x="22" y="2156"/>
                </a:lnTo>
                <a:lnTo>
                  <a:pt x="14" y="2138"/>
                </a:lnTo>
                <a:lnTo>
                  <a:pt x="8" y="2120"/>
                </a:lnTo>
                <a:lnTo>
                  <a:pt x="4" y="2102"/>
                </a:lnTo>
                <a:lnTo>
                  <a:pt x="0" y="2084"/>
                </a:lnTo>
                <a:lnTo>
                  <a:pt x="0" y="2064"/>
                </a:lnTo>
                <a:lnTo>
                  <a:pt x="0" y="2046"/>
                </a:lnTo>
                <a:lnTo>
                  <a:pt x="4" y="2028"/>
                </a:lnTo>
                <a:lnTo>
                  <a:pt x="8" y="2010"/>
                </a:lnTo>
                <a:lnTo>
                  <a:pt x="14" y="1992"/>
                </a:lnTo>
                <a:lnTo>
                  <a:pt x="22" y="1974"/>
                </a:lnTo>
                <a:lnTo>
                  <a:pt x="32" y="1958"/>
                </a:lnTo>
                <a:lnTo>
                  <a:pt x="44" y="1942"/>
                </a:lnTo>
                <a:lnTo>
                  <a:pt x="56" y="1926"/>
                </a:lnTo>
                <a:lnTo>
                  <a:pt x="594" y="1390"/>
                </a:lnTo>
                <a:lnTo>
                  <a:pt x="594" y="1390"/>
                </a:lnTo>
                <a:lnTo>
                  <a:pt x="622" y="1430"/>
                </a:lnTo>
                <a:lnTo>
                  <a:pt x="652" y="1468"/>
                </a:lnTo>
                <a:lnTo>
                  <a:pt x="684" y="1506"/>
                </a:lnTo>
                <a:lnTo>
                  <a:pt x="718" y="1540"/>
                </a:lnTo>
                <a:lnTo>
                  <a:pt x="754" y="1574"/>
                </a:lnTo>
                <a:lnTo>
                  <a:pt x="790" y="1606"/>
                </a:lnTo>
                <a:lnTo>
                  <a:pt x="830" y="1636"/>
                </a:lnTo>
                <a:lnTo>
                  <a:pt x="870" y="1666"/>
                </a:lnTo>
                <a:lnTo>
                  <a:pt x="870" y="1666"/>
                </a:lnTo>
                <a:close/>
              </a:path>
            </a:pathLst>
          </a:custGeom>
          <a:solidFill>
            <a:srgbClr val="F2F1EE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2" name="Rectangle 17"/>
          <p:cNvSpPr>
            <a:spLocks/>
          </p:cNvSpPr>
          <p:nvPr/>
        </p:nvSpPr>
        <p:spPr bwMode="auto">
          <a:xfrm>
            <a:off x="243840" y="3313907"/>
            <a:ext cx="602198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050" b="1" i="1" dirty="0">
                <a:solidFill>
                  <a:schemeClr val="bg1"/>
                </a:solidFill>
                <a:latin typeface="+mj-lt"/>
                <a:sym typeface="Helvetica Neue" charset="0"/>
              </a:rPr>
              <a:t>Данные</a:t>
            </a:r>
          </a:p>
        </p:txBody>
      </p:sp>
      <p:grpSp>
        <p:nvGrpSpPr>
          <p:cNvPr id="125" name="Group 124"/>
          <p:cNvGrpSpPr/>
          <p:nvPr/>
        </p:nvGrpSpPr>
        <p:grpSpPr>
          <a:xfrm>
            <a:off x="118161" y="4367523"/>
            <a:ext cx="727877" cy="615979"/>
            <a:chOff x="147993" y="4263727"/>
            <a:chExt cx="727877" cy="615979"/>
          </a:xfrm>
        </p:grpSpPr>
        <p:sp>
          <p:nvSpPr>
            <p:cNvPr id="126" name="Rectangle 17"/>
            <p:cNvSpPr>
              <a:spLocks/>
            </p:cNvSpPr>
            <p:nvPr/>
          </p:nvSpPr>
          <p:spPr bwMode="auto">
            <a:xfrm>
              <a:off x="147993" y="4510374"/>
              <a:ext cx="72787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Идентификационные документы</a:t>
              </a:r>
              <a:endParaRPr lang="ru-RU" sz="800" i="1" dirty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grpSp>
          <p:nvGrpSpPr>
            <p:cNvPr id="127" name="Group 201"/>
            <p:cNvGrpSpPr>
              <a:grpSpLocks noChangeAspect="1"/>
            </p:cNvGrpSpPr>
            <p:nvPr/>
          </p:nvGrpSpPr>
          <p:grpSpPr bwMode="auto">
            <a:xfrm>
              <a:off x="417906" y="4263727"/>
              <a:ext cx="202275" cy="226804"/>
              <a:chOff x="4176" y="3243"/>
              <a:chExt cx="602" cy="675"/>
            </a:xfrm>
            <a:solidFill>
              <a:schemeClr val="bg1"/>
            </a:solidFill>
          </p:grpSpPr>
          <p:sp>
            <p:nvSpPr>
              <p:cNvPr id="128" name="Freeform 203"/>
              <p:cNvSpPr>
                <a:spLocks/>
              </p:cNvSpPr>
              <p:nvPr/>
            </p:nvSpPr>
            <p:spPr bwMode="auto">
              <a:xfrm>
                <a:off x="4184" y="3243"/>
                <a:ext cx="594" cy="675"/>
              </a:xfrm>
              <a:custGeom>
                <a:avLst/>
                <a:gdLst>
                  <a:gd name="T0" fmla="*/ 2818 w 2971"/>
                  <a:gd name="T1" fmla="*/ 0 h 3374"/>
                  <a:gd name="T2" fmla="*/ 2877 w 2971"/>
                  <a:gd name="T3" fmla="*/ 12 h 3374"/>
                  <a:gd name="T4" fmla="*/ 2926 w 2971"/>
                  <a:gd name="T5" fmla="*/ 45 h 3374"/>
                  <a:gd name="T6" fmla="*/ 2958 w 2971"/>
                  <a:gd name="T7" fmla="*/ 93 h 3374"/>
                  <a:gd name="T8" fmla="*/ 2971 w 2971"/>
                  <a:gd name="T9" fmla="*/ 154 h 3374"/>
                  <a:gd name="T10" fmla="*/ 2960 w 2971"/>
                  <a:gd name="T11" fmla="*/ 207 h 3374"/>
                  <a:gd name="T12" fmla="*/ 2934 w 2971"/>
                  <a:gd name="T13" fmla="*/ 252 h 3374"/>
                  <a:gd name="T14" fmla="*/ 2894 w 2971"/>
                  <a:gd name="T15" fmla="*/ 285 h 3374"/>
                  <a:gd name="T16" fmla="*/ 2892 w 2971"/>
                  <a:gd name="T17" fmla="*/ 2091 h 3374"/>
                  <a:gd name="T18" fmla="*/ 2872 w 2971"/>
                  <a:gd name="T19" fmla="*/ 2124 h 3374"/>
                  <a:gd name="T20" fmla="*/ 2838 w 2971"/>
                  <a:gd name="T21" fmla="*/ 2145 h 3374"/>
                  <a:gd name="T22" fmla="*/ 2197 w 2971"/>
                  <a:gd name="T23" fmla="*/ 2147 h 3374"/>
                  <a:gd name="T24" fmla="*/ 2475 w 2971"/>
                  <a:gd name="T25" fmla="*/ 3208 h 3374"/>
                  <a:gd name="T26" fmla="*/ 2469 w 2971"/>
                  <a:gd name="T27" fmla="*/ 3261 h 3374"/>
                  <a:gd name="T28" fmla="*/ 2448 w 2971"/>
                  <a:gd name="T29" fmla="*/ 3309 h 3374"/>
                  <a:gd name="T30" fmla="*/ 2411 w 2971"/>
                  <a:gd name="T31" fmla="*/ 3346 h 3374"/>
                  <a:gd name="T32" fmla="*/ 2362 w 2971"/>
                  <a:gd name="T33" fmla="*/ 3370 h 3374"/>
                  <a:gd name="T34" fmla="*/ 2323 w 2971"/>
                  <a:gd name="T35" fmla="*/ 3374 h 3374"/>
                  <a:gd name="T36" fmla="*/ 2267 w 2971"/>
                  <a:gd name="T37" fmla="*/ 3363 h 3374"/>
                  <a:gd name="T38" fmla="*/ 2220 w 2971"/>
                  <a:gd name="T39" fmla="*/ 3334 h 3374"/>
                  <a:gd name="T40" fmla="*/ 2186 w 2971"/>
                  <a:gd name="T41" fmla="*/ 3288 h 3374"/>
                  <a:gd name="T42" fmla="*/ 1902 w 2971"/>
                  <a:gd name="T43" fmla="*/ 2224 h 3374"/>
                  <a:gd name="T44" fmla="*/ 794 w 2971"/>
                  <a:gd name="T45" fmla="*/ 3260 h 3374"/>
                  <a:gd name="T46" fmla="*/ 771 w 2971"/>
                  <a:gd name="T47" fmla="*/ 3309 h 3374"/>
                  <a:gd name="T48" fmla="*/ 734 w 2971"/>
                  <a:gd name="T49" fmla="*/ 3346 h 3374"/>
                  <a:gd name="T50" fmla="*/ 687 w 2971"/>
                  <a:gd name="T51" fmla="*/ 3369 h 3374"/>
                  <a:gd name="T52" fmla="*/ 635 w 2971"/>
                  <a:gd name="T53" fmla="*/ 3374 h 3374"/>
                  <a:gd name="T54" fmla="*/ 581 w 2971"/>
                  <a:gd name="T55" fmla="*/ 3360 h 3374"/>
                  <a:gd name="T56" fmla="*/ 538 w 2971"/>
                  <a:gd name="T57" fmla="*/ 3329 h 3374"/>
                  <a:gd name="T58" fmla="*/ 509 w 2971"/>
                  <a:gd name="T59" fmla="*/ 3286 h 3374"/>
                  <a:gd name="T60" fmla="*/ 495 w 2971"/>
                  <a:gd name="T61" fmla="*/ 3236 h 3374"/>
                  <a:gd name="T62" fmla="*/ 500 w 2971"/>
                  <a:gd name="T63" fmla="*/ 3181 h 3374"/>
                  <a:gd name="T64" fmla="*/ 639 w 2971"/>
                  <a:gd name="T65" fmla="*/ 2147 h 3374"/>
                  <a:gd name="T66" fmla="*/ 729 w 2971"/>
                  <a:gd name="T67" fmla="*/ 2048 h 3374"/>
                  <a:gd name="T68" fmla="*/ 2742 w 2971"/>
                  <a:gd name="T69" fmla="*/ 1994 h 3374"/>
                  <a:gd name="T70" fmla="*/ 227 w 2971"/>
                  <a:gd name="T71" fmla="*/ 307 h 3374"/>
                  <a:gd name="T72" fmla="*/ 184 w 2971"/>
                  <a:gd name="T73" fmla="*/ 1953 h 3374"/>
                  <a:gd name="T74" fmla="*/ 108 w 2971"/>
                  <a:gd name="T75" fmla="*/ 2023 h 3374"/>
                  <a:gd name="T76" fmla="*/ 76 w 2971"/>
                  <a:gd name="T77" fmla="*/ 285 h 3374"/>
                  <a:gd name="T78" fmla="*/ 36 w 2971"/>
                  <a:gd name="T79" fmla="*/ 252 h 3374"/>
                  <a:gd name="T80" fmla="*/ 9 w 2971"/>
                  <a:gd name="T81" fmla="*/ 207 h 3374"/>
                  <a:gd name="T82" fmla="*/ 0 w 2971"/>
                  <a:gd name="T83" fmla="*/ 154 h 3374"/>
                  <a:gd name="T84" fmla="*/ 12 w 2971"/>
                  <a:gd name="T85" fmla="*/ 93 h 3374"/>
                  <a:gd name="T86" fmla="*/ 44 w 2971"/>
                  <a:gd name="T87" fmla="*/ 45 h 3374"/>
                  <a:gd name="T88" fmla="*/ 93 w 2971"/>
                  <a:gd name="T89" fmla="*/ 12 h 3374"/>
                  <a:gd name="T90" fmla="*/ 152 w 2971"/>
                  <a:gd name="T91" fmla="*/ 0 h 3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1" h="3374">
                    <a:moveTo>
                      <a:pt x="152" y="0"/>
                    </a:moveTo>
                    <a:lnTo>
                      <a:pt x="2818" y="0"/>
                    </a:lnTo>
                    <a:lnTo>
                      <a:pt x="2849" y="3"/>
                    </a:lnTo>
                    <a:lnTo>
                      <a:pt x="2877" y="12"/>
                    </a:lnTo>
                    <a:lnTo>
                      <a:pt x="2904" y="27"/>
                    </a:lnTo>
                    <a:lnTo>
                      <a:pt x="2926" y="45"/>
                    </a:lnTo>
                    <a:lnTo>
                      <a:pt x="2945" y="68"/>
                    </a:lnTo>
                    <a:lnTo>
                      <a:pt x="2958" y="93"/>
                    </a:lnTo>
                    <a:lnTo>
                      <a:pt x="2968" y="123"/>
                    </a:lnTo>
                    <a:lnTo>
                      <a:pt x="2971" y="154"/>
                    </a:lnTo>
                    <a:lnTo>
                      <a:pt x="2968" y="181"/>
                    </a:lnTo>
                    <a:lnTo>
                      <a:pt x="2960" y="207"/>
                    </a:lnTo>
                    <a:lnTo>
                      <a:pt x="2950" y="231"/>
                    </a:lnTo>
                    <a:lnTo>
                      <a:pt x="2934" y="252"/>
                    </a:lnTo>
                    <a:lnTo>
                      <a:pt x="2916" y="271"/>
                    </a:lnTo>
                    <a:lnTo>
                      <a:pt x="2894" y="285"/>
                    </a:lnTo>
                    <a:lnTo>
                      <a:pt x="2894" y="2070"/>
                    </a:lnTo>
                    <a:lnTo>
                      <a:pt x="2892" y="2091"/>
                    </a:lnTo>
                    <a:lnTo>
                      <a:pt x="2883" y="2110"/>
                    </a:lnTo>
                    <a:lnTo>
                      <a:pt x="2872" y="2124"/>
                    </a:lnTo>
                    <a:lnTo>
                      <a:pt x="2856" y="2137"/>
                    </a:lnTo>
                    <a:lnTo>
                      <a:pt x="2838" y="2145"/>
                    </a:lnTo>
                    <a:lnTo>
                      <a:pt x="2818" y="2147"/>
                    </a:lnTo>
                    <a:lnTo>
                      <a:pt x="2197" y="2147"/>
                    </a:lnTo>
                    <a:lnTo>
                      <a:pt x="2470" y="3181"/>
                    </a:lnTo>
                    <a:lnTo>
                      <a:pt x="2475" y="3208"/>
                    </a:lnTo>
                    <a:lnTo>
                      <a:pt x="2475" y="3235"/>
                    </a:lnTo>
                    <a:lnTo>
                      <a:pt x="2469" y="3261"/>
                    </a:lnTo>
                    <a:lnTo>
                      <a:pt x="2461" y="3286"/>
                    </a:lnTo>
                    <a:lnTo>
                      <a:pt x="2448" y="3309"/>
                    </a:lnTo>
                    <a:lnTo>
                      <a:pt x="2432" y="3329"/>
                    </a:lnTo>
                    <a:lnTo>
                      <a:pt x="2411" y="3346"/>
                    </a:lnTo>
                    <a:lnTo>
                      <a:pt x="2388" y="3360"/>
                    </a:lnTo>
                    <a:lnTo>
                      <a:pt x="2362" y="3370"/>
                    </a:lnTo>
                    <a:lnTo>
                      <a:pt x="2343" y="3373"/>
                    </a:lnTo>
                    <a:lnTo>
                      <a:pt x="2323" y="3374"/>
                    </a:lnTo>
                    <a:lnTo>
                      <a:pt x="2295" y="3372"/>
                    </a:lnTo>
                    <a:lnTo>
                      <a:pt x="2267" y="3363"/>
                    </a:lnTo>
                    <a:lnTo>
                      <a:pt x="2243" y="3351"/>
                    </a:lnTo>
                    <a:lnTo>
                      <a:pt x="2220" y="3334"/>
                    </a:lnTo>
                    <a:lnTo>
                      <a:pt x="2201" y="3313"/>
                    </a:lnTo>
                    <a:lnTo>
                      <a:pt x="2186" y="3288"/>
                    </a:lnTo>
                    <a:lnTo>
                      <a:pt x="2176" y="3260"/>
                    </a:lnTo>
                    <a:lnTo>
                      <a:pt x="1902" y="2224"/>
                    </a:lnTo>
                    <a:lnTo>
                      <a:pt x="1069" y="2224"/>
                    </a:lnTo>
                    <a:lnTo>
                      <a:pt x="794" y="3260"/>
                    </a:lnTo>
                    <a:lnTo>
                      <a:pt x="785" y="3287"/>
                    </a:lnTo>
                    <a:lnTo>
                      <a:pt x="771" y="3309"/>
                    </a:lnTo>
                    <a:lnTo>
                      <a:pt x="754" y="3329"/>
                    </a:lnTo>
                    <a:lnTo>
                      <a:pt x="734" y="3346"/>
                    </a:lnTo>
                    <a:lnTo>
                      <a:pt x="712" y="3360"/>
                    </a:lnTo>
                    <a:lnTo>
                      <a:pt x="687" y="3369"/>
                    </a:lnTo>
                    <a:lnTo>
                      <a:pt x="662" y="3374"/>
                    </a:lnTo>
                    <a:lnTo>
                      <a:pt x="635" y="3374"/>
                    </a:lnTo>
                    <a:lnTo>
                      <a:pt x="608" y="3370"/>
                    </a:lnTo>
                    <a:lnTo>
                      <a:pt x="581" y="3360"/>
                    </a:lnTo>
                    <a:lnTo>
                      <a:pt x="558" y="3346"/>
                    </a:lnTo>
                    <a:lnTo>
                      <a:pt x="538" y="3329"/>
                    </a:lnTo>
                    <a:lnTo>
                      <a:pt x="522" y="3309"/>
                    </a:lnTo>
                    <a:lnTo>
                      <a:pt x="509" y="3286"/>
                    </a:lnTo>
                    <a:lnTo>
                      <a:pt x="500" y="3261"/>
                    </a:lnTo>
                    <a:lnTo>
                      <a:pt x="495" y="3236"/>
                    </a:lnTo>
                    <a:lnTo>
                      <a:pt x="495" y="3208"/>
                    </a:lnTo>
                    <a:lnTo>
                      <a:pt x="500" y="3181"/>
                    </a:lnTo>
                    <a:lnTo>
                      <a:pt x="773" y="2147"/>
                    </a:lnTo>
                    <a:lnTo>
                      <a:pt x="639" y="2147"/>
                    </a:lnTo>
                    <a:lnTo>
                      <a:pt x="683" y="2099"/>
                    </a:lnTo>
                    <a:lnTo>
                      <a:pt x="729" y="2048"/>
                    </a:lnTo>
                    <a:lnTo>
                      <a:pt x="778" y="1994"/>
                    </a:lnTo>
                    <a:lnTo>
                      <a:pt x="2742" y="1994"/>
                    </a:lnTo>
                    <a:lnTo>
                      <a:pt x="2742" y="307"/>
                    </a:lnTo>
                    <a:lnTo>
                      <a:pt x="227" y="307"/>
                    </a:lnTo>
                    <a:lnTo>
                      <a:pt x="227" y="1912"/>
                    </a:lnTo>
                    <a:lnTo>
                      <a:pt x="184" y="1953"/>
                    </a:lnTo>
                    <a:lnTo>
                      <a:pt x="144" y="1989"/>
                    </a:lnTo>
                    <a:lnTo>
                      <a:pt x="108" y="2023"/>
                    </a:lnTo>
                    <a:lnTo>
                      <a:pt x="76" y="2052"/>
                    </a:lnTo>
                    <a:lnTo>
                      <a:pt x="76" y="285"/>
                    </a:lnTo>
                    <a:lnTo>
                      <a:pt x="55" y="271"/>
                    </a:lnTo>
                    <a:lnTo>
                      <a:pt x="36" y="252"/>
                    </a:lnTo>
                    <a:lnTo>
                      <a:pt x="21" y="231"/>
                    </a:lnTo>
                    <a:lnTo>
                      <a:pt x="9" y="207"/>
                    </a:lnTo>
                    <a:lnTo>
                      <a:pt x="2" y="181"/>
                    </a:lnTo>
                    <a:lnTo>
                      <a:pt x="0" y="154"/>
                    </a:lnTo>
                    <a:lnTo>
                      <a:pt x="3" y="123"/>
                    </a:lnTo>
                    <a:lnTo>
                      <a:pt x="12" y="93"/>
                    </a:lnTo>
                    <a:lnTo>
                      <a:pt x="25" y="68"/>
                    </a:lnTo>
                    <a:lnTo>
                      <a:pt x="44" y="45"/>
                    </a:lnTo>
                    <a:lnTo>
                      <a:pt x="66" y="27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9" name="Freeform 204"/>
              <p:cNvSpPr>
                <a:spLocks/>
              </p:cNvSpPr>
              <p:nvPr/>
            </p:nvSpPr>
            <p:spPr bwMode="auto">
              <a:xfrm>
                <a:off x="4443" y="3439"/>
                <a:ext cx="60" cy="176"/>
              </a:xfrm>
              <a:custGeom>
                <a:avLst/>
                <a:gdLst>
                  <a:gd name="T0" fmla="*/ 153 w 304"/>
                  <a:gd name="T1" fmla="*/ 0 h 881"/>
                  <a:gd name="T2" fmla="*/ 183 w 304"/>
                  <a:gd name="T3" fmla="*/ 3 h 881"/>
                  <a:gd name="T4" fmla="*/ 211 w 304"/>
                  <a:gd name="T5" fmla="*/ 12 h 881"/>
                  <a:gd name="T6" fmla="*/ 237 w 304"/>
                  <a:gd name="T7" fmla="*/ 25 h 881"/>
                  <a:gd name="T8" fmla="*/ 260 w 304"/>
                  <a:gd name="T9" fmla="*/ 44 h 881"/>
                  <a:gd name="T10" fmla="*/ 278 w 304"/>
                  <a:gd name="T11" fmla="*/ 68 h 881"/>
                  <a:gd name="T12" fmla="*/ 293 w 304"/>
                  <a:gd name="T13" fmla="*/ 93 h 881"/>
                  <a:gd name="T14" fmla="*/ 301 w 304"/>
                  <a:gd name="T15" fmla="*/ 122 h 881"/>
                  <a:gd name="T16" fmla="*/ 304 w 304"/>
                  <a:gd name="T17" fmla="*/ 154 h 881"/>
                  <a:gd name="T18" fmla="*/ 304 w 304"/>
                  <a:gd name="T19" fmla="*/ 729 h 881"/>
                  <a:gd name="T20" fmla="*/ 301 w 304"/>
                  <a:gd name="T21" fmla="*/ 759 h 881"/>
                  <a:gd name="T22" fmla="*/ 293 w 304"/>
                  <a:gd name="T23" fmla="*/ 788 h 881"/>
                  <a:gd name="T24" fmla="*/ 278 w 304"/>
                  <a:gd name="T25" fmla="*/ 814 h 881"/>
                  <a:gd name="T26" fmla="*/ 260 w 304"/>
                  <a:gd name="T27" fmla="*/ 837 h 881"/>
                  <a:gd name="T28" fmla="*/ 237 w 304"/>
                  <a:gd name="T29" fmla="*/ 856 h 881"/>
                  <a:gd name="T30" fmla="*/ 211 w 304"/>
                  <a:gd name="T31" fmla="*/ 870 h 881"/>
                  <a:gd name="T32" fmla="*/ 183 w 304"/>
                  <a:gd name="T33" fmla="*/ 878 h 881"/>
                  <a:gd name="T34" fmla="*/ 153 w 304"/>
                  <a:gd name="T35" fmla="*/ 881 h 881"/>
                  <a:gd name="T36" fmla="*/ 121 w 304"/>
                  <a:gd name="T37" fmla="*/ 878 h 881"/>
                  <a:gd name="T38" fmla="*/ 92 w 304"/>
                  <a:gd name="T39" fmla="*/ 870 h 881"/>
                  <a:gd name="T40" fmla="*/ 67 w 304"/>
                  <a:gd name="T41" fmla="*/ 856 h 881"/>
                  <a:gd name="T42" fmla="*/ 44 w 304"/>
                  <a:gd name="T43" fmla="*/ 837 h 881"/>
                  <a:gd name="T44" fmla="*/ 26 w 304"/>
                  <a:gd name="T45" fmla="*/ 814 h 881"/>
                  <a:gd name="T46" fmla="*/ 11 w 304"/>
                  <a:gd name="T47" fmla="*/ 788 h 881"/>
                  <a:gd name="T48" fmla="*/ 3 w 304"/>
                  <a:gd name="T49" fmla="*/ 759 h 881"/>
                  <a:gd name="T50" fmla="*/ 0 w 304"/>
                  <a:gd name="T51" fmla="*/ 729 h 881"/>
                  <a:gd name="T52" fmla="*/ 0 w 304"/>
                  <a:gd name="T53" fmla="*/ 154 h 881"/>
                  <a:gd name="T54" fmla="*/ 3 w 304"/>
                  <a:gd name="T55" fmla="*/ 122 h 881"/>
                  <a:gd name="T56" fmla="*/ 11 w 304"/>
                  <a:gd name="T57" fmla="*/ 93 h 881"/>
                  <a:gd name="T58" fmla="*/ 26 w 304"/>
                  <a:gd name="T59" fmla="*/ 68 h 881"/>
                  <a:gd name="T60" fmla="*/ 44 w 304"/>
                  <a:gd name="T61" fmla="*/ 44 h 881"/>
                  <a:gd name="T62" fmla="*/ 67 w 304"/>
                  <a:gd name="T63" fmla="*/ 25 h 881"/>
                  <a:gd name="T64" fmla="*/ 92 w 304"/>
                  <a:gd name="T65" fmla="*/ 12 h 881"/>
                  <a:gd name="T66" fmla="*/ 121 w 304"/>
                  <a:gd name="T67" fmla="*/ 3 h 881"/>
                  <a:gd name="T68" fmla="*/ 153 w 304"/>
                  <a:gd name="T69" fmla="*/ 0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881">
                    <a:moveTo>
                      <a:pt x="153" y="0"/>
                    </a:moveTo>
                    <a:lnTo>
                      <a:pt x="183" y="3"/>
                    </a:lnTo>
                    <a:lnTo>
                      <a:pt x="211" y="12"/>
                    </a:lnTo>
                    <a:lnTo>
                      <a:pt x="237" y="25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4" y="154"/>
                    </a:lnTo>
                    <a:lnTo>
                      <a:pt x="304" y="729"/>
                    </a:lnTo>
                    <a:lnTo>
                      <a:pt x="301" y="759"/>
                    </a:lnTo>
                    <a:lnTo>
                      <a:pt x="293" y="788"/>
                    </a:lnTo>
                    <a:lnTo>
                      <a:pt x="278" y="814"/>
                    </a:lnTo>
                    <a:lnTo>
                      <a:pt x="260" y="837"/>
                    </a:lnTo>
                    <a:lnTo>
                      <a:pt x="237" y="856"/>
                    </a:lnTo>
                    <a:lnTo>
                      <a:pt x="211" y="870"/>
                    </a:lnTo>
                    <a:lnTo>
                      <a:pt x="183" y="878"/>
                    </a:lnTo>
                    <a:lnTo>
                      <a:pt x="153" y="881"/>
                    </a:lnTo>
                    <a:lnTo>
                      <a:pt x="121" y="878"/>
                    </a:lnTo>
                    <a:lnTo>
                      <a:pt x="92" y="870"/>
                    </a:lnTo>
                    <a:lnTo>
                      <a:pt x="67" y="856"/>
                    </a:lnTo>
                    <a:lnTo>
                      <a:pt x="44" y="837"/>
                    </a:lnTo>
                    <a:lnTo>
                      <a:pt x="26" y="814"/>
                    </a:lnTo>
                    <a:lnTo>
                      <a:pt x="11" y="788"/>
                    </a:lnTo>
                    <a:lnTo>
                      <a:pt x="3" y="759"/>
                    </a:lnTo>
                    <a:lnTo>
                      <a:pt x="0" y="729"/>
                    </a:lnTo>
                    <a:lnTo>
                      <a:pt x="0" y="154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5"/>
                    </a:lnTo>
                    <a:lnTo>
                      <a:pt x="92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0" name="Freeform 205"/>
              <p:cNvSpPr>
                <a:spLocks/>
              </p:cNvSpPr>
              <p:nvPr/>
            </p:nvSpPr>
            <p:spPr bwMode="auto">
              <a:xfrm>
                <a:off x="4542" y="3331"/>
                <a:ext cx="60" cy="284"/>
              </a:xfrm>
              <a:custGeom>
                <a:avLst/>
                <a:gdLst>
                  <a:gd name="T0" fmla="*/ 153 w 304"/>
                  <a:gd name="T1" fmla="*/ 0 h 1418"/>
                  <a:gd name="T2" fmla="*/ 183 w 304"/>
                  <a:gd name="T3" fmla="*/ 3 h 1418"/>
                  <a:gd name="T4" fmla="*/ 212 w 304"/>
                  <a:gd name="T5" fmla="*/ 12 h 1418"/>
                  <a:gd name="T6" fmla="*/ 237 w 304"/>
                  <a:gd name="T7" fmla="*/ 26 h 1418"/>
                  <a:gd name="T8" fmla="*/ 260 w 304"/>
                  <a:gd name="T9" fmla="*/ 45 h 1418"/>
                  <a:gd name="T10" fmla="*/ 278 w 304"/>
                  <a:gd name="T11" fmla="*/ 67 h 1418"/>
                  <a:gd name="T12" fmla="*/ 293 w 304"/>
                  <a:gd name="T13" fmla="*/ 94 h 1418"/>
                  <a:gd name="T14" fmla="*/ 301 w 304"/>
                  <a:gd name="T15" fmla="*/ 122 h 1418"/>
                  <a:gd name="T16" fmla="*/ 304 w 304"/>
                  <a:gd name="T17" fmla="*/ 153 h 1418"/>
                  <a:gd name="T18" fmla="*/ 304 w 304"/>
                  <a:gd name="T19" fmla="*/ 1266 h 1418"/>
                  <a:gd name="T20" fmla="*/ 301 w 304"/>
                  <a:gd name="T21" fmla="*/ 1296 h 1418"/>
                  <a:gd name="T22" fmla="*/ 293 w 304"/>
                  <a:gd name="T23" fmla="*/ 1325 h 1418"/>
                  <a:gd name="T24" fmla="*/ 278 w 304"/>
                  <a:gd name="T25" fmla="*/ 1351 h 1418"/>
                  <a:gd name="T26" fmla="*/ 260 w 304"/>
                  <a:gd name="T27" fmla="*/ 1374 h 1418"/>
                  <a:gd name="T28" fmla="*/ 237 w 304"/>
                  <a:gd name="T29" fmla="*/ 1393 h 1418"/>
                  <a:gd name="T30" fmla="*/ 212 w 304"/>
                  <a:gd name="T31" fmla="*/ 1407 h 1418"/>
                  <a:gd name="T32" fmla="*/ 183 w 304"/>
                  <a:gd name="T33" fmla="*/ 1415 h 1418"/>
                  <a:gd name="T34" fmla="*/ 153 w 304"/>
                  <a:gd name="T35" fmla="*/ 1418 h 1418"/>
                  <a:gd name="T36" fmla="*/ 121 w 304"/>
                  <a:gd name="T37" fmla="*/ 1415 h 1418"/>
                  <a:gd name="T38" fmla="*/ 93 w 304"/>
                  <a:gd name="T39" fmla="*/ 1407 h 1418"/>
                  <a:gd name="T40" fmla="*/ 67 w 304"/>
                  <a:gd name="T41" fmla="*/ 1393 h 1418"/>
                  <a:gd name="T42" fmla="*/ 44 w 304"/>
                  <a:gd name="T43" fmla="*/ 1374 h 1418"/>
                  <a:gd name="T44" fmla="*/ 26 w 304"/>
                  <a:gd name="T45" fmla="*/ 1351 h 1418"/>
                  <a:gd name="T46" fmla="*/ 11 w 304"/>
                  <a:gd name="T47" fmla="*/ 1325 h 1418"/>
                  <a:gd name="T48" fmla="*/ 3 w 304"/>
                  <a:gd name="T49" fmla="*/ 1296 h 1418"/>
                  <a:gd name="T50" fmla="*/ 0 w 304"/>
                  <a:gd name="T51" fmla="*/ 1266 h 1418"/>
                  <a:gd name="T52" fmla="*/ 0 w 304"/>
                  <a:gd name="T53" fmla="*/ 153 h 1418"/>
                  <a:gd name="T54" fmla="*/ 3 w 304"/>
                  <a:gd name="T55" fmla="*/ 122 h 1418"/>
                  <a:gd name="T56" fmla="*/ 11 w 304"/>
                  <a:gd name="T57" fmla="*/ 94 h 1418"/>
                  <a:gd name="T58" fmla="*/ 26 w 304"/>
                  <a:gd name="T59" fmla="*/ 67 h 1418"/>
                  <a:gd name="T60" fmla="*/ 44 w 304"/>
                  <a:gd name="T61" fmla="*/ 45 h 1418"/>
                  <a:gd name="T62" fmla="*/ 67 w 304"/>
                  <a:gd name="T63" fmla="*/ 26 h 1418"/>
                  <a:gd name="T64" fmla="*/ 93 w 304"/>
                  <a:gd name="T65" fmla="*/ 12 h 1418"/>
                  <a:gd name="T66" fmla="*/ 121 w 304"/>
                  <a:gd name="T67" fmla="*/ 3 h 1418"/>
                  <a:gd name="T68" fmla="*/ 153 w 304"/>
                  <a:gd name="T69" fmla="*/ 0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1418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2"/>
                    </a:lnTo>
                    <a:lnTo>
                      <a:pt x="237" y="26"/>
                    </a:lnTo>
                    <a:lnTo>
                      <a:pt x="260" y="45"/>
                    </a:lnTo>
                    <a:lnTo>
                      <a:pt x="278" y="67"/>
                    </a:lnTo>
                    <a:lnTo>
                      <a:pt x="293" y="94"/>
                    </a:lnTo>
                    <a:lnTo>
                      <a:pt x="301" y="122"/>
                    </a:lnTo>
                    <a:lnTo>
                      <a:pt x="304" y="153"/>
                    </a:lnTo>
                    <a:lnTo>
                      <a:pt x="304" y="1266"/>
                    </a:lnTo>
                    <a:lnTo>
                      <a:pt x="301" y="1296"/>
                    </a:lnTo>
                    <a:lnTo>
                      <a:pt x="293" y="1325"/>
                    </a:lnTo>
                    <a:lnTo>
                      <a:pt x="278" y="1351"/>
                    </a:lnTo>
                    <a:lnTo>
                      <a:pt x="260" y="1374"/>
                    </a:lnTo>
                    <a:lnTo>
                      <a:pt x="237" y="1393"/>
                    </a:lnTo>
                    <a:lnTo>
                      <a:pt x="212" y="1407"/>
                    </a:lnTo>
                    <a:lnTo>
                      <a:pt x="183" y="1415"/>
                    </a:lnTo>
                    <a:lnTo>
                      <a:pt x="153" y="1418"/>
                    </a:lnTo>
                    <a:lnTo>
                      <a:pt x="121" y="1415"/>
                    </a:lnTo>
                    <a:lnTo>
                      <a:pt x="93" y="1407"/>
                    </a:lnTo>
                    <a:lnTo>
                      <a:pt x="67" y="1393"/>
                    </a:lnTo>
                    <a:lnTo>
                      <a:pt x="44" y="1374"/>
                    </a:lnTo>
                    <a:lnTo>
                      <a:pt x="26" y="1351"/>
                    </a:lnTo>
                    <a:lnTo>
                      <a:pt x="11" y="1325"/>
                    </a:lnTo>
                    <a:lnTo>
                      <a:pt x="3" y="1296"/>
                    </a:lnTo>
                    <a:lnTo>
                      <a:pt x="0" y="1266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4"/>
                    </a:lnTo>
                    <a:lnTo>
                      <a:pt x="26" y="67"/>
                    </a:lnTo>
                    <a:lnTo>
                      <a:pt x="44" y="45"/>
                    </a:lnTo>
                    <a:lnTo>
                      <a:pt x="67" y="26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1" name="Freeform 206"/>
              <p:cNvSpPr>
                <a:spLocks/>
              </p:cNvSpPr>
              <p:nvPr/>
            </p:nvSpPr>
            <p:spPr bwMode="auto">
              <a:xfrm>
                <a:off x="4641" y="3393"/>
                <a:ext cx="61" cy="222"/>
              </a:xfrm>
              <a:custGeom>
                <a:avLst/>
                <a:gdLst>
                  <a:gd name="T0" fmla="*/ 153 w 305"/>
                  <a:gd name="T1" fmla="*/ 0 h 1111"/>
                  <a:gd name="T2" fmla="*/ 183 w 305"/>
                  <a:gd name="T3" fmla="*/ 3 h 1111"/>
                  <a:gd name="T4" fmla="*/ 212 w 305"/>
                  <a:gd name="T5" fmla="*/ 11 h 1111"/>
                  <a:gd name="T6" fmla="*/ 237 w 305"/>
                  <a:gd name="T7" fmla="*/ 26 h 1111"/>
                  <a:gd name="T8" fmla="*/ 260 w 305"/>
                  <a:gd name="T9" fmla="*/ 44 h 1111"/>
                  <a:gd name="T10" fmla="*/ 278 w 305"/>
                  <a:gd name="T11" fmla="*/ 68 h 1111"/>
                  <a:gd name="T12" fmla="*/ 293 w 305"/>
                  <a:gd name="T13" fmla="*/ 93 h 1111"/>
                  <a:gd name="T14" fmla="*/ 301 w 305"/>
                  <a:gd name="T15" fmla="*/ 122 h 1111"/>
                  <a:gd name="T16" fmla="*/ 305 w 305"/>
                  <a:gd name="T17" fmla="*/ 153 h 1111"/>
                  <a:gd name="T18" fmla="*/ 305 w 305"/>
                  <a:gd name="T19" fmla="*/ 959 h 1111"/>
                  <a:gd name="T20" fmla="*/ 301 w 305"/>
                  <a:gd name="T21" fmla="*/ 989 h 1111"/>
                  <a:gd name="T22" fmla="*/ 293 w 305"/>
                  <a:gd name="T23" fmla="*/ 1018 h 1111"/>
                  <a:gd name="T24" fmla="*/ 278 w 305"/>
                  <a:gd name="T25" fmla="*/ 1044 h 1111"/>
                  <a:gd name="T26" fmla="*/ 260 w 305"/>
                  <a:gd name="T27" fmla="*/ 1067 h 1111"/>
                  <a:gd name="T28" fmla="*/ 237 w 305"/>
                  <a:gd name="T29" fmla="*/ 1086 h 1111"/>
                  <a:gd name="T30" fmla="*/ 212 w 305"/>
                  <a:gd name="T31" fmla="*/ 1100 h 1111"/>
                  <a:gd name="T32" fmla="*/ 183 w 305"/>
                  <a:gd name="T33" fmla="*/ 1108 h 1111"/>
                  <a:gd name="T34" fmla="*/ 153 w 305"/>
                  <a:gd name="T35" fmla="*/ 1111 h 1111"/>
                  <a:gd name="T36" fmla="*/ 121 w 305"/>
                  <a:gd name="T37" fmla="*/ 1108 h 1111"/>
                  <a:gd name="T38" fmla="*/ 93 w 305"/>
                  <a:gd name="T39" fmla="*/ 1100 h 1111"/>
                  <a:gd name="T40" fmla="*/ 67 w 305"/>
                  <a:gd name="T41" fmla="*/ 1086 h 1111"/>
                  <a:gd name="T42" fmla="*/ 44 w 305"/>
                  <a:gd name="T43" fmla="*/ 1067 h 1111"/>
                  <a:gd name="T44" fmla="*/ 26 w 305"/>
                  <a:gd name="T45" fmla="*/ 1044 h 1111"/>
                  <a:gd name="T46" fmla="*/ 12 w 305"/>
                  <a:gd name="T47" fmla="*/ 1018 h 1111"/>
                  <a:gd name="T48" fmla="*/ 3 w 305"/>
                  <a:gd name="T49" fmla="*/ 989 h 1111"/>
                  <a:gd name="T50" fmla="*/ 0 w 305"/>
                  <a:gd name="T51" fmla="*/ 959 h 1111"/>
                  <a:gd name="T52" fmla="*/ 0 w 305"/>
                  <a:gd name="T53" fmla="*/ 153 h 1111"/>
                  <a:gd name="T54" fmla="*/ 3 w 305"/>
                  <a:gd name="T55" fmla="*/ 122 h 1111"/>
                  <a:gd name="T56" fmla="*/ 12 w 305"/>
                  <a:gd name="T57" fmla="*/ 93 h 1111"/>
                  <a:gd name="T58" fmla="*/ 26 w 305"/>
                  <a:gd name="T59" fmla="*/ 68 h 1111"/>
                  <a:gd name="T60" fmla="*/ 44 w 305"/>
                  <a:gd name="T61" fmla="*/ 44 h 1111"/>
                  <a:gd name="T62" fmla="*/ 67 w 305"/>
                  <a:gd name="T63" fmla="*/ 26 h 1111"/>
                  <a:gd name="T64" fmla="*/ 93 w 305"/>
                  <a:gd name="T65" fmla="*/ 11 h 1111"/>
                  <a:gd name="T66" fmla="*/ 121 w 305"/>
                  <a:gd name="T67" fmla="*/ 3 h 1111"/>
                  <a:gd name="T68" fmla="*/ 153 w 305"/>
                  <a:gd name="T69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5" h="1111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1"/>
                    </a:lnTo>
                    <a:lnTo>
                      <a:pt x="237" y="26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5" y="153"/>
                    </a:lnTo>
                    <a:lnTo>
                      <a:pt x="305" y="959"/>
                    </a:lnTo>
                    <a:lnTo>
                      <a:pt x="301" y="989"/>
                    </a:lnTo>
                    <a:lnTo>
                      <a:pt x="293" y="1018"/>
                    </a:lnTo>
                    <a:lnTo>
                      <a:pt x="278" y="1044"/>
                    </a:lnTo>
                    <a:lnTo>
                      <a:pt x="260" y="1067"/>
                    </a:lnTo>
                    <a:lnTo>
                      <a:pt x="237" y="1086"/>
                    </a:lnTo>
                    <a:lnTo>
                      <a:pt x="212" y="1100"/>
                    </a:lnTo>
                    <a:lnTo>
                      <a:pt x="183" y="1108"/>
                    </a:lnTo>
                    <a:lnTo>
                      <a:pt x="153" y="1111"/>
                    </a:lnTo>
                    <a:lnTo>
                      <a:pt x="121" y="1108"/>
                    </a:lnTo>
                    <a:lnTo>
                      <a:pt x="93" y="1100"/>
                    </a:lnTo>
                    <a:lnTo>
                      <a:pt x="67" y="1086"/>
                    </a:lnTo>
                    <a:lnTo>
                      <a:pt x="44" y="1067"/>
                    </a:lnTo>
                    <a:lnTo>
                      <a:pt x="26" y="1044"/>
                    </a:lnTo>
                    <a:lnTo>
                      <a:pt x="12" y="1018"/>
                    </a:lnTo>
                    <a:lnTo>
                      <a:pt x="3" y="989"/>
                    </a:lnTo>
                    <a:lnTo>
                      <a:pt x="0" y="959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2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6"/>
                    </a:lnTo>
                    <a:lnTo>
                      <a:pt x="93" y="11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2" name="Freeform 207"/>
              <p:cNvSpPr>
                <a:spLocks/>
              </p:cNvSpPr>
              <p:nvPr/>
            </p:nvSpPr>
            <p:spPr bwMode="auto">
              <a:xfrm>
                <a:off x="4176" y="3520"/>
                <a:ext cx="223" cy="225"/>
              </a:xfrm>
              <a:custGeom>
                <a:avLst/>
                <a:gdLst>
                  <a:gd name="T0" fmla="*/ 1085 w 1117"/>
                  <a:gd name="T1" fmla="*/ 0 h 1123"/>
                  <a:gd name="T2" fmla="*/ 1106 w 1117"/>
                  <a:gd name="T3" fmla="*/ 10 h 1123"/>
                  <a:gd name="T4" fmla="*/ 1117 w 1117"/>
                  <a:gd name="T5" fmla="*/ 31 h 1123"/>
                  <a:gd name="T6" fmla="*/ 1113 w 1117"/>
                  <a:gd name="T7" fmla="*/ 53 h 1123"/>
                  <a:gd name="T8" fmla="*/ 1104 w 1117"/>
                  <a:gd name="T9" fmla="*/ 66 h 1123"/>
                  <a:gd name="T10" fmla="*/ 1089 w 1117"/>
                  <a:gd name="T11" fmla="*/ 82 h 1123"/>
                  <a:gd name="T12" fmla="*/ 1062 w 1117"/>
                  <a:gd name="T13" fmla="*/ 112 h 1123"/>
                  <a:gd name="T14" fmla="*/ 1023 w 1117"/>
                  <a:gd name="T15" fmla="*/ 155 h 1123"/>
                  <a:gd name="T16" fmla="*/ 973 w 1117"/>
                  <a:gd name="T17" fmla="*/ 209 h 1123"/>
                  <a:gd name="T18" fmla="*/ 917 w 1117"/>
                  <a:gd name="T19" fmla="*/ 272 h 1123"/>
                  <a:gd name="T20" fmla="*/ 853 w 1117"/>
                  <a:gd name="T21" fmla="*/ 342 h 1123"/>
                  <a:gd name="T22" fmla="*/ 785 w 1117"/>
                  <a:gd name="T23" fmla="*/ 417 h 1123"/>
                  <a:gd name="T24" fmla="*/ 712 w 1117"/>
                  <a:gd name="T25" fmla="*/ 497 h 1123"/>
                  <a:gd name="T26" fmla="*/ 640 w 1117"/>
                  <a:gd name="T27" fmla="*/ 577 h 1123"/>
                  <a:gd name="T28" fmla="*/ 566 w 1117"/>
                  <a:gd name="T29" fmla="*/ 658 h 1123"/>
                  <a:gd name="T30" fmla="*/ 494 w 1117"/>
                  <a:gd name="T31" fmla="*/ 737 h 1123"/>
                  <a:gd name="T32" fmla="*/ 425 w 1117"/>
                  <a:gd name="T33" fmla="*/ 813 h 1123"/>
                  <a:gd name="T34" fmla="*/ 361 w 1117"/>
                  <a:gd name="T35" fmla="*/ 884 h 1123"/>
                  <a:gd name="T36" fmla="*/ 303 w 1117"/>
                  <a:gd name="T37" fmla="*/ 946 h 1123"/>
                  <a:gd name="T38" fmla="*/ 254 w 1117"/>
                  <a:gd name="T39" fmla="*/ 1001 h 1123"/>
                  <a:gd name="T40" fmla="*/ 215 w 1117"/>
                  <a:gd name="T41" fmla="*/ 1045 h 1123"/>
                  <a:gd name="T42" fmla="*/ 186 w 1117"/>
                  <a:gd name="T43" fmla="*/ 1076 h 1123"/>
                  <a:gd name="T44" fmla="*/ 171 w 1117"/>
                  <a:gd name="T45" fmla="*/ 1093 h 1123"/>
                  <a:gd name="T46" fmla="*/ 151 w 1117"/>
                  <a:gd name="T47" fmla="*/ 1110 h 1123"/>
                  <a:gd name="T48" fmla="*/ 110 w 1117"/>
                  <a:gd name="T49" fmla="*/ 1123 h 1123"/>
                  <a:gd name="T50" fmla="*/ 66 w 1117"/>
                  <a:gd name="T51" fmla="*/ 1119 h 1123"/>
                  <a:gd name="T52" fmla="*/ 28 w 1117"/>
                  <a:gd name="T53" fmla="*/ 1095 h 1123"/>
                  <a:gd name="T54" fmla="*/ 5 w 1117"/>
                  <a:gd name="T55" fmla="*/ 1057 h 1123"/>
                  <a:gd name="T56" fmla="*/ 0 w 1117"/>
                  <a:gd name="T57" fmla="*/ 1013 h 1123"/>
                  <a:gd name="T58" fmla="*/ 14 w 1117"/>
                  <a:gd name="T59" fmla="*/ 972 h 1123"/>
                  <a:gd name="T60" fmla="*/ 31 w 1117"/>
                  <a:gd name="T61" fmla="*/ 952 h 1123"/>
                  <a:gd name="T62" fmla="*/ 47 w 1117"/>
                  <a:gd name="T63" fmla="*/ 936 h 1123"/>
                  <a:gd name="T64" fmla="*/ 78 w 1117"/>
                  <a:gd name="T65" fmla="*/ 908 h 1123"/>
                  <a:gd name="T66" fmla="*/ 122 w 1117"/>
                  <a:gd name="T67" fmla="*/ 868 h 1123"/>
                  <a:gd name="T68" fmla="*/ 176 w 1117"/>
                  <a:gd name="T69" fmla="*/ 818 h 1123"/>
                  <a:gd name="T70" fmla="*/ 238 w 1117"/>
                  <a:gd name="T71" fmla="*/ 761 h 1123"/>
                  <a:gd name="T72" fmla="*/ 309 w 1117"/>
                  <a:gd name="T73" fmla="*/ 696 h 1123"/>
                  <a:gd name="T74" fmla="*/ 383 w 1117"/>
                  <a:gd name="T75" fmla="*/ 627 h 1123"/>
                  <a:gd name="T76" fmla="*/ 463 w 1117"/>
                  <a:gd name="T77" fmla="*/ 554 h 1123"/>
                  <a:gd name="T78" fmla="*/ 543 w 1117"/>
                  <a:gd name="T79" fmla="*/ 481 h 1123"/>
                  <a:gd name="T80" fmla="*/ 623 w 1117"/>
                  <a:gd name="T81" fmla="*/ 406 h 1123"/>
                  <a:gd name="T82" fmla="*/ 702 w 1117"/>
                  <a:gd name="T83" fmla="*/ 334 h 1123"/>
                  <a:gd name="T84" fmla="*/ 776 w 1117"/>
                  <a:gd name="T85" fmla="*/ 265 h 1123"/>
                  <a:gd name="T86" fmla="*/ 846 w 1117"/>
                  <a:gd name="T87" fmla="*/ 201 h 1123"/>
                  <a:gd name="T88" fmla="*/ 908 w 1117"/>
                  <a:gd name="T89" fmla="*/ 143 h 1123"/>
                  <a:gd name="T90" fmla="*/ 962 w 1117"/>
                  <a:gd name="T91" fmla="*/ 95 h 1123"/>
                  <a:gd name="T92" fmla="*/ 1005 w 1117"/>
                  <a:gd name="T93" fmla="*/ 54 h 1123"/>
                  <a:gd name="T94" fmla="*/ 1036 w 1117"/>
                  <a:gd name="T95" fmla="*/ 27 h 1123"/>
                  <a:gd name="T96" fmla="*/ 1051 w 1117"/>
                  <a:gd name="T97" fmla="*/ 12 h 1123"/>
                  <a:gd name="T98" fmla="*/ 1063 w 1117"/>
                  <a:gd name="T99" fmla="*/ 3 h 1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17" h="1123">
                    <a:moveTo>
                      <a:pt x="1074" y="0"/>
                    </a:moveTo>
                    <a:lnTo>
                      <a:pt x="1085" y="0"/>
                    </a:lnTo>
                    <a:lnTo>
                      <a:pt x="1096" y="3"/>
                    </a:lnTo>
                    <a:lnTo>
                      <a:pt x="1106" y="10"/>
                    </a:lnTo>
                    <a:lnTo>
                      <a:pt x="1113" y="20"/>
                    </a:lnTo>
                    <a:lnTo>
                      <a:pt x="1117" y="31"/>
                    </a:lnTo>
                    <a:lnTo>
                      <a:pt x="1117" y="43"/>
                    </a:lnTo>
                    <a:lnTo>
                      <a:pt x="1113" y="53"/>
                    </a:lnTo>
                    <a:lnTo>
                      <a:pt x="1106" y="64"/>
                    </a:lnTo>
                    <a:lnTo>
                      <a:pt x="1104" y="66"/>
                    </a:lnTo>
                    <a:lnTo>
                      <a:pt x="1099" y="71"/>
                    </a:lnTo>
                    <a:lnTo>
                      <a:pt x="1089" y="82"/>
                    </a:lnTo>
                    <a:lnTo>
                      <a:pt x="1077" y="96"/>
                    </a:lnTo>
                    <a:lnTo>
                      <a:pt x="1062" y="112"/>
                    </a:lnTo>
                    <a:lnTo>
                      <a:pt x="1043" y="132"/>
                    </a:lnTo>
                    <a:lnTo>
                      <a:pt x="1023" y="155"/>
                    </a:lnTo>
                    <a:lnTo>
                      <a:pt x="999" y="181"/>
                    </a:lnTo>
                    <a:lnTo>
                      <a:pt x="973" y="209"/>
                    </a:lnTo>
                    <a:lnTo>
                      <a:pt x="946" y="240"/>
                    </a:lnTo>
                    <a:lnTo>
                      <a:pt x="917" y="272"/>
                    </a:lnTo>
                    <a:lnTo>
                      <a:pt x="885" y="306"/>
                    </a:lnTo>
                    <a:lnTo>
                      <a:pt x="853" y="342"/>
                    </a:lnTo>
                    <a:lnTo>
                      <a:pt x="820" y="379"/>
                    </a:lnTo>
                    <a:lnTo>
                      <a:pt x="785" y="417"/>
                    </a:lnTo>
                    <a:lnTo>
                      <a:pt x="749" y="456"/>
                    </a:lnTo>
                    <a:lnTo>
                      <a:pt x="712" y="497"/>
                    </a:lnTo>
                    <a:lnTo>
                      <a:pt x="676" y="537"/>
                    </a:lnTo>
                    <a:lnTo>
                      <a:pt x="640" y="577"/>
                    </a:lnTo>
                    <a:lnTo>
                      <a:pt x="603" y="617"/>
                    </a:lnTo>
                    <a:lnTo>
                      <a:pt x="566" y="658"/>
                    </a:lnTo>
                    <a:lnTo>
                      <a:pt x="529" y="698"/>
                    </a:lnTo>
                    <a:lnTo>
                      <a:pt x="494" y="737"/>
                    </a:lnTo>
                    <a:lnTo>
                      <a:pt x="458" y="776"/>
                    </a:lnTo>
                    <a:lnTo>
                      <a:pt x="425" y="813"/>
                    </a:lnTo>
                    <a:lnTo>
                      <a:pt x="392" y="849"/>
                    </a:lnTo>
                    <a:lnTo>
                      <a:pt x="361" y="884"/>
                    </a:lnTo>
                    <a:lnTo>
                      <a:pt x="332" y="917"/>
                    </a:lnTo>
                    <a:lnTo>
                      <a:pt x="303" y="946"/>
                    </a:lnTo>
                    <a:lnTo>
                      <a:pt x="278" y="975"/>
                    </a:lnTo>
                    <a:lnTo>
                      <a:pt x="254" y="1001"/>
                    </a:lnTo>
                    <a:lnTo>
                      <a:pt x="233" y="1024"/>
                    </a:lnTo>
                    <a:lnTo>
                      <a:pt x="215" y="1045"/>
                    </a:lnTo>
                    <a:lnTo>
                      <a:pt x="199" y="1062"/>
                    </a:lnTo>
                    <a:lnTo>
                      <a:pt x="186" y="1076"/>
                    </a:lnTo>
                    <a:lnTo>
                      <a:pt x="177" y="1086"/>
                    </a:lnTo>
                    <a:lnTo>
                      <a:pt x="171" y="1093"/>
                    </a:lnTo>
                    <a:lnTo>
                      <a:pt x="169" y="1095"/>
                    </a:lnTo>
                    <a:lnTo>
                      <a:pt x="151" y="1110"/>
                    </a:lnTo>
                    <a:lnTo>
                      <a:pt x="131" y="1119"/>
                    </a:lnTo>
                    <a:lnTo>
                      <a:pt x="110" y="1123"/>
                    </a:lnTo>
                    <a:lnTo>
                      <a:pt x="87" y="1123"/>
                    </a:lnTo>
                    <a:lnTo>
                      <a:pt x="66" y="1119"/>
                    </a:lnTo>
                    <a:lnTo>
                      <a:pt x="46" y="1110"/>
                    </a:lnTo>
                    <a:lnTo>
                      <a:pt x="28" y="1095"/>
                    </a:lnTo>
                    <a:lnTo>
                      <a:pt x="14" y="1077"/>
                    </a:lnTo>
                    <a:lnTo>
                      <a:pt x="5" y="1057"/>
                    </a:lnTo>
                    <a:lnTo>
                      <a:pt x="0" y="1035"/>
                    </a:lnTo>
                    <a:lnTo>
                      <a:pt x="0" y="1013"/>
                    </a:lnTo>
                    <a:lnTo>
                      <a:pt x="5" y="992"/>
                    </a:lnTo>
                    <a:lnTo>
                      <a:pt x="14" y="972"/>
                    </a:lnTo>
                    <a:lnTo>
                      <a:pt x="28" y="954"/>
                    </a:lnTo>
                    <a:lnTo>
                      <a:pt x="31" y="952"/>
                    </a:lnTo>
                    <a:lnTo>
                      <a:pt x="37" y="945"/>
                    </a:lnTo>
                    <a:lnTo>
                      <a:pt x="47" y="936"/>
                    </a:lnTo>
                    <a:lnTo>
                      <a:pt x="61" y="924"/>
                    </a:lnTo>
                    <a:lnTo>
                      <a:pt x="78" y="908"/>
                    </a:lnTo>
                    <a:lnTo>
                      <a:pt x="99" y="889"/>
                    </a:lnTo>
                    <a:lnTo>
                      <a:pt x="122" y="868"/>
                    </a:lnTo>
                    <a:lnTo>
                      <a:pt x="147" y="844"/>
                    </a:lnTo>
                    <a:lnTo>
                      <a:pt x="176" y="818"/>
                    </a:lnTo>
                    <a:lnTo>
                      <a:pt x="206" y="790"/>
                    </a:lnTo>
                    <a:lnTo>
                      <a:pt x="238" y="761"/>
                    </a:lnTo>
                    <a:lnTo>
                      <a:pt x="273" y="729"/>
                    </a:lnTo>
                    <a:lnTo>
                      <a:pt x="309" y="696"/>
                    </a:lnTo>
                    <a:lnTo>
                      <a:pt x="346" y="662"/>
                    </a:lnTo>
                    <a:lnTo>
                      <a:pt x="383" y="627"/>
                    </a:lnTo>
                    <a:lnTo>
                      <a:pt x="422" y="591"/>
                    </a:lnTo>
                    <a:lnTo>
                      <a:pt x="463" y="554"/>
                    </a:lnTo>
                    <a:lnTo>
                      <a:pt x="503" y="518"/>
                    </a:lnTo>
                    <a:lnTo>
                      <a:pt x="543" y="481"/>
                    </a:lnTo>
                    <a:lnTo>
                      <a:pt x="583" y="444"/>
                    </a:lnTo>
                    <a:lnTo>
                      <a:pt x="623" y="406"/>
                    </a:lnTo>
                    <a:lnTo>
                      <a:pt x="663" y="369"/>
                    </a:lnTo>
                    <a:lnTo>
                      <a:pt x="702" y="334"/>
                    </a:lnTo>
                    <a:lnTo>
                      <a:pt x="740" y="299"/>
                    </a:lnTo>
                    <a:lnTo>
                      <a:pt x="776" y="265"/>
                    </a:lnTo>
                    <a:lnTo>
                      <a:pt x="812" y="232"/>
                    </a:lnTo>
                    <a:lnTo>
                      <a:pt x="846" y="201"/>
                    </a:lnTo>
                    <a:lnTo>
                      <a:pt x="879" y="171"/>
                    </a:lnTo>
                    <a:lnTo>
                      <a:pt x="908" y="143"/>
                    </a:lnTo>
                    <a:lnTo>
                      <a:pt x="937" y="118"/>
                    </a:lnTo>
                    <a:lnTo>
                      <a:pt x="962" y="95"/>
                    </a:lnTo>
                    <a:lnTo>
                      <a:pt x="985" y="73"/>
                    </a:lnTo>
                    <a:lnTo>
                      <a:pt x="1005" y="54"/>
                    </a:lnTo>
                    <a:lnTo>
                      <a:pt x="1022" y="39"/>
                    </a:lnTo>
                    <a:lnTo>
                      <a:pt x="1036" y="27"/>
                    </a:lnTo>
                    <a:lnTo>
                      <a:pt x="1045" y="18"/>
                    </a:lnTo>
                    <a:lnTo>
                      <a:pt x="1051" y="12"/>
                    </a:lnTo>
                    <a:lnTo>
                      <a:pt x="1054" y="10"/>
                    </a:lnTo>
                    <a:lnTo>
                      <a:pt x="1063" y="3"/>
                    </a:lnTo>
                    <a:lnTo>
                      <a:pt x="107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33" name="Group 132"/>
          <p:cNvGrpSpPr/>
          <p:nvPr/>
        </p:nvGrpSpPr>
        <p:grpSpPr>
          <a:xfrm>
            <a:off x="144256" y="3697515"/>
            <a:ext cx="727877" cy="593237"/>
            <a:chOff x="147993" y="5867981"/>
            <a:chExt cx="727877" cy="593237"/>
          </a:xfrm>
        </p:grpSpPr>
        <p:sp>
          <p:nvSpPr>
            <p:cNvPr id="134" name="Rectangle 17"/>
            <p:cNvSpPr>
              <a:spLocks/>
            </p:cNvSpPr>
            <p:nvPr/>
          </p:nvSpPr>
          <p:spPr bwMode="auto">
            <a:xfrm>
              <a:off x="147993" y="6091886"/>
              <a:ext cx="72787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Файлы «Знай своего клиента»</a:t>
              </a:r>
              <a:endParaRPr lang="ru-RU" sz="800" i="1" dirty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grpSp>
          <p:nvGrpSpPr>
            <p:cNvPr id="135" name="Group 157"/>
            <p:cNvGrpSpPr>
              <a:grpSpLocks noChangeAspect="1"/>
            </p:cNvGrpSpPr>
            <p:nvPr/>
          </p:nvGrpSpPr>
          <p:grpSpPr bwMode="auto">
            <a:xfrm>
              <a:off x="384100" y="5867981"/>
              <a:ext cx="254721" cy="240654"/>
              <a:chOff x="3815" y="1810"/>
              <a:chExt cx="2354" cy="2224"/>
            </a:xfrm>
            <a:solidFill>
              <a:schemeClr val="bg1"/>
            </a:solidFill>
          </p:grpSpPr>
          <p:sp>
            <p:nvSpPr>
              <p:cNvPr id="136" name="Freeform 159"/>
              <p:cNvSpPr>
                <a:spLocks noEditPoints="1"/>
              </p:cNvSpPr>
              <p:nvPr/>
            </p:nvSpPr>
            <p:spPr bwMode="auto">
              <a:xfrm>
                <a:off x="3815" y="1810"/>
                <a:ext cx="2021" cy="1982"/>
              </a:xfrm>
              <a:custGeom>
                <a:avLst/>
                <a:gdLst>
                  <a:gd name="T0" fmla="*/ 3423 w 4043"/>
                  <a:gd name="T1" fmla="*/ 409 h 3965"/>
                  <a:gd name="T2" fmla="*/ 3363 w 4043"/>
                  <a:gd name="T3" fmla="*/ 435 h 3965"/>
                  <a:gd name="T4" fmla="*/ 3317 w 4043"/>
                  <a:gd name="T5" fmla="*/ 481 h 3965"/>
                  <a:gd name="T6" fmla="*/ 3291 w 4043"/>
                  <a:gd name="T7" fmla="*/ 542 h 3965"/>
                  <a:gd name="T8" fmla="*/ 3291 w 4043"/>
                  <a:gd name="T9" fmla="*/ 611 h 3965"/>
                  <a:gd name="T10" fmla="*/ 3317 w 4043"/>
                  <a:gd name="T11" fmla="*/ 671 h 3965"/>
                  <a:gd name="T12" fmla="*/ 3363 w 4043"/>
                  <a:gd name="T13" fmla="*/ 716 h 3965"/>
                  <a:gd name="T14" fmla="*/ 3423 w 4043"/>
                  <a:gd name="T15" fmla="*/ 742 h 3965"/>
                  <a:gd name="T16" fmla="*/ 3491 w 4043"/>
                  <a:gd name="T17" fmla="*/ 742 h 3965"/>
                  <a:gd name="T18" fmla="*/ 3553 w 4043"/>
                  <a:gd name="T19" fmla="*/ 716 h 3965"/>
                  <a:gd name="T20" fmla="*/ 3598 w 4043"/>
                  <a:gd name="T21" fmla="*/ 671 h 3965"/>
                  <a:gd name="T22" fmla="*/ 3624 w 4043"/>
                  <a:gd name="T23" fmla="*/ 611 h 3965"/>
                  <a:gd name="T24" fmla="*/ 3624 w 4043"/>
                  <a:gd name="T25" fmla="*/ 542 h 3965"/>
                  <a:gd name="T26" fmla="*/ 3598 w 4043"/>
                  <a:gd name="T27" fmla="*/ 481 h 3965"/>
                  <a:gd name="T28" fmla="*/ 3553 w 4043"/>
                  <a:gd name="T29" fmla="*/ 435 h 3965"/>
                  <a:gd name="T30" fmla="*/ 3491 w 4043"/>
                  <a:gd name="T31" fmla="*/ 409 h 3965"/>
                  <a:gd name="T32" fmla="*/ 2924 w 4043"/>
                  <a:gd name="T33" fmla="*/ 406 h 3965"/>
                  <a:gd name="T34" fmla="*/ 2858 w 4043"/>
                  <a:gd name="T35" fmla="*/ 419 h 3965"/>
                  <a:gd name="T36" fmla="*/ 2804 w 4043"/>
                  <a:gd name="T37" fmla="*/ 456 h 3965"/>
                  <a:gd name="T38" fmla="*/ 2768 w 4043"/>
                  <a:gd name="T39" fmla="*/ 511 h 3965"/>
                  <a:gd name="T40" fmla="*/ 2755 w 4043"/>
                  <a:gd name="T41" fmla="*/ 576 h 3965"/>
                  <a:gd name="T42" fmla="*/ 2768 w 4043"/>
                  <a:gd name="T43" fmla="*/ 642 h 3965"/>
                  <a:gd name="T44" fmla="*/ 2804 w 4043"/>
                  <a:gd name="T45" fmla="*/ 696 h 3965"/>
                  <a:gd name="T46" fmla="*/ 2858 w 4043"/>
                  <a:gd name="T47" fmla="*/ 732 h 3965"/>
                  <a:gd name="T48" fmla="*/ 2924 w 4043"/>
                  <a:gd name="T49" fmla="*/ 746 h 3965"/>
                  <a:gd name="T50" fmla="*/ 2991 w 4043"/>
                  <a:gd name="T51" fmla="*/ 732 h 3965"/>
                  <a:gd name="T52" fmla="*/ 3045 w 4043"/>
                  <a:gd name="T53" fmla="*/ 696 h 3965"/>
                  <a:gd name="T54" fmla="*/ 3081 w 4043"/>
                  <a:gd name="T55" fmla="*/ 642 h 3965"/>
                  <a:gd name="T56" fmla="*/ 3094 w 4043"/>
                  <a:gd name="T57" fmla="*/ 576 h 3965"/>
                  <a:gd name="T58" fmla="*/ 3081 w 4043"/>
                  <a:gd name="T59" fmla="*/ 511 h 3965"/>
                  <a:gd name="T60" fmla="*/ 3045 w 4043"/>
                  <a:gd name="T61" fmla="*/ 456 h 3965"/>
                  <a:gd name="T62" fmla="*/ 2991 w 4043"/>
                  <a:gd name="T63" fmla="*/ 419 h 3965"/>
                  <a:gd name="T64" fmla="*/ 2924 w 4043"/>
                  <a:gd name="T65" fmla="*/ 406 h 3965"/>
                  <a:gd name="T66" fmla="*/ 3924 w 4043"/>
                  <a:gd name="T67" fmla="*/ 0 h 3965"/>
                  <a:gd name="T68" fmla="*/ 3984 w 4043"/>
                  <a:gd name="T69" fmla="*/ 18 h 3965"/>
                  <a:gd name="T70" fmla="*/ 4027 w 4043"/>
                  <a:gd name="T71" fmla="*/ 60 h 3965"/>
                  <a:gd name="T72" fmla="*/ 4043 w 4043"/>
                  <a:gd name="T73" fmla="*/ 120 h 3965"/>
                  <a:gd name="T74" fmla="*/ 4026 w 4043"/>
                  <a:gd name="T75" fmla="*/ 1778 h 3965"/>
                  <a:gd name="T76" fmla="*/ 3943 w 4043"/>
                  <a:gd name="T77" fmla="*/ 1795 h 3965"/>
                  <a:gd name="T78" fmla="*/ 3874 w 4043"/>
                  <a:gd name="T79" fmla="*/ 1841 h 3965"/>
                  <a:gd name="T80" fmla="*/ 3809 w 4043"/>
                  <a:gd name="T81" fmla="*/ 1868 h 3965"/>
                  <a:gd name="T82" fmla="*/ 3744 w 4043"/>
                  <a:gd name="T83" fmla="*/ 1878 h 3965"/>
                  <a:gd name="T84" fmla="*/ 3686 w 4043"/>
                  <a:gd name="T85" fmla="*/ 1908 h 3965"/>
                  <a:gd name="T86" fmla="*/ 357 w 4043"/>
                  <a:gd name="T87" fmla="*/ 1095 h 3965"/>
                  <a:gd name="T88" fmla="*/ 2587 w 4043"/>
                  <a:gd name="T89" fmla="*/ 3608 h 3965"/>
                  <a:gd name="T90" fmla="*/ 2585 w 4043"/>
                  <a:gd name="T91" fmla="*/ 3839 h 3965"/>
                  <a:gd name="T92" fmla="*/ 2602 w 4043"/>
                  <a:gd name="T93" fmla="*/ 3926 h 3965"/>
                  <a:gd name="T94" fmla="*/ 119 w 4043"/>
                  <a:gd name="T95" fmla="*/ 3965 h 3965"/>
                  <a:gd name="T96" fmla="*/ 59 w 4043"/>
                  <a:gd name="T97" fmla="*/ 3949 h 3965"/>
                  <a:gd name="T98" fmla="*/ 16 w 4043"/>
                  <a:gd name="T99" fmla="*/ 3906 h 3965"/>
                  <a:gd name="T100" fmla="*/ 0 w 4043"/>
                  <a:gd name="T101" fmla="*/ 3846 h 3965"/>
                  <a:gd name="T102" fmla="*/ 4 w 4043"/>
                  <a:gd name="T103" fmla="*/ 88 h 3965"/>
                  <a:gd name="T104" fmla="*/ 34 w 4043"/>
                  <a:gd name="T105" fmla="*/ 36 h 3965"/>
                  <a:gd name="T106" fmla="*/ 87 w 4043"/>
                  <a:gd name="T107" fmla="*/ 5 h 3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43" h="3965">
                    <a:moveTo>
                      <a:pt x="3457" y="406"/>
                    </a:moveTo>
                    <a:lnTo>
                      <a:pt x="3423" y="409"/>
                    </a:lnTo>
                    <a:lnTo>
                      <a:pt x="3391" y="419"/>
                    </a:lnTo>
                    <a:lnTo>
                      <a:pt x="3363" y="435"/>
                    </a:lnTo>
                    <a:lnTo>
                      <a:pt x="3337" y="456"/>
                    </a:lnTo>
                    <a:lnTo>
                      <a:pt x="3317" y="481"/>
                    </a:lnTo>
                    <a:lnTo>
                      <a:pt x="3301" y="511"/>
                    </a:lnTo>
                    <a:lnTo>
                      <a:pt x="3291" y="542"/>
                    </a:lnTo>
                    <a:lnTo>
                      <a:pt x="3287" y="576"/>
                    </a:lnTo>
                    <a:lnTo>
                      <a:pt x="3291" y="611"/>
                    </a:lnTo>
                    <a:lnTo>
                      <a:pt x="3301" y="642"/>
                    </a:lnTo>
                    <a:lnTo>
                      <a:pt x="3317" y="671"/>
                    </a:lnTo>
                    <a:lnTo>
                      <a:pt x="3337" y="696"/>
                    </a:lnTo>
                    <a:lnTo>
                      <a:pt x="3363" y="716"/>
                    </a:lnTo>
                    <a:lnTo>
                      <a:pt x="3391" y="732"/>
                    </a:lnTo>
                    <a:lnTo>
                      <a:pt x="3423" y="742"/>
                    </a:lnTo>
                    <a:lnTo>
                      <a:pt x="3457" y="746"/>
                    </a:lnTo>
                    <a:lnTo>
                      <a:pt x="3491" y="742"/>
                    </a:lnTo>
                    <a:lnTo>
                      <a:pt x="3524" y="732"/>
                    </a:lnTo>
                    <a:lnTo>
                      <a:pt x="3553" y="716"/>
                    </a:lnTo>
                    <a:lnTo>
                      <a:pt x="3577" y="696"/>
                    </a:lnTo>
                    <a:lnTo>
                      <a:pt x="3598" y="671"/>
                    </a:lnTo>
                    <a:lnTo>
                      <a:pt x="3614" y="642"/>
                    </a:lnTo>
                    <a:lnTo>
                      <a:pt x="3624" y="611"/>
                    </a:lnTo>
                    <a:lnTo>
                      <a:pt x="3627" y="576"/>
                    </a:lnTo>
                    <a:lnTo>
                      <a:pt x="3624" y="542"/>
                    </a:lnTo>
                    <a:lnTo>
                      <a:pt x="3614" y="511"/>
                    </a:lnTo>
                    <a:lnTo>
                      <a:pt x="3598" y="481"/>
                    </a:lnTo>
                    <a:lnTo>
                      <a:pt x="3577" y="456"/>
                    </a:lnTo>
                    <a:lnTo>
                      <a:pt x="3553" y="435"/>
                    </a:lnTo>
                    <a:lnTo>
                      <a:pt x="3524" y="419"/>
                    </a:lnTo>
                    <a:lnTo>
                      <a:pt x="3491" y="409"/>
                    </a:lnTo>
                    <a:lnTo>
                      <a:pt x="3457" y="406"/>
                    </a:lnTo>
                    <a:close/>
                    <a:moveTo>
                      <a:pt x="2924" y="406"/>
                    </a:moveTo>
                    <a:lnTo>
                      <a:pt x="2890" y="409"/>
                    </a:lnTo>
                    <a:lnTo>
                      <a:pt x="2858" y="419"/>
                    </a:lnTo>
                    <a:lnTo>
                      <a:pt x="2830" y="435"/>
                    </a:lnTo>
                    <a:lnTo>
                      <a:pt x="2804" y="456"/>
                    </a:lnTo>
                    <a:lnTo>
                      <a:pt x="2784" y="481"/>
                    </a:lnTo>
                    <a:lnTo>
                      <a:pt x="2768" y="511"/>
                    </a:lnTo>
                    <a:lnTo>
                      <a:pt x="2758" y="542"/>
                    </a:lnTo>
                    <a:lnTo>
                      <a:pt x="2755" y="576"/>
                    </a:lnTo>
                    <a:lnTo>
                      <a:pt x="2758" y="611"/>
                    </a:lnTo>
                    <a:lnTo>
                      <a:pt x="2768" y="642"/>
                    </a:lnTo>
                    <a:lnTo>
                      <a:pt x="2784" y="671"/>
                    </a:lnTo>
                    <a:lnTo>
                      <a:pt x="2804" y="696"/>
                    </a:lnTo>
                    <a:lnTo>
                      <a:pt x="2830" y="716"/>
                    </a:lnTo>
                    <a:lnTo>
                      <a:pt x="2858" y="732"/>
                    </a:lnTo>
                    <a:lnTo>
                      <a:pt x="2890" y="742"/>
                    </a:lnTo>
                    <a:lnTo>
                      <a:pt x="2924" y="746"/>
                    </a:lnTo>
                    <a:lnTo>
                      <a:pt x="2958" y="742"/>
                    </a:lnTo>
                    <a:lnTo>
                      <a:pt x="2991" y="732"/>
                    </a:lnTo>
                    <a:lnTo>
                      <a:pt x="3020" y="716"/>
                    </a:lnTo>
                    <a:lnTo>
                      <a:pt x="3045" y="696"/>
                    </a:lnTo>
                    <a:lnTo>
                      <a:pt x="3065" y="671"/>
                    </a:lnTo>
                    <a:lnTo>
                      <a:pt x="3081" y="642"/>
                    </a:lnTo>
                    <a:lnTo>
                      <a:pt x="3091" y="611"/>
                    </a:lnTo>
                    <a:lnTo>
                      <a:pt x="3094" y="576"/>
                    </a:lnTo>
                    <a:lnTo>
                      <a:pt x="3091" y="542"/>
                    </a:lnTo>
                    <a:lnTo>
                      <a:pt x="3081" y="511"/>
                    </a:lnTo>
                    <a:lnTo>
                      <a:pt x="3065" y="481"/>
                    </a:lnTo>
                    <a:lnTo>
                      <a:pt x="3045" y="456"/>
                    </a:lnTo>
                    <a:lnTo>
                      <a:pt x="3020" y="435"/>
                    </a:lnTo>
                    <a:lnTo>
                      <a:pt x="2991" y="419"/>
                    </a:lnTo>
                    <a:lnTo>
                      <a:pt x="2958" y="409"/>
                    </a:lnTo>
                    <a:lnTo>
                      <a:pt x="2924" y="406"/>
                    </a:lnTo>
                    <a:close/>
                    <a:moveTo>
                      <a:pt x="119" y="0"/>
                    </a:moveTo>
                    <a:lnTo>
                      <a:pt x="3924" y="0"/>
                    </a:lnTo>
                    <a:lnTo>
                      <a:pt x="3956" y="5"/>
                    </a:lnTo>
                    <a:lnTo>
                      <a:pt x="3984" y="18"/>
                    </a:lnTo>
                    <a:lnTo>
                      <a:pt x="4009" y="36"/>
                    </a:lnTo>
                    <a:lnTo>
                      <a:pt x="4027" y="60"/>
                    </a:lnTo>
                    <a:lnTo>
                      <a:pt x="4039" y="88"/>
                    </a:lnTo>
                    <a:lnTo>
                      <a:pt x="4043" y="120"/>
                    </a:lnTo>
                    <a:lnTo>
                      <a:pt x="4043" y="1778"/>
                    </a:lnTo>
                    <a:lnTo>
                      <a:pt x="4026" y="1778"/>
                    </a:lnTo>
                    <a:lnTo>
                      <a:pt x="3983" y="1783"/>
                    </a:lnTo>
                    <a:lnTo>
                      <a:pt x="3943" y="1795"/>
                    </a:lnTo>
                    <a:lnTo>
                      <a:pt x="3907" y="1815"/>
                    </a:lnTo>
                    <a:lnTo>
                      <a:pt x="3874" y="1841"/>
                    </a:lnTo>
                    <a:lnTo>
                      <a:pt x="3849" y="1873"/>
                    </a:lnTo>
                    <a:lnTo>
                      <a:pt x="3809" y="1868"/>
                    </a:lnTo>
                    <a:lnTo>
                      <a:pt x="3776" y="1871"/>
                    </a:lnTo>
                    <a:lnTo>
                      <a:pt x="3744" y="1878"/>
                    </a:lnTo>
                    <a:lnTo>
                      <a:pt x="3713" y="1891"/>
                    </a:lnTo>
                    <a:lnTo>
                      <a:pt x="3686" y="1908"/>
                    </a:lnTo>
                    <a:lnTo>
                      <a:pt x="3686" y="1095"/>
                    </a:lnTo>
                    <a:lnTo>
                      <a:pt x="357" y="1095"/>
                    </a:lnTo>
                    <a:lnTo>
                      <a:pt x="357" y="3608"/>
                    </a:lnTo>
                    <a:lnTo>
                      <a:pt x="2587" y="3608"/>
                    </a:lnTo>
                    <a:lnTo>
                      <a:pt x="2585" y="3640"/>
                    </a:lnTo>
                    <a:lnTo>
                      <a:pt x="2585" y="3839"/>
                    </a:lnTo>
                    <a:lnTo>
                      <a:pt x="2590" y="3885"/>
                    </a:lnTo>
                    <a:lnTo>
                      <a:pt x="2602" y="3926"/>
                    </a:lnTo>
                    <a:lnTo>
                      <a:pt x="2622" y="3965"/>
                    </a:lnTo>
                    <a:lnTo>
                      <a:pt x="119" y="3965"/>
                    </a:lnTo>
                    <a:lnTo>
                      <a:pt x="87" y="3961"/>
                    </a:lnTo>
                    <a:lnTo>
                      <a:pt x="59" y="3949"/>
                    </a:lnTo>
                    <a:lnTo>
                      <a:pt x="34" y="3931"/>
                    </a:lnTo>
                    <a:lnTo>
                      <a:pt x="16" y="3906"/>
                    </a:lnTo>
                    <a:lnTo>
                      <a:pt x="4" y="3878"/>
                    </a:lnTo>
                    <a:lnTo>
                      <a:pt x="0" y="3846"/>
                    </a:lnTo>
                    <a:lnTo>
                      <a:pt x="0" y="120"/>
                    </a:lnTo>
                    <a:lnTo>
                      <a:pt x="4" y="88"/>
                    </a:lnTo>
                    <a:lnTo>
                      <a:pt x="16" y="60"/>
                    </a:lnTo>
                    <a:lnTo>
                      <a:pt x="34" y="36"/>
                    </a:lnTo>
                    <a:lnTo>
                      <a:pt x="59" y="18"/>
                    </a:lnTo>
                    <a:lnTo>
                      <a:pt x="87" y="5"/>
                    </a:lnTo>
                    <a:lnTo>
                      <a:pt x="1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7" name="Freeform 160"/>
              <p:cNvSpPr>
                <a:spLocks noEditPoints="1"/>
              </p:cNvSpPr>
              <p:nvPr/>
            </p:nvSpPr>
            <p:spPr bwMode="auto">
              <a:xfrm>
                <a:off x="4491" y="2507"/>
                <a:ext cx="895" cy="895"/>
              </a:xfrm>
              <a:custGeom>
                <a:avLst/>
                <a:gdLst>
                  <a:gd name="T0" fmla="*/ 727 w 1791"/>
                  <a:gd name="T1" fmla="*/ 498 h 1790"/>
                  <a:gd name="T2" fmla="*/ 554 w 1791"/>
                  <a:gd name="T3" fmla="*/ 632 h 1790"/>
                  <a:gd name="T4" fmla="*/ 469 w 1791"/>
                  <a:gd name="T5" fmla="*/ 836 h 1790"/>
                  <a:gd name="T6" fmla="*/ 499 w 1791"/>
                  <a:gd name="T7" fmla="*/ 1062 h 1790"/>
                  <a:gd name="T8" fmla="*/ 632 w 1791"/>
                  <a:gd name="T9" fmla="*/ 1236 h 1790"/>
                  <a:gd name="T10" fmla="*/ 837 w 1791"/>
                  <a:gd name="T11" fmla="*/ 1322 h 1790"/>
                  <a:gd name="T12" fmla="*/ 1063 w 1791"/>
                  <a:gd name="T13" fmla="*/ 1292 h 1790"/>
                  <a:gd name="T14" fmla="*/ 1236 w 1791"/>
                  <a:gd name="T15" fmla="*/ 1158 h 1790"/>
                  <a:gd name="T16" fmla="*/ 1323 w 1791"/>
                  <a:gd name="T17" fmla="*/ 953 h 1790"/>
                  <a:gd name="T18" fmla="*/ 1293 w 1791"/>
                  <a:gd name="T19" fmla="*/ 728 h 1790"/>
                  <a:gd name="T20" fmla="*/ 1159 w 1791"/>
                  <a:gd name="T21" fmla="*/ 553 h 1790"/>
                  <a:gd name="T22" fmla="*/ 955 w 1791"/>
                  <a:gd name="T23" fmla="*/ 468 h 1790"/>
                  <a:gd name="T24" fmla="*/ 1052 w 1791"/>
                  <a:gd name="T25" fmla="*/ 3 h 1790"/>
                  <a:gd name="T26" fmla="*/ 1139 w 1791"/>
                  <a:gd name="T27" fmla="*/ 73 h 1790"/>
                  <a:gd name="T28" fmla="*/ 1192 w 1791"/>
                  <a:gd name="T29" fmla="*/ 180 h 1790"/>
                  <a:gd name="T30" fmla="*/ 1303 w 1791"/>
                  <a:gd name="T31" fmla="*/ 142 h 1790"/>
                  <a:gd name="T32" fmla="*/ 1416 w 1791"/>
                  <a:gd name="T33" fmla="*/ 155 h 1790"/>
                  <a:gd name="T34" fmla="*/ 1649 w 1791"/>
                  <a:gd name="T35" fmla="*/ 402 h 1790"/>
                  <a:gd name="T36" fmla="*/ 1636 w 1791"/>
                  <a:gd name="T37" fmla="*/ 513 h 1790"/>
                  <a:gd name="T38" fmla="*/ 1625 w 1791"/>
                  <a:gd name="T39" fmla="*/ 638 h 1790"/>
                  <a:gd name="T40" fmla="*/ 1741 w 1791"/>
                  <a:gd name="T41" fmla="*/ 666 h 1790"/>
                  <a:gd name="T42" fmla="*/ 1791 w 1791"/>
                  <a:gd name="T43" fmla="*/ 769 h 1790"/>
                  <a:gd name="T44" fmla="*/ 1762 w 1791"/>
                  <a:gd name="T45" fmla="*/ 1104 h 1790"/>
                  <a:gd name="T46" fmla="*/ 1659 w 1791"/>
                  <a:gd name="T47" fmla="*/ 1152 h 1790"/>
                  <a:gd name="T48" fmla="*/ 1618 w 1791"/>
                  <a:gd name="T49" fmla="*/ 1252 h 1790"/>
                  <a:gd name="T50" fmla="*/ 1655 w 1791"/>
                  <a:gd name="T51" fmla="*/ 1361 h 1790"/>
                  <a:gd name="T52" fmla="*/ 1439 w 1791"/>
                  <a:gd name="T53" fmla="*/ 1617 h 1790"/>
                  <a:gd name="T54" fmla="*/ 1332 w 1791"/>
                  <a:gd name="T55" fmla="*/ 1655 h 1790"/>
                  <a:gd name="T56" fmla="*/ 1229 w 1791"/>
                  <a:gd name="T57" fmla="*/ 1592 h 1790"/>
                  <a:gd name="T58" fmla="*/ 1149 w 1791"/>
                  <a:gd name="T59" fmla="*/ 1688 h 1790"/>
                  <a:gd name="T60" fmla="*/ 1079 w 1791"/>
                  <a:gd name="T61" fmla="*/ 1777 h 1790"/>
                  <a:gd name="T62" fmla="*/ 740 w 1791"/>
                  <a:gd name="T63" fmla="*/ 1787 h 1790"/>
                  <a:gd name="T64" fmla="*/ 652 w 1791"/>
                  <a:gd name="T65" fmla="*/ 1717 h 1790"/>
                  <a:gd name="T66" fmla="*/ 600 w 1791"/>
                  <a:gd name="T67" fmla="*/ 1609 h 1790"/>
                  <a:gd name="T68" fmla="*/ 487 w 1791"/>
                  <a:gd name="T69" fmla="*/ 1648 h 1790"/>
                  <a:gd name="T70" fmla="*/ 374 w 1791"/>
                  <a:gd name="T71" fmla="*/ 1635 h 1790"/>
                  <a:gd name="T72" fmla="*/ 141 w 1791"/>
                  <a:gd name="T73" fmla="*/ 1389 h 1790"/>
                  <a:gd name="T74" fmla="*/ 154 w 1791"/>
                  <a:gd name="T75" fmla="*/ 1276 h 1790"/>
                  <a:gd name="T76" fmla="*/ 167 w 1791"/>
                  <a:gd name="T77" fmla="*/ 1152 h 1790"/>
                  <a:gd name="T78" fmla="*/ 50 w 1791"/>
                  <a:gd name="T79" fmla="*/ 1124 h 1790"/>
                  <a:gd name="T80" fmla="*/ 0 w 1791"/>
                  <a:gd name="T81" fmla="*/ 1021 h 1790"/>
                  <a:gd name="T82" fmla="*/ 29 w 1791"/>
                  <a:gd name="T83" fmla="*/ 686 h 1790"/>
                  <a:gd name="T84" fmla="*/ 133 w 1791"/>
                  <a:gd name="T85" fmla="*/ 638 h 1790"/>
                  <a:gd name="T86" fmla="*/ 174 w 1791"/>
                  <a:gd name="T87" fmla="*/ 538 h 1790"/>
                  <a:gd name="T88" fmla="*/ 136 w 1791"/>
                  <a:gd name="T89" fmla="*/ 429 h 1790"/>
                  <a:gd name="T90" fmla="*/ 351 w 1791"/>
                  <a:gd name="T91" fmla="*/ 173 h 1790"/>
                  <a:gd name="T92" fmla="*/ 459 w 1791"/>
                  <a:gd name="T93" fmla="*/ 135 h 1790"/>
                  <a:gd name="T94" fmla="*/ 562 w 1791"/>
                  <a:gd name="T95" fmla="*/ 197 h 1790"/>
                  <a:gd name="T96" fmla="*/ 642 w 1791"/>
                  <a:gd name="T97" fmla="*/ 102 h 1790"/>
                  <a:gd name="T98" fmla="*/ 712 w 1791"/>
                  <a:gd name="T99" fmla="*/ 13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91" h="1790">
                    <a:moveTo>
                      <a:pt x="896" y="463"/>
                    </a:moveTo>
                    <a:lnTo>
                      <a:pt x="837" y="468"/>
                    </a:lnTo>
                    <a:lnTo>
                      <a:pt x="780" y="479"/>
                    </a:lnTo>
                    <a:lnTo>
                      <a:pt x="727" y="498"/>
                    </a:lnTo>
                    <a:lnTo>
                      <a:pt x="677" y="523"/>
                    </a:lnTo>
                    <a:lnTo>
                      <a:pt x="632" y="553"/>
                    </a:lnTo>
                    <a:lnTo>
                      <a:pt x="590" y="590"/>
                    </a:lnTo>
                    <a:lnTo>
                      <a:pt x="554" y="632"/>
                    </a:lnTo>
                    <a:lnTo>
                      <a:pt x="523" y="678"/>
                    </a:lnTo>
                    <a:lnTo>
                      <a:pt x="499" y="728"/>
                    </a:lnTo>
                    <a:lnTo>
                      <a:pt x="480" y="781"/>
                    </a:lnTo>
                    <a:lnTo>
                      <a:pt x="469" y="836"/>
                    </a:lnTo>
                    <a:lnTo>
                      <a:pt x="464" y="895"/>
                    </a:lnTo>
                    <a:lnTo>
                      <a:pt x="469" y="953"/>
                    </a:lnTo>
                    <a:lnTo>
                      <a:pt x="480" y="1009"/>
                    </a:lnTo>
                    <a:lnTo>
                      <a:pt x="499" y="1062"/>
                    </a:lnTo>
                    <a:lnTo>
                      <a:pt x="523" y="1112"/>
                    </a:lnTo>
                    <a:lnTo>
                      <a:pt x="554" y="1158"/>
                    </a:lnTo>
                    <a:lnTo>
                      <a:pt x="590" y="1199"/>
                    </a:lnTo>
                    <a:lnTo>
                      <a:pt x="632" y="1236"/>
                    </a:lnTo>
                    <a:lnTo>
                      <a:pt x="677" y="1268"/>
                    </a:lnTo>
                    <a:lnTo>
                      <a:pt x="727" y="1292"/>
                    </a:lnTo>
                    <a:lnTo>
                      <a:pt x="780" y="1311"/>
                    </a:lnTo>
                    <a:lnTo>
                      <a:pt x="837" y="1322"/>
                    </a:lnTo>
                    <a:lnTo>
                      <a:pt x="896" y="1326"/>
                    </a:lnTo>
                    <a:lnTo>
                      <a:pt x="955" y="1322"/>
                    </a:lnTo>
                    <a:lnTo>
                      <a:pt x="1010" y="1311"/>
                    </a:lnTo>
                    <a:lnTo>
                      <a:pt x="1063" y="1292"/>
                    </a:lnTo>
                    <a:lnTo>
                      <a:pt x="1113" y="1268"/>
                    </a:lnTo>
                    <a:lnTo>
                      <a:pt x="1159" y="1236"/>
                    </a:lnTo>
                    <a:lnTo>
                      <a:pt x="1200" y="1199"/>
                    </a:lnTo>
                    <a:lnTo>
                      <a:pt x="1236" y="1158"/>
                    </a:lnTo>
                    <a:lnTo>
                      <a:pt x="1268" y="1112"/>
                    </a:lnTo>
                    <a:lnTo>
                      <a:pt x="1293" y="1062"/>
                    </a:lnTo>
                    <a:lnTo>
                      <a:pt x="1310" y="1009"/>
                    </a:lnTo>
                    <a:lnTo>
                      <a:pt x="1323" y="953"/>
                    </a:lnTo>
                    <a:lnTo>
                      <a:pt x="1326" y="895"/>
                    </a:lnTo>
                    <a:lnTo>
                      <a:pt x="1323" y="836"/>
                    </a:lnTo>
                    <a:lnTo>
                      <a:pt x="1310" y="781"/>
                    </a:lnTo>
                    <a:lnTo>
                      <a:pt x="1293" y="728"/>
                    </a:lnTo>
                    <a:lnTo>
                      <a:pt x="1268" y="678"/>
                    </a:lnTo>
                    <a:lnTo>
                      <a:pt x="1236" y="632"/>
                    </a:lnTo>
                    <a:lnTo>
                      <a:pt x="1200" y="590"/>
                    </a:lnTo>
                    <a:lnTo>
                      <a:pt x="1159" y="553"/>
                    </a:lnTo>
                    <a:lnTo>
                      <a:pt x="1113" y="523"/>
                    </a:lnTo>
                    <a:lnTo>
                      <a:pt x="1063" y="498"/>
                    </a:lnTo>
                    <a:lnTo>
                      <a:pt x="1010" y="479"/>
                    </a:lnTo>
                    <a:lnTo>
                      <a:pt x="955" y="468"/>
                    </a:lnTo>
                    <a:lnTo>
                      <a:pt x="896" y="463"/>
                    </a:lnTo>
                    <a:close/>
                    <a:moveTo>
                      <a:pt x="770" y="0"/>
                    </a:moveTo>
                    <a:lnTo>
                      <a:pt x="1020" y="0"/>
                    </a:lnTo>
                    <a:lnTo>
                      <a:pt x="1052" y="3"/>
                    </a:lnTo>
                    <a:lnTo>
                      <a:pt x="1079" y="13"/>
                    </a:lnTo>
                    <a:lnTo>
                      <a:pt x="1103" y="29"/>
                    </a:lnTo>
                    <a:lnTo>
                      <a:pt x="1125" y="49"/>
                    </a:lnTo>
                    <a:lnTo>
                      <a:pt x="1139" y="73"/>
                    </a:lnTo>
                    <a:lnTo>
                      <a:pt x="1149" y="102"/>
                    </a:lnTo>
                    <a:lnTo>
                      <a:pt x="1153" y="132"/>
                    </a:lnTo>
                    <a:lnTo>
                      <a:pt x="1153" y="166"/>
                    </a:lnTo>
                    <a:lnTo>
                      <a:pt x="1192" y="180"/>
                    </a:lnTo>
                    <a:lnTo>
                      <a:pt x="1229" y="197"/>
                    </a:lnTo>
                    <a:lnTo>
                      <a:pt x="1253" y="173"/>
                    </a:lnTo>
                    <a:lnTo>
                      <a:pt x="1276" y="155"/>
                    </a:lnTo>
                    <a:lnTo>
                      <a:pt x="1303" y="142"/>
                    </a:lnTo>
                    <a:lnTo>
                      <a:pt x="1332" y="135"/>
                    </a:lnTo>
                    <a:lnTo>
                      <a:pt x="1360" y="135"/>
                    </a:lnTo>
                    <a:lnTo>
                      <a:pt x="1389" y="142"/>
                    </a:lnTo>
                    <a:lnTo>
                      <a:pt x="1416" y="155"/>
                    </a:lnTo>
                    <a:lnTo>
                      <a:pt x="1439" y="173"/>
                    </a:lnTo>
                    <a:lnTo>
                      <a:pt x="1618" y="350"/>
                    </a:lnTo>
                    <a:lnTo>
                      <a:pt x="1636" y="375"/>
                    </a:lnTo>
                    <a:lnTo>
                      <a:pt x="1649" y="402"/>
                    </a:lnTo>
                    <a:lnTo>
                      <a:pt x="1655" y="429"/>
                    </a:lnTo>
                    <a:lnTo>
                      <a:pt x="1655" y="459"/>
                    </a:lnTo>
                    <a:lnTo>
                      <a:pt x="1649" y="488"/>
                    </a:lnTo>
                    <a:lnTo>
                      <a:pt x="1636" y="513"/>
                    </a:lnTo>
                    <a:lnTo>
                      <a:pt x="1618" y="538"/>
                    </a:lnTo>
                    <a:lnTo>
                      <a:pt x="1593" y="562"/>
                    </a:lnTo>
                    <a:lnTo>
                      <a:pt x="1609" y="599"/>
                    </a:lnTo>
                    <a:lnTo>
                      <a:pt x="1625" y="638"/>
                    </a:lnTo>
                    <a:lnTo>
                      <a:pt x="1659" y="638"/>
                    </a:lnTo>
                    <a:lnTo>
                      <a:pt x="1689" y="640"/>
                    </a:lnTo>
                    <a:lnTo>
                      <a:pt x="1716" y="651"/>
                    </a:lnTo>
                    <a:lnTo>
                      <a:pt x="1741" y="666"/>
                    </a:lnTo>
                    <a:lnTo>
                      <a:pt x="1762" y="686"/>
                    </a:lnTo>
                    <a:lnTo>
                      <a:pt x="1778" y="712"/>
                    </a:lnTo>
                    <a:lnTo>
                      <a:pt x="1788" y="739"/>
                    </a:lnTo>
                    <a:lnTo>
                      <a:pt x="1791" y="769"/>
                    </a:lnTo>
                    <a:lnTo>
                      <a:pt x="1791" y="1021"/>
                    </a:lnTo>
                    <a:lnTo>
                      <a:pt x="1788" y="1051"/>
                    </a:lnTo>
                    <a:lnTo>
                      <a:pt x="1778" y="1079"/>
                    </a:lnTo>
                    <a:lnTo>
                      <a:pt x="1762" y="1104"/>
                    </a:lnTo>
                    <a:lnTo>
                      <a:pt x="1741" y="1124"/>
                    </a:lnTo>
                    <a:lnTo>
                      <a:pt x="1716" y="1139"/>
                    </a:lnTo>
                    <a:lnTo>
                      <a:pt x="1689" y="1149"/>
                    </a:lnTo>
                    <a:lnTo>
                      <a:pt x="1659" y="1152"/>
                    </a:lnTo>
                    <a:lnTo>
                      <a:pt x="1625" y="1152"/>
                    </a:lnTo>
                    <a:lnTo>
                      <a:pt x="1609" y="1191"/>
                    </a:lnTo>
                    <a:lnTo>
                      <a:pt x="1593" y="1228"/>
                    </a:lnTo>
                    <a:lnTo>
                      <a:pt x="1618" y="1252"/>
                    </a:lnTo>
                    <a:lnTo>
                      <a:pt x="1636" y="1276"/>
                    </a:lnTo>
                    <a:lnTo>
                      <a:pt x="1649" y="1304"/>
                    </a:lnTo>
                    <a:lnTo>
                      <a:pt x="1655" y="1331"/>
                    </a:lnTo>
                    <a:lnTo>
                      <a:pt x="1655" y="1361"/>
                    </a:lnTo>
                    <a:lnTo>
                      <a:pt x="1649" y="1389"/>
                    </a:lnTo>
                    <a:lnTo>
                      <a:pt x="1636" y="1415"/>
                    </a:lnTo>
                    <a:lnTo>
                      <a:pt x="1618" y="1439"/>
                    </a:lnTo>
                    <a:lnTo>
                      <a:pt x="1439" y="1617"/>
                    </a:lnTo>
                    <a:lnTo>
                      <a:pt x="1416" y="1635"/>
                    </a:lnTo>
                    <a:lnTo>
                      <a:pt x="1389" y="1648"/>
                    </a:lnTo>
                    <a:lnTo>
                      <a:pt x="1360" y="1655"/>
                    </a:lnTo>
                    <a:lnTo>
                      <a:pt x="1332" y="1655"/>
                    </a:lnTo>
                    <a:lnTo>
                      <a:pt x="1303" y="1648"/>
                    </a:lnTo>
                    <a:lnTo>
                      <a:pt x="1276" y="1635"/>
                    </a:lnTo>
                    <a:lnTo>
                      <a:pt x="1253" y="1617"/>
                    </a:lnTo>
                    <a:lnTo>
                      <a:pt x="1229" y="1592"/>
                    </a:lnTo>
                    <a:lnTo>
                      <a:pt x="1192" y="1609"/>
                    </a:lnTo>
                    <a:lnTo>
                      <a:pt x="1153" y="1624"/>
                    </a:lnTo>
                    <a:lnTo>
                      <a:pt x="1153" y="1658"/>
                    </a:lnTo>
                    <a:lnTo>
                      <a:pt x="1149" y="1688"/>
                    </a:lnTo>
                    <a:lnTo>
                      <a:pt x="1139" y="1717"/>
                    </a:lnTo>
                    <a:lnTo>
                      <a:pt x="1125" y="1741"/>
                    </a:lnTo>
                    <a:lnTo>
                      <a:pt x="1103" y="1761"/>
                    </a:lnTo>
                    <a:lnTo>
                      <a:pt x="1079" y="1777"/>
                    </a:lnTo>
                    <a:lnTo>
                      <a:pt x="1052" y="1787"/>
                    </a:lnTo>
                    <a:lnTo>
                      <a:pt x="1020" y="1790"/>
                    </a:lnTo>
                    <a:lnTo>
                      <a:pt x="770" y="1790"/>
                    </a:lnTo>
                    <a:lnTo>
                      <a:pt x="740" y="1787"/>
                    </a:lnTo>
                    <a:lnTo>
                      <a:pt x="712" y="1777"/>
                    </a:lnTo>
                    <a:lnTo>
                      <a:pt x="687" y="1761"/>
                    </a:lnTo>
                    <a:lnTo>
                      <a:pt x="667" y="1741"/>
                    </a:lnTo>
                    <a:lnTo>
                      <a:pt x="652" y="1717"/>
                    </a:lnTo>
                    <a:lnTo>
                      <a:pt x="642" y="1688"/>
                    </a:lnTo>
                    <a:lnTo>
                      <a:pt x="637" y="1658"/>
                    </a:lnTo>
                    <a:lnTo>
                      <a:pt x="637" y="1624"/>
                    </a:lnTo>
                    <a:lnTo>
                      <a:pt x="600" y="1609"/>
                    </a:lnTo>
                    <a:lnTo>
                      <a:pt x="562" y="1592"/>
                    </a:lnTo>
                    <a:lnTo>
                      <a:pt x="537" y="1617"/>
                    </a:lnTo>
                    <a:lnTo>
                      <a:pt x="514" y="1635"/>
                    </a:lnTo>
                    <a:lnTo>
                      <a:pt x="487" y="1648"/>
                    </a:lnTo>
                    <a:lnTo>
                      <a:pt x="459" y="1655"/>
                    </a:lnTo>
                    <a:lnTo>
                      <a:pt x="430" y="1655"/>
                    </a:lnTo>
                    <a:lnTo>
                      <a:pt x="401" y="1648"/>
                    </a:lnTo>
                    <a:lnTo>
                      <a:pt x="374" y="1635"/>
                    </a:lnTo>
                    <a:lnTo>
                      <a:pt x="351" y="1617"/>
                    </a:lnTo>
                    <a:lnTo>
                      <a:pt x="174" y="1439"/>
                    </a:lnTo>
                    <a:lnTo>
                      <a:pt x="154" y="1415"/>
                    </a:lnTo>
                    <a:lnTo>
                      <a:pt x="141" y="1389"/>
                    </a:lnTo>
                    <a:lnTo>
                      <a:pt x="136" y="1361"/>
                    </a:lnTo>
                    <a:lnTo>
                      <a:pt x="136" y="1331"/>
                    </a:lnTo>
                    <a:lnTo>
                      <a:pt x="141" y="1304"/>
                    </a:lnTo>
                    <a:lnTo>
                      <a:pt x="154" y="1276"/>
                    </a:lnTo>
                    <a:lnTo>
                      <a:pt x="174" y="1252"/>
                    </a:lnTo>
                    <a:lnTo>
                      <a:pt x="199" y="1228"/>
                    </a:lnTo>
                    <a:lnTo>
                      <a:pt x="181" y="1191"/>
                    </a:lnTo>
                    <a:lnTo>
                      <a:pt x="167" y="1152"/>
                    </a:lnTo>
                    <a:lnTo>
                      <a:pt x="133" y="1152"/>
                    </a:lnTo>
                    <a:lnTo>
                      <a:pt x="101" y="1149"/>
                    </a:lnTo>
                    <a:lnTo>
                      <a:pt x="74" y="1139"/>
                    </a:lnTo>
                    <a:lnTo>
                      <a:pt x="50" y="1124"/>
                    </a:lnTo>
                    <a:lnTo>
                      <a:pt x="29" y="1104"/>
                    </a:lnTo>
                    <a:lnTo>
                      <a:pt x="14" y="1079"/>
                    </a:lnTo>
                    <a:lnTo>
                      <a:pt x="4" y="1051"/>
                    </a:lnTo>
                    <a:lnTo>
                      <a:pt x="0" y="1021"/>
                    </a:lnTo>
                    <a:lnTo>
                      <a:pt x="0" y="769"/>
                    </a:lnTo>
                    <a:lnTo>
                      <a:pt x="4" y="739"/>
                    </a:lnTo>
                    <a:lnTo>
                      <a:pt x="14" y="712"/>
                    </a:lnTo>
                    <a:lnTo>
                      <a:pt x="29" y="686"/>
                    </a:lnTo>
                    <a:lnTo>
                      <a:pt x="50" y="666"/>
                    </a:lnTo>
                    <a:lnTo>
                      <a:pt x="74" y="651"/>
                    </a:lnTo>
                    <a:lnTo>
                      <a:pt x="101" y="640"/>
                    </a:lnTo>
                    <a:lnTo>
                      <a:pt x="133" y="638"/>
                    </a:lnTo>
                    <a:lnTo>
                      <a:pt x="167" y="638"/>
                    </a:lnTo>
                    <a:lnTo>
                      <a:pt x="181" y="599"/>
                    </a:lnTo>
                    <a:lnTo>
                      <a:pt x="199" y="562"/>
                    </a:lnTo>
                    <a:lnTo>
                      <a:pt x="174" y="538"/>
                    </a:lnTo>
                    <a:lnTo>
                      <a:pt x="154" y="513"/>
                    </a:lnTo>
                    <a:lnTo>
                      <a:pt x="141" y="488"/>
                    </a:lnTo>
                    <a:lnTo>
                      <a:pt x="136" y="459"/>
                    </a:lnTo>
                    <a:lnTo>
                      <a:pt x="136" y="429"/>
                    </a:lnTo>
                    <a:lnTo>
                      <a:pt x="141" y="402"/>
                    </a:lnTo>
                    <a:lnTo>
                      <a:pt x="154" y="375"/>
                    </a:lnTo>
                    <a:lnTo>
                      <a:pt x="174" y="350"/>
                    </a:lnTo>
                    <a:lnTo>
                      <a:pt x="351" y="173"/>
                    </a:lnTo>
                    <a:lnTo>
                      <a:pt x="376" y="155"/>
                    </a:lnTo>
                    <a:lnTo>
                      <a:pt x="401" y="142"/>
                    </a:lnTo>
                    <a:lnTo>
                      <a:pt x="430" y="135"/>
                    </a:lnTo>
                    <a:lnTo>
                      <a:pt x="459" y="135"/>
                    </a:lnTo>
                    <a:lnTo>
                      <a:pt x="487" y="142"/>
                    </a:lnTo>
                    <a:lnTo>
                      <a:pt x="514" y="155"/>
                    </a:lnTo>
                    <a:lnTo>
                      <a:pt x="537" y="173"/>
                    </a:lnTo>
                    <a:lnTo>
                      <a:pt x="562" y="197"/>
                    </a:lnTo>
                    <a:lnTo>
                      <a:pt x="600" y="180"/>
                    </a:lnTo>
                    <a:lnTo>
                      <a:pt x="637" y="166"/>
                    </a:lnTo>
                    <a:lnTo>
                      <a:pt x="637" y="132"/>
                    </a:lnTo>
                    <a:lnTo>
                      <a:pt x="642" y="102"/>
                    </a:lnTo>
                    <a:lnTo>
                      <a:pt x="652" y="73"/>
                    </a:lnTo>
                    <a:lnTo>
                      <a:pt x="667" y="49"/>
                    </a:lnTo>
                    <a:lnTo>
                      <a:pt x="687" y="29"/>
                    </a:lnTo>
                    <a:lnTo>
                      <a:pt x="712" y="13"/>
                    </a:lnTo>
                    <a:lnTo>
                      <a:pt x="740" y="3"/>
                    </a:lnTo>
                    <a:lnTo>
                      <a:pt x="7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8" name="Freeform 161"/>
              <p:cNvSpPr>
                <a:spLocks noEditPoints="1"/>
              </p:cNvSpPr>
              <p:nvPr/>
            </p:nvSpPr>
            <p:spPr bwMode="auto">
              <a:xfrm>
                <a:off x="5171" y="3325"/>
                <a:ext cx="710" cy="709"/>
              </a:xfrm>
              <a:custGeom>
                <a:avLst/>
                <a:gdLst>
                  <a:gd name="T0" fmla="*/ 602 w 1421"/>
                  <a:gd name="T1" fmla="*/ 385 h 1419"/>
                  <a:gd name="T2" fmla="*/ 469 w 1421"/>
                  <a:gd name="T3" fmla="*/ 467 h 1419"/>
                  <a:gd name="T4" fmla="*/ 386 w 1421"/>
                  <a:gd name="T5" fmla="*/ 602 h 1419"/>
                  <a:gd name="T6" fmla="*/ 373 w 1421"/>
                  <a:gd name="T7" fmla="*/ 765 h 1419"/>
                  <a:gd name="T8" fmla="*/ 435 w 1421"/>
                  <a:gd name="T9" fmla="*/ 912 h 1419"/>
                  <a:gd name="T10" fmla="*/ 553 w 1421"/>
                  <a:gd name="T11" fmla="*/ 1013 h 1419"/>
                  <a:gd name="T12" fmla="*/ 711 w 1421"/>
                  <a:gd name="T13" fmla="*/ 1051 h 1419"/>
                  <a:gd name="T14" fmla="*/ 868 w 1421"/>
                  <a:gd name="T15" fmla="*/ 1013 h 1419"/>
                  <a:gd name="T16" fmla="*/ 986 w 1421"/>
                  <a:gd name="T17" fmla="*/ 912 h 1419"/>
                  <a:gd name="T18" fmla="*/ 1048 w 1421"/>
                  <a:gd name="T19" fmla="*/ 765 h 1419"/>
                  <a:gd name="T20" fmla="*/ 1035 w 1421"/>
                  <a:gd name="T21" fmla="*/ 602 h 1419"/>
                  <a:gd name="T22" fmla="*/ 952 w 1421"/>
                  <a:gd name="T23" fmla="*/ 467 h 1419"/>
                  <a:gd name="T24" fmla="*/ 819 w 1421"/>
                  <a:gd name="T25" fmla="*/ 385 h 1419"/>
                  <a:gd name="T26" fmla="*/ 611 w 1421"/>
                  <a:gd name="T27" fmla="*/ 0 h 1419"/>
                  <a:gd name="T28" fmla="*/ 864 w 1421"/>
                  <a:gd name="T29" fmla="*/ 14 h 1419"/>
                  <a:gd name="T30" fmla="*/ 911 w 1421"/>
                  <a:gd name="T31" fmla="*/ 76 h 1419"/>
                  <a:gd name="T32" fmla="*/ 975 w 1421"/>
                  <a:gd name="T33" fmla="*/ 156 h 1419"/>
                  <a:gd name="T34" fmla="*/ 1032 w 1421"/>
                  <a:gd name="T35" fmla="*/ 113 h 1419"/>
                  <a:gd name="T36" fmla="*/ 1085 w 1421"/>
                  <a:gd name="T37" fmla="*/ 107 h 1419"/>
                  <a:gd name="T38" fmla="*/ 1142 w 1421"/>
                  <a:gd name="T39" fmla="*/ 137 h 1419"/>
                  <a:gd name="T40" fmla="*/ 1311 w 1421"/>
                  <a:gd name="T41" fmla="*/ 326 h 1419"/>
                  <a:gd name="T42" fmla="*/ 1299 w 1421"/>
                  <a:gd name="T43" fmla="*/ 403 h 1419"/>
                  <a:gd name="T44" fmla="*/ 1288 w 1421"/>
                  <a:gd name="T45" fmla="*/ 505 h 1419"/>
                  <a:gd name="T46" fmla="*/ 1368 w 1421"/>
                  <a:gd name="T47" fmla="*/ 519 h 1419"/>
                  <a:gd name="T48" fmla="*/ 1417 w 1421"/>
                  <a:gd name="T49" fmla="*/ 582 h 1419"/>
                  <a:gd name="T50" fmla="*/ 1417 w 1421"/>
                  <a:gd name="T51" fmla="*/ 836 h 1419"/>
                  <a:gd name="T52" fmla="*/ 1368 w 1421"/>
                  <a:gd name="T53" fmla="*/ 899 h 1419"/>
                  <a:gd name="T54" fmla="*/ 1288 w 1421"/>
                  <a:gd name="T55" fmla="*/ 913 h 1419"/>
                  <a:gd name="T56" fmla="*/ 1299 w 1421"/>
                  <a:gd name="T57" fmla="*/ 1015 h 1419"/>
                  <a:gd name="T58" fmla="*/ 1311 w 1421"/>
                  <a:gd name="T59" fmla="*/ 1093 h 1419"/>
                  <a:gd name="T60" fmla="*/ 1142 w 1421"/>
                  <a:gd name="T61" fmla="*/ 1282 h 1419"/>
                  <a:gd name="T62" fmla="*/ 1068 w 1421"/>
                  <a:gd name="T63" fmla="*/ 1312 h 1419"/>
                  <a:gd name="T64" fmla="*/ 994 w 1421"/>
                  <a:gd name="T65" fmla="*/ 1282 h 1419"/>
                  <a:gd name="T66" fmla="*/ 915 w 1421"/>
                  <a:gd name="T67" fmla="*/ 1315 h 1419"/>
                  <a:gd name="T68" fmla="*/ 884 w 1421"/>
                  <a:gd name="T69" fmla="*/ 1388 h 1419"/>
                  <a:gd name="T70" fmla="*/ 811 w 1421"/>
                  <a:gd name="T71" fmla="*/ 1419 h 1419"/>
                  <a:gd name="T72" fmla="*/ 558 w 1421"/>
                  <a:gd name="T73" fmla="*/ 1405 h 1419"/>
                  <a:gd name="T74" fmla="*/ 511 w 1421"/>
                  <a:gd name="T75" fmla="*/ 1342 h 1419"/>
                  <a:gd name="T76" fmla="*/ 446 w 1421"/>
                  <a:gd name="T77" fmla="*/ 1262 h 1419"/>
                  <a:gd name="T78" fmla="*/ 379 w 1421"/>
                  <a:gd name="T79" fmla="*/ 1309 h 1419"/>
                  <a:gd name="T80" fmla="*/ 302 w 1421"/>
                  <a:gd name="T81" fmla="*/ 1299 h 1419"/>
                  <a:gd name="T82" fmla="*/ 122 w 1421"/>
                  <a:gd name="T83" fmla="*/ 1119 h 1419"/>
                  <a:gd name="T84" fmla="*/ 110 w 1421"/>
                  <a:gd name="T85" fmla="*/ 1041 h 1419"/>
                  <a:gd name="T86" fmla="*/ 158 w 1421"/>
                  <a:gd name="T87" fmla="*/ 973 h 1419"/>
                  <a:gd name="T88" fmla="*/ 78 w 1421"/>
                  <a:gd name="T89" fmla="*/ 911 h 1419"/>
                  <a:gd name="T90" fmla="*/ 15 w 1421"/>
                  <a:gd name="T91" fmla="*/ 862 h 1419"/>
                  <a:gd name="T92" fmla="*/ 0 w 1421"/>
                  <a:gd name="T93" fmla="*/ 610 h 1419"/>
                  <a:gd name="T94" fmla="*/ 32 w 1421"/>
                  <a:gd name="T95" fmla="*/ 536 h 1419"/>
                  <a:gd name="T96" fmla="*/ 106 w 1421"/>
                  <a:gd name="T97" fmla="*/ 505 h 1419"/>
                  <a:gd name="T98" fmla="*/ 139 w 1421"/>
                  <a:gd name="T99" fmla="*/ 426 h 1419"/>
                  <a:gd name="T100" fmla="*/ 108 w 1421"/>
                  <a:gd name="T101" fmla="*/ 352 h 1419"/>
                  <a:gd name="T102" fmla="*/ 139 w 1421"/>
                  <a:gd name="T103" fmla="*/ 277 h 1419"/>
                  <a:gd name="T104" fmla="*/ 326 w 1421"/>
                  <a:gd name="T105" fmla="*/ 110 h 1419"/>
                  <a:gd name="T106" fmla="*/ 405 w 1421"/>
                  <a:gd name="T107" fmla="*/ 120 h 1419"/>
                  <a:gd name="T108" fmla="*/ 506 w 1421"/>
                  <a:gd name="T109" fmla="*/ 132 h 1419"/>
                  <a:gd name="T110" fmla="*/ 521 w 1421"/>
                  <a:gd name="T111" fmla="*/ 52 h 1419"/>
                  <a:gd name="T112" fmla="*/ 583 w 1421"/>
                  <a:gd name="T113" fmla="*/ 3 h 1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21" h="1419">
                    <a:moveTo>
                      <a:pt x="711" y="367"/>
                    </a:moveTo>
                    <a:lnTo>
                      <a:pt x="655" y="372"/>
                    </a:lnTo>
                    <a:lnTo>
                      <a:pt x="602" y="385"/>
                    </a:lnTo>
                    <a:lnTo>
                      <a:pt x="553" y="406"/>
                    </a:lnTo>
                    <a:lnTo>
                      <a:pt x="509" y="433"/>
                    </a:lnTo>
                    <a:lnTo>
                      <a:pt x="469" y="467"/>
                    </a:lnTo>
                    <a:lnTo>
                      <a:pt x="435" y="508"/>
                    </a:lnTo>
                    <a:lnTo>
                      <a:pt x="406" y="552"/>
                    </a:lnTo>
                    <a:lnTo>
                      <a:pt x="386" y="602"/>
                    </a:lnTo>
                    <a:lnTo>
                      <a:pt x="373" y="653"/>
                    </a:lnTo>
                    <a:lnTo>
                      <a:pt x="369" y="709"/>
                    </a:lnTo>
                    <a:lnTo>
                      <a:pt x="373" y="765"/>
                    </a:lnTo>
                    <a:lnTo>
                      <a:pt x="386" y="818"/>
                    </a:lnTo>
                    <a:lnTo>
                      <a:pt x="406" y="866"/>
                    </a:lnTo>
                    <a:lnTo>
                      <a:pt x="435" y="912"/>
                    </a:lnTo>
                    <a:lnTo>
                      <a:pt x="469" y="951"/>
                    </a:lnTo>
                    <a:lnTo>
                      <a:pt x="509" y="985"/>
                    </a:lnTo>
                    <a:lnTo>
                      <a:pt x="553" y="1013"/>
                    </a:lnTo>
                    <a:lnTo>
                      <a:pt x="602" y="1033"/>
                    </a:lnTo>
                    <a:lnTo>
                      <a:pt x="655" y="1046"/>
                    </a:lnTo>
                    <a:lnTo>
                      <a:pt x="711" y="1051"/>
                    </a:lnTo>
                    <a:lnTo>
                      <a:pt x="766" y="1046"/>
                    </a:lnTo>
                    <a:lnTo>
                      <a:pt x="819" y="1033"/>
                    </a:lnTo>
                    <a:lnTo>
                      <a:pt x="868" y="1013"/>
                    </a:lnTo>
                    <a:lnTo>
                      <a:pt x="912" y="985"/>
                    </a:lnTo>
                    <a:lnTo>
                      <a:pt x="952" y="951"/>
                    </a:lnTo>
                    <a:lnTo>
                      <a:pt x="986" y="912"/>
                    </a:lnTo>
                    <a:lnTo>
                      <a:pt x="1014" y="866"/>
                    </a:lnTo>
                    <a:lnTo>
                      <a:pt x="1035" y="818"/>
                    </a:lnTo>
                    <a:lnTo>
                      <a:pt x="1048" y="765"/>
                    </a:lnTo>
                    <a:lnTo>
                      <a:pt x="1052" y="709"/>
                    </a:lnTo>
                    <a:lnTo>
                      <a:pt x="1048" y="653"/>
                    </a:lnTo>
                    <a:lnTo>
                      <a:pt x="1035" y="602"/>
                    </a:lnTo>
                    <a:lnTo>
                      <a:pt x="1014" y="552"/>
                    </a:lnTo>
                    <a:lnTo>
                      <a:pt x="986" y="508"/>
                    </a:lnTo>
                    <a:lnTo>
                      <a:pt x="952" y="467"/>
                    </a:lnTo>
                    <a:lnTo>
                      <a:pt x="912" y="433"/>
                    </a:lnTo>
                    <a:lnTo>
                      <a:pt x="868" y="406"/>
                    </a:lnTo>
                    <a:lnTo>
                      <a:pt x="819" y="385"/>
                    </a:lnTo>
                    <a:lnTo>
                      <a:pt x="766" y="372"/>
                    </a:lnTo>
                    <a:lnTo>
                      <a:pt x="711" y="367"/>
                    </a:lnTo>
                    <a:close/>
                    <a:moveTo>
                      <a:pt x="611" y="0"/>
                    </a:moveTo>
                    <a:lnTo>
                      <a:pt x="811" y="0"/>
                    </a:lnTo>
                    <a:lnTo>
                      <a:pt x="838" y="3"/>
                    </a:lnTo>
                    <a:lnTo>
                      <a:pt x="864" y="14"/>
                    </a:lnTo>
                    <a:lnTo>
                      <a:pt x="884" y="30"/>
                    </a:lnTo>
                    <a:lnTo>
                      <a:pt x="901" y="52"/>
                    </a:lnTo>
                    <a:lnTo>
                      <a:pt x="911" y="76"/>
                    </a:lnTo>
                    <a:lnTo>
                      <a:pt x="915" y="104"/>
                    </a:lnTo>
                    <a:lnTo>
                      <a:pt x="915" y="132"/>
                    </a:lnTo>
                    <a:lnTo>
                      <a:pt x="975" y="156"/>
                    </a:lnTo>
                    <a:lnTo>
                      <a:pt x="994" y="137"/>
                    </a:lnTo>
                    <a:lnTo>
                      <a:pt x="1014" y="122"/>
                    </a:lnTo>
                    <a:lnTo>
                      <a:pt x="1032" y="113"/>
                    </a:lnTo>
                    <a:lnTo>
                      <a:pt x="1052" y="107"/>
                    </a:lnTo>
                    <a:lnTo>
                      <a:pt x="1069" y="107"/>
                    </a:lnTo>
                    <a:lnTo>
                      <a:pt x="1085" y="107"/>
                    </a:lnTo>
                    <a:lnTo>
                      <a:pt x="1095" y="110"/>
                    </a:lnTo>
                    <a:lnTo>
                      <a:pt x="1121" y="120"/>
                    </a:lnTo>
                    <a:lnTo>
                      <a:pt x="1142" y="137"/>
                    </a:lnTo>
                    <a:lnTo>
                      <a:pt x="1282" y="277"/>
                    </a:lnTo>
                    <a:lnTo>
                      <a:pt x="1299" y="300"/>
                    </a:lnTo>
                    <a:lnTo>
                      <a:pt x="1311" y="326"/>
                    </a:lnTo>
                    <a:lnTo>
                      <a:pt x="1314" y="352"/>
                    </a:lnTo>
                    <a:lnTo>
                      <a:pt x="1311" y="379"/>
                    </a:lnTo>
                    <a:lnTo>
                      <a:pt x="1299" y="403"/>
                    </a:lnTo>
                    <a:lnTo>
                      <a:pt x="1282" y="426"/>
                    </a:lnTo>
                    <a:lnTo>
                      <a:pt x="1264" y="445"/>
                    </a:lnTo>
                    <a:lnTo>
                      <a:pt x="1288" y="505"/>
                    </a:lnTo>
                    <a:lnTo>
                      <a:pt x="1315" y="505"/>
                    </a:lnTo>
                    <a:lnTo>
                      <a:pt x="1344" y="509"/>
                    </a:lnTo>
                    <a:lnTo>
                      <a:pt x="1368" y="519"/>
                    </a:lnTo>
                    <a:lnTo>
                      <a:pt x="1389" y="536"/>
                    </a:lnTo>
                    <a:lnTo>
                      <a:pt x="1407" y="558"/>
                    </a:lnTo>
                    <a:lnTo>
                      <a:pt x="1417" y="582"/>
                    </a:lnTo>
                    <a:lnTo>
                      <a:pt x="1421" y="610"/>
                    </a:lnTo>
                    <a:lnTo>
                      <a:pt x="1421" y="809"/>
                    </a:lnTo>
                    <a:lnTo>
                      <a:pt x="1417" y="836"/>
                    </a:lnTo>
                    <a:lnTo>
                      <a:pt x="1407" y="862"/>
                    </a:lnTo>
                    <a:lnTo>
                      <a:pt x="1389" y="883"/>
                    </a:lnTo>
                    <a:lnTo>
                      <a:pt x="1368" y="899"/>
                    </a:lnTo>
                    <a:lnTo>
                      <a:pt x="1344" y="911"/>
                    </a:lnTo>
                    <a:lnTo>
                      <a:pt x="1315" y="913"/>
                    </a:lnTo>
                    <a:lnTo>
                      <a:pt x="1288" y="913"/>
                    </a:lnTo>
                    <a:lnTo>
                      <a:pt x="1264" y="973"/>
                    </a:lnTo>
                    <a:lnTo>
                      <a:pt x="1282" y="993"/>
                    </a:lnTo>
                    <a:lnTo>
                      <a:pt x="1299" y="1015"/>
                    </a:lnTo>
                    <a:lnTo>
                      <a:pt x="1311" y="1041"/>
                    </a:lnTo>
                    <a:lnTo>
                      <a:pt x="1314" y="1066"/>
                    </a:lnTo>
                    <a:lnTo>
                      <a:pt x="1311" y="1093"/>
                    </a:lnTo>
                    <a:lnTo>
                      <a:pt x="1299" y="1119"/>
                    </a:lnTo>
                    <a:lnTo>
                      <a:pt x="1282" y="1141"/>
                    </a:lnTo>
                    <a:lnTo>
                      <a:pt x="1142" y="1282"/>
                    </a:lnTo>
                    <a:lnTo>
                      <a:pt x="1119" y="1299"/>
                    </a:lnTo>
                    <a:lnTo>
                      <a:pt x="1095" y="1309"/>
                    </a:lnTo>
                    <a:lnTo>
                      <a:pt x="1068" y="1312"/>
                    </a:lnTo>
                    <a:lnTo>
                      <a:pt x="1042" y="1309"/>
                    </a:lnTo>
                    <a:lnTo>
                      <a:pt x="1016" y="1299"/>
                    </a:lnTo>
                    <a:lnTo>
                      <a:pt x="994" y="1282"/>
                    </a:lnTo>
                    <a:lnTo>
                      <a:pt x="975" y="1262"/>
                    </a:lnTo>
                    <a:lnTo>
                      <a:pt x="915" y="1288"/>
                    </a:lnTo>
                    <a:lnTo>
                      <a:pt x="915" y="1315"/>
                    </a:lnTo>
                    <a:lnTo>
                      <a:pt x="911" y="1342"/>
                    </a:lnTo>
                    <a:lnTo>
                      <a:pt x="901" y="1368"/>
                    </a:lnTo>
                    <a:lnTo>
                      <a:pt x="884" y="1388"/>
                    </a:lnTo>
                    <a:lnTo>
                      <a:pt x="864" y="1405"/>
                    </a:lnTo>
                    <a:lnTo>
                      <a:pt x="838" y="1415"/>
                    </a:lnTo>
                    <a:lnTo>
                      <a:pt x="811" y="1419"/>
                    </a:lnTo>
                    <a:lnTo>
                      <a:pt x="611" y="1419"/>
                    </a:lnTo>
                    <a:lnTo>
                      <a:pt x="583" y="1415"/>
                    </a:lnTo>
                    <a:lnTo>
                      <a:pt x="558" y="1405"/>
                    </a:lnTo>
                    <a:lnTo>
                      <a:pt x="538" y="1388"/>
                    </a:lnTo>
                    <a:lnTo>
                      <a:pt x="521" y="1368"/>
                    </a:lnTo>
                    <a:lnTo>
                      <a:pt x="511" y="1342"/>
                    </a:lnTo>
                    <a:lnTo>
                      <a:pt x="506" y="1315"/>
                    </a:lnTo>
                    <a:lnTo>
                      <a:pt x="506" y="1288"/>
                    </a:lnTo>
                    <a:lnTo>
                      <a:pt x="446" y="1262"/>
                    </a:lnTo>
                    <a:lnTo>
                      <a:pt x="428" y="1282"/>
                    </a:lnTo>
                    <a:lnTo>
                      <a:pt x="405" y="1299"/>
                    </a:lnTo>
                    <a:lnTo>
                      <a:pt x="379" y="1309"/>
                    </a:lnTo>
                    <a:lnTo>
                      <a:pt x="353" y="1312"/>
                    </a:lnTo>
                    <a:lnTo>
                      <a:pt x="326" y="1309"/>
                    </a:lnTo>
                    <a:lnTo>
                      <a:pt x="302" y="1299"/>
                    </a:lnTo>
                    <a:lnTo>
                      <a:pt x="279" y="1282"/>
                    </a:lnTo>
                    <a:lnTo>
                      <a:pt x="139" y="1141"/>
                    </a:lnTo>
                    <a:lnTo>
                      <a:pt x="122" y="1119"/>
                    </a:lnTo>
                    <a:lnTo>
                      <a:pt x="110" y="1093"/>
                    </a:lnTo>
                    <a:lnTo>
                      <a:pt x="108" y="1066"/>
                    </a:lnTo>
                    <a:lnTo>
                      <a:pt x="110" y="1041"/>
                    </a:lnTo>
                    <a:lnTo>
                      <a:pt x="122" y="1015"/>
                    </a:lnTo>
                    <a:lnTo>
                      <a:pt x="139" y="993"/>
                    </a:lnTo>
                    <a:lnTo>
                      <a:pt x="158" y="973"/>
                    </a:lnTo>
                    <a:lnTo>
                      <a:pt x="133" y="913"/>
                    </a:lnTo>
                    <a:lnTo>
                      <a:pt x="106" y="913"/>
                    </a:lnTo>
                    <a:lnTo>
                      <a:pt x="78" y="911"/>
                    </a:lnTo>
                    <a:lnTo>
                      <a:pt x="53" y="899"/>
                    </a:lnTo>
                    <a:lnTo>
                      <a:pt x="32" y="883"/>
                    </a:lnTo>
                    <a:lnTo>
                      <a:pt x="15" y="862"/>
                    </a:lnTo>
                    <a:lnTo>
                      <a:pt x="5" y="836"/>
                    </a:lnTo>
                    <a:lnTo>
                      <a:pt x="0" y="809"/>
                    </a:lnTo>
                    <a:lnTo>
                      <a:pt x="0" y="610"/>
                    </a:lnTo>
                    <a:lnTo>
                      <a:pt x="5" y="582"/>
                    </a:lnTo>
                    <a:lnTo>
                      <a:pt x="15" y="558"/>
                    </a:lnTo>
                    <a:lnTo>
                      <a:pt x="32" y="536"/>
                    </a:lnTo>
                    <a:lnTo>
                      <a:pt x="53" y="519"/>
                    </a:lnTo>
                    <a:lnTo>
                      <a:pt x="78" y="509"/>
                    </a:lnTo>
                    <a:lnTo>
                      <a:pt x="106" y="505"/>
                    </a:lnTo>
                    <a:lnTo>
                      <a:pt x="133" y="505"/>
                    </a:lnTo>
                    <a:lnTo>
                      <a:pt x="158" y="445"/>
                    </a:lnTo>
                    <a:lnTo>
                      <a:pt x="139" y="426"/>
                    </a:lnTo>
                    <a:lnTo>
                      <a:pt x="122" y="403"/>
                    </a:lnTo>
                    <a:lnTo>
                      <a:pt x="110" y="379"/>
                    </a:lnTo>
                    <a:lnTo>
                      <a:pt x="108" y="352"/>
                    </a:lnTo>
                    <a:lnTo>
                      <a:pt x="110" y="326"/>
                    </a:lnTo>
                    <a:lnTo>
                      <a:pt x="122" y="300"/>
                    </a:lnTo>
                    <a:lnTo>
                      <a:pt x="139" y="277"/>
                    </a:lnTo>
                    <a:lnTo>
                      <a:pt x="279" y="137"/>
                    </a:lnTo>
                    <a:lnTo>
                      <a:pt x="302" y="120"/>
                    </a:lnTo>
                    <a:lnTo>
                      <a:pt x="326" y="110"/>
                    </a:lnTo>
                    <a:lnTo>
                      <a:pt x="353" y="106"/>
                    </a:lnTo>
                    <a:lnTo>
                      <a:pt x="379" y="110"/>
                    </a:lnTo>
                    <a:lnTo>
                      <a:pt x="405" y="120"/>
                    </a:lnTo>
                    <a:lnTo>
                      <a:pt x="428" y="137"/>
                    </a:lnTo>
                    <a:lnTo>
                      <a:pt x="446" y="156"/>
                    </a:lnTo>
                    <a:lnTo>
                      <a:pt x="506" y="132"/>
                    </a:lnTo>
                    <a:lnTo>
                      <a:pt x="506" y="104"/>
                    </a:lnTo>
                    <a:lnTo>
                      <a:pt x="511" y="76"/>
                    </a:lnTo>
                    <a:lnTo>
                      <a:pt x="521" y="52"/>
                    </a:lnTo>
                    <a:lnTo>
                      <a:pt x="538" y="30"/>
                    </a:lnTo>
                    <a:lnTo>
                      <a:pt x="558" y="14"/>
                    </a:lnTo>
                    <a:lnTo>
                      <a:pt x="583" y="3"/>
                    </a:lnTo>
                    <a:lnTo>
                      <a:pt x="6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9" name="Freeform 162"/>
              <p:cNvSpPr>
                <a:spLocks noEditPoints="1"/>
              </p:cNvSpPr>
              <p:nvPr/>
            </p:nvSpPr>
            <p:spPr bwMode="auto">
              <a:xfrm>
                <a:off x="5571" y="2763"/>
                <a:ext cx="598" cy="598"/>
              </a:xfrm>
              <a:custGeom>
                <a:avLst/>
                <a:gdLst>
                  <a:gd name="T0" fmla="*/ 506 w 1194"/>
                  <a:gd name="T1" fmla="*/ 324 h 1196"/>
                  <a:gd name="T2" fmla="*/ 393 w 1194"/>
                  <a:gd name="T3" fmla="*/ 394 h 1196"/>
                  <a:gd name="T4" fmla="*/ 324 w 1194"/>
                  <a:gd name="T5" fmla="*/ 507 h 1196"/>
                  <a:gd name="T6" fmla="*/ 313 w 1194"/>
                  <a:gd name="T7" fmla="*/ 644 h 1196"/>
                  <a:gd name="T8" fmla="*/ 364 w 1194"/>
                  <a:gd name="T9" fmla="*/ 767 h 1196"/>
                  <a:gd name="T10" fmla="*/ 464 w 1194"/>
                  <a:gd name="T11" fmla="*/ 853 h 1196"/>
                  <a:gd name="T12" fmla="*/ 597 w 1194"/>
                  <a:gd name="T13" fmla="*/ 886 h 1196"/>
                  <a:gd name="T14" fmla="*/ 729 w 1194"/>
                  <a:gd name="T15" fmla="*/ 853 h 1196"/>
                  <a:gd name="T16" fmla="*/ 829 w 1194"/>
                  <a:gd name="T17" fmla="*/ 767 h 1196"/>
                  <a:gd name="T18" fmla="*/ 881 w 1194"/>
                  <a:gd name="T19" fmla="*/ 644 h 1196"/>
                  <a:gd name="T20" fmla="*/ 870 w 1194"/>
                  <a:gd name="T21" fmla="*/ 507 h 1196"/>
                  <a:gd name="T22" fmla="*/ 800 w 1194"/>
                  <a:gd name="T23" fmla="*/ 394 h 1196"/>
                  <a:gd name="T24" fmla="*/ 689 w 1194"/>
                  <a:gd name="T25" fmla="*/ 324 h 1196"/>
                  <a:gd name="T26" fmla="*/ 513 w 1194"/>
                  <a:gd name="T27" fmla="*/ 0 h 1196"/>
                  <a:gd name="T28" fmla="*/ 726 w 1194"/>
                  <a:gd name="T29" fmla="*/ 11 h 1196"/>
                  <a:gd name="T30" fmla="*/ 766 w 1194"/>
                  <a:gd name="T31" fmla="*/ 64 h 1196"/>
                  <a:gd name="T32" fmla="*/ 820 w 1194"/>
                  <a:gd name="T33" fmla="*/ 131 h 1196"/>
                  <a:gd name="T34" fmla="*/ 876 w 1194"/>
                  <a:gd name="T35" fmla="*/ 93 h 1196"/>
                  <a:gd name="T36" fmla="*/ 941 w 1194"/>
                  <a:gd name="T37" fmla="*/ 101 h 1196"/>
                  <a:gd name="T38" fmla="*/ 1093 w 1194"/>
                  <a:gd name="T39" fmla="*/ 253 h 1196"/>
                  <a:gd name="T40" fmla="*/ 1102 w 1194"/>
                  <a:gd name="T41" fmla="*/ 319 h 1196"/>
                  <a:gd name="T42" fmla="*/ 1063 w 1194"/>
                  <a:gd name="T43" fmla="*/ 376 h 1196"/>
                  <a:gd name="T44" fmla="*/ 1130 w 1194"/>
                  <a:gd name="T45" fmla="*/ 429 h 1196"/>
                  <a:gd name="T46" fmla="*/ 1183 w 1194"/>
                  <a:gd name="T47" fmla="*/ 469 h 1196"/>
                  <a:gd name="T48" fmla="*/ 1194 w 1194"/>
                  <a:gd name="T49" fmla="*/ 682 h 1196"/>
                  <a:gd name="T50" fmla="*/ 1169 w 1194"/>
                  <a:gd name="T51" fmla="*/ 743 h 1196"/>
                  <a:gd name="T52" fmla="*/ 1106 w 1194"/>
                  <a:gd name="T53" fmla="*/ 770 h 1196"/>
                  <a:gd name="T54" fmla="*/ 1079 w 1194"/>
                  <a:gd name="T55" fmla="*/ 836 h 1196"/>
                  <a:gd name="T56" fmla="*/ 1104 w 1194"/>
                  <a:gd name="T57" fmla="*/ 899 h 1196"/>
                  <a:gd name="T58" fmla="*/ 1079 w 1194"/>
                  <a:gd name="T59" fmla="*/ 962 h 1196"/>
                  <a:gd name="T60" fmla="*/ 920 w 1194"/>
                  <a:gd name="T61" fmla="*/ 1103 h 1196"/>
                  <a:gd name="T62" fmla="*/ 854 w 1194"/>
                  <a:gd name="T63" fmla="*/ 1095 h 1196"/>
                  <a:gd name="T64" fmla="*/ 769 w 1194"/>
                  <a:gd name="T65" fmla="*/ 1085 h 1196"/>
                  <a:gd name="T66" fmla="*/ 757 w 1194"/>
                  <a:gd name="T67" fmla="*/ 1152 h 1196"/>
                  <a:gd name="T68" fmla="*/ 704 w 1194"/>
                  <a:gd name="T69" fmla="*/ 1192 h 1196"/>
                  <a:gd name="T70" fmla="*/ 490 w 1194"/>
                  <a:gd name="T71" fmla="*/ 1192 h 1196"/>
                  <a:gd name="T72" fmla="*/ 437 w 1194"/>
                  <a:gd name="T73" fmla="*/ 1152 h 1196"/>
                  <a:gd name="T74" fmla="*/ 426 w 1194"/>
                  <a:gd name="T75" fmla="*/ 1085 h 1196"/>
                  <a:gd name="T76" fmla="*/ 340 w 1194"/>
                  <a:gd name="T77" fmla="*/ 1095 h 1196"/>
                  <a:gd name="T78" fmla="*/ 274 w 1194"/>
                  <a:gd name="T79" fmla="*/ 1103 h 1196"/>
                  <a:gd name="T80" fmla="*/ 115 w 1194"/>
                  <a:gd name="T81" fmla="*/ 962 h 1196"/>
                  <a:gd name="T82" fmla="*/ 90 w 1194"/>
                  <a:gd name="T83" fmla="*/ 899 h 1196"/>
                  <a:gd name="T84" fmla="*/ 115 w 1194"/>
                  <a:gd name="T85" fmla="*/ 836 h 1196"/>
                  <a:gd name="T86" fmla="*/ 87 w 1194"/>
                  <a:gd name="T87" fmla="*/ 770 h 1196"/>
                  <a:gd name="T88" fmla="*/ 25 w 1194"/>
                  <a:gd name="T89" fmla="*/ 743 h 1196"/>
                  <a:gd name="T90" fmla="*/ 0 w 1194"/>
                  <a:gd name="T91" fmla="*/ 682 h 1196"/>
                  <a:gd name="T92" fmla="*/ 11 w 1194"/>
                  <a:gd name="T93" fmla="*/ 469 h 1196"/>
                  <a:gd name="T94" fmla="*/ 64 w 1194"/>
                  <a:gd name="T95" fmla="*/ 429 h 1196"/>
                  <a:gd name="T96" fmla="*/ 131 w 1194"/>
                  <a:gd name="T97" fmla="*/ 376 h 1196"/>
                  <a:gd name="T98" fmla="*/ 93 w 1194"/>
                  <a:gd name="T99" fmla="*/ 319 h 1196"/>
                  <a:gd name="T100" fmla="*/ 101 w 1194"/>
                  <a:gd name="T101" fmla="*/ 253 h 1196"/>
                  <a:gd name="T102" fmla="*/ 253 w 1194"/>
                  <a:gd name="T103" fmla="*/ 101 h 1196"/>
                  <a:gd name="T104" fmla="*/ 318 w 1194"/>
                  <a:gd name="T105" fmla="*/ 93 h 1196"/>
                  <a:gd name="T106" fmla="*/ 374 w 1194"/>
                  <a:gd name="T107" fmla="*/ 131 h 1196"/>
                  <a:gd name="T108" fmla="*/ 428 w 1194"/>
                  <a:gd name="T109" fmla="*/ 64 h 1196"/>
                  <a:gd name="T110" fmla="*/ 468 w 1194"/>
                  <a:gd name="T111" fmla="*/ 11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94" h="1196">
                    <a:moveTo>
                      <a:pt x="597" y="310"/>
                    </a:moveTo>
                    <a:lnTo>
                      <a:pt x="550" y="313"/>
                    </a:lnTo>
                    <a:lnTo>
                      <a:pt x="506" y="324"/>
                    </a:lnTo>
                    <a:lnTo>
                      <a:pt x="464" y="341"/>
                    </a:lnTo>
                    <a:lnTo>
                      <a:pt x="427" y="366"/>
                    </a:lnTo>
                    <a:lnTo>
                      <a:pt x="393" y="394"/>
                    </a:lnTo>
                    <a:lnTo>
                      <a:pt x="364" y="427"/>
                    </a:lnTo>
                    <a:lnTo>
                      <a:pt x="341" y="466"/>
                    </a:lnTo>
                    <a:lnTo>
                      <a:pt x="324" y="507"/>
                    </a:lnTo>
                    <a:lnTo>
                      <a:pt x="313" y="552"/>
                    </a:lnTo>
                    <a:lnTo>
                      <a:pt x="308" y="597"/>
                    </a:lnTo>
                    <a:lnTo>
                      <a:pt x="313" y="644"/>
                    </a:lnTo>
                    <a:lnTo>
                      <a:pt x="324" y="689"/>
                    </a:lnTo>
                    <a:lnTo>
                      <a:pt x="341" y="730"/>
                    </a:lnTo>
                    <a:lnTo>
                      <a:pt x="364" y="767"/>
                    </a:lnTo>
                    <a:lnTo>
                      <a:pt x="393" y="802"/>
                    </a:lnTo>
                    <a:lnTo>
                      <a:pt x="427" y="830"/>
                    </a:lnTo>
                    <a:lnTo>
                      <a:pt x="464" y="853"/>
                    </a:lnTo>
                    <a:lnTo>
                      <a:pt x="506" y="870"/>
                    </a:lnTo>
                    <a:lnTo>
                      <a:pt x="550" y="882"/>
                    </a:lnTo>
                    <a:lnTo>
                      <a:pt x="597" y="886"/>
                    </a:lnTo>
                    <a:lnTo>
                      <a:pt x="644" y="882"/>
                    </a:lnTo>
                    <a:lnTo>
                      <a:pt x="689" y="870"/>
                    </a:lnTo>
                    <a:lnTo>
                      <a:pt x="729" y="853"/>
                    </a:lnTo>
                    <a:lnTo>
                      <a:pt x="767" y="830"/>
                    </a:lnTo>
                    <a:lnTo>
                      <a:pt x="800" y="802"/>
                    </a:lnTo>
                    <a:lnTo>
                      <a:pt x="829" y="767"/>
                    </a:lnTo>
                    <a:lnTo>
                      <a:pt x="853" y="730"/>
                    </a:lnTo>
                    <a:lnTo>
                      <a:pt x="870" y="689"/>
                    </a:lnTo>
                    <a:lnTo>
                      <a:pt x="881" y="644"/>
                    </a:lnTo>
                    <a:lnTo>
                      <a:pt x="884" y="597"/>
                    </a:lnTo>
                    <a:lnTo>
                      <a:pt x="881" y="552"/>
                    </a:lnTo>
                    <a:lnTo>
                      <a:pt x="870" y="507"/>
                    </a:lnTo>
                    <a:lnTo>
                      <a:pt x="853" y="466"/>
                    </a:lnTo>
                    <a:lnTo>
                      <a:pt x="829" y="427"/>
                    </a:lnTo>
                    <a:lnTo>
                      <a:pt x="800" y="394"/>
                    </a:lnTo>
                    <a:lnTo>
                      <a:pt x="767" y="366"/>
                    </a:lnTo>
                    <a:lnTo>
                      <a:pt x="729" y="341"/>
                    </a:lnTo>
                    <a:lnTo>
                      <a:pt x="689" y="324"/>
                    </a:lnTo>
                    <a:lnTo>
                      <a:pt x="644" y="313"/>
                    </a:lnTo>
                    <a:lnTo>
                      <a:pt x="597" y="310"/>
                    </a:lnTo>
                    <a:close/>
                    <a:moveTo>
                      <a:pt x="513" y="0"/>
                    </a:moveTo>
                    <a:lnTo>
                      <a:pt x="681" y="0"/>
                    </a:lnTo>
                    <a:lnTo>
                      <a:pt x="704" y="3"/>
                    </a:lnTo>
                    <a:lnTo>
                      <a:pt x="726" y="11"/>
                    </a:lnTo>
                    <a:lnTo>
                      <a:pt x="743" y="26"/>
                    </a:lnTo>
                    <a:lnTo>
                      <a:pt x="757" y="43"/>
                    </a:lnTo>
                    <a:lnTo>
                      <a:pt x="766" y="64"/>
                    </a:lnTo>
                    <a:lnTo>
                      <a:pt x="769" y="88"/>
                    </a:lnTo>
                    <a:lnTo>
                      <a:pt x="769" y="111"/>
                    </a:lnTo>
                    <a:lnTo>
                      <a:pt x="820" y="131"/>
                    </a:lnTo>
                    <a:lnTo>
                      <a:pt x="836" y="116"/>
                    </a:lnTo>
                    <a:lnTo>
                      <a:pt x="854" y="101"/>
                    </a:lnTo>
                    <a:lnTo>
                      <a:pt x="876" y="93"/>
                    </a:lnTo>
                    <a:lnTo>
                      <a:pt x="899" y="90"/>
                    </a:lnTo>
                    <a:lnTo>
                      <a:pt x="920" y="93"/>
                    </a:lnTo>
                    <a:lnTo>
                      <a:pt x="941" y="101"/>
                    </a:lnTo>
                    <a:lnTo>
                      <a:pt x="960" y="116"/>
                    </a:lnTo>
                    <a:lnTo>
                      <a:pt x="1079" y="234"/>
                    </a:lnTo>
                    <a:lnTo>
                      <a:pt x="1093" y="253"/>
                    </a:lnTo>
                    <a:lnTo>
                      <a:pt x="1102" y="274"/>
                    </a:lnTo>
                    <a:lnTo>
                      <a:pt x="1104" y="297"/>
                    </a:lnTo>
                    <a:lnTo>
                      <a:pt x="1102" y="319"/>
                    </a:lnTo>
                    <a:lnTo>
                      <a:pt x="1093" y="340"/>
                    </a:lnTo>
                    <a:lnTo>
                      <a:pt x="1079" y="359"/>
                    </a:lnTo>
                    <a:lnTo>
                      <a:pt x="1063" y="376"/>
                    </a:lnTo>
                    <a:lnTo>
                      <a:pt x="1083" y="426"/>
                    </a:lnTo>
                    <a:lnTo>
                      <a:pt x="1106" y="426"/>
                    </a:lnTo>
                    <a:lnTo>
                      <a:pt x="1130" y="429"/>
                    </a:lnTo>
                    <a:lnTo>
                      <a:pt x="1152" y="437"/>
                    </a:lnTo>
                    <a:lnTo>
                      <a:pt x="1169" y="451"/>
                    </a:lnTo>
                    <a:lnTo>
                      <a:pt x="1183" y="469"/>
                    </a:lnTo>
                    <a:lnTo>
                      <a:pt x="1192" y="490"/>
                    </a:lnTo>
                    <a:lnTo>
                      <a:pt x="1194" y="514"/>
                    </a:lnTo>
                    <a:lnTo>
                      <a:pt x="1194" y="682"/>
                    </a:lnTo>
                    <a:lnTo>
                      <a:pt x="1192" y="704"/>
                    </a:lnTo>
                    <a:lnTo>
                      <a:pt x="1183" y="726"/>
                    </a:lnTo>
                    <a:lnTo>
                      <a:pt x="1169" y="743"/>
                    </a:lnTo>
                    <a:lnTo>
                      <a:pt x="1152" y="757"/>
                    </a:lnTo>
                    <a:lnTo>
                      <a:pt x="1130" y="766"/>
                    </a:lnTo>
                    <a:lnTo>
                      <a:pt x="1106" y="770"/>
                    </a:lnTo>
                    <a:lnTo>
                      <a:pt x="1083" y="770"/>
                    </a:lnTo>
                    <a:lnTo>
                      <a:pt x="1063" y="820"/>
                    </a:lnTo>
                    <a:lnTo>
                      <a:pt x="1079" y="836"/>
                    </a:lnTo>
                    <a:lnTo>
                      <a:pt x="1093" y="854"/>
                    </a:lnTo>
                    <a:lnTo>
                      <a:pt x="1102" y="876"/>
                    </a:lnTo>
                    <a:lnTo>
                      <a:pt x="1104" y="899"/>
                    </a:lnTo>
                    <a:lnTo>
                      <a:pt x="1102" y="922"/>
                    </a:lnTo>
                    <a:lnTo>
                      <a:pt x="1093" y="942"/>
                    </a:lnTo>
                    <a:lnTo>
                      <a:pt x="1079" y="962"/>
                    </a:lnTo>
                    <a:lnTo>
                      <a:pt x="960" y="1079"/>
                    </a:lnTo>
                    <a:lnTo>
                      <a:pt x="941" y="1095"/>
                    </a:lnTo>
                    <a:lnTo>
                      <a:pt x="920" y="1103"/>
                    </a:lnTo>
                    <a:lnTo>
                      <a:pt x="899" y="1106"/>
                    </a:lnTo>
                    <a:lnTo>
                      <a:pt x="876" y="1103"/>
                    </a:lnTo>
                    <a:lnTo>
                      <a:pt x="854" y="1095"/>
                    </a:lnTo>
                    <a:lnTo>
                      <a:pt x="836" y="1079"/>
                    </a:lnTo>
                    <a:lnTo>
                      <a:pt x="820" y="1063"/>
                    </a:lnTo>
                    <a:lnTo>
                      <a:pt x="769" y="1085"/>
                    </a:lnTo>
                    <a:lnTo>
                      <a:pt x="769" y="1107"/>
                    </a:lnTo>
                    <a:lnTo>
                      <a:pt x="766" y="1130"/>
                    </a:lnTo>
                    <a:lnTo>
                      <a:pt x="757" y="1152"/>
                    </a:lnTo>
                    <a:lnTo>
                      <a:pt x="743" y="1169"/>
                    </a:lnTo>
                    <a:lnTo>
                      <a:pt x="726" y="1183"/>
                    </a:lnTo>
                    <a:lnTo>
                      <a:pt x="704" y="1192"/>
                    </a:lnTo>
                    <a:lnTo>
                      <a:pt x="681" y="1196"/>
                    </a:lnTo>
                    <a:lnTo>
                      <a:pt x="513" y="1196"/>
                    </a:lnTo>
                    <a:lnTo>
                      <a:pt x="490" y="1192"/>
                    </a:lnTo>
                    <a:lnTo>
                      <a:pt x="468" y="1183"/>
                    </a:lnTo>
                    <a:lnTo>
                      <a:pt x="451" y="1169"/>
                    </a:lnTo>
                    <a:lnTo>
                      <a:pt x="437" y="1152"/>
                    </a:lnTo>
                    <a:lnTo>
                      <a:pt x="428" y="1130"/>
                    </a:lnTo>
                    <a:lnTo>
                      <a:pt x="426" y="1107"/>
                    </a:lnTo>
                    <a:lnTo>
                      <a:pt x="426" y="1085"/>
                    </a:lnTo>
                    <a:lnTo>
                      <a:pt x="374" y="1063"/>
                    </a:lnTo>
                    <a:lnTo>
                      <a:pt x="358" y="1079"/>
                    </a:lnTo>
                    <a:lnTo>
                      <a:pt x="340" y="1095"/>
                    </a:lnTo>
                    <a:lnTo>
                      <a:pt x="318" y="1103"/>
                    </a:lnTo>
                    <a:lnTo>
                      <a:pt x="296" y="1106"/>
                    </a:lnTo>
                    <a:lnTo>
                      <a:pt x="274" y="1103"/>
                    </a:lnTo>
                    <a:lnTo>
                      <a:pt x="253" y="1095"/>
                    </a:lnTo>
                    <a:lnTo>
                      <a:pt x="234" y="1079"/>
                    </a:lnTo>
                    <a:lnTo>
                      <a:pt x="115" y="962"/>
                    </a:lnTo>
                    <a:lnTo>
                      <a:pt x="101" y="942"/>
                    </a:lnTo>
                    <a:lnTo>
                      <a:pt x="93" y="922"/>
                    </a:lnTo>
                    <a:lnTo>
                      <a:pt x="90" y="899"/>
                    </a:lnTo>
                    <a:lnTo>
                      <a:pt x="93" y="876"/>
                    </a:lnTo>
                    <a:lnTo>
                      <a:pt x="101" y="854"/>
                    </a:lnTo>
                    <a:lnTo>
                      <a:pt x="115" y="836"/>
                    </a:lnTo>
                    <a:lnTo>
                      <a:pt x="131" y="820"/>
                    </a:lnTo>
                    <a:lnTo>
                      <a:pt x="110" y="770"/>
                    </a:lnTo>
                    <a:lnTo>
                      <a:pt x="87" y="770"/>
                    </a:lnTo>
                    <a:lnTo>
                      <a:pt x="64" y="766"/>
                    </a:lnTo>
                    <a:lnTo>
                      <a:pt x="43" y="757"/>
                    </a:lnTo>
                    <a:lnTo>
                      <a:pt x="25" y="743"/>
                    </a:lnTo>
                    <a:lnTo>
                      <a:pt x="11" y="726"/>
                    </a:lnTo>
                    <a:lnTo>
                      <a:pt x="3" y="704"/>
                    </a:lnTo>
                    <a:lnTo>
                      <a:pt x="0" y="682"/>
                    </a:lnTo>
                    <a:lnTo>
                      <a:pt x="0" y="514"/>
                    </a:lnTo>
                    <a:lnTo>
                      <a:pt x="3" y="490"/>
                    </a:lnTo>
                    <a:lnTo>
                      <a:pt x="11" y="469"/>
                    </a:lnTo>
                    <a:lnTo>
                      <a:pt x="25" y="451"/>
                    </a:lnTo>
                    <a:lnTo>
                      <a:pt x="43" y="437"/>
                    </a:lnTo>
                    <a:lnTo>
                      <a:pt x="64" y="429"/>
                    </a:lnTo>
                    <a:lnTo>
                      <a:pt x="87" y="426"/>
                    </a:lnTo>
                    <a:lnTo>
                      <a:pt x="110" y="426"/>
                    </a:lnTo>
                    <a:lnTo>
                      <a:pt x="131" y="376"/>
                    </a:lnTo>
                    <a:lnTo>
                      <a:pt x="115" y="359"/>
                    </a:lnTo>
                    <a:lnTo>
                      <a:pt x="101" y="340"/>
                    </a:lnTo>
                    <a:lnTo>
                      <a:pt x="93" y="319"/>
                    </a:lnTo>
                    <a:lnTo>
                      <a:pt x="90" y="297"/>
                    </a:lnTo>
                    <a:lnTo>
                      <a:pt x="93" y="274"/>
                    </a:lnTo>
                    <a:lnTo>
                      <a:pt x="101" y="253"/>
                    </a:lnTo>
                    <a:lnTo>
                      <a:pt x="115" y="234"/>
                    </a:lnTo>
                    <a:lnTo>
                      <a:pt x="234" y="116"/>
                    </a:lnTo>
                    <a:lnTo>
                      <a:pt x="253" y="101"/>
                    </a:lnTo>
                    <a:lnTo>
                      <a:pt x="274" y="93"/>
                    </a:lnTo>
                    <a:lnTo>
                      <a:pt x="296" y="90"/>
                    </a:lnTo>
                    <a:lnTo>
                      <a:pt x="318" y="93"/>
                    </a:lnTo>
                    <a:lnTo>
                      <a:pt x="340" y="101"/>
                    </a:lnTo>
                    <a:lnTo>
                      <a:pt x="358" y="116"/>
                    </a:lnTo>
                    <a:lnTo>
                      <a:pt x="374" y="131"/>
                    </a:lnTo>
                    <a:lnTo>
                      <a:pt x="426" y="111"/>
                    </a:lnTo>
                    <a:lnTo>
                      <a:pt x="426" y="88"/>
                    </a:lnTo>
                    <a:lnTo>
                      <a:pt x="428" y="64"/>
                    </a:lnTo>
                    <a:lnTo>
                      <a:pt x="437" y="43"/>
                    </a:lnTo>
                    <a:lnTo>
                      <a:pt x="451" y="26"/>
                    </a:lnTo>
                    <a:lnTo>
                      <a:pt x="468" y="11"/>
                    </a:lnTo>
                    <a:lnTo>
                      <a:pt x="490" y="3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40" name="Group 139"/>
          <p:cNvGrpSpPr/>
          <p:nvPr/>
        </p:nvGrpSpPr>
        <p:grpSpPr>
          <a:xfrm>
            <a:off x="144256" y="5318335"/>
            <a:ext cx="727877" cy="456683"/>
            <a:chOff x="163212" y="5096992"/>
            <a:chExt cx="727877" cy="456683"/>
          </a:xfrm>
        </p:grpSpPr>
        <p:sp>
          <p:nvSpPr>
            <p:cNvPr id="141" name="Rectangle 17"/>
            <p:cNvSpPr>
              <a:spLocks/>
            </p:cNvSpPr>
            <p:nvPr/>
          </p:nvSpPr>
          <p:spPr bwMode="auto">
            <a:xfrm>
              <a:off x="163212" y="5307454"/>
              <a:ext cx="72787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Клиентские данные</a:t>
              </a:r>
              <a:endParaRPr lang="ru-RU" sz="800" i="1" dirty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grpSp>
          <p:nvGrpSpPr>
            <p:cNvPr id="142" name="Group 165"/>
            <p:cNvGrpSpPr>
              <a:grpSpLocks noChangeAspect="1"/>
            </p:cNvGrpSpPr>
            <p:nvPr/>
          </p:nvGrpSpPr>
          <p:grpSpPr bwMode="auto">
            <a:xfrm>
              <a:off x="377865" y="5096992"/>
              <a:ext cx="253587" cy="198314"/>
              <a:chOff x="-1919" y="3510"/>
              <a:chExt cx="679" cy="531"/>
            </a:xfrm>
            <a:solidFill>
              <a:schemeClr val="bg1"/>
            </a:solidFill>
          </p:grpSpPr>
          <p:sp>
            <p:nvSpPr>
              <p:cNvPr id="143" name="Freeform 167"/>
              <p:cNvSpPr>
                <a:spLocks/>
              </p:cNvSpPr>
              <p:nvPr/>
            </p:nvSpPr>
            <p:spPr bwMode="auto">
              <a:xfrm>
                <a:off x="-1803" y="3980"/>
                <a:ext cx="447" cy="61"/>
              </a:xfrm>
              <a:custGeom>
                <a:avLst/>
                <a:gdLst>
                  <a:gd name="T0" fmla="*/ 154 w 2237"/>
                  <a:gd name="T1" fmla="*/ 0 h 304"/>
                  <a:gd name="T2" fmla="*/ 2082 w 2237"/>
                  <a:gd name="T3" fmla="*/ 0 h 304"/>
                  <a:gd name="T4" fmla="*/ 2113 w 2237"/>
                  <a:gd name="T5" fmla="*/ 3 h 304"/>
                  <a:gd name="T6" fmla="*/ 2142 w 2237"/>
                  <a:gd name="T7" fmla="*/ 12 h 304"/>
                  <a:gd name="T8" fmla="*/ 2168 w 2237"/>
                  <a:gd name="T9" fmla="*/ 27 h 304"/>
                  <a:gd name="T10" fmla="*/ 2191 w 2237"/>
                  <a:gd name="T11" fmla="*/ 45 h 304"/>
                  <a:gd name="T12" fmla="*/ 2210 w 2237"/>
                  <a:gd name="T13" fmla="*/ 68 h 304"/>
                  <a:gd name="T14" fmla="*/ 2224 w 2237"/>
                  <a:gd name="T15" fmla="*/ 93 h 304"/>
                  <a:gd name="T16" fmla="*/ 2234 w 2237"/>
                  <a:gd name="T17" fmla="*/ 122 h 304"/>
                  <a:gd name="T18" fmla="*/ 2237 w 2237"/>
                  <a:gd name="T19" fmla="*/ 153 h 304"/>
                  <a:gd name="T20" fmla="*/ 2234 w 2237"/>
                  <a:gd name="T21" fmla="*/ 183 h 304"/>
                  <a:gd name="T22" fmla="*/ 2224 w 2237"/>
                  <a:gd name="T23" fmla="*/ 212 h 304"/>
                  <a:gd name="T24" fmla="*/ 2210 w 2237"/>
                  <a:gd name="T25" fmla="*/ 237 h 304"/>
                  <a:gd name="T26" fmla="*/ 2191 w 2237"/>
                  <a:gd name="T27" fmla="*/ 260 h 304"/>
                  <a:gd name="T28" fmla="*/ 2168 w 2237"/>
                  <a:gd name="T29" fmla="*/ 278 h 304"/>
                  <a:gd name="T30" fmla="*/ 2142 w 2237"/>
                  <a:gd name="T31" fmla="*/ 293 h 304"/>
                  <a:gd name="T32" fmla="*/ 2113 w 2237"/>
                  <a:gd name="T33" fmla="*/ 301 h 304"/>
                  <a:gd name="T34" fmla="*/ 2082 w 2237"/>
                  <a:gd name="T35" fmla="*/ 304 h 304"/>
                  <a:gd name="T36" fmla="*/ 154 w 2237"/>
                  <a:gd name="T37" fmla="*/ 304 h 304"/>
                  <a:gd name="T38" fmla="*/ 123 w 2237"/>
                  <a:gd name="T39" fmla="*/ 301 h 304"/>
                  <a:gd name="T40" fmla="*/ 93 w 2237"/>
                  <a:gd name="T41" fmla="*/ 293 h 304"/>
                  <a:gd name="T42" fmla="*/ 68 w 2237"/>
                  <a:gd name="T43" fmla="*/ 278 h 304"/>
                  <a:gd name="T44" fmla="*/ 45 w 2237"/>
                  <a:gd name="T45" fmla="*/ 260 h 304"/>
                  <a:gd name="T46" fmla="*/ 26 w 2237"/>
                  <a:gd name="T47" fmla="*/ 237 h 304"/>
                  <a:gd name="T48" fmla="*/ 11 w 2237"/>
                  <a:gd name="T49" fmla="*/ 212 h 304"/>
                  <a:gd name="T50" fmla="*/ 3 w 2237"/>
                  <a:gd name="T51" fmla="*/ 183 h 304"/>
                  <a:gd name="T52" fmla="*/ 0 w 2237"/>
                  <a:gd name="T53" fmla="*/ 153 h 304"/>
                  <a:gd name="T54" fmla="*/ 3 w 2237"/>
                  <a:gd name="T55" fmla="*/ 122 h 304"/>
                  <a:gd name="T56" fmla="*/ 11 w 2237"/>
                  <a:gd name="T57" fmla="*/ 93 h 304"/>
                  <a:gd name="T58" fmla="*/ 26 w 2237"/>
                  <a:gd name="T59" fmla="*/ 68 h 304"/>
                  <a:gd name="T60" fmla="*/ 45 w 2237"/>
                  <a:gd name="T61" fmla="*/ 45 h 304"/>
                  <a:gd name="T62" fmla="*/ 68 w 2237"/>
                  <a:gd name="T63" fmla="*/ 27 h 304"/>
                  <a:gd name="T64" fmla="*/ 93 w 2237"/>
                  <a:gd name="T65" fmla="*/ 12 h 304"/>
                  <a:gd name="T66" fmla="*/ 123 w 2237"/>
                  <a:gd name="T67" fmla="*/ 3 h 304"/>
                  <a:gd name="T68" fmla="*/ 154 w 2237"/>
                  <a:gd name="T69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37" h="304">
                    <a:moveTo>
                      <a:pt x="154" y="0"/>
                    </a:moveTo>
                    <a:lnTo>
                      <a:pt x="2082" y="0"/>
                    </a:lnTo>
                    <a:lnTo>
                      <a:pt x="2113" y="3"/>
                    </a:lnTo>
                    <a:lnTo>
                      <a:pt x="2142" y="12"/>
                    </a:lnTo>
                    <a:lnTo>
                      <a:pt x="2168" y="27"/>
                    </a:lnTo>
                    <a:lnTo>
                      <a:pt x="2191" y="45"/>
                    </a:lnTo>
                    <a:lnTo>
                      <a:pt x="2210" y="68"/>
                    </a:lnTo>
                    <a:lnTo>
                      <a:pt x="2224" y="93"/>
                    </a:lnTo>
                    <a:lnTo>
                      <a:pt x="2234" y="122"/>
                    </a:lnTo>
                    <a:lnTo>
                      <a:pt x="2237" y="153"/>
                    </a:lnTo>
                    <a:lnTo>
                      <a:pt x="2234" y="183"/>
                    </a:lnTo>
                    <a:lnTo>
                      <a:pt x="2224" y="212"/>
                    </a:lnTo>
                    <a:lnTo>
                      <a:pt x="2210" y="237"/>
                    </a:lnTo>
                    <a:lnTo>
                      <a:pt x="2191" y="260"/>
                    </a:lnTo>
                    <a:lnTo>
                      <a:pt x="2168" y="278"/>
                    </a:lnTo>
                    <a:lnTo>
                      <a:pt x="2142" y="293"/>
                    </a:lnTo>
                    <a:lnTo>
                      <a:pt x="2113" y="301"/>
                    </a:lnTo>
                    <a:lnTo>
                      <a:pt x="2082" y="304"/>
                    </a:lnTo>
                    <a:lnTo>
                      <a:pt x="154" y="304"/>
                    </a:lnTo>
                    <a:lnTo>
                      <a:pt x="123" y="301"/>
                    </a:lnTo>
                    <a:lnTo>
                      <a:pt x="93" y="293"/>
                    </a:lnTo>
                    <a:lnTo>
                      <a:pt x="68" y="278"/>
                    </a:lnTo>
                    <a:lnTo>
                      <a:pt x="45" y="260"/>
                    </a:lnTo>
                    <a:lnTo>
                      <a:pt x="26" y="237"/>
                    </a:lnTo>
                    <a:lnTo>
                      <a:pt x="11" y="212"/>
                    </a:lnTo>
                    <a:lnTo>
                      <a:pt x="3" y="183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5" y="45"/>
                    </a:lnTo>
                    <a:lnTo>
                      <a:pt x="68" y="27"/>
                    </a:lnTo>
                    <a:lnTo>
                      <a:pt x="93" y="12"/>
                    </a:lnTo>
                    <a:lnTo>
                      <a:pt x="123" y="3"/>
                    </a:lnTo>
                    <a:lnTo>
                      <a:pt x="1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4" name="Freeform 168"/>
              <p:cNvSpPr>
                <a:spLocks/>
              </p:cNvSpPr>
              <p:nvPr/>
            </p:nvSpPr>
            <p:spPr bwMode="auto">
              <a:xfrm>
                <a:off x="-1811" y="3730"/>
                <a:ext cx="46" cy="121"/>
              </a:xfrm>
              <a:custGeom>
                <a:avLst/>
                <a:gdLst>
                  <a:gd name="T0" fmla="*/ 117 w 232"/>
                  <a:gd name="T1" fmla="*/ 0 h 607"/>
                  <a:gd name="T2" fmla="*/ 143 w 232"/>
                  <a:gd name="T3" fmla="*/ 3 h 607"/>
                  <a:gd name="T4" fmla="*/ 168 w 232"/>
                  <a:gd name="T5" fmla="*/ 12 h 607"/>
                  <a:gd name="T6" fmla="*/ 190 w 232"/>
                  <a:gd name="T7" fmla="*/ 25 h 607"/>
                  <a:gd name="T8" fmla="*/ 207 w 232"/>
                  <a:gd name="T9" fmla="*/ 43 h 607"/>
                  <a:gd name="T10" fmla="*/ 221 w 232"/>
                  <a:gd name="T11" fmla="*/ 64 h 607"/>
                  <a:gd name="T12" fmla="*/ 229 w 232"/>
                  <a:gd name="T13" fmla="*/ 88 h 607"/>
                  <a:gd name="T14" fmla="*/ 232 w 232"/>
                  <a:gd name="T15" fmla="*/ 114 h 607"/>
                  <a:gd name="T16" fmla="*/ 232 w 232"/>
                  <a:gd name="T17" fmla="*/ 494 h 607"/>
                  <a:gd name="T18" fmla="*/ 229 w 232"/>
                  <a:gd name="T19" fmla="*/ 520 h 607"/>
                  <a:gd name="T20" fmla="*/ 221 w 232"/>
                  <a:gd name="T21" fmla="*/ 544 h 607"/>
                  <a:gd name="T22" fmla="*/ 207 w 232"/>
                  <a:gd name="T23" fmla="*/ 565 h 607"/>
                  <a:gd name="T24" fmla="*/ 190 w 232"/>
                  <a:gd name="T25" fmla="*/ 583 h 607"/>
                  <a:gd name="T26" fmla="*/ 168 w 232"/>
                  <a:gd name="T27" fmla="*/ 596 h 607"/>
                  <a:gd name="T28" fmla="*/ 143 w 232"/>
                  <a:gd name="T29" fmla="*/ 605 h 607"/>
                  <a:gd name="T30" fmla="*/ 117 w 232"/>
                  <a:gd name="T31" fmla="*/ 607 h 607"/>
                  <a:gd name="T32" fmla="*/ 90 w 232"/>
                  <a:gd name="T33" fmla="*/ 605 h 607"/>
                  <a:gd name="T34" fmla="*/ 66 w 232"/>
                  <a:gd name="T35" fmla="*/ 596 h 607"/>
                  <a:gd name="T36" fmla="*/ 44 w 232"/>
                  <a:gd name="T37" fmla="*/ 583 h 607"/>
                  <a:gd name="T38" fmla="*/ 26 w 232"/>
                  <a:gd name="T39" fmla="*/ 565 h 607"/>
                  <a:gd name="T40" fmla="*/ 13 w 232"/>
                  <a:gd name="T41" fmla="*/ 544 h 607"/>
                  <a:gd name="T42" fmla="*/ 4 w 232"/>
                  <a:gd name="T43" fmla="*/ 520 h 607"/>
                  <a:gd name="T44" fmla="*/ 0 w 232"/>
                  <a:gd name="T45" fmla="*/ 494 h 607"/>
                  <a:gd name="T46" fmla="*/ 0 w 232"/>
                  <a:gd name="T47" fmla="*/ 114 h 607"/>
                  <a:gd name="T48" fmla="*/ 4 w 232"/>
                  <a:gd name="T49" fmla="*/ 88 h 607"/>
                  <a:gd name="T50" fmla="*/ 13 w 232"/>
                  <a:gd name="T51" fmla="*/ 64 h 607"/>
                  <a:gd name="T52" fmla="*/ 26 w 232"/>
                  <a:gd name="T53" fmla="*/ 43 h 607"/>
                  <a:gd name="T54" fmla="*/ 44 w 232"/>
                  <a:gd name="T55" fmla="*/ 25 h 607"/>
                  <a:gd name="T56" fmla="*/ 66 w 232"/>
                  <a:gd name="T57" fmla="*/ 12 h 607"/>
                  <a:gd name="T58" fmla="*/ 90 w 232"/>
                  <a:gd name="T59" fmla="*/ 3 h 607"/>
                  <a:gd name="T60" fmla="*/ 117 w 232"/>
                  <a:gd name="T61" fmla="*/ 0 h 6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2" h="607">
                    <a:moveTo>
                      <a:pt x="117" y="0"/>
                    </a:moveTo>
                    <a:lnTo>
                      <a:pt x="143" y="3"/>
                    </a:lnTo>
                    <a:lnTo>
                      <a:pt x="168" y="12"/>
                    </a:lnTo>
                    <a:lnTo>
                      <a:pt x="190" y="25"/>
                    </a:lnTo>
                    <a:lnTo>
                      <a:pt x="207" y="43"/>
                    </a:lnTo>
                    <a:lnTo>
                      <a:pt x="221" y="64"/>
                    </a:lnTo>
                    <a:lnTo>
                      <a:pt x="229" y="88"/>
                    </a:lnTo>
                    <a:lnTo>
                      <a:pt x="232" y="114"/>
                    </a:lnTo>
                    <a:lnTo>
                      <a:pt x="232" y="494"/>
                    </a:lnTo>
                    <a:lnTo>
                      <a:pt x="229" y="520"/>
                    </a:lnTo>
                    <a:lnTo>
                      <a:pt x="221" y="544"/>
                    </a:lnTo>
                    <a:lnTo>
                      <a:pt x="207" y="565"/>
                    </a:lnTo>
                    <a:lnTo>
                      <a:pt x="190" y="583"/>
                    </a:lnTo>
                    <a:lnTo>
                      <a:pt x="168" y="596"/>
                    </a:lnTo>
                    <a:lnTo>
                      <a:pt x="143" y="605"/>
                    </a:lnTo>
                    <a:lnTo>
                      <a:pt x="117" y="607"/>
                    </a:lnTo>
                    <a:lnTo>
                      <a:pt x="90" y="605"/>
                    </a:lnTo>
                    <a:lnTo>
                      <a:pt x="66" y="596"/>
                    </a:lnTo>
                    <a:lnTo>
                      <a:pt x="44" y="583"/>
                    </a:lnTo>
                    <a:lnTo>
                      <a:pt x="26" y="565"/>
                    </a:lnTo>
                    <a:lnTo>
                      <a:pt x="13" y="544"/>
                    </a:lnTo>
                    <a:lnTo>
                      <a:pt x="4" y="520"/>
                    </a:lnTo>
                    <a:lnTo>
                      <a:pt x="0" y="494"/>
                    </a:lnTo>
                    <a:lnTo>
                      <a:pt x="0" y="114"/>
                    </a:lnTo>
                    <a:lnTo>
                      <a:pt x="4" y="88"/>
                    </a:lnTo>
                    <a:lnTo>
                      <a:pt x="13" y="64"/>
                    </a:lnTo>
                    <a:lnTo>
                      <a:pt x="26" y="43"/>
                    </a:lnTo>
                    <a:lnTo>
                      <a:pt x="44" y="25"/>
                    </a:lnTo>
                    <a:lnTo>
                      <a:pt x="66" y="12"/>
                    </a:lnTo>
                    <a:lnTo>
                      <a:pt x="90" y="3"/>
                    </a:lnTo>
                    <a:lnTo>
                      <a:pt x="11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5" name="Freeform 169"/>
              <p:cNvSpPr>
                <a:spLocks/>
              </p:cNvSpPr>
              <p:nvPr/>
            </p:nvSpPr>
            <p:spPr bwMode="auto">
              <a:xfrm>
                <a:off x="-1734" y="3699"/>
                <a:ext cx="46" cy="152"/>
              </a:xfrm>
              <a:custGeom>
                <a:avLst/>
                <a:gdLst>
                  <a:gd name="T0" fmla="*/ 116 w 232"/>
                  <a:gd name="T1" fmla="*/ 0 h 759"/>
                  <a:gd name="T2" fmla="*/ 142 w 232"/>
                  <a:gd name="T3" fmla="*/ 3 h 759"/>
                  <a:gd name="T4" fmla="*/ 167 w 232"/>
                  <a:gd name="T5" fmla="*/ 12 h 759"/>
                  <a:gd name="T6" fmla="*/ 188 w 232"/>
                  <a:gd name="T7" fmla="*/ 25 h 759"/>
                  <a:gd name="T8" fmla="*/ 207 w 232"/>
                  <a:gd name="T9" fmla="*/ 43 h 759"/>
                  <a:gd name="T10" fmla="*/ 220 w 232"/>
                  <a:gd name="T11" fmla="*/ 64 h 759"/>
                  <a:gd name="T12" fmla="*/ 229 w 232"/>
                  <a:gd name="T13" fmla="*/ 88 h 759"/>
                  <a:gd name="T14" fmla="*/ 232 w 232"/>
                  <a:gd name="T15" fmla="*/ 115 h 759"/>
                  <a:gd name="T16" fmla="*/ 232 w 232"/>
                  <a:gd name="T17" fmla="*/ 646 h 759"/>
                  <a:gd name="T18" fmla="*/ 229 w 232"/>
                  <a:gd name="T19" fmla="*/ 672 h 759"/>
                  <a:gd name="T20" fmla="*/ 220 w 232"/>
                  <a:gd name="T21" fmla="*/ 696 h 759"/>
                  <a:gd name="T22" fmla="*/ 207 w 232"/>
                  <a:gd name="T23" fmla="*/ 717 h 759"/>
                  <a:gd name="T24" fmla="*/ 188 w 232"/>
                  <a:gd name="T25" fmla="*/ 735 h 759"/>
                  <a:gd name="T26" fmla="*/ 167 w 232"/>
                  <a:gd name="T27" fmla="*/ 748 h 759"/>
                  <a:gd name="T28" fmla="*/ 142 w 232"/>
                  <a:gd name="T29" fmla="*/ 757 h 759"/>
                  <a:gd name="T30" fmla="*/ 116 w 232"/>
                  <a:gd name="T31" fmla="*/ 759 h 759"/>
                  <a:gd name="T32" fmla="*/ 89 w 232"/>
                  <a:gd name="T33" fmla="*/ 757 h 759"/>
                  <a:gd name="T34" fmla="*/ 66 w 232"/>
                  <a:gd name="T35" fmla="*/ 748 h 759"/>
                  <a:gd name="T36" fmla="*/ 44 w 232"/>
                  <a:gd name="T37" fmla="*/ 735 h 759"/>
                  <a:gd name="T38" fmla="*/ 26 w 232"/>
                  <a:gd name="T39" fmla="*/ 717 h 759"/>
                  <a:gd name="T40" fmla="*/ 13 w 232"/>
                  <a:gd name="T41" fmla="*/ 696 h 759"/>
                  <a:gd name="T42" fmla="*/ 3 w 232"/>
                  <a:gd name="T43" fmla="*/ 672 h 759"/>
                  <a:gd name="T44" fmla="*/ 0 w 232"/>
                  <a:gd name="T45" fmla="*/ 646 h 759"/>
                  <a:gd name="T46" fmla="*/ 0 w 232"/>
                  <a:gd name="T47" fmla="*/ 115 h 759"/>
                  <a:gd name="T48" fmla="*/ 3 w 232"/>
                  <a:gd name="T49" fmla="*/ 88 h 759"/>
                  <a:gd name="T50" fmla="*/ 13 w 232"/>
                  <a:gd name="T51" fmla="*/ 64 h 759"/>
                  <a:gd name="T52" fmla="*/ 26 w 232"/>
                  <a:gd name="T53" fmla="*/ 43 h 759"/>
                  <a:gd name="T54" fmla="*/ 44 w 232"/>
                  <a:gd name="T55" fmla="*/ 25 h 759"/>
                  <a:gd name="T56" fmla="*/ 66 w 232"/>
                  <a:gd name="T57" fmla="*/ 12 h 759"/>
                  <a:gd name="T58" fmla="*/ 89 w 232"/>
                  <a:gd name="T59" fmla="*/ 3 h 759"/>
                  <a:gd name="T60" fmla="*/ 116 w 232"/>
                  <a:gd name="T61" fmla="*/ 0 h 7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2" h="759">
                    <a:moveTo>
                      <a:pt x="116" y="0"/>
                    </a:moveTo>
                    <a:lnTo>
                      <a:pt x="142" y="3"/>
                    </a:lnTo>
                    <a:lnTo>
                      <a:pt x="167" y="12"/>
                    </a:lnTo>
                    <a:lnTo>
                      <a:pt x="188" y="25"/>
                    </a:lnTo>
                    <a:lnTo>
                      <a:pt x="207" y="43"/>
                    </a:lnTo>
                    <a:lnTo>
                      <a:pt x="220" y="64"/>
                    </a:lnTo>
                    <a:lnTo>
                      <a:pt x="229" y="88"/>
                    </a:lnTo>
                    <a:lnTo>
                      <a:pt x="232" y="115"/>
                    </a:lnTo>
                    <a:lnTo>
                      <a:pt x="232" y="646"/>
                    </a:lnTo>
                    <a:lnTo>
                      <a:pt x="229" y="672"/>
                    </a:lnTo>
                    <a:lnTo>
                      <a:pt x="220" y="696"/>
                    </a:lnTo>
                    <a:lnTo>
                      <a:pt x="207" y="717"/>
                    </a:lnTo>
                    <a:lnTo>
                      <a:pt x="188" y="735"/>
                    </a:lnTo>
                    <a:lnTo>
                      <a:pt x="167" y="748"/>
                    </a:lnTo>
                    <a:lnTo>
                      <a:pt x="142" y="757"/>
                    </a:lnTo>
                    <a:lnTo>
                      <a:pt x="116" y="759"/>
                    </a:lnTo>
                    <a:lnTo>
                      <a:pt x="89" y="757"/>
                    </a:lnTo>
                    <a:lnTo>
                      <a:pt x="66" y="748"/>
                    </a:lnTo>
                    <a:lnTo>
                      <a:pt x="44" y="735"/>
                    </a:lnTo>
                    <a:lnTo>
                      <a:pt x="26" y="717"/>
                    </a:lnTo>
                    <a:lnTo>
                      <a:pt x="13" y="696"/>
                    </a:lnTo>
                    <a:lnTo>
                      <a:pt x="3" y="672"/>
                    </a:lnTo>
                    <a:lnTo>
                      <a:pt x="0" y="646"/>
                    </a:lnTo>
                    <a:lnTo>
                      <a:pt x="0" y="115"/>
                    </a:lnTo>
                    <a:lnTo>
                      <a:pt x="3" y="88"/>
                    </a:lnTo>
                    <a:lnTo>
                      <a:pt x="13" y="64"/>
                    </a:lnTo>
                    <a:lnTo>
                      <a:pt x="26" y="43"/>
                    </a:lnTo>
                    <a:lnTo>
                      <a:pt x="44" y="25"/>
                    </a:lnTo>
                    <a:lnTo>
                      <a:pt x="66" y="12"/>
                    </a:lnTo>
                    <a:lnTo>
                      <a:pt x="89" y="3"/>
                    </a:lnTo>
                    <a:lnTo>
                      <a:pt x="11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6" name="Freeform 170"/>
              <p:cNvSpPr>
                <a:spLocks/>
              </p:cNvSpPr>
              <p:nvPr/>
            </p:nvSpPr>
            <p:spPr bwMode="auto">
              <a:xfrm>
                <a:off x="-1657" y="3669"/>
                <a:ext cx="46" cy="182"/>
              </a:xfrm>
              <a:custGeom>
                <a:avLst/>
                <a:gdLst>
                  <a:gd name="T0" fmla="*/ 115 w 230"/>
                  <a:gd name="T1" fmla="*/ 0 h 911"/>
                  <a:gd name="T2" fmla="*/ 141 w 230"/>
                  <a:gd name="T3" fmla="*/ 3 h 911"/>
                  <a:gd name="T4" fmla="*/ 166 w 230"/>
                  <a:gd name="T5" fmla="*/ 12 h 911"/>
                  <a:gd name="T6" fmla="*/ 187 w 230"/>
                  <a:gd name="T7" fmla="*/ 25 h 911"/>
                  <a:gd name="T8" fmla="*/ 206 w 230"/>
                  <a:gd name="T9" fmla="*/ 43 h 911"/>
                  <a:gd name="T10" fmla="*/ 219 w 230"/>
                  <a:gd name="T11" fmla="*/ 64 h 911"/>
                  <a:gd name="T12" fmla="*/ 227 w 230"/>
                  <a:gd name="T13" fmla="*/ 88 h 911"/>
                  <a:gd name="T14" fmla="*/ 230 w 230"/>
                  <a:gd name="T15" fmla="*/ 114 h 911"/>
                  <a:gd name="T16" fmla="*/ 230 w 230"/>
                  <a:gd name="T17" fmla="*/ 798 h 911"/>
                  <a:gd name="T18" fmla="*/ 227 w 230"/>
                  <a:gd name="T19" fmla="*/ 824 h 911"/>
                  <a:gd name="T20" fmla="*/ 219 w 230"/>
                  <a:gd name="T21" fmla="*/ 848 h 911"/>
                  <a:gd name="T22" fmla="*/ 206 w 230"/>
                  <a:gd name="T23" fmla="*/ 869 h 911"/>
                  <a:gd name="T24" fmla="*/ 187 w 230"/>
                  <a:gd name="T25" fmla="*/ 887 h 911"/>
                  <a:gd name="T26" fmla="*/ 166 w 230"/>
                  <a:gd name="T27" fmla="*/ 900 h 911"/>
                  <a:gd name="T28" fmla="*/ 141 w 230"/>
                  <a:gd name="T29" fmla="*/ 909 h 911"/>
                  <a:gd name="T30" fmla="*/ 115 w 230"/>
                  <a:gd name="T31" fmla="*/ 911 h 911"/>
                  <a:gd name="T32" fmla="*/ 88 w 230"/>
                  <a:gd name="T33" fmla="*/ 909 h 911"/>
                  <a:gd name="T34" fmla="*/ 64 w 230"/>
                  <a:gd name="T35" fmla="*/ 900 h 911"/>
                  <a:gd name="T36" fmla="*/ 42 w 230"/>
                  <a:gd name="T37" fmla="*/ 887 h 911"/>
                  <a:gd name="T38" fmla="*/ 25 w 230"/>
                  <a:gd name="T39" fmla="*/ 869 h 911"/>
                  <a:gd name="T40" fmla="*/ 11 w 230"/>
                  <a:gd name="T41" fmla="*/ 848 h 911"/>
                  <a:gd name="T42" fmla="*/ 3 w 230"/>
                  <a:gd name="T43" fmla="*/ 824 h 911"/>
                  <a:gd name="T44" fmla="*/ 0 w 230"/>
                  <a:gd name="T45" fmla="*/ 798 h 911"/>
                  <a:gd name="T46" fmla="*/ 0 w 230"/>
                  <a:gd name="T47" fmla="*/ 114 h 911"/>
                  <a:gd name="T48" fmla="*/ 3 w 230"/>
                  <a:gd name="T49" fmla="*/ 88 h 911"/>
                  <a:gd name="T50" fmla="*/ 11 w 230"/>
                  <a:gd name="T51" fmla="*/ 64 h 911"/>
                  <a:gd name="T52" fmla="*/ 25 w 230"/>
                  <a:gd name="T53" fmla="*/ 43 h 911"/>
                  <a:gd name="T54" fmla="*/ 42 w 230"/>
                  <a:gd name="T55" fmla="*/ 25 h 911"/>
                  <a:gd name="T56" fmla="*/ 64 w 230"/>
                  <a:gd name="T57" fmla="*/ 12 h 911"/>
                  <a:gd name="T58" fmla="*/ 88 w 230"/>
                  <a:gd name="T59" fmla="*/ 3 h 911"/>
                  <a:gd name="T60" fmla="*/ 115 w 230"/>
                  <a:gd name="T61" fmla="*/ 0 h 9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0" h="911">
                    <a:moveTo>
                      <a:pt x="115" y="0"/>
                    </a:moveTo>
                    <a:lnTo>
                      <a:pt x="141" y="3"/>
                    </a:lnTo>
                    <a:lnTo>
                      <a:pt x="166" y="12"/>
                    </a:lnTo>
                    <a:lnTo>
                      <a:pt x="187" y="25"/>
                    </a:lnTo>
                    <a:lnTo>
                      <a:pt x="206" y="43"/>
                    </a:lnTo>
                    <a:lnTo>
                      <a:pt x="219" y="64"/>
                    </a:lnTo>
                    <a:lnTo>
                      <a:pt x="227" y="88"/>
                    </a:lnTo>
                    <a:lnTo>
                      <a:pt x="230" y="114"/>
                    </a:lnTo>
                    <a:lnTo>
                      <a:pt x="230" y="798"/>
                    </a:lnTo>
                    <a:lnTo>
                      <a:pt x="227" y="824"/>
                    </a:lnTo>
                    <a:lnTo>
                      <a:pt x="219" y="848"/>
                    </a:lnTo>
                    <a:lnTo>
                      <a:pt x="206" y="869"/>
                    </a:lnTo>
                    <a:lnTo>
                      <a:pt x="187" y="887"/>
                    </a:lnTo>
                    <a:lnTo>
                      <a:pt x="166" y="900"/>
                    </a:lnTo>
                    <a:lnTo>
                      <a:pt x="141" y="909"/>
                    </a:lnTo>
                    <a:lnTo>
                      <a:pt x="115" y="911"/>
                    </a:lnTo>
                    <a:lnTo>
                      <a:pt x="88" y="909"/>
                    </a:lnTo>
                    <a:lnTo>
                      <a:pt x="64" y="900"/>
                    </a:lnTo>
                    <a:lnTo>
                      <a:pt x="42" y="887"/>
                    </a:lnTo>
                    <a:lnTo>
                      <a:pt x="25" y="869"/>
                    </a:lnTo>
                    <a:lnTo>
                      <a:pt x="11" y="848"/>
                    </a:lnTo>
                    <a:lnTo>
                      <a:pt x="3" y="824"/>
                    </a:lnTo>
                    <a:lnTo>
                      <a:pt x="0" y="798"/>
                    </a:lnTo>
                    <a:lnTo>
                      <a:pt x="0" y="114"/>
                    </a:lnTo>
                    <a:lnTo>
                      <a:pt x="3" y="88"/>
                    </a:lnTo>
                    <a:lnTo>
                      <a:pt x="11" y="64"/>
                    </a:lnTo>
                    <a:lnTo>
                      <a:pt x="25" y="43"/>
                    </a:lnTo>
                    <a:lnTo>
                      <a:pt x="42" y="25"/>
                    </a:lnTo>
                    <a:lnTo>
                      <a:pt x="64" y="12"/>
                    </a:lnTo>
                    <a:lnTo>
                      <a:pt x="88" y="3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7" name="Freeform 171"/>
              <p:cNvSpPr>
                <a:spLocks/>
              </p:cNvSpPr>
              <p:nvPr/>
            </p:nvSpPr>
            <p:spPr bwMode="auto">
              <a:xfrm>
                <a:off x="-1919" y="3510"/>
                <a:ext cx="679" cy="440"/>
              </a:xfrm>
              <a:custGeom>
                <a:avLst/>
                <a:gdLst>
                  <a:gd name="T0" fmla="*/ 3240 w 3394"/>
                  <a:gd name="T1" fmla="*/ 0 h 2203"/>
                  <a:gd name="T2" fmla="*/ 3300 w 3394"/>
                  <a:gd name="T3" fmla="*/ 11 h 2203"/>
                  <a:gd name="T4" fmla="*/ 3349 w 3394"/>
                  <a:gd name="T5" fmla="*/ 44 h 2203"/>
                  <a:gd name="T6" fmla="*/ 3382 w 3394"/>
                  <a:gd name="T7" fmla="*/ 92 h 2203"/>
                  <a:gd name="T8" fmla="*/ 3394 w 3394"/>
                  <a:gd name="T9" fmla="*/ 152 h 2203"/>
                  <a:gd name="T10" fmla="*/ 3187 w 3394"/>
                  <a:gd name="T11" fmla="*/ 1669 h 2203"/>
                  <a:gd name="T12" fmla="*/ 3245 w 3394"/>
                  <a:gd name="T13" fmla="*/ 1543 h 2203"/>
                  <a:gd name="T14" fmla="*/ 3281 w 3394"/>
                  <a:gd name="T15" fmla="*/ 1409 h 2203"/>
                  <a:gd name="T16" fmla="*/ 3294 w 3394"/>
                  <a:gd name="T17" fmla="*/ 1271 h 2203"/>
                  <a:gd name="T18" fmla="*/ 3282 w 3394"/>
                  <a:gd name="T19" fmla="*/ 1139 h 2203"/>
                  <a:gd name="T20" fmla="*/ 3251 w 3394"/>
                  <a:gd name="T21" fmla="*/ 1012 h 2203"/>
                  <a:gd name="T22" fmla="*/ 3199 w 3394"/>
                  <a:gd name="T23" fmla="*/ 894 h 2203"/>
                  <a:gd name="T24" fmla="*/ 3128 w 3394"/>
                  <a:gd name="T25" fmla="*/ 783 h 2203"/>
                  <a:gd name="T26" fmla="*/ 3085 w 3394"/>
                  <a:gd name="T27" fmla="*/ 304 h 2203"/>
                  <a:gd name="T28" fmla="*/ 309 w 3394"/>
                  <a:gd name="T29" fmla="*/ 1899 h 2203"/>
                  <a:gd name="T30" fmla="*/ 1989 w 3394"/>
                  <a:gd name="T31" fmla="*/ 1937 h 2203"/>
                  <a:gd name="T32" fmla="*/ 2097 w 3394"/>
                  <a:gd name="T33" fmla="*/ 2001 h 2203"/>
                  <a:gd name="T34" fmla="*/ 2214 w 3394"/>
                  <a:gd name="T35" fmla="*/ 2048 h 2203"/>
                  <a:gd name="T36" fmla="*/ 2338 w 3394"/>
                  <a:gd name="T37" fmla="*/ 2077 h 2203"/>
                  <a:gd name="T38" fmla="*/ 2465 w 3394"/>
                  <a:gd name="T39" fmla="*/ 2086 h 2203"/>
                  <a:gd name="T40" fmla="*/ 2607 w 3394"/>
                  <a:gd name="T41" fmla="*/ 2074 h 2203"/>
                  <a:gd name="T42" fmla="*/ 2743 w 3394"/>
                  <a:gd name="T43" fmla="*/ 2039 h 2203"/>
                  <a:gd name="T44" fmla="*/ 2871 w 3394"/>
                  <a:gd name="T45" fmla="*/ 1980 h 2203"/>
                  <a:gd name="T46" fmla="*/ 3089 w 3394"/>
                  <a:gd name="T47" fmla="*/ 2195 h 2203"/>
                  <a:gd name="T48" fmla="*/ 3098 w 3394"/>
                  <a:gd name="T49" fmla="*/ 2203 h 2203"/>
                  <a:gd name="T50" fmla="*/ 124 w 3394"/>
                  <a:gd name="T51" fmla="*/ 2199 h 2203"/>
                  <a:gd name="T52" fmla="*/ 69 w 3394"/>
                  <a:gd name="T53" fmla="*/ 2177 h 2203"/>
                  <a:gd name="T54" fmla="*/ 26 w 3394"/>
                  <a:gd name="T55" fmla="*/ 2135 h 2203"/>
                  <a:gd name="T56" fmla="*/ 3 w 3394"/>
                  <a:gd name="T57" fmla="*/ 2081 h 2203"/>
                  <a:gd name="T58" fmla="*/ 0 w 3394"/>
                  <a:gd name="T59" fmla="*/ 152 h 2203"/>
                  <a:gd name="T60" fmla="*/ 12 w 3394"/>
                  <a:gd name="T61" fmla="*/ 93 h 2203"/>
                  <a:gd name="T62" fmla="*/ 46 w 3394"/>
                  <a:gd name="T63" fmla="*/ 44 h 2203"/>
                  <a:gd name="T64" fmla="*/ 95 w 3394"/>
                  <a:gd name="T65" fmla="*/ 11 h 2203"/>
                  <a:gd name="T66" fmla="*/ 155 w 3394"/>
                  <a:gd name="T67" fmla="*/ 0 h 2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394" h="2203">
                    <a:moveTo>
                      <a:pt x="155" y="0"/>
                    </a:moveTo>
                    <a:lnTo>
                      <a:pt x="3240" y="0"/>
                    </a:lnTo>
                    <a:lnTo>
                      <a:pt x="3271" y="3"/>
                    </a:lnTo>
                    <a:lnTo>
                      <a:pt x="3300" y="11"/>
                    </a:lnTo>
                    <a:lnTo>
                      <a:pt x="3326" y="26"/>
                    </a:lnTo>
                    <a:lnTo>
                      <a:pt x="3349" y="44"/>
                    </a:lnTo>
                    <a:lnTo>
                      <a:pt x="3368" y="67"/>
                    </a:lnTo>
                    <a:lnTo>
                      <a:pt x="3382" y="92"/>
                    </a:lnTo>
                    <a:lnTo>
                      <a:pt x="3391" y="121"/>
                    </a:lnTo>
                    <a:lnTo>
                      <a:pt x="3394" y="152"/>
                    </a:lnTo>
                    <a:lnTo>
                      <a:pt x="3394" y="1874"/>
                    </a:lnTo>
                    <a:lnTo>
                      <a:pt x="3187" y="1669"/>
                    </a:lnTo>
                    <a:lnTo>
                      <a:pt x="3219" y="1608"/>
                    </a:lnTo>
                    <a:lnTo>
                      <a:pt x="3245" y="1543"/>
                    </a:lnTo>
                    <a:lnTo>
                      <a:pt x="3266" y="1478"/>
                    </a:lnTo>
                    <a:lnTo>
                      <a:pt x="3281" y="1409"/>
                    </a:lnTo>
                    <a:lnTo>
                      <a:pt x="3291" y="1341"/>
                    </a:lnTo>
                    <a:lnTo>
                      <a:pt x="3294" y="1271"/>
                    </a:lnTo>
                    <a:lnTo>
                      <a:pt x="3291" y="1205"/>
                    </a:lnTo>
                    <a:lnTo>
                      <a:pt x="3282" y="1139"/>
                    </a:lnTo>
                    <a:lnTo>
                      <a:pt x="3269" y="1075"/>
                    </a:lnTo>
                    <a:lnTo>
                      <a:pt x="3251" y="1012"/>
                    </a:lnTo>
                    <a:lnTo>
                      <a:pt x="3227" y="952"/>
                    </a:lnTo>
                    <a:lnTo>
                      <a:pt x="3199" y="894"/>
                    </a:lnTo>
                    <a:lnTo>
                      <a:pt x="3166" y="836"/>
                    </a:lnTo>
                    <a:lnTo>
                      <a:pt x="3128" y="783"/>
                    </a:lnTo>
                    <a:lnTo>
                      <a:pt x="3085" y="732"/>
                    </a:lnTo>
                    <a:lnTo>
                      <a:pt x="3085" y="304"/>
                    </a:lnTo>
                    <a:lnTo>
                      <a:pt x="309" y="304"/>
                    </a:lnTo>
                    <a:lnTo>
                      <a:pt x="309" y="1899"/>
                    </a:lnTo>
                    <a:lnTo>
                      <a:pt x="1938" y="1899"/>
                    </a:lnTo>
                    <a:lnTo>
                      <a:pt x="1989" y="1937"/>
                    </a:lnTo>
                    <a:lnTo>
                      <a:pt x="2042" y="1971"/>
                    </a:lnTo>
                    <a:lnTo>
                      <a:pt x="2097" y="2001"/>
                    </a:lnTo>
                    <a:lnTo>
                      <a:pt x="2155" y="2027"/>
                    </a:lnTo>
                    <a:lnTo>
                      <a:pt x="2214" y="2048"/>
                    </a:lnTo>
                    <a:lnTo>
                      <a:pt x="2275" y="2064"/>
                    </a:lnTo>
                    <a:lnTo>
                      <a:pt x="2338" y="2077"/>
                    </a:lnTo>
                    <a:lnTo>
                      <a:pt x="2401" y="2084"/>
                    </a:lnTo>
                    <a:lnTo>
                      <a:pt x="2465" y="2086"/>
                    </a:lnTo>
                    <a:lnTo>
                      <a:pt x="2537" y="2083"/>
                    </a:lnTo>
                    <a:lnTo>
                      <a:pt x="2607" y="2074"/>
                    </a:lnTo>
                    <a:lnTo>
                      <a:pt x="2675" y="2059"/>
                    </a:lnTo>
                    <a:lnTo>
                      <a:pt x="2743" y="2039"/>
                    </a:lnTo>
                    <a:lnTo>
                      <a:pt x="2808" y="2012"/>
                    </a:lnTo>
                    <a:lnTo>
                      <a:pt x="2871" y="1980"/>
                    </a:lnTo>
                    <a:lnTo>
                      <a:pt x="3085" y="2191"/>
                    </a:lnTo>
                    <a:lnTo>
                      <a:pt x="3089" y="2195"/>
                    </a:lnTo>
                    <a:lnTo>
                      <a:pt x="3094" y="2198"/>
                    </a:lnTo>
                    <a:lnTo>
                      <a:pt x="3098" y="2203"/>
                    </a:lnTo>
                    <a:lnTo>
                      <a:pt x="155" y="2203"/>
                    </a:lnTo>
                    <a:lnTo>
                      <a:pt x="124" y="2199"/>
                    </a:lnTo>
                    <a:lnTo>
                      <a:pt x="95" y="2190"/>
                    </a:lnTo>
                    <a:lnTo>
                      <a:pt x="69" y="2177"/>
                    </a:lnTo>
                    <a:lnTo>
                      <a:pt x="46" y="2158"/>
                    </a:lnTo>
                    <a:lnTo>
                      <a:pt x="26" y="2135"/>
                    </a:lnTo>
                    <a:lnTo>
                      <a:pt x="12" y="2109"/>
                    </a:lnTo>
                    <a:lnTo>
                      <a:pt x="3" y="2081"/>
                    </a:lnTo>
                    <a:lnTo>
                      <a:pt x="0" y="2051"/>
                    </a:lnTo>
                    <a:lnTo>
                      <a:pt x="0" y="152"/>
                    </a:lnTo>
                    <a:lnTo>
                      <a:pt x="3" y="121"/>
                    </a:lnTo>
                    <a:lnTo>
                      <a:pt x="12" y="93"/>
                    </a:lnTo>
                    <a:lnTo>
                      <a:pt x="26" y="67"/>
                    </a:lnTo>
                    <a:lnTo>
                      <a:pt x="46" y="44"/>
                    </a:lnTo>
                    <a:lnTo>
                      <a:pt x="69" y="26"/>
                    </a:lnTo>
                    <a:lnTo>
                      <a:pt x="95" y="11"/>
                    </a:lnTo>
                    <a:lnTo>
                      <a:pt x="124" y="3"/>
                    </a:lnTo>
                    <a:lnTo>
                      <a:pt x="1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8" name="Freeform 172"/>
              <p:cNvSpPr>
                <a:spLocks noEditPoints="1"/>
              </p:cNvSpPr>
              <p:nvPr/>
            </p:nvSpPr>
            <p:spPr bwMode="auto">
              <a:xfrm>
                <a:off x="-1561" y="3631"/>
                <a:ext cx="304" cy="299"/>
              </a:xfrm>
              <a:custGeom>
                <a:avLst/>
                <a:gdLst>
                  <a:gd name="T0" fmla="*/ 568 w 1520"/>
                  <a:gd name="T1" fmla="*/ 146 h 1495"/>
                  <a:gd name="T2" fmla="*/ 422 w 1520"/>
                  <a:gd name="T3" fmla="*/ 198 h 1495"/>
                  <a:gd name="T4" fmla="*/ 295 w 1520"/>
                  <a:gd name="T5" fmla="*/ 291 h 1495"/>
                  <a:gd name="T6" fmla="*/ 202 w 1520"/>
                  <a:gd name="T7" fmla="*/ 415 h 1495"/>
                  <a:gd name="T8" fmla="*/ 149 w 1520"/>
                  <a:gd name="T9" fmla="*/ 560 h 1495"/>
                  <a:gd name="T10" fmla="*/ 141 w 1520"/>
                  <a:gd name="T11" fmla="*/ 715 h 1495"/>
                  <a:gd name="T12" fmla="*/ 179 w 1520"/>
                  <a:gd name="T13" fmla="*/ 865 h 1495"/>
                  <a:gd name="T14" fmla="*/ 260 w 1520"/>
                  <a:gd name="T15" fmla="*/ 997 h 1495"/>
                  <a:gd name="T16" fmla="*/ 377 w 1520"/>
                  <a:gd name="T17" fmla="*/ 1101 h 1495"/>
                  <a:gd name="T18" fmla="*/ 518 w 1520"/>
                  <a:gd name="T19" fmla="*/ 1168 h 1495"/>
                  <a:gd name="T20" fmla="*/ 673 w 1520"/>
                  <a:gd name="T21" fmla="*/ 1190 h 1495"/>
                  <a:gd name="T22" fmla="*/ 829 w 1520"/>
                  <a:gd name="T23" fmla="*/ 1168 h 1495"/>
                  <a:gd name="T24" fmla="*/ 971 w 1520"/>
                  <a:gd name="T25" fmla="*/ 1101 h 1495"/>
                  <a:gd name="T26" fmla="*/ 1088 w 1520"/>
                  <a:gd name="T27" fmla="*/ 997 h 1495"/>
                  <a:gd name="T28" fmla="*/ 1168 w 1520"/>
                  <a:gd name="T29" fmla="*/ 865 h 1495"/>
                  <a:gd name="T30" fmla="*/ 1207 w 1520"/>
                  <a:gd name="T31" fmla="*/ 715 h 1495"/>
                  <a:gd name="T32" fmla="*/ 1198 w 1520"/>
                  <a:gd name="T33" fmla="*/ 560 h 1495"/>
                  <a:gd name="T34" fmla="*/ 1146 w 1520"/>
                  <a:gd name="T35" fmla="*/ 415 h 1495"/>
                  <a:gd name="T36" fmla="*/ 1053 w 1520"/>
                  <a:gd name="T37" fmla="*/ 291 h 1495"/>
                  <a:gd name="T38" fmla="*/ 926 w 1520"/>
                  <a:gd name="T39" fmla="*/ 198 h 1495"/>
                  <a:gd name="T40" fmla="*/ 779 w 1520"/>
                  <a:gd name="T41" fmla="*/ 146 h 1495"/>
                  <a:gd name="T42" fmla="*/ 673 w 1520"/>
                  <a:gd name="T43" fmla="*/ 0 h 1495"/>
                  <a:gd name="T44" fmla="*/ 849 w 1520"/>
                  <a:gd name="T45" fmla="*/ 23 h 1495"/>
                  <a:gd name="T46" fmla="*/ 1010 w 1520"/>
                  <a:gd name="T47" fmla="*/ 88 h 1495"/>
                  <a:gd name="T48" fmla="*/ 1151 w 1520"/>
                  <a:gd name="T49" fmla="*/ 195 h 1495"/>
                  <a:gd name="T50" fmla="*/ 1258 w 1520"/>
                  <a:gd name="T51" fmla="*/ 332 h 1495"/>
                  <a:gd name="T52" fmla="*/ 1324 w 1520"/>
                  <a:gd name="T53" fmla="*/ 490 h 1495"/>
                  <a:gd name="T54" fmla="*/ 1347 w 1520"/>
                  <a:gd name="T55" fmla="*/ 663 h 1495"/>
                  <a:gd name="T56" fmla="*/ 1322 w 1520"/>
                  <a:gd name="T57" fmla="*/ 841 h 1495"/>
                  <a:gd name="T58" fmla="*/ 1251 w 1520"/>
                  <a:gd name="T59" fmla="*/ 1004 h 1495"/>
                  <a:gd name="T60" fmla="*/ 1211 w 1520"/>
                  <a:gd name="T61" fmla="*/ 1132 h 1495"/>
                  <a:gd name="T62" fmla="*/ 1256 w 1520"/>
                  <a:gd name="T63" fmla="*/ 1142 h 1495"/>
                  <a:gd name="T64" fmla="*/ 1511 w 1520"/>
                  <a:gd name="T65" fmla="*/ 1395 h 1495"/>
                  <a:gd name="T66" fmla="*/ 1517 w 1520"/>
                  <a:gd name="T67" fmla="*/ 1445 h 1495"/>
                  <a:gd name="T68" fmla="*/ 1485 w 1520"/>
                  <a:gd name="T69" fmla="*/ 1487 h 1495"/>
                  <a:gd name="T70" fmla="*/ 1433 w 1520"/>
                  <a:gd name="T71" fmla="*/ 1493 h 1495"/>
                  <a:gd name="T72" fmla="*/ 1170 w 1520"/>
                  <a:gd name="T73" fmla="*/ 1248 h 1495"/>
                  <a:gd name="T74" fmla="*/ 1151 w 1520"/>
                  <a:gd name="T75" fmla="*/ 1208 h 1495"/>
                  <a:gd name="T76" fmla="*/ 1070 w 1520"/>
                  <a:gd name="T77" fmla="*/ 1198 h 1495"/>
                  <a:gd name="T78" fmla="*/ 911 w 1520"/>
                  <a:gd name="T79" fmla="*/ 1283 h 1495"/>
                  <a:gd name="T80" fmla="*/ 735 w 1520"/>
                  <a:gd name="T81" fmla="*/ 1323 h 1495"/>
                  <a:gd name="T82" fmla="*/ 556 w 1520"/>
                  <a:gd name="T83" fmla="*/ 1316 h 1495"/>
                  <a:gd name="T84" fmla="*/ 390 w 1520"/>
                  <a:gd name="T85" fmla="*/ 1264 h 1495"/>
                  <a:gd name="T86" fmla="*/ 242 w 1520"/>
                  <a:gd name="T87" fmla="*/ 1172 h 1495"/>
                  <a:gd name="T88" fmla="*/ 122 w 1520"/>
                  <a:gd name="T89" fmla="*/ 1043 h 1495"/>
                  <a:gd name="T90" fmla="*/ 40 w 1520"/>
                  <a:gd name="T91" fmla="*/ 890 h 1495"/>
                  <a:gd name="T92" fmla="*/ 3 w 1520"/>
                  <a:gd name="T93" fmla="*/ 722 h 1495"/>
                  <a:gd name="T94" fmla="*/ 10 w 1520"/>
                  <a:gd name="T95" fmla="*/ 547 h 1495"/>
                  <a:gd name="T96" fmla="*/ 63 w 1520"/>
                  <a:gd name="T97" fmla="*/ 383 h 1495"/>
                  <a:gd name="T98" fmla="*/ 157 w 1520"/>
                  <a:gd name="T99" fmla="*/ 238 h 1495"/>
                  <a:gd name="T100" fmla="*/ 288 w 1520"/>
                  <a:gd name="T101" fmla="*/ 119 h 1495"/>
                  <a:gd name="T102" fmla="*/ 443 w 1520"/>
                  <a:gd name="T103" fmla="*/ 40 h 1495"/>
                  <a:gd name="T104" fmla="*/ 614 w 1520"/>
                  <a:gd name="T105" fmla="*/ 2 h 1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20" h="1495">
                    <a:moveTo>
                      <a:pt x="673" y="136"/>
                    </a:moveTo>
                    <a:lnTo>
                      <a:pt x="620" y="138"/>
                    </a:lnTo>
                    <a:lnTo>
                      <a:pt x="568" y="146"/>
                    </a:lnTo>
                    <a:lnTo>
                      <a:pt x="518" y="159"/>
                    </a:lnTo>
                    <a:lnTo>
                      <a:pt x="469" y="176"/>
                    </a:lnTo>
                    <a:lnTo>
                      <a:pt x="422" y="198"/>
                    </a:lnTo>
                    <a:lnTo>
                      <a:pt x="377" y="224"/>
                    </a:lnTo>
                    <a:lnTo>
                      <a:pt x="335" y="255"/>
                    </a:lnTo>
                    <a:lnTo>
                      <a:pt x="295" y="291"/>
                    </a:lnTo>
                    <a:lnTo>
                      <a:pt x="260" y="330"/>
                    </a:lnTo>
                    <a:lnTo>
                      <a:pt x="229" y="371"/>
                    </a:lnTo>
                    <a:lnTo>
                      <a:pt x="202" y="415"/>
                    </a:lnTo>
                    <a:lnTo>
                      <a:pt x="179" y="462"/>
                    </a:lnTo>
                    <a:lnTo>
                      <a:pt x="161" y="510"/>
                    </a:lnTo>
                    <a:lnTo>
                      <a:pt x="149" y="560"/>
                    </a:lnTo>
                    <a:lnTo>
                      <a:pt x="141" y="611"/>
                    </a:lnTo>
                    <a:lnTo>
                      <a:pt x="138" y="663"/>
                    </a:lnTo>
                    <a:lnTo>
                      <a:pt x="141" y="715"/>
                    </a:lnTo>
                    <a:lnTo>
                      <a:pt x="149" y="767"/>
                    </a:lnTo>
                    <a:lnTo>
                      <a:pt x="161" y="817"/>
                    </a:lnTo>
                    <a:lnTo>
                      <a:pt x="179" y="865"/>
                    </a:lnTo>
                    <a:lnTo>
                      <a:pt x="202" y="911"/>
                    </a:lnTo>
                    <a:lnTo>
                      <a:pt x="229" y="955"/>
                    </a:lnTo>
                    <a:lnTo>
                      <a:pt x="260" y="997"/>
                    </a:lnTo>
                    <a:lnTo>
                      <a:pt x="295" y="1036"/>
                    </a:lnTo>
                    <a:lnTo>
                      <a:pt x="335" y="1071"/>
                    </a:lnTo>
                    <a:lnTo>
                      <a:pt x="377" y="1101"/>
                    </a:lnTo>
                    <a:lnTo>
                      <a:pt x="422" y="1128"/>
                    </a:lnTo>
                    <a:lnTo>
                      <a:pt x="469" y="1150"/>
                    </a:lnTo>
                    <a:lnTo>
                      <a:pt x="518" y="1168"/>
                    </a:lnTo>
                    <a:lnTo>
                      <a:pt x="568" y="1180"/>
                    </a:lnTo>
                    <a:lnTo>
                      <a:pt x="620" y="1187"/>
                    </a:lnTo>
                    <a:lnTo>
                      <a:pt x="673" y="1190"/>
                    </a:lnTo>
                    <a:lnTo>
                      <a:pt x="726" y="1187"/>
                    </a:lnTo>
                    <a:lnTo>
                      <a:pt x="779" y="1180"/>
                    </a:lnTo>
                    <a:lnTo>
                      <a:pt x="829" y="1168"/>
                    </a:lnTo>
                    <a:lnTo>
                      <a:pt x="879" y="1150"/>
                    </a:lnTo>
                    <a:lnTo>
                      <a:pt x="926" y="1128"/>
                    </a:lnTo>
                    <a:lnTo>
                      <a:pt x="971" y="1101"/>
                    </a:lnTo>
                    <a:lnTo>
                      <a:pt x="1013" y="1071"/>
                    </a:lnTo>
                    <a:lnTo>
                      <a:pt x="1053" y="1036"/>
                    </a:lnTo>
                    <a:lnTo>
                      <a:pt x="1088" y="997"/>
                    </a:lnTo>
                    <a:lnTo>
                      <a:pt x="1119" y="955"/>
                    </a:lnTo>
                    <a:lnTo>
                      <a:pt x="1146" y="911"/>
                    </a:lnTo>
                    <a:lnTo>
                      <a:pt x="1168" y="865"/>
                    </a:lnTo>
                    <a:lnTo>
                      <a:pt x="1186" y="817"/>
                    </a:lnTo>
                    <a:lnTo>
                      <a:pt x="1198" y="767"/>
                    </a:lnTo>
                    <a:lnTo>
                      <a:pt x="1207" y="715"/>
                    </a:lnTo>
                    <a:lnTo>
                      <a:pt x="1209" y="663"/>
                    </a:lnTo>
                    <a:lnTo>
                      <a:pt x="1207" y="611"/>
                    </a:lnTo>
                    <a:lnTo>
                      <a:pt x="1198" y="560"/>
                    </a:lnTo>
                    <a:lnTo>
                      <a:pt x="1186" y="510"/>
                    </a:lnTo>
                    <a:lnTo>
                      <a:pt x="1168" y="462"/>
                    </a:lnTo>
                    <a:lnTo>
                      <a:pt x="1146" y="415"/>
                    </a:lnTo>
                    <a:lnTo>
                      <a:pt x="1119" y="371"/>
                    </a:lnTo>
                    <a:lnTo>
                      <a:pt x="1088" y="330"/>
                    </a:lnTo>
                    <a:lnTo>
                      <a:pt x="1053" y="291"/>
                    </a:lnTo>
                    <a:lnTo>
                      <a:pt x="1013" y="255"/>
                    </a:lnTo>
                    <a:lnTo>
                      <a:pt x="971" y="224"/>
                    </a:lnTo>
                    <a:lnTo>
                      <a:pt x="926" y="198"/>
                    </a:lnTo>
                    <a:lnTo>
                      <a:pt x="879" y="176"/>
                    </a:lnTo>
                    <a:lnTo>
                      <a:pt x="829" y="159"/>
                    </a:lnTo>
                    <a:lnTo>
                      <a:pt x="779" y="146"/>
                    </a:lnTo>
                    <a:lnTo>
                      <a:pt x="726" y="138"/>
                    </a:lnTo>
                    <a:lnTo>
                      <a:pt x="673" y="136"/>
                    </a:lnTo>
                    <a:close/>
                    <a:moveTo>
                      <a:pt x="673" y="0"/>
                    </a:moveTo>
                    <a:lnTo>
                      <a:pt x="734" y="2"/>
                    </a:lnTo>
                    <a:lnTo>
                      <a:pt x="792" y="10"/>
                    </a:lnTo>
                    <a:lnTo>
                      <a:pt x="849" y="23"/>
                    </a:lnTo>
                    <a:lnTo>
                      <a:pt x="904" y="40"/>
                    </a:lnTo>
                    <a:lnTo>
                      <a:pt x="958" y="61"/>
                    </a:lnTo>
                    <a:lnTo>
                      <a:pt x="1010" y="88"/>
                    </a:lnTo>
                    <a:lnTo>
                      <a:pt x="1059" y="119"/>
                    </a:lnTo>
                    <a:lnTo>
                      <a:pt x="1106" y="155"/>
                    </a:lnTo>
                    <a:lnTo>
                      <a:pt x="1151" y="195"/>
                    </a:lnTo>
                    <a:lnTo>
                      <a:pt x="1190" y="238"/>
                    </a:lnTo>
                    <a:lnTo>
                      <a:pt x="1226" y="284"/>
                    </a:lnTo>
                    <a:lnTo>
                      <a:pt x="1258" y="332"/>
                    </a:lnTo>
                    <a:lnTo>
                      <a:pt x="1285" y="383"/>
                    </a:lnTo>
                    <a:lnTo>
                      <a:pt x="1306" y="436"/>
                    </a:lnTo>
                    <a:lnTo>
                      <a:pt x="1324" y="490"/>
                    </a:lnTo>
                    <a:lnTo>
                      <a:pt x="1337" y="547"/>
                    </a:lnTo>
                    <a:lnTo>
                      <a:pt x="1345" y="604"/>
                    </a:lnTo>
                    <a:lnTo>
                      <a:pt x="1347" y="663"/>
                    </a:lnTo>
                    <a:lnTo>
                      <a:pt x="1344" y="724"/>
                    </a:lnTo>
                    <a:lnTo>
                      <a:pt x="1337" y="783"/>
                    </a:lnTo>
                    <a:lnTo>
                      <a:pt x="1322" y="841"/>
                    </a:lnTo>
                    <a:lnTo>
                      <a:pt x="1303" y="898"/>
                    </a:lnTo>
                    <a:lnTo>
                      <a:pt x="1279" y="952"/>
                    </a:lnTo>
                    <a:lnTo>
                      <a:pt x="1251" y="1004"/>
                    </a:lnTo>
                    <a:lnTo>
                      <a:pt x="1217" y="1053"/>
                    </a:lnTo>
                    <a:lnTo>
                      <a:pt x="1179" y="1100"/>
                    </a:lnTo>
                    <a:lnTo>
                      <a:pt x="1211" y="1132"/>
                    </a:lnTo>
                    <a:lnTo>
                      <a:pt x="1226" y="1132"/>
                    </a:lnTo>
                    <a:lnTo>
                      <a:pt x="1241" y="1135"/>
                    </a:lnTo>
                    <a:lnTo>
                      <a:pt x="1256" y="1142"/>
                    </a:lnTo>
                    <a:lnTo>
                      <a:pt x="1268" y="1151"/>
                    </a:lnTo>
                    <a:lnTo>
                      <a:pt x="1500" y="1381"/>
                    </a:lnTo>
                    <a:lnTo>
                      <a:pt x="1511" y="1395"/>
                    </a:lnTo>
                    <a:lnTo>
                      <a:pt x="1517" y="1411"/>
                    </a:lnTo>
                    <a:lnTo>
                      <a:pt x="1520" y="1428"/>
                    </a:lnTo>
                    <a:lnTo>
                      <a:pt x="1517" y="1445"/>
                    </a:lnTo>
                    <a:lnTo>
                      <a:pt x="1511" y="1462"/>
                    </a:lnTo>
                    <a:lnTo>
                      <a:pt x="1500" y="1476"/>
                    </a:lnTo>
                    <a:lnTo>
                      <a:pt x="1485" y="1487"/>
                    </a:lnTo>
                    <a:lnTo>
                      <a:pt x="1469" y="1493"/>
                    </a:lnTo>
                    <a:lnTo>
                      <a:pt x="1451" y="1495"/>
                    </a:lnTo>
                    <a:lnTo>
                      <a:pt x="1433" y="1493"/>
                    </a:lnTo>
                    <a:lnTo>
                      <a:pt x="1417" y="1487"/>
                    </a:lnTo>
                    <a:lnTo>
                      <a:pt x="1402" y="1476"/>
                    </a:lnTo>
                    <a:lnTo>
                      <a:pt x="1170" y="1248"/>
                    </a:lnTo>
                    <a:lnTo>
                      <a:pt x="1160" y="1235"/>
                    </a:lnTo>
                    <a:lnTo>
                      <a:pt x="1154" y="1222"/>
                    </a:lnTo>
                    <a:lnTo>
                      <a:pt x="1151" y="1208"/>
                    </a:lnTo>
                    <a:lnTo>
                      <a:pt x="1151" y="1192"/>
                    </a:lnTo>
                    <a:lnTo>
                      <a:pt x="1118" y="1161"/>
                    </a:lnTo>
                    <a:lnTo>
                      <a:pt x="1070" y="1198"/>
                    </a:lnTo>
                    <a:lnTo>
                      <a:pt x="1020" y="1231"/>
                    </a:lnTo>
                    <a:lnTo>
                      <a:pt x="967" y="1260"/>
                    </a:lnTo>
                    <a:lnTo>
                      <a:pt x="911" y="1283"/>
                    </a:lnTo>
                    <a:lnTo>
                      <a:pt x="854" y="1302"/>
                    </a:lnTo>
                    <a:lnTo>
                      <a:pt x="796" y="1315"/>
                    </a:lnTo>
                    <a:lnTo>
                      <a:pt x="735" y="1323"/>
                    </a:lnTo>
                    <a:lnTo>
                      <a:pt x="673" y="1326"/>
                    </a:lnTo>
                    <a:lnTo>
                      <a:pt x="614" y="1323"/>
                    </a:lnTo>
                    <a:lnTo>
                      <a:pt x="556" y="1316"/>
                    </a:lnTo>
                    <a:lnTo>
                      <a:pt x="499" y="1304"/>
                    </a:lnTo>
                    <a:lnTo>
                      <a:pt x="443" y="1287"/>
                    </a:lnTo>
                    <a:lnTo>
                      <a:pt x="390" y="1264"/>
                    </a:lnTo>
                    <a:lnTo>
                      <a:pt x="338" y="1238"/>
                    </a:lnTo>
                    <a:lnTo>
                      <a:pt x="288" y="1207"/>
                    </a:lnTo>
                    <a:lnTo>
                      <a:pt x="242" y="1172"/>
                    </a:lnTo>
                    <a:lnTo>
                      <a:pt x="197" y="1132"/>
                    </a:lnTo>
                    <a:lnTo>
                      <a:pt x="157" y="1089"/>
                    </a:lnTo>
                    <a:lnTo>
                      <a:pt x="122" y="1043"/>
                    </a:lnTo>
                    <a:lnTo>
                      <a:pt x="90" y="994"/>
                    </a:lnTo>
                    <a:lnTo>
                      <a:pt x="63" y="943"/>
                    </a:lnTo>
                    <a:lnTo>
                      <a:pt x="40" y="890"/>
                    </a:lnTo>
                    <a:lnTo>
                      <a:pt x="23" y="835"/>
                    </a:lnTo>
                    <a:lnTo>
                      <a:pt x="10" y="779"/>
                    </a:lnTo>
                    <a:lnTo>
                      <a:pt x="3" y="722"/>
                    </a:lnTo>
                    <a:lnTo>
                      <a:pt x="0" y="663"/>
                    </a:lnTo>
                    <a:lnTo>
                      <a:pt x="3" y="604"/>
                    </a:lnTo>
                    <a:lnTo>
                      <a:pt x="10" y="547"/>
                    </a:lnTo>
                    <a:lnTo>
                      <a:pt x="23" y="490"/>
                    </a:lnTo>
                    <a:lnTo>
                      <a:pt x="40" y="436"/>
                    </a:lnTo>
                    <a:lnTo>
                      <a:pt x="63" y="383"/>
                    </a:lnTo>
                    <a:lnTo>
                      <a:pt x="90" y="332"/>
                    </a:lnTo>
                    <a:lnTo>
                      <a:pt x="122" y="284"/>
                    </a:lnTo>
                    <a:lnTo>
                      <a:pt x="157" y="238"/>
                    </a:lnTo>
                    <a:lnTo>
                      <a:pt x="197" y="195"/>
                    </a:lnTo>
                    <a:lnTo>
                      <a:pt x="242" y="155"/>
                    </a:lnTo>
                    <a:lnTo>
                      <a:pt x="288" y="119"/>
                    </a:lnTo>
                    <a:lnTo>
                      <a:pt x="338" y="88"/>
                    </a:lnTo>
                    <a:lnTo>
                      <a:pt x="390" y="61"/>
                    </a:lnTo>
                    <a:lnTo>
                      <a:pt x="443" y="40"/>
                    </a:lnTo>
                    <a:lnTo>
                      <a:pt x="499" y="23"/>
                    </a:lnTo>
                    <a:lnTo>
                      <a:pt x="556" y="10"/>
                    </a:lnTo>
                    <a:lnTo>
                      <a:pt x="614" y="2"/>
                    </a:lnTo>
                    <a:lnTo>
                      <a:pt x="6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49" name="Group 148"/>
          <p:cNvGrpSpPr/>
          <p:nvPr/>
        </p:nvGrpSpPr>
        <p:grpSpPr>
          <a:xfrm>
            <a:off x="-6241" y="2368973"/>
            <a:ext cx="1028871" cy="499909"/>
            <a:chOff x="-2504" y="2322666"/>
            <a:chExt cx="1028871" cy="499909"/>
          </a:xfrm>
        </p:grpSpPr>
        <p:sp>
          <p:nvSpPr>
            <p:cNvPr id="150" name="Rectangle 149"/>
            <p:cNvSpPr/>
            <p:nvPr/>
          </p:nvSpPr>
          <p:spPr bwMode="ltGray">
            <a:xfrm>
              <a:off x="-2504" y="2338654"/>
              <a:ext cx="1028871" cy="483921"/>
            </a:xfrm>
            <a:prstGeom prst="rect">
              <a:avLst/>
            </a:prstGeom>
            <a:solidFill>
              <a:schemeClr val="tx2">
                <a:alpha val="51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1" name="TextBox 150"/>
            <p:cNvSpPr txBox="1"/>
            <p:nvPr/>
          </p:nvSpPr>
          <p:spPr>
            <a:xfrm>
              <a:off x="142451" y="2322666"/>
              <a:ext cx="738960" cy="49694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Крупный немецкий банк</a:t>
              </a:r>
              <a:endParaRPr lang="ru-RU" sz="900" b="1" dirty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3527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33001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5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48"/>
          <p:cNvSpPr/>
          <p:nvPr/>
        </p:nvSpPr>
        <p:spPr bwMode="ltGray">
          <a:xfrm>
            <a:off x="1977954" y="1472545"/>
            <a:ext cx="6632645" cy="972000"/>
          </a:xfrm>
          <a:custGeom>
            <a:avLst/>
            <a:gdLst>
              <a:gd name="connsiteX0" fmla="*/ 0 w 6420978"/>
              <a:gd name="connsiteY0" fmla="*/ 0 h 972000"/>
              <a:gd name="connsiteX1" fmla="*/ 6420978 w 6420978"/>
              <a:gd name="connsiteY1" fmla="*/ 0 h 972000"/>
              <a:gd name="connsiteX2" fmla="*/ 6420978 w 6420978"/>
              <a:gd name="connsiteY2" fmla="*/ 972000 h 972000"/>
              <a:gd name="connsiteX3" fmla="*/ 0 w 6420978"/>
              <a:gd name="connsiteY3" fmla="*/ 972000 h 972000"/>
              <a:gd name="connsiteX4" fmla="*/ 0 w 6420978"/>
              <a:gd name="connsiteY4" fmla="*/ 0 h 972000"/>
              <a:gd name="connsiteX0" fmla="*/ 0 w 6420978"/>
              <a:gd name="connsiteY0" fmla="*/ 0 h 972000"/>
              <a:gd name="connsiteX1" fmla="*/ 6420978 w 6420978"/>
              <a:gd name="connsiteY1" fmla="*/ 0 h 972000"/>
              <a:gd name="connsiteX2" fmla="*/ 6420978 w 6420978"/>
              <a:gd name="connsiteY2" fmla="*/ 972000 h 972000"/>
              <a:gd name="connsiteX3" fmla="*/ 0 w 6420978"/>
              <a:gd name="connsiteY3" fmla="*/ 972000 h 972000"/>
              <a:gd name="connsiteX4" fmla="*/ 0 w 6420978"/>
              <a:gd name="connsiteY4" fmla="*/ 0 h 972000"/>
              <a:gd name="connsiteX0" fmla="*/ 0 w 6420978"/>
              <a:gd name="connsiteY0" fmla="*/ 0 h 972000"/>
              <a:gd name="connsiteX1" fmla="*/ 6420978 w 6420978"/>
              <a:gd name="connsiteY1" fmla="*/ 0 h 972000"/>
              <a:gd name="connsiteX2" fmla="*/ 6420978 w 6420978"/>
              <a:gd name="connsiteY2" fmla="*/ 972000 h 972000"/>
              <a:gd name="connsiteX3" fmla="*/ 0 w 6420978"/>
              <a:gd name="connsiteY3" fmla="*/ 972000 h 972000"/>
              <a:gd name="connsiteX4" fmla="*/ 0 w 6420978"/>
              <a:gd name="connsiteY4" fmla="*/ 0 h 972000"/>
              <a:gd name="connsiteX0" fmla="*/ 0 w 6420978"/>
              <a:gd name="connsiteY0" fmla="*/ 0 h 972000"/>
              <a:gd name="connsiteX1" fmla="*/ 6420978 w 6420978"/>
              <a:gd name="connsiteY1" fmla="*/ 0 h 972000"/>
              <a:gd name="connsiteX2" fmla="*/ 6420978 w 6420978"/>
              <a:gd name="connsiteY2" fmla="*/ 972000 h 972000"/>
              <a:gd name="connsiteX3" fmla="*/ 0 w 6420978"/>
              <a:gd name="connsiteY3" fmla="*/ 972000 h 972000"/>
              <a:gd name="connsiteX4" fmla="*/ 0 w 6420978"/>
              <a:gd name="connsiteY4" fmla="*/ 0 h 972000"/>
              <a:gd name="connsiteX0" fmla="*/ 0 w 6420978"/>
              <a:gd name="connsiteY0" fmla="*/ 0 h 972000"/>
              <a:gd name="connsiteX1" fmla="*/ 6420978 w 6420978"/>
              <a:gd name="connsiteY1" fmla="*/ 0 h 972000"/>
              <a:gd name="connsiteX2" fmla="*/ 6420978 w 6420978"/>
              <a:gd name="connsiteY2" fmla="*/ 972000 h 972000"/>
              <a:gd name="connsiteX3" fmla="*/ 0 w 6420978"/>
              <a:gd name="connsiteY3" fmla="*/ 972000 h 972000"/>
              <a:gd name="connsiteX4" fmla="*/ 0 w 6420978"/>
              <a:gd name="connsiteY4" fmla="*/ 0 h 9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20978" h="972000">
                <a:moveTo>
                  <a:pt x="0" y="0"/>
                </a:moveTo>
                <a:lnTo>
                  <a:pt x="6420978" y="0"/>
                </a:lnTo>
                <a:lnTo>
                  <a:pt x="6420978" y="972000"/>
                </a:lnTo>
                <a:lnTo>
                  <a:pt x="0" y="972000"/>
                </a:lnTo>
                <a:cubicBezTo>
                  <a:pt x="280616" y="902000"/>
                  <a:pt x="821784" y="362100"/>
                  <a:pt x="0" y="0"/>
                </a:cubicBezTo>
                <a:close/>
              </a:path>
            </a:pathLst>
          </a:custGeom>
          <a:solidFill>
            <a:srgbClr val="8A867A"/>
          </a:solidFill>
        </p:spPr>
        <p:txBody>
          <a:bodyPr vert="vert" wrap="square" lIns="72000" tIns="72000" rIns="72000" bIns="72000">
            <a:noAutofit/>
          </a:bodyPr>
          <a:lstStyle/>
          <a:p>
            <a:endParaRPr lang="en-US" i="1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721190"/>
            <a:ext cx="7389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Машинное обучение</a:t>
            </a:r>
          </a:p>
        </p:txBody>
      </p:sp>
      <p:sp>
        <p:nvSpPr>
          <p:cNvPr id="40" name="Rectangle 17"/>
          <p:cNvSpPr>
            <a:spLocks/>
          </p:cNvSpPr>
          <p:nvPr/>
        </p:nvSpPr>
        <p:spPr bwMode="auto">
          <a:xfrm>
            <a:off x="284929" y="3167620"/>
            <a:ext cx="45400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Данные</a:t>
            </a:r>
            <a:endParaRPr lang="ru-RU" sz="1050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>
          <a:xfrm>
            <a:off x="1472895" y="304800"/>
            <a:ext cx="7137706" cy="914400"/>
          </a:xfrm>
        </p:spPr>
        <p:txBody>
          <a:bodyPr/>
          <a:lstStyle/>
          <a:p>
            <a:r>
              <a:rPr lang="ru-RU" dirty="0" smtClean="0"/>
              <a:t>Поиск новых возможностей для обнаружения преступлений</a:t>
            </a:r>
            <a:r>
              <a:rPr dirty="0"/>
              <a:t/>
            </a:r>
            <a:br>
              <a:rPr dirty="0"/>
            </a:b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2679420" y="1495921"/>
            <a:ext cx="5794020" cy="92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ru-RU" sz="1600" i="1" dirty="0" smtClean="0">
                <a:solidFill>
                  <a:schemeClr val="bg1"/>
                </a:solidFill>
                <a:latin typeface="+mj-lt"/>
              </a:rPr>
              <a:t>Анализ данных до совершения преступления и данных расследований способствует усилению безопасности </a:t>
            </a:r>
            <a:endParaRPr lang="ru-RU" sz="16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79420" y="2728623"/>
            <a:ext cx="1938610" cy="15902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ru-RU" sz="1600" i="1" dirty="0" smtClean="0">
                <a:solidFill>
                  <a:schemeClr val="bg1"/>
                </a:solidFill>
                <a:latin typeface="+mj-lt"/>
              </a:rPr>
              <a:t>Ежедневно преступники взаимодействуют с окружающим миром, создавая огромное количество самых разных данных</a:t>
            </a:r>
            <a:endParaRPr lang="ru-RU" sz="16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127022" y="5387445"/>
            <a:ext cx="5483579" cy="8887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 algn="r">
              <a:spcAft>
                <a:spcPts val="900"/>
              </a:spcAft>
            </a:pPr>
            <a:r>
              <a:rPr lang="ru-RU" i="1" dirty="0" smtClean="0">
                <a:solidFill>
                  <a:schemeClr val="bg1"/>
                </a:solidFill>
                <a:latin typeface="+mj-lt"/>
              </a:rPr>
              <a:t>Используя агрегированные и обезличенные данные, можно привлекать меньше ресурсов для предотвращения и расследования преступлений </a:t>
            </a:r>
            <a:endParaRPr lang="ru-RU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7" name="Freeform 89"/>
          <p:cNvSpPr>
            <a:spLocks noEditPoints="1"/>
          </p:cNvSpPr>
          <p:nvPr/>
        </p:nvSpPr>
        <p:spPr bwMode="auto">
          <a:xfrm>
            <a:off x="1472895" y="1002155"/>
            <a:ext cx="1021949" cy="1433740"/>
          </a:xfrm>
          <a:custGeom>
            <a:avLst/>
            <a:gdLst>
              <a:gd name="T0" fmla="*/ 138 w 1030"/>
              <a:gd name="T1" fmla="*/ 263 h 1529"/>
              <a:gd name="T2" fmla="*/ 246 w 1030"/>
              <a:gd name="T3" fmla="*/ 104 h 1529"/>
              <a:gd name="T4" fmla="*/ 414 w 1030"/>
              <a:gd name="T5" fmla="*/ 13 h 1529"/>
              <a:gd name="T6" fmla="*/ 594 w 1030"/>
              <a:gd name="T7" fmla="*/ 8 h 1529"/>
              <a:gd name="T8" fmla="*/ 768 w 1030"/>
              <a:gd name="T9" fmla="*/ 91 h 1529"/>
              <a:gd name="T10" fmla="*/ 882 w 1030"/>
              <a:gd name="T11" fmla="*/ 245 h 1529"/>
              <a:gd name="T12" fmla="*/ 913 w 1030"/>
              <a:gd name="T13" fmla="*/ 625 h 1529"/>
              <a:gd name="T14" fmla="*/ 770 w 1030"/>
              <a:gd name="T15" fmla="*/ 400 h 1529"/>
              <a:gd name="T16" fmla="*/ 657 w 1030"/>
              <a:gd name="T17" fmla="*/ 187 h 1529"/>
              <a:gd name="T18" fmla="*/ 437 w 1030"/>
              <a:gd name="T19" fmla="*/ 155 h 1529"/>
              <a:gd name="T20" fmla="*/ 269 w 1030"/>
              <a:gd name="T21" fmla="*/ 324 h 1529"/>
              <a:gd name="T22" fmla="*/ 163 w 1030"/>
              <a:gd name="T23" fmla="*/ 580 h 1529"/>
              <a:gd name="T24" fmla="*/ 1019 w 1030"/>
              <a:gd name="T25" fmla="*/ 1118 h 1529"/>
              <a:gd name="T26" fmla="*/ 912 w 1030"/>
              <a:gd name="T27" fmla="*/ 1341 h 1529"/>
              <a:gd name="T28" fmla="*/ 715 w 1030"/>
              <a:gd name="T29" fmla="*/ 1489 h 1529"/>
              <a:gd name="T30" fmla="*/ 488 w 1030"/>
              <a:gd name="T31" fmla="*/ 1528 h 1529"/>
              <a:gd name="T32" fmla="*/ 248 w 1030"/>
              <a:gd name="T33" fmla="*/ 1454 h 1529"/>
              <a:gd name="T34" fmla="*/ 74 w 1030"/>
              <a:gd name="T35" fmla="*/ 1281 h 1529"/>
              <a:gd name="T36" fmla="*/ 0 w 1030"/>
              <a:gd name="T37" fmla="*/ 1040 h 1529"/>
              <a:gd name="T38" fmla="*/ 40 w 1030"/>
              <a:gd name="T39" fmla="*/ 813 h 1529"/>
              <a:gd name="T40" fmla="*/ 187 w 1030"/>
              <a:gd name="T41" fmla="*/ 617 h 1529"/>
              <a:gd name="T42" fmla="*/ 412 w 1030"/>
              <a:gd name="T43" fmla="*/ 509 h 1529"/>
              <a:gd name="T44" fmla="*/ 643 w 1030"/>
              <a:gd name="T45" fmla="*/ 515 h 1529"/>
              <a:gd name="T46" fmla="*/ 861 w 1030"/>
              <a:gd name="T47" fmla="*/ 633 h 1529"/>
              <a:gd name="T48" fmla="*/ 998 w 1030"/>
              <a:gd name="T49" fmla="*/ 837 h 1529"/>
              <a:gd name="T50" fmla="*/ 899 w 1030"/>
              <a:gd name="T51" fmla="*/ 1016 h 1529"/>
              <a:gd name="T52" fmla="*/ 853 w 1030"/>
              <a:gd name="T53" fmla="*/ 833 h 1529"/>
              <a:gd name="T54" fmla="*/ 730 w 1030"/>
              <a:gd name="T55" fmla="*/ 697 h 1529"/>
              <a:gd name="T56" fmla="*/ 555 w 1030"/>
              <a:gd name="T57" fmla="*/ 633 h 1529"/>
              <a:gd name="T58" fmla="*/ 383 w 1030"/>
              <a:gd name="T59" fmla="*/ 655 h 1529"/>
              <a:gd name="T60" fmla="*/ 231 w 1030"/>
              <a:gd name="T61" fmla="*/ 758 h 1529"/>
              <a:gd name="T62" fmla="*/ 142 w 1030"/>
              <a:gd name="T63" fmla="*/ 920 h 1529"/>
              <a:gd name="T64" fmla="*/ 138 w 1030"/>
              <a:gd name="T65" fmla="*/ 1093 h 1529"/>
              <a:gd name="T66" fmla="*/ 218 w 1030"/>
              <a:gd name="T67" fmla="*/ 1261 h 1529"/>
              <a:gd name="T68" fmla="*/ 365 w 1030"/>
              <a:gd name="T69" fmla="*/ 1371 h 1529"/>
              <a:gd name="T70" fmla="*/ 535 w 1030"/>
              <a:gd name="T71" fmla="*/ 1400 h 1529"/>
              <a:gd name="T72" fmla="*/ 714 w 1030"/>
              <a:gd name="T73" fmla="*/ 1345 h 1529"/>
              <a:gd name="T74" fmla="*/ 844 w 1030"/>
              <a:gd name="T75" fmla="*/ 1216 h 1529"/>
              <a:gd name="T76" fmla="*/ 899 w 1030"/>
              <a:gd name="T77" fmla="*/ 1036 h 1529"/>
              <a:gd name="T78" fmla="*/ 822 w 1030"/>
              <a:gd name="T79" fmla="*/ 1112 h 1529"/>
              <a:gd name="T80" fmla="*/ 742 w 1030"/>
              <a:gd name="T81" fmla="*/ 1244 h 1529"/>
              <a:gd name="T82" fmla="*/ 610 w 1030"/>
              <a:gd name="T83" fmla="*/ 1324 h 1529"/>
              <a:gd name="T84" fmla="*/ 466 w 1030"/>
              <a:gd name="T85" fmla="*/ 1334 h 1529"/>
              <a:gd name="T86" fmla="*/ 322 w 1030"/>
              <a:gd name="T87" fmla="*/ 1274 h 1529"/>
              <a:gd name="T88" fmla="*/ 225 w 1030"/>
              <a:gd name="T89" fmla="*/ 1156 h 1529"/>
              <a:gd name="T90" fmla="*/ 192 w 1030"/>
              <a:gd name="T91" fmla="*/ 1016 h 1529"/>
              <a:gd name="T92" fmla="*/ 232 w 1030"/>
              <a:gd name="T93" fmla="*/ 863 h 1529"/>
              <a:gd name="T94" fmla="*/ 334 w 1030"/>
              <a:gd name="T95" fmla="*/ 749 h 1529"/>
              <a:gd name="T96" fmla="*/ 482 w 1030"/>
              <a:gd name="T97" fmla="*/ 696 h 1529"/>
              <a:gd name="T98" fmla="*/ 625 w 1030"/>
              <a:gd name="T99" fmla="*/ 714 h 1529"/>
              <a:gd name="T100" fmla="*/ 753 w 1030"/>
              <a:gd name="T101" fmla="*/ 799 h 1529"/>
              <a:gd name="T102" fmla="*/ 827 w 1030"/>
              <a:gd name="T103" fmla="*/ 935 h 1529"/>
              <a:gd name="T104" fmla="*/ 599 w 1030"/>
              <a:gd name="T105" fmla="*/ 916 h 1529"/>
              <a:gd name="T106" fmla="*/ 548 w 1030"/>
              <a:gd name="T107" fmla="*/ 852 h 1529"/>
              <a:gd name="T108" fmla="*/ 471 w 1030"/>
              <a:gd name="T109" fmla="*/ 856 h 1529"/>
              <a:gd name="T110" fmla="*/ 427 w 1030"/>
              <a:gd name="T111" fmla="*/ 924 h 1529"/>
              <a:gd name="T112" fmla="*/ 462 w 1030"/>
              <a:gd name="T113" fmla="*/ 1002 h 1529"/>
              <a:gd name="T114" fmla="*/ 476 w 1030"/>
              <a:gd name="T115" fmla="*/ 1225 h 1529"/>
              <a:gd name="T116" fmla="*/ 558 w 1030"/>
              <a:gd name="T117" fmla="*/ 1015 h 1529"/>
              <a:gd name="T118" fmla="*/ 599 w 1030"/>
              <a:gd name="T119" fmla="*/ 948 h 1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30" h="1529">
                <a:moveTo>
                  <a:pt x="114" y="628"/>
                </a:moveTo>
                <a:lnTo>
                  <a:pt x="114" y="400"/>
                </a:lnTo>
                <a:lnTo>
                  <a:pt x="114" y="400"/>
                </a:lnTo>
                <a:lnTo>
                  <a:pt x="114" y="380"/>
                </a:lnTo>
                <a:lnTo>
                  <a:pt x="116" y="359"/>
                </a:lnTo>
                <a:lnTo>
                  <a:pt x="119" y="339"/>
                </a:lnTo>
                <a:lnTo>
                  <a:pt x="122" y="320"/>
                </a:lnTo>
                <a:lnTo>
                  <a:pt x="127" y="300"/>
                </a:lnTo>
                <a:lnTo>
                  <a:pt x="133" y="282"/>
                </a:lnTo>
                <a:lnTo>
                  <a:pt x="138" y="263"/>
                </a:lnTo>
                <a:lnTo>
                  <a:pt x="145" y="245"/>
                </a:lnTo>
                <a:lnTo>
                  <a:pt x="153" y="228"/>
                </a:lnTo>
                <a:lnTo>
                  <a:pt x="163" y="210"/>
                </a:lnTo>
                <a:lnTo>
                  <a:pt x="172" y="193"/>
                </a:lnTo>
                <a:lnTo>
                  <a:pt x="182" y="177"/>
                </a:lnTo>
                <a:lnTo>
                  <a:pt x="194" y="162"/>
                </a:lnTo>
                <a:lnTo>
                  <a:pt x="205" y="146"/>
                </a:lnTo>
                <a:lnTo>
                  <a:pt x="218" y="132"/>
                </a:lnTo>
                <a:lnTo>
                  <a:pt x="232" y="118"/>
                </a:lnTo>
                <a:lnTo>
                  <a:pt x="246" y="104"/>
                </a:lnTo>
                <a:lnTo>
                  <a:pt x="259" y="91"/>
                </a:lnTo>
                <a:lnTo>
                  <a:pt x="274" y="80"/>
                </a:lnTo>
                <a:lnTo>
                  <a:pt x="290" y="68"/>
                </a:lnTo>
                <a:lnTo>
                  <a:pt x="307" y="58"/>
                </a:lnTo>
                <a:lnTo>
                  <a:pt x="324" y="49"/>
                </a:lnTo>
                <a:lnTo>
                  <a:pt x="341" y="40"/>
                </a:lnTo>
                <a:lnTo>
                  <a:pt x="359" y="32"/>
                </a:lnTo>
                <a:lnTo>
                  <a:pt x="377" y="25"/>
                </a:lnTo>
                <a:lnTo>
                  <a:pt x="395" y="19"/>
                </a:lnTo>
                <a:lnTo>
                  <a:pt x="414" y="13"/>
                </a:lnTo>
                <a:lnTo>
                  <a:pt x="433" y="8"/>
                </a:lnTo>
                <a:lnTo>
                  <a:pt x="453" y="5"/>
                </a:lnTo>
                <a:lnTo>
                  <a:pt x="473" y="3"/>
                </a:lnTo>
                <a:lnTo>
                  <a:pt x="493" y="2"/>
                </a:lnTo>
                <a:lnTo>
                  <a:pt x="514" y="0"/>
                </a:lnTo>
                <a:lnTo>
                  <a:pt x="514" y="0"/>
                </a:lnTo>
                <a:lnTo>
                  <a:pt x="534" y="2"/>
                </a:lnTo>
                <a:lnTo>
                  <a:pt x="555" y="3"/>
                </a:lnTo>
                <a:lnTo>
                  <a:pt x="574" y="5"/>
                </a:lnTo>
                <a:lnTo>
                  <a:pt x="594" y="8"/>
                </a:lnTo>
                <a:lnTo>
                  <a:pt x="613" y="13"/>
                </a:lnTo>
                <a:lnTo>
                  <a:pt x="633" y="19"/>
                </a:lnTo>
                <a:lnTo>
                  <a:pt x="651" y="25"/>
                </a:lnTo>
                <a:lnTo>
                  <a:pt x="669" y="32"/>
                </a:lnTo>
                <a:lnTo>
                  <a:pt x="687" y="40"/>
                </a:lnTo>
                <a:lnTo>
                  <a:pt x="704" y="49"/>
                </a:lnTo>
                <a:lnTo>
                  <a:pt x="721" y="58"/>
                </a:lnTo>
                <a:lnTo>
                  <a:pt x="737" y="68"/>
                </a:lnTo>
                <a:lnTo>
                  <a:pt x="753" y="80"/>
                </a:lnTo>
                <a:lnTo>
                  <a:pt x="768" y="91"/>
                </a:lnTo>
                <a:lnTo>
                  <a:pt x="782" y="104"/>
                </a:lnTo>
                <a:lnTo>
                  <a:pt x="797" y="118"/>
                </a:lnTo>
                <a:lnTo>
                  <a:pt x="809" y="132"/>
                </a:lnTo>
                <a:lnTo>
                  <a:pt x="822" y="146"/>
                </a:lnTo>
                <a:lnTo>
                  <a:pt x="834" y="162"/>
                </a:lnTo>
                <a:lnTo>
                  <a:pt x="845" y="177"/>
                </a:lnTo>
                <a:lnTo>
                  <a:pt x="855" y="193"/>
                </a:lnTo>
                <a:lnTo>
                  <a:pt x="865" y="210"/>
                </a:lnTo>
                <a:lnTo>
                  <a:pt x="874" y="228"/>
                </a:lnTo>
                <a:lnTo>
                  <a:pt x="882" y="245"/>
                </a:lnTo>
                <a:lnTo>
                  <a:pt x="889" y="263"/>
                </a:lnTo>
                <a:lnTo>
                  <a:pt x="896" y="282"/>
                </a:lnTo>
                <a:lnTo>
                  <a:pt x="900" y="300"/>
                </a:lnTo>
                <a:lnTo>
                  <a:pt x="905" y="320"/>
                </a:lnTo>
                <a:lnTo>
                  <a:pt x="908" y="339"/>
                </a:lnTo>
                <a:lnTo>
                  <a:pt x="911" y="359"/>
                </a:lnTo>
                <a:lnTo>
                  <a:pt x="913" y="380"/>
                </a:lnTo>
                <a:lnTo>
                  <a:pt x="913" y="400"/>
                </a:lnTo>
                <a:lnTo>
                  <a:pt x="913" y="625"/>
                </a:lnTo>
                <a:lnTo>
                  <a:pt x="913" y="625"/>
                </a:lnTo>
                <a:lnTo>
                  <a:pt x="898" y="609"/>
                </a:lnTo>
                <a:lnTo>
                  <a:pt x="881" y="593"/>
                </a:lnTo>
                <a:lnTo>
                  <a:pt x="865" y="578"/>
                </a:lnTo>
                <a:lnTo>
                  <a:pt x="846" y="564"/>
                </a:lnTo>
                <a:lnTo>
                  <a:pt x="829" y="550"/>
                </a:lnTo>
                <a:lnTo>
                  <a:pt x="809" y="538"/>
                </a:lnTo>
                <a:lnTo>
                  <a:pt x="791" y="525"/>
                </a:lnTo>
                <a:lnTo>
                  <a:pt x="770" y="513"/>
                </a:lnTo>
                <a:lnTo>
                  <a:pt x="770" y="400"/>
                </a:lnTo>
                <a:lnTo>
                  <a:pt x="770" y="400"/>
                </a:lnTo>
                <a:lnTo>
                  <a:pt x="769" y="374"/>
                </a:lnTo>
                <a:lnTo>
                  <a:pt x="765" y="349"/>
                </a:lnTo>
                <a:lnTo>
                  <a:pt x="759" y="324"/>
                </a:lnTo>
                <a:lnTo>
                  <a:pt x="751" y="300"/>
                </a:lnTo>
                <a:lnTo>
                  <a:pt x="739" y="278"/>
                </a:lnTo>
                <a:lnTo>
                  <a:pt x="726" y="256"/>
                </a:lnTo>
                <a:lnTo>
                  <a:pt x="711" y="237"/>
                </a:lnTo>
                <a:lnTo>
                  <a:pt x="695" y="218"/>
                </a:lnTo>
                <a:lnTo>
                  <a:pt x="677" y="202"/>
                </a:lnTo>
                <a:lnTo>
                  <a:pt x="657" y="187"/>
                </a:lnTo>
                <a:lnTo>
                  <a:pt x="636" y="174"/>
                </a:lnTo>
                <a:lnTo>
                  <a:pt x="613" y="164"/>
                </a:lnTo>
                <a:lnTo>
                  <a:pt x="590" y="155"/>
                </a:lnTo>
                <a:lnTo>
                  <a:pt x="565" y="149"/>
                </a:lnTo>
                <a:lnTo>
                  <a:pt x="540" y="145"/>
                </a:lnTo>
                <a:lnTo>
                  <a:pt x="514" y="143"/>
                </a:lnTo>
                <a:lnTo>
                  <a:pt x="514" y="143"/>
                </a:lnTo>
                <a:lnTo>
                  <a:pt x="488" y="145"/>
                </a:lnTo>
                <a:lnTo>
                  <a:pt x="462" y="149"/>
                </a:lnTo>
                <a:lnTo>
                  <a:pt x="437" y="155"/>
                </a:lnTo>
                <a:lnTo>
                  <a:pt x="414" y="164"/>
                </a:lnTo>
                <a:lnTo>
                  <a:pt x="392" y="174"/>
                </a:lnTo>
                <a:lnTo>
                  <a:pt x="370" y="187"/>
                </a:lnTo>
                <a:lnTo>
                  <a:pt x="350" y="202"/>
                </a:lnTo>
                <a:lnTo>
                  <a:pt x="332" y="218"/>
                </a:lnTo>
                <a:lnTo>
                  <a:pt x="316" y="237"/>
                </a:lnTo>
                <a:lnTo>
                  <a:pt x="301" y="256"/>
                </a:lnTo>
                <a:lnTo>
                  <a:pt x="288" y="278"/>
                </a:lnTo>
                <a:lnTo>
                  <a:pt x="277" y="300"/>
                </a:lnTo>
                <a:lnTo>
                  <a:pt x="269" y="324"/>
                </a:lnTo>
                <a:lnTo>
                  <a:pt x="262" y="349"/>
                </a:lnTo>
                <a:lnTo>
                  <a:pt x="258" y="374"/>
                </a:lnTo>
                <a:lnTo>
                  <a:pt x="257" y="400"/>
                </a:lnTo>
                <a:lnTo>
                  <a:pt x="257" y="515"/>
                </a:lnTo>
                <a:lnTo>
                  <a:pt x="257" y="515"/>
                </a:lnTo>
                <a:lnTo>
                  <a:pt x="237" y="526"/>
                </a:lnTo>
                <a:lnTo>
                  <a:pt x="218" y="539"/>
                </a:lnTo>
                <a:lnTo>
                  <a:pt x="199" y="551"/>
                </a:lnTo>
                <a:lnTo>
                  <a:pt x="181" y="565"/>
                </a:lnTo>
                <a:lnTo>
                  <a:pt x="163" y="580"/>
                </a:lnTo>
                <a:lnTo>
                  <a:pt x="146" y="595"/>
                </a:lnTo>
                <a:lnTo>
                  <a:pt x="130" y="611"/>
                </a:lnTo>
                <a:lnTo>
                  <a:pt x="114" y="628"/>
                </a:lnTo>
                <a:lnTo>
                  <a:pt x="114" y="628"/>
                </a:lnTo>
                <a:close/>
                <a:moveTo>
                  <a:pt x="1030" y="1014"/>
                </a:moveTo>
                <a:lnTo>
                  <a:pt x="1030" y="1014"/>
                </a:lnTo>
                <a:lnTo>
                  <a:pt x="1030" y="1040"/>
                </a:lnTo>
                <a:lnTo>
                  <a:pt x="1027" y="1067"/>
                </a:lnTo>
                <a:lnTo>
                  <a:pt x="1024" y="1092"/>
                </a:lnTo>
                <a:lnTo>
                  <a:pt x="1019" y="1118"/>
                </a:lnTo>
                <a:lnTo>
                  <a:pt x="1013" y="1143"/>
                </a:lnTo>
                <a:lnTo>
                  <a:pt x="1006" y="1167"/>
                </a:lnTo>
                <a:lnTo>
                  <a:pt x="998" y="1191"/>
                </a:lnTo>
                <a:lnTo>
                  <a:pt x="989" y="1214"/>
                </a:lnTo>
                <a:lnTo>
                  <a:pt x="979" y="1237"/>
                </a:lnTo>
                <a:lnTo>
                  <a:pt x="967" y="1259"/>
                </a:lnTo>
                <a:lnTo>
                  <a:pt x="955" y="1281"/>
                </a:lnTo>
                <a:lnTo>
                  <a:pt x="942" y="1302"/>
                </a:lnTo>
                <a:lnTo>
                  <a:pt x="927" y="1322"/>
                </a:lnTo>
                <a:lnTo>
                  <a:pt x="912" y="1341"/>
                </a:lnTo>
                <a:lnTo>
                  <a:pt x="896" y="1361"/>
                </a:lnTo>
                <a:lnTo>
                  <a:pt x="878" y="1378"/>
                </a:lnTo>
                <a:lnTo>
                  <a:pt x="861" y="1395"/>
                </a:lnTo>
                <a:lnTo>
                  <a:pt x="842" y="1412"/>
                </a:lnTo>
                <a:lnTo>
                  <a:pt x="823" y="1427"/>
                </a:lnTo>
                <a:lnTo>
                  <a:pt x="802" y="1442"/>
                </a:lnTo>
                <a:lnTo>
                  <a:pt x="782" y="1454"/>
                </a:lnTo>
                <a:lnTo>
                  <a:pt x="760" y="1467"/>
                </a:lnTo>
                <a:lnTo>
                  <a:pt x="738" y="1478"/>
                </a:lnTo>
                <a:lnTo>
                  <a:pt x="715" y="1489"/>
                </a:lnTo>
                <a:lnTo>
                  <a:pt x="692" y="1498"/>
                </a:lnTo>
                <a:lnTo>
                  <a:pt x="667" y="1506"/>
                </a:lnTo>
                <a:lnTo>
                  <a:pt x="643" y="1513"/>
                </a:lnTo>
                <a:lnTo>
                  <a:pt x="618" y="1519"/>
                </a:lnTo>
                <a:lnTo>
                  <a:pt x="593" y="1523"/>
                </a:lnTo>
                <a:lnTo>
                  <a:pt x="567" y="1527"/>
                </a:lnTo>
                <a:lnTo>
                  <a:pt x="541" y="1528"/>
                </a:lnTo>
                <a:lnTo>
                  <a:pt x="514" y="1529"/>
                </a:lnTo>
                <a:lnTo>
                  <a:pt x="514" y="1529"/>
                </a:lnTo>
                <a:lnTo>
                  <a:pt x="488" y="1528"/>
                </a:lnTo>
                <a:lnTo>
                  <a:pt x="462" y="1527"/>
                </a:lnTo>
                <a:lnTo>
                  <a:pt x="436" y="1523"/>
                </a:lnTo>
                <a:lnTo>
                  <a:pt x="412" y="1519"/>
                </a:lnTo>
                <a:lnTo>
                  <a:pt x="386" y="1513"/>
                </a:lnTo>
                <a:lnTo>
                  <a:pt x="362" y="1506"/>
                </a:lnTo>
                <a:lnTo>
                  <a:pt x="338" y="1498"/>
                </a:lnTo>
                <a:lnTo>
                  <a:pt x="315" y="1489"/>
                </a:lnTo>
                <a:lnTo>
                  <a:pt x="292" y="1478"/>
                </a:lnTo>
                <a:lnTo>
                  <a:pt x="270" y="1467"/>
                </a:lnTo>
                <a:lnTo>
                  <a:pt x="248" y="1454"/>
                </a:lnTo>
                <a:lnTo>
                  <a:pt x="227" y="1442"/>
                </a:lnTo>
                <a:lnTo>
                  <a:pt x="206" y="1427"/>
                </a:lnTo>
                <a:lnTo>
                  <a:pt x="187" y="1412"/>
                </a:lnTo>
                <a:lnTo>
                  <a:pt x="168" y="1395"/>
                </a:lnTo>
                <a:lnTo>
                  <a:pt x="151" y="1378"/>
                </a:lnTo>
                <a:lnTo>
                  <a:pt x="134" y="1361"/>
                </a:lnTo>
                <a:lnTo>
                  <a:pt x="118" y="1341"/>
                </a:lnTo>
                <a:lnTo>
                  <a:pt x="101" y="1322"/>
                </a:lnTo>
                <a:lnTo>
                  <a:pt x="88" y="1302"/>
                </a:lnTo>
                <a:lnTo>
                  <a:pt x="74" y="1281"/>
                </a:lnTo>
                <a:lnTo>
                  <a:pt x="62" y="1259"/>
                </a:lnTo>
                <a:lnTo>
                  <a:pt x="51" y="1237"/>
                </a:lnTo>
                <a:lnTo>
                  <a:pt x="40" y="1214"/>
                </a:lnTo>
                <a:lnTo>
                  <a:pt x="31" y="1191"/>
                </a:lnTo>
                <a:lnTo>
                  <a:pt x="23" y="1167"/>
                </a:lnTo>
                <a:lnTo>
                  <a:pt x="16" y="1143"/>
                </a:lnTo>
                <a:lnTo>
                  <a:pt x="10" y="1118"/>
                </a:lnTo>
                <a:lnTo>
                  <a:pt x="6" y="1092"/>
                </a:lnTo>
                <a:lnTo>
                  <a:pt x="2" y="1067"/>
                </a:lnTo>
                <a:lnTo>
                  <a:pt x="0" y="1040"/>
                </a:lnTo>
                <a:lnTo>
                  <a:pt x="0" y="1014"/>
                </a:lnTo>
                <a:lnTo>
                  <a:pt x="0" y="1014"/>
                </a:lnTo>
                <a:lnTo>
                  <a:pt x="0" y="987"/>
                </a:lnTo>
                <a:lnTo>
                  <a:pt x="2" y="962"/>
                </a:lnTo>
                <a:lnTo>
                  <a:pt x="6" y="935"/>
                </a:lnTo>
                <a:lnTo>
                  <a:pt x="10" y="910"/>
                </a:lnTo>
                <a:lnTo>
                  <a:pt x="16" y="886"/>
                </a:lnTo>
                <a:lnTo>
                  <a:pt x="23" y="860"/>
                </a:lnTo>
                <a:lnTo>
                  <a:pt x="31" y="837"/>
                </a:lnTo>
                <a:lnTo>
                  <a:pt x="40" y="813"/>
                </a:lnTo>
                <a:lnTo>
                  <a:pt x="51" y="791"/>
                </a:lnTo>
                <a:lnTo>
                  <a:pt x="62" y="768"/>
                </a:lnTo>
                <a:lnTo>
                  <a:pt x="74" y="747"/>
                </a:lnTo>
                <a:lnTo>
                  <a:pt x="88" y="727"/>
                </a:lnTo>
                <a:lnTo>
                  <a:pt x="101" y="706"/>
                </a:lnTo>
                <a:lnTo>
                  <a:pt x="118" y="686"/>
                </a:lnTo>
                <a:lnTo>
                  <a:pt x="134" y="668"/>
                </a:lnTo>
                <a:lnTo>
                  <a:pt x="151" y="649"/>
                </a:lnTo>
                <a:lnTo>
                  <a:pt x="168" y="633"/>
                </a:lnTo>
                <a:lnTo>
                  <a:pt x="187" y="617"/>
                </a:lnTo>
                <a:lnTo>
                  <a:pt x="206" y="601"/>
                </a:lnTo>
                <a:lnTo>
                  <a:pt x="227" y="587"/>
                </a:lnTo>
                <a:lnTo>
                  <a:pt x="248" y="573"/>
                </a:lnTo>
                <a:lnTo>
                  <a:pt x="270" y="561"/>
                </a:lnTo>
                <a:lnTo>
                  <a:pt x="292" y="550"/>
                </a:lnTo>
                <a:lnTo>
                  <a:pt x="315" y="540"/>
                </a:lnTo>
                <a:lnTo>
                  <a:pt x="338" y="531"/>
                </a:lnTo>
                <a:lnTo>
                  <a:pt x="362" y="523"/>
                </a:lnTo>
                <a:lnTo>
                  <a:pt x="386" y="515"/>
                </a:lnTo>
                <a:lnTo>
                  <a:pt x="412" y="509"/>
                </a:lnTo>
                <a:lnTo>
                  <a:pt x="436" y="505"/>
                </a:lnTo>
                <a:lnTo>
                  <a:pt x="462" y="502"/>
                </a:lnTo>
                <a:lnTo>
                  <a:pt x="488" y="500"/>
                </a:lnTo>
                <a:lnTo>
                  <a:pt x="514" y="498"/>
                </a:lnTo>
                <a:lnTo>
                  <a:pt x="514" y="498"/>
                </a:lnTo>
                <a:lnTo>
                  <a:pt x="541" y="500"/>
                </a:lnTo>
                <a:lnTo>
                  <a:pt x="567" y="502"/>
                </a:lnTo>
                <a:lnTo>
                  <a:pt x="593" y="505"/>
                </a:lnTo>
                <a:lnTo>
                  <a:pt x="618" y="509"/>
                </a:lnTo>
                <a:lnTo>
                  <a:pt x="643" y="515"/>
                </a:lnTo>
                <a:lnTo>
                  <a:pt x="667" y="523"/>
                </a:lnTo>
                <a:lnTo>
                  <a:pt x="692" y="531"/>
                </a:lnTo>
                <a:lnTo>
                  <a:pt x="715" y="540"/>
                </a:lnTo>
                <a:lnTo>
                  <a:pt x="738" y="550"/>
                </a:lnTo>
                <a:lnTo>
                  <a:pt x="760" y="561"/>
                </a:lnTo>
                <a:lnTo>
                  <a:pt x="782" y="573"/>
                </a:lnTo>
                <a:lnTo>
                  <a:pt x="802" y="587"/>
                </a:lnTo>
                <a:lnTo>
                  <a:pt x="823" y="601"/>
                </a:lnTo>
                <a:lnTo>
                  <a:pt x="842" y="617"/>
                </a:lnTo>
                <a:lnTo>
                  <a:pt x="861" y="633"/>
                </a:lnTo>
                <a:lnTo>
                  <a:pt x="878" y="649"/>
                </a:lnTo>
                <a:lnTo>
                  <a:pt x="896" y="668"/>
                </a:lnTo>
                <a:lnTo>
                  <a:pt x="912" y="686"/>
                </a:lnTo>
                <a:lnTo>
                  <a:pt x="927" y="706"/>
                </a:lnTo>
                <a:lnTo>
                  <a:pt x="942" y="727"/>
                </a:lnTo>
                <a:lnTo>
                  <a:pt x="955" y="747"/>
                </a:lnTo>
                <a:lnTo>
                  <a:pt x="967" y="768"/>
                </a:lnTo>
                <a:lnTo>
                  <a:pt x="979" y="791"/>
                </a:lnTo>
                <a:lnTo>
                  <a:pt x="989" y="813"/>
                </a:lnTo>
                <a:lnTo>
                  <a:pt x="998" y="837"/>
                </a:lnTo>
                <a:lnTo>
                  <a:pt x="1006" y="860"/>
                </a:lnTo>
                <a:lnTo>
                  <a:pt x="1013" y="886"/>
                </a:lnTo>
                <a:lnTo>
                  <a:pt x="1019" y="910"/>
                </a:lnTo>
                <a:lnTo>
                  <a:pt x="1024" y="935"/>
                </a:lnTo>
                <a:lnTo>
                  <a:pt x="1027" y="962"/>
                </a:lnTo>
                <a:lnTo>
                  <a:pt x="1030" y="987"/>
                </a:lnTo>
                <a:lnTo>
                  <a:pt x="1030" y="1014"/>
                </a:lnTo>
                <a:lnTo>
                  <a:pt x="1030" y="1014"/>
                </a:lnTo>
                <a:close/>
                <a:moveTo>
                  <a:pt x="899" y="1016"/>
                </a:moveTo>
                <a:lnTo>
                  <a:pt x="899" y="1016"/>
                </a:lnTo>
                <a:lnTo>
                  <a:pt x="899" y="997"/>
                </a:lnTo>
                <a:lnTo>
                  <a:pt x="897" y="977"/>
                </a:lnTo>
                <a:lnTo>
                  <a:pt x="895" y="957"/>
                </a:lnTo>
                <a:lnTo>
                  <a:pt x="891" y="939"/>
                </a:lnTo>
                <a:lnTo>
                  <a:pt x="888" y="920"/>
                </a:lnTo>
                <a:lnTo>
                  <a:pt x="882" y="902"/>
                </a:lnTo>
                <a:lnTo>
                  <a:pt x="876" y="884"/>
                </a:lnTo>
                <a:lnTo>
                  <a:pt x="869" y="866"/>
                </a:lnTo>
                <a:lnTo>
                  <a:pt x="861" y="850"/>
                </a:lnTo>
                <a:lnTo>
                  <a:pt x="853" y="833"/>
                </a:lnTo>
                <a:lnTo>
                  <a:pt x="844" y="817"/>
                </a:lnTo>
                <a:lnTo>
                  <a:pt x="834" y="802"/>
                </a:lnTo>
                <a:lnTo>
                  <a:pt x="823" y="787"/>
                </a:lnTo>
                <a:lnTo>
                  <a:pt x="812" y="772"/>
                </a:lnTo>
                <a:lnTo>
                  <a:pt x="799" y="758"/>
                </a:lnTo>
                <a:lnTo>
                  <a:pt x="786" y="744"/>
                </a:lnTo>
                <a:lnTo>
                  <a:pt x="774" y="731"/>
                </a:lnTo>
                <a:lnTo>
                  <a:pt x="760" y="720"/>
                </a:lnTo>
                <a:lnTo>
                  <a:pt x="745" y="708"/>
                </a:lnTo>
                <a:lnTo>
                  <a:pt x="730" y="697"/>
                </a:lnTo>
                <a:lnTo>
                  <a:pt x="714" y="688"/>
                </a:lnTo>
                <a:lnTo>
                  <a:pt x="697" y="678"/>
                </a:lnTo>
                <a:lnTo>
                  <a:pt x="681" y="669"/>
                </a:lnTo>
                <a:lnTo>
                  <a:pt x="664" y="662"/>
                </a:lnTo>
                <a:lnTo>
                  <a:pt x="647" y="655"/>
                </a:lnTo>
                <a:lnTo>
                  <a:pt x="629" y="648"/>
                </a:lnTo>
                <a:lnTo>
                  <a:pt x="611" y="644"/>
                </a:lnTo>
                <a:lnTo>
                  <a:pt x="593" y="639"/>
                </a:lnTo>
                <a:lnTo>
                  <a:pt x="573" y="636"/>
                </a:lnTo>
                <a:lnTo>
                  <a:pt x="555" y="633"/>
                </a:lnTo>
                <a:lnTo>
                  <a:pt x="535" y="632"/>
                </a:lnTo>
                <a:lnTo>
                  <a:pt x="514" y="631"/>
                </a:lnTo>
                <a:lnTo>
                  <a:pt x="514" y="631"/>
                </a:lnTo>
                <a:lnTo>
                  <a:pt x="495" y="632"/>
                </a:lnTo>
                <a:lnTo>
                  <a:pt x="475" y="633"/>
                </a:lnTo>
                <a:lnTo>
                  <a:pt x="457" y="636"/>
                </a:lnTo>
                <a:lnTo>
                  <a:pt x="437" y="639"/>
                </a:lnTo>
                <a:lnTo>
                  <a:pt x="418" y="644"/>
                </a:lnTo>
                <a:lnTo>
                  <a:pt x="400" y="648"/>
                </a:lnTo>
                <a:lnTo>
                  <a:pt x="383" y="655"/>
                </a:lnTo>
                <a:lnTo>
                  <a:pt x="365" y="662"/>
                </a:lnTo>
                <a:lnTo>
                  <a:pt x="348" y="669"/>
                </a:lnTo>
                <a:lnTo>
                  <a:pt x="332" y="678"/>
                </a:lnTo>
                <a:lnTo>
                  <a:pt x="316" y="688"/>
                </a:lnTo>
                <a:lnTo>
                  <a:pt x="300" y="697"/>
                </a:lnTo>
                <a:lnTo>
                  <a:pt x="285" y="708"/>
                </a:lnTo>
                <a:lnTo>
                  <a:pt x="270" y="720"/>
                </a:lnTo>
                <a:lnTo>
                  <a:pt x="256" y="731"/>
                </a:lnTo>
                <a:lnTo>
                  <a:pt x="243" y="744"/>
                </a:lnTo>
                <a:lnTo>
                  <a:pt x="231" y="758"/>
                </a:lnTo>
                <a:lnTo>
                  <a:pt x="218" y="772"/>
                </a:lnTo>
                <a:lnTo>
                  <a:pt x="206" y="787"/>
                </a:lnTo>
                <a:lnTo>
                  <a:pt x="196" y="802"/>
                </a:lnTo>
                <a:lnTo>
                  <a:pt x="186" y="817"/>
                </a:lnTo>
                <a:lnTo>
                  <a:pt x="176" y="833"/>
                </a:lnTo>
                <a:lnTo>
                  <a:pt x="168" y="850"/>
                </a:lnTo>
                <a:lnTo>
                  <a:pt x="160" y="866"/>
                </a:lnTo>
                <a:lnTo>
                  <a:pt x="153" y="884"/>
                </a:lnTo>
                <a:lnTo>
                  <a:pt x="148" y="902"/>
                </a:lnTo>
                <a:lnTo>
                  <a:pt x="142" y="920"/>
                </a:lnTo>
                <a:lnTo>
                  <a:pt x="138" y="939"/>
                </a:lnTo>
                <a:lnTo>
                  <a:pt x="135" y="957"/>
                </a:lnTo>
                <a:lnTo>
                  <a:pt x="131" y="977"/>
                </a:lnTo>
                <a:lnTo>
                  <a:pt x="130" y="997"/>
                </a:lnTo>
                <a:lnTo>
                  <a:pt x="130" y="1016"/>
                </a:lnTo>
                <a:lnTo>
                  <a:pt x="130" y="1016"/>
                </a:lnTo>
                <a:lnTo>
                  <a:pt x="130" y="1036"/>
                </a:lnTo>
                <a:lnTo>
                  <a:pt x="131" y="1055"/>
                </a:lnTo>
                <a:lnTo>
                  <a:pt x="135" y="1075"/>
                </a:lnTo>
                <a:lnTo>
                  <a:pt x="138" y="1093"/>
                </a:lnTo>
                <a:lnTo>
                  <a:pt x="142" y="1112"/>
                </a:lnTo>
                <a:lnTo>
                  <a:pt x="148" y="1130"/>
                </a:lnTo>
                <a:lnTo>
                  <a:pt x="153" y="1149"/>
                </a:lnTo>
                <a:lnTo>
                  <a:pt x="160" y="1166"/>
                </a:lnTo>
                <a:lnTo>
                  <a:pt x="168" y="1183"/>
                </a:lnTo>
                <a:lnTo>
                  <a:pt x="176" y="1199"/>
                </a:lnTo>
                <a:lnTo>
                  <a:pt x="186" y="1216"/>
                </a:lnTo>
                <a:lnTo>
                  <a:pt x="196" y="1232"/>
                </a:lnTo>
                <a:lnTo>
                  <a:pt x="206" y="1247"/>
                </a:lnTo>
                <a:lnTo>
                  <a:pt x="218" y="1261"/>
                </a:lnTo>
                <a:lnTo>
                  <a:pt x="231" y="1274"/>
                </a:lnTo>
                <a:lnTo>
                  <a:pt x="243" y="1288"/>
                </a:lnTo>
                <a:lnTo>
                  <a:pt x="256" y="1301"/>
                </a:lnTo>
                <a:lnTo>
                  <a:pt x="270" y="1312"/>
                </a:lnTo>
                <a:lnTo>
                  <a:pt x="285" y="1324"/>
                </a:lnTo>
                <a:lnTo>
                  <a:pt x="300" y="1335"/>
                </a:lnTo>
                <a:lnTo>
                  <a:pt x="316" y="1345"/>
                </a:lnTo>
                <a:lnTo>
                  <a:pt x="332" y="1354"/>
                </a:lnTo>
                <a:lnTo>
                  <a:pt x="348" y="1363"/>
                </a:lnTo>
                <a:lnTo>
                  <a:pt x="365" y="1371"/>
                </a:lnTo>
                <a:lnTo>
                  <a:pt x="383" y="1377"/>
                </a:lnTo>
                <a:lnTo>
                  <a:pt x="400" y="1384"/>
                </a:lnTo>
                <a:lnTo>
                  <a:pt x="418" y="1389"/>
                </a:lnTo>
                <a:lnTo>
                  <a:pt x="437" y="1393"/>
                </a:lnTo>
                <a:lnTo>
                  <a:pt x="457" y="1397"/>
                </a:lnTo>
                <a:lnTo>
                  <a:pt x="475" y="1399"/>
                </a:lnTo>
                <a:lnTo>
                  <a:pt x="495" y="1400"/>
                </a:lnTo>
                <a:lnTo>
                  <a:pt x="514" y="1401"/>
                </a:lnTo>
                <a:lnTo>
                  <a:pt x="514" y="1401"/>
                </a:lnTo>
                <a:lnTo>
                  <a:pt x="535" y="1400"/>
                </a:lnTo>
                <a:lnTo>
                  <a:pt x="555" y="1399"/>
                </a:lnTo>
                <a:lnTo>
                  <a:pt x="573" y="1397"/>
                </a:lnTo>
                <a:lnTo>
                  <a:pt x="593" y="1393"/>
                </a:lnTo>
                <a:lnTo>
                  <a:pt x="611" y="1389"/>
                </a:lnTo>
                <a:lnTo>
                  <a:pt x="629" y="1384"/>
                </a:lnTo>
                <a:lnTo>
                  <a:pt x="647" y="1377"/>
                </a:lnTo>
                <a:lnTo>
                  <a:pt x="664" y="1371"/>
                </a:lnTo>
                <a:lnTo>
                  <a:pt x="681" y="1363"/>
                </a:lnTo>
                <a:lnTo>
                  <a:pt x="697" y="1354"/>
                </a:lnTo>
                <a:lnTo>
                  <a:pt x="714" y="1345"/>
                </a:lnTo>
                <a:lnTo>
                  <a:pt x="730" y="1335"/>
                </a:lnTo>
                <a:lnTo>
                  <a:pt x="745" y="1324"/>
                </a:lnTo>
                <a:lnTo>
                  <a:pt x="760" y="1312"/>
                </a:lnTo>
                <a:lnTo>
                  <a:pt x="774" y="1301"/>
                </a:lnTo>
                <a:lnTo>
                  <a:pt x="786" y="1288"/>
                </a:lnTo>
                <a:lnTo>
                  <a:pt x="799" y="1274"/>
                </a:lnTo>
                <a:lnTo>
                  <a:pt x="812" y="1261"/>
                </a:lnTo>
                <a:lnTo>
                  <a:pt x="823" y="1247"/>
                </a:lnTo>
                <a:lnTo>
                  <a:pt x="834" y="1232"/>
                </a:lnTo>
                <a:lnTo>
                  <a:pt x="844" y="1216"/>
                </a:lnTo>
                <a:lnTo>
                  <a:pt x="853" y="1199"/>
                </a:lnTo>
                <a:lnTo>
                  <a:pt x="861" y="1183"/>
                </a:lnTo>
                <a:lnTo>
                  <a:pt x="869" y="1166"/>
                </a:lnTo>
                <a:lnTo>
                  <a:pt x="876" y="1149"/>
                </a:lnTo>
                <a:lnTo>
                  <a:pt x="882" y="1130"/>
                </a:lnTo>
                <a:lnTo>
                  <a:pt x="888" y="1112"/>
                </a:lnTo>
                <a:lnTo>
                  <a:pt x="891" y="1093"/>
                </a:lnTo>
                <a:lnTo>
                  <a:pt x="895" y="1075"/>
                </a:lnTo>
                <a:lnTo>
                  <a:pt x="897" y="1055"/>
                </a:lnTo>
                <a:lnTo>
                  <a:pt x="899" y="1036"/>
                </a:lnTo>
                <a:lnTo>
                  <a:pt x="899" y="1016"/>
                </a:lnTo>
                <a:lnTo>
                  <a:pt x="899" y="1016"/>
                </a:lnTo>
                <a:close/>
                <a:moveTo>
                  <a:pt x="837" y="1016"/>
                </a:moveTo>
                <a:lnTo>
                  <a:pt x="837" y="1016"/>
                </a:lnTo>
                <a:lnTo>
                  <a:pt x="837" y="1032"/>
                </a:lnTo>
                <a:lnTo>
                  <a:pt x="836" y="1050"/>
                </a:lnTo>
                <a:lnTo>
                  <a:pt x="834" y="1066"/>
                </a:lnTo>
                <a:lnTo>
                  <a:pt x="830" y="1081"/>
                </a:lnTo>
                <a:lnTo>
                  <a:pt x="827" y="1097"/>
                </a:lnTo>
                <a:lnTo>
                  <a:pt x="822" y="1112"/>
                </a:lnTo>
                <a:lnTo>
                  <a:pt x="817" y="1127"/>
                </a:lnTo>
                <a:lnTo>
                  <a:pt x="812" y="1142"/>
                </a:lnTo>
                <a:lnTo>
                  <a:pt x="805" y="1156"/>
                </a:lnTo>
                <a:lnTo>
                  <a:pt x="798" y="1169"/>
                </a:lnTo>
                <a:lnTo>
                  <a:pt x="790" y="1183"/>
                </a:lnTo>
                <a:lnTo>
                  <a:pt x="782" y="1196"/>
                </a:lnTo>
                <a:lnTo>
                  <a:pt x="772" y="1209"/>
                </a:lnTo>
                <a:lnTo>
                  <a:pt x="763" y="1221"/>
                </a:lnTo>
                <a:lnTo>
                  <a:pt x="753" y="1233"/>
                </a:lnTo>
                <a:lnTo>
                  <a:pt x="742" y="1244"/>
                </a:lnTo>
                <a:lnTo>
                  <a:pt x="731" y="1255"/>
                </a:lnTo>
                <a:lnTo>
                  <a:pt x="719" y="1265"/>
                </a:lnTo>
                <a:lnTo>
                  <a:pt x="708" y="1274"/>
                </a:lnTo>
                <a:lnTo>
                  <a:pt x="695" y="1284"/>
                </a:lnTo>
                <a:lnTo>
                  <a:pt x="681" y="1292"/>
                </a:lnTo>
                <a:lnTo>
                  <a:pt x="669" y="1300"/>
                </a:lnTo>
                <a:lnTo>
                  <a:pt x="655" y="1307"/>
                </a:lnTo>
                <a:lnTo>
                  <a:pt x="640" y="1314"/>
                </a:lnTo>
                <a:lnTo>
                  <a:pt x="625" y="1319"/>
                </a:lnTo>
                <a:lnTo>
                  <a:pt x="610" y="1324"/>
                </a:lnTo>
                <a:lnTo>
                  <a:pt x="595" y="1329"/>
                </a:lnTo>
                <a:lnTo>
                  <a:pt x="580" y="1332"/>
                </a:lnTo>
                <a:lnTo>
                  <a:pt x="564" y="1334"/>
                </a:lnTo>
                <a:lnTo>
                  <a:pt x="548" y="1337"/>
                </a:lnTo>
                <a:lnTo>
                  <a:pt x="531" y="1338"/>
                </a:lnTo>
                <a:lnTo>
                  <a:pt x="514" y="1339"/>
                </a:lnTo>
                <a:lnTo>
                  <a:pt x="514" y="1339"/>
                </a:lnTo>
                <a:lnTo>
                  <a:pt x="498" y="1338"/>
                </a:lnTo>
                <a:lnTo>
                  <a:pt x="482" y="1337"/>
                </a:lnTo>
                <a:lnTo>
                  <a:pt x="466" y="1334"/>
                </a:lnTo>
                <a:lnTo>
                  <a:pt x="450" y="1332"/>
                </a:lnTo>
                <a:lnTo>
                  <a:pt x="435" y="1329"/>
                </a:lnTo>
                <a:lnTo>
                  <a:pt x="418" y="1324"/>
                </a:lnTo>
                <a:lnTo>
                  <a:pt x="403" y="1319"/>
                </a:lnTo>
                <a:lnTo>
                  <a:pt x="390" y="1314"/>
                </a:lnTo>
                <a:lnTo>
                  <a:pt x="375" y="1307"/>
                </a:lnTo>
                <a:lnTo>
                  <a:pt x="361" y="1300"/>
                </a:lnTo>
                <a:lnTo>
                  <a:pt x="348" y="1292"/>
                </a:lnTo>
                <a:lnTo>
                  <a:pt x="334" y="1284"/>
                </a:lnTo>
                <a:lnTo>
                  <a:pt x="322" y="1274"/>
                </a:lnTo>
                <a:lnTo>
                  <a:pt x="310" y="1265"/>
                </a:lnTo>
                <a:lnTo>
                  <a:pt x="299" y="1255"/>
                </a:lnTo>
                <a:lnTo>
                  <a:pt x="287" y="1244"/>
                </a:lnTo>
                <a:lnTo>
                  <a:pt x="277" y="1233"/>
                </a:lnTo>
                <a:lnTo>
                  <a:pt x="266" y="1221"/>
                </a:lnTo>
                <a:lnTo>
                  <a:pt x="257" y="1209"/>
                </a:lnTo>
                <a:lnTo>
                  <a:pt x="248" y="1196"/>
                </a:lnTo>
                <a:lnTo>
                  <a:pt x="239" y="1183"/>
                </a:lnTo>
                <a:lnTo>
                  <a:pt x="232" y="1169"/>
                </a:lnTo>
                <a:lnTo>
                  <a:pt x="225" y="1156"/>
                </a:lnTo>
                <a:lnTo>
                  <a:pt x="218" y="1142"/>
                </a:lnTo>
                <a:lnTo>
                  <a:pt x="212" y="1127"/>
                </a:lnTo>
                <a:lnTo>
                  <a:pt x="206" y="1112"/>
                </a:lnTo>
                <a:lnTo>
                  <a:pt x="203" y="1097"/>
                </a:lnTo>
                <a:lnTo>
                  <a:pt x="199" y="1081"/>
                </a:lnTo>
                <a:lnTo>
                  <a:pt x="196" y="1066"/>
                </a:lnTo>
                <a:lnTo>
                  <a:pt x="194" y="1050"/>
                </a:lnTo>
                <a:lnTo>
                  <a:pt x="192" y="1032"/>
                </a:lnTo>
                <a:lnTo>
                  <a:pt x="192" y="1016"/>
                </a:lnTo>
                <a:lnTo>
                  <a:pt x="192" y="1016"/>
                </a:lnTo>
                <a:lnTo>
                  <a:pt x="192" y="1000"/>
                </a:lnTo>
                <a:lnTo>
                  <a:pt x="194" y="984"/>
                </a:lnTo>
                <a:lnTo>
                  <a:pt x="196" y="968"/>
                </a:lnTo>
                <a:lnTo>
                  <a:pt x="199" y="952"/>
                </a:lnTo>
                <a:lnTo>
                  <a:pt x="203" y="935"/>
                </a:lnTo>
                <a:lnTo>
                  <a:pt x="206" y="920"/>
                </a:lnTo>
                <a:lnTo>
                  <a:pt x="212" y="905"/>
                </a:lnTo>
                <a:lnTo>
                  <a:pt x="218" y="890"/>
                </a:lnTo>
                <a:lnTo>
                  <a:pt x="225" y="877"/>
                </a:lnTo>
                <a:lnTo>
                  <a:pt x="232" y="863"/>
                </a:lnTo>
                <a:lnTo>
                  <a:pt x="239" y="849"/>
                </a:lnTo>
                <a:lnTo>
                  <a:pt x="248" y="836"/>
                </a:lnTo>
                <a:lnTo>
                  <a:pt x="257" y="824"/>
                </a:lnTo>
                <a:lnTo>
                  <a:pt x="266" y="811"/>
                </a:lnTo>
                <a:lnTo>
                  <a:pt x="277" y="799"/>
                </a:lnTo>
                <a:lnTo>
                  <a:pt x="287" y="789"/>
                </a:lnTo>
                <a:lnTo>
                  <a:pt x="299" y="777"/>
                </a:lnTo>
                <a:lnTo>
                  <a:pt x="310" y="767"/>
                </a:lnTo>
                <a:lnTo>
                  <a:pt x="322" y="758"/>
                </a:lnTo>
                <a:lnTo>
                  <a:pt x="334" y="749"/>
                </a:lnTo>
                <a:lnTo>
                  <a:pt x="348" y="741"/>
                </a:lnTo>
                <a:lnTo>
                  <a:pt x="361" y="732"/>
                </a:lnTo>
                <a:lnTo>
                  <a:pt x="375" y="726"/>
                </a:lnTo>
                <a:lnTo>
                  <a:pt x="390" y="720"/>
                </a:lnTo>
                <a:lnTo>
                  <a:pt x="403" y="714"/>
                </a:lnTo>
                <a:lnTo>
                  <a:pt x="418" y="708"/>
                </a:lnTo>
                <a:lnTo>
                  <a:pt x="435" y="704"/>
                </a:lnTo>
                <a:lnTo>
                  <a:pt x="450" y="700"/>
                </a:lnTo>
                <a:lnTo>
                  <a:pt x="466" y="698"/>
                </a:lnTo>
                <a:lnTo>
                  <a:pt x="482" y="696"/>
                </a:lnTo>
                <a:lnTo>
                  <a:pt x="498" y="694"/>
                </a:lnTo>
                <a:lnTo>
                  <a:pt x="514" y="694"/>
                </a:lnTo>
                <a:lnTo>
                  <a:pt x="514" y="694"/>
                </a:lnTo>
                <a:lnTo>
                  <a:pt x="531" y="694"/>
                </a:lnTo>
                <a:lnTo>
                  <a:pt x="548" y="696"/>
                </a:lnTo>
                <a:lnTo>
                  <a:pt x="564" y="698"/>
                </a:lnTo>
                <a:lnTo>
                  <a:pt x="580" y="700"/>
                </a:lnTo>
                <a:lnTo>
                  <a:pt x="595" y="704"/>
                </a:lnTo>
                <a:lnTo>
                  <a:pt x="610" y="708"/>
                </a:lnTo>
                <a:lnTo>
                  <a:pt x="625" y="714"/>
                </a:lnTo>
                <a:lnTo>
                  <a:pt x="640" y="720"/>
                </a:lnTo>
                <a:lnTo>
                  <a:pt x="655" y="726"/>
                </a:lnTo>
                <a:lnTo>
                  <a:pt x="669" y="732"/>
                </a:lnTo>
                <a:lnTo>
                  <a:pt x="681" y="741"/>
                </a:lnTo>
                <a:lnTo>
                  <a:pt x="695" y="749"/>
                </a:lnTo>
                <a:lnTo>
                  <a:pt x="708" y="758"/>
                </a:lnTo>
                <a:lnTo>
                  <a:pt x="719" y="767"/>
                </a:lnTo>
                <a:lnTo>
                  <a:pt x="731" y="777"/>
                </a:lnTo>
                <a:lnTo>
                  <a:pt x="742" y="789"/>
                </a:lnTo>
                <a:lnTo>
                  <a:pt x="753" y="799"/>
                </a:lnTo>
                <a:lnTo>
                  <a:pt x="763" y="811"/>
                </a:lnTo>
                <a:lnTo>
                  <a:pt x="772" y="824"/>
                </a:lnTo>
                <a:lnTo>
                  <a:pt x="782" y="836"/>
                </a:lnTo>
                <a:lnTo>
                  <a:pt x="790" y="849"/>
                </a:lnTo>
                <a:lnTo>
                  <a:pt x="798" y="863"/>
                </a:lnTo>
                <a:lnTo>
                  <a:pt x="805" y="877"/>
                </a:lnTo>
                <a:lnTo>
                  <a:pt x="812" y="890"/>
                </a:lnTo>
                <a:lnTo>
                  <a:pt x="817" y="905"/>
                </a:lnTo>
                <a:lnTo>
                  <a:pt x="822" y="920"/>
                </a:lnTo>
                <a:lnTo>
                  <a:pt x="827" y="935"/>
                </a:lnTo>
                <a:lnTo>
                  <a:pt x="830" y="952"/>
                </a:lnTo>
                <a:lnTo>
                  <a:pt x="834" y="968"/>
                </a:lnTo>
                <a:lnTo>
                  <a:pt x="836" y="984"/>
                </a:lnTo>
                <a:lnTo>
                  <a:pt x="837" y="1000"/>
                </a:lnTo>
                <a:lnTo>
                  <a:pt x="837" y="1016"/>
                </a:lnTo>
                <a:lnTo>
                  <a:pt x="837" y="1016"/>
                </a:lnTo>
                <a:close/>
                <a:moveTo>
                  <a:pt x="602" y="933"/>
                </a:moveTo>
                <a:lnTo>
                  <a:pt x="602" y="933"/>
                </a:lnTo>
                <a:lnTo>
                  <a:pt x="601" y="924"/>
                </a:lnTo>
                <a:lnTo>
                  <a:pt x="599" y="916"/>
                </a:lnTo>
                <a:lnTo>
                  <a:pt x="597" y="908"/>
                </a:lnTo>
                <a:lnTo>
                  <a:pt x="595" y="900"/>
                </a:lnTo>
                <a:lnTo>
                  <a:pt x="590" y="892"/>
                </a:lnTo>
                <a:lnTo>
                  <a:pt x="587" y="885"/>
                </a:lnTo>
                <a:lnTo>
                  <a:pt x="581" y="878"/>
                </a:lnTo>
                <a:lnTo>
                  <a:pt x="575" y="871"/>
                </a:lnTo>
                <a:lnTo>
                  <a:pt x="569" y="865"/>
                </a:lnTo>
                <a:lnTo>
                  <a:pt x="563" y="860"/>
                </a:lnTo>
                <a:lnTo>
                  <a:pt x="556" y="856"/>
                </a:lnTo>
                <a:lnTo>
                  <a:pt x="548" y="852"/>
                </a:lnTo>
                <a:lnTo>
                  <a:pt x="540" y="850"/>
                </a:lnTo>
                <a:lnTo>
                  <a:pt x="531" y="848"/>
                </a:lnTo>
                <a:lnTo>
                  <a:pt x="522" y="845"/>
                </a:lnTo>
                <a:lnTo>
                  <a:pt x="513" y="845"/>
                </a:lnTo>
                <a:lnTo>
                  <a:pt x="513" y="845"/>
                </a:lnTo>
                <a:lnTo>
                  <a:pt x="505" y="845"/>
                </a:lnTo>
                <a:lnTo>
                  <a:pt x="496" y="848"/>
                </a:lnTo>
                <a:lnTo>
                  <a:pt x="488" y="850"/>
                </a:lnTo>
                <a:lnTo>
                  <a:pt x="480" y="852"/>
                </a:lnTo>
                <a:lnTo>
                  <a:pt x="471" y="856"/>
                </a:lnTo>
                <a:lnTo>
                  <a:pt x="465" y="860"/>
                </a:lnTo>
                <a:lnTo>
                  <a:pt x="458" y="865"/>
                </a:lnTo>
                <a:lnTo>
                  <a:pt x="451" y="871"/>
                </a:lnTo>
                <a:lnTo>
                  <a:pt x="446" y="878"/>
                </a:lnTo>
                <a:lnTo>
                  <a:pt x="440" y="885"/>
                </a:lnTo>
                <a:lnTo>
                  <a:pt x="436" y="892"/>
                </a:lnTo>
                <a:lnTo>
                  <a:pt x="432" y="900"/>
                </a:lnTo>
                <a:lnTo>
                  <a:pt x="430" y="908"/>
                </a:lnTo>
                <a:lnTo>
                  <a:pt x="428" y="916"/>
                </a:lnTo>
                <a:lnTo>
                  <a:pt x="427" y="924"/>
                </a:lnTo>
                <a:lnTo>
                  <a:pt x="425" y="933"/>
                </a:lnTo>
                <a:lnTo>
                  <a:pt x="425" y="933"/>
                </a:lnTo>
                <a:lnTo>
                  <a:pt x="425" y="941"/>
                </a:lnTo>
                <a:lnTo>
                  <a:pt x="428" y="948"/>
                </a:lnTo>
                <a:lnTo>
                  <a:pt x="431" y="962"/>
                </a:lnTo>
                <a:lnTo>
                  <a:pt x="437" y="973"/>
                </a:lnTo>
                <a:lnTo>
                  <a:pt x="444" y="984"/>
                </a:lnTo>
                <a:lnTo>
                  <a:pt x="451" y="992"/>
                </a:lnTo>
                <a:lnTo>
                  <a:pt x="457" y="998"/>
                </a:lnTo>
                <a:lnTo>
                  <a:pt x="462" y="1002"/>
                </a:lnTo>
                <a:lnTo>
                  <a:pt x="462" y="1002"/>
                </a:lnTo>
                <a:lnTo>
                  <a:pt x="466" y="1006"/>
                </a:lnTo>
                <a:lnTo>
                  <a:pt x="468" y="1010"/>
                </a:lnTo>
                <a:lnTo>
                  <a:pt x="469" y="1015"/>
                </a:lnTo>
                <a:lnTo>
                  <a:pt x="469" y="1020"/>
                </a:lnTo>
                <a:lnTo>
                  <a:pt x="469" y="1216"/>
                </a:lnTo>
                <a:lnTo>
                  <a:pt x="469" y="1216"/>
                </a:lnTo>
                <a:lnTo>
                  <a:pt x="470" y="1219"/>
                </a:lnTo>
                <a:lnTo>
                  <a:pt x="473" y="1222"/>
                </a:lnTo>
                <a:lnTo>
                  <a:pt x="476" y="1225"/>
                </a:lnTo>
                <a:lnTo>
                  <a:pt x="480" y="1226"/>
                </a:lnTo>
                <a:lnTo>
                  <a:pt x="546" y="1226"/>
                </a:lnTo>
                <a:lnTo>
                  <a:pt x="546" y="1226"/>
                </a:lnTo>
                <a:lnTo>
                  <a:pt x="551" y="1225"/>
                </a:lnTo>
                <a:lnTo>
                  <a:pt x="555" y="1222"/>
                </a:lnTo>
                <a:lnTo>
                  <a:pt x="556" y="1219"/>
                </a:lnTo>
                <a:lnTo>
                  <a:pt x="557" y="1216"/>
                </a:lnTo>
                <a:lnTo>
                  <a:pt x="557" y="1020"/>
                </a:lnTo>
                <a:lnTo>
                  <a:pt x="557" y="1020"/>
                </a:lnTo>
                <a:lnTo>
                  <a:pt x="558" y="1015"/>
                </a:lnTo>
                <a:lnTo>
                  <a:pt x="559" y="1010"/>
                </a:lnTo>
                <a:lnTo>
                  <a:pt x="561" y="1006"/>
                </a:lnTo>
                <a:lnTo>
                  <a:pt x="565" y="1002"/>
                </a:lnTo>
                <a:lnTo>
                  <a:pt x="565" y="1002"/>
                </a:lnTo>
                <a:lnTo>
                  <a:pt x="571" y="998"/>
                </a:lnTo>
                <a:lnTo>
                  <a:pt x="576" y="991"/>
                </a:lnTo>
                <a:lnTo>
                  <a:pt x="583" y="983"/>
                </a:lnTo>
                <a:lnTo>
                  <a:pt x="589" y="972"/>
                </a:lnTo>
                <a:lnTo>
                  <a:pt x="596" y="961"/>
                </a:lnTo>
                <a:lnTo>
                  <a:pt x="599" y="948"/>
                </a:lnTo>
                <a:lnTo>
                  <a:pt x="601" y="941"/>
                </a:lnTo>
                <a:lnTo>
                  <a:pt x="602" y="933"/>
                </a:lnTo>
                <a:lnTo>
                  <a:pt x="602" y="933"/>
                </a:lnTo>
                <a:close/>
              </a:path>
            </a:pathLst>
          </a:custGeom>
          <a:solidFill>
            <a:srgbClr val="A7A49B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6948488" y="2728623"/>
            <a:ext cx="1908641" cy="21481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ru-RU" sz="1600" i="1" dirty="0" err="1" smtClean="0">
                <a:solidFill>
                  <a:schemeClr val="bg1"/>
                </a:solidFill>
                <a:latin typeface="+mj-lt"/>
              </a:rPr>
              <a:t>ГеоАналитика</a:t>
            </a:r>
            <a:r>
              <a:rPr lang="ru-RU" sz="1600" i="1" dirty="0" smtClean="0">
                <a:solidFill>
                  <a:schemeClr val="bg1"/>
                </a:solidFill>
                <a:latin typeface="+mj-lt"/>
              </a:rPr>
              <a:t> позволяет выявить основные криминальные зоны, на которых следует сосредоточить внимание</a:t>
            </a:r>
            <a:endParaRPr lang="ru-RU" sz="1600" i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40142" y="2728623"/>
            <a:ext cx="1886233" cy="177527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3" name="Group 32"/>
          <p:cNvGrpSpPr/>
          <p:nvPr/>
        </p:nvGrpSpPr>
        <p:grpSpPr>
          <a:xfrm>
            <a:off x="1569869" y="2547945"/>
            <a:ext cx="828000" cy="828000"/>
            <a:chOff x="1484191" y="5728166"/>
            <a:chExt cx="828000" cy="828000"/>
          </a:xfrm>
        </p:grpSpPr>
        <p:sp>
          <p:nvSpPr>
            <p:cNvPr id="72" name="Oval 71"/>
            <p:cNvSpPr/>
            <p:nvPr/>
          </p:nvSpPr>
          <p:spPr bwMode="ltGray">
            <a:xfrm>
              <a:off x="1484191" y="5728166"/>
              <a:ext cx="828000" cy="82800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6" name="Freeform 5004"/>
            <p:cNvSpPr>
              <a:spLocks noEditPoints="1"/>
            </p:cNvSpPr>
            <p:nvPr/>
          </p:nvSpPr>
          <p:spPr bwMode="auto">
            <a:xfrm>
              <a:off x="1714393" y="5830366"/>
              <a:ext cx="367597" cy="623600"/>
            </a:xfrm>
            <a:custGeom>
              <a:avLst/>
              <a:gdLst>
                <a:gd name="T0" fmla="*/ 146 w 224"/>
                <a:gd name="T1" fmla="*/ 78 h 380"/>
                <a:gd name="T2" fmla="*/ 176 w 224"/>
                <a:gd name="T3" fmla="*/ 76 h 380"/>
                <a:gd name="T4" fmla="*/ 180 w 224"/>
                <a:gd name="T5" fmla="*/ 104 h 380"/>
                <a:gd name="T6" fmla="*/ 152 w 224"/>
                <a:gd name="T7" fmla="*/ 112 h 380"/>
                <a:gd name="T8" fmla="*/ 144 w 224"/>
                <a:gd name="T9" fmla="*/ 104 h 380"/>
                <a:gd name="T10" fmla="*/ 176 w 224"/>
                <a:gd name="T11" fmla="*/ 162 h 380"/>
                <a:gd name="T12" fmla="*/ 180 w 224"/>
                <a:gd name="T13" fmla="*/ 134 h 380"/>
                <a:gd name="T14" fmla="*/ 152 w 224"/>
                <a:gd name="T15" fmla="*/ 126 h 380"/>
                <a:gd name="T16" fmla="*/ 144 w 224"/>
                <a:gd name="T17" fmla="*/ 134 h 380"/>
                <a:gd name="T18" fmla="*/ 148 w 224"/>
                <a:gd name="T19" fmla="*/ 162 h 380"/>
                <a:gd name="T20" fmla="*/ 224 w 224"/>
                <a:gd name="T21" fmla="*/ 352 h 380"/>
                <a:gd name="T22" fmla="*/ 28 w 224"/>
                <a:gd name="T23" fmla="*/ 380 h 380"/>
                <a:gd name="T24" fmla="*/ 0 w 224"/>
                <a:gd name="T25" fmla="*/ 352 h 380"/>
                <a:gd name="T26" fmla="*/ 16 w 224"/>
                <a:gd name="T27" fmla="*/ 2 h 380"/>
                <a:gd name="T28" fmla="*/ 216 w 224"/>
                <a:gd name="T29" fmla="*/ 8 h 380"/>
                <a:gd name="T30" fmla="*/ 86 w 224"/>
                <a:gd name="T31" fmla="*/ 34 h 380"/>
                <a:gd name="T32" fmla="*/ 130 w 224"/>
                <a:gd name="T33" fmla="*/ 42 h 380"/>
                <a:gd name="T34" fmla="*/ 138 w 224"/>
                <a:gd name="T35" fmla="*/ 34 h 380"/>
                <a:gd name="T36" fmla="*/ 130 w 224"/>
                <a:gd name="T37" fmla="*/ 26 h 380"/>
                <a:gd name="T38" fmla="*/ 86 w 224"/>
                <a:gd name="T39" fmla="*/ 32 h 380"/>
                <a:gd name="T40" fmla="*/ 130 w 224"/>
                <a:gd name="T41" fmla="*/ 336 h 380"/>
                <a:gd name="T42" fmla="*/ 104 w 224"/>
                <a:gd name="T43" fmla="*/ 326 h 380"/>
                <a:gd name="T44" fmla="*/ 94 w 224"/>
                <a:gd name="T45" fmla="*/ 350 h 380"/>
                <a:gd name="T46" fmla="*/ 120 w 224"/>
                <a:gd name="T47" fmla="*/ 360 h 380"/>
                <a:gd name="T48" fmla="*/ 196 w 224"/>
                <a:gd name="T49" fmla="*/ 60 h 380"/>
                <a:gd name="T50" fmla="*/ 102 w 224"/>
                <a:gd name="T51" fmla="*/ 112 h 380"/>
                <a:gd name="T52" fmla="*/ 130 w 224"/>
                <a:gd name="T53" fmla="*/ 108 h 380"/>
                <a:gd name="T54" fmla="*/ 128 w 224"/>
                <a:gd name="T55" fmla="*/ 78 h 380"/>
                <a:gd name="T56" fmla="*/ 98 w 224"/>
                <a:gd name="T57" fmla="*/ 76 h 380"/>
                <a:gd name="T58" fmla="*/ 94 w 224"/>
                <a:gd name="T59" fmla="*/ 104 h 380"/>
                <a:gd name="T60" fmla="*/ 102 w 224"/>
                <a:gd name="T61" fmla="*/ 112 h 380"/>
                <a:gd name="T62" fmla="*/ 136 w 224"/>
                <a:gd name="T63" fmla="*/ 226 h 380"/>
                <a:gd name="T64" fmla="*/ 136 w 224"/>
                <a:gd name="T65" fmla="*/ 216 h 380"/>
                <a:gd name="T66" fmla="*/ 48 w 224"/>
                <a:gd name="T67" fmla="*/ 214 h 380"/>
                <a:gd name="T68" fmla="*/ 44 w 224"/>
                <a:gd name="T69" fmla="*/ 224 h 380"/>
                <a:gd name="T70" fmla="*/ 52 w 224"/>
                <a:gd name="T71" fmla="*/ 258 h 380"/>
                <a:gd name="T72" fmla="*/ 180 w 224"/>
                <a:gd name="T73" fmla="*/ 254 h 380"/>
                <a:gd name="T74" fmla="*/ 176 w 224"/>
                <a:gd name="T75" fmla="*/ 244 h 380"/>
                <a:gd name="T76" fmla="*/ 46 w 224"/>
                <a:gd name="T77" fmla="*/ 246 h 380"/>
                <a:gd name="T78" fmla="*/ 46 w 224"/>
                <a:gd name="T79" fmla="*/ 256 h 380"/>
                <a:gd name="T80" fmla="*/ 152 w 224"/>
                <a:gd name="T81" fmla="*/ 288 h 380"/>
                <a:gd name="T82" fmla="*/ 160 w 224"/>
                <a:gd name="T83" fmla="*/ 280 h 380"/>
                <a:gd name="T84" fmla="*/ 152 w 224"/>
                <a:gd name="T85" fmla="*/ 272 h 380"/>
                <a:gd name="T86" fmla="*/ 44 w 224"/>
                <a:gd name="T87" fmla="*/ 276 h 380"/>
                <a:gd name="T88" fmla="*/ 48 w 224"/>
                <a:gd name="T89" fmla="*/ 286 h 380"/>
                <a:gd name="T90" fmla="*/ 72 w 224"/>
                <a:gd name="T91" fmla="*/ 164 h 380"/>
                <a:gd name="T92" fmla="*/ 80 w 224"/>
                <a:gd name="T93" fmla="*/ 134 h 380"/>
                <a:gd name="T94" fmla="*/ 72 w 224"/>
                <a:gd name="T95" fmla="*/ 126 h 380"/>
                <a:gd name="T96" fmla="*/ 44 w 224"/>
                <a:gd name="T97" fmla="*/ 130 h 380"/>
                <a:gd name="T98" fmla="*/ 46 w 224"/>
                <a:gd name="T99" fmla="*/ 162 h 380"/>
                <a:gd name="T100" fmla="*/ 122 w 224"/>
                <a:gd name="T101" fmla="*/ 164 h 380"/>
                <a:gd name="T102" fmla="*/ 130 w 224"/>
                <a:gd name="T103" fmla="*/ 156 h 380"/>
                <a:gd name="T104" fmla="*/ 126 w 224"/>
                <a:gd name="T105" fmla="*/ 126 h 380"/>
                <a:gd name="T106" fmla="*/ 96 w 224"/>
                <a:gd name="T107" fmla="*/ 128 h 380"/>
                <a:gd name="T108" fmla="*/ 94 w 224"/>
                <a:gd name="T109" fmla="*/ 158 h 380"/>
                <a:gd name="T110" fmla="*/ 52 w 224"/>
                <a:gd name="T111" fmla="*/ 112 h 380"/>
                <a:gd name="T112" fmla="*/ 80 w 224"/>
                <a:gd name="T113" fmla="*/ 108 h 380"/>
                <a:gd name="T114" fmla="*/ 78 w 224"/>
                <a:gd name="T115" fmla="*/ 78 h 380"/>
                <a:gd name="T116" fmla="*/ 48 w 224"/>
                <a:gd name="T117" fmla="*/ 76 h 380"/>
                <a:gd name="T118" fmla="*/ 44 w 224"/>
                <a:gd name="T119" fmla="*/ 104 h 380"/>
                <a:gd name="T120" fmla="*/ 52 w 224"/>
                <a:gd name="T121" fmla="*/ 11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4" h="380">
                  <a:moveTo>
                    <a:pt x="144" y="104"/>
                  </a:moveTo>
                  <a:lnTo>
                    <a:pt x="144" y="82"/>
                  </a:lnTo>
                  <a:lnTo>
                    <a:pt x="144" y="82"/>
                  </a:lnTo>
                  <a:lnTo>
                    <a:pt x="144" y="80"/>
                  </a:lnTo>
                  <a:lnTo>
                    <a:pt x="146" y="78"/>
                  </a:lnTo>
                  <a:lnTo>
                    <a:pt x="148" y="76"/>
                  </a:lnTo>
                  <a:lnTo>
                    <a:pt x="152" y="74"/>
                  </a:lnTo>
                  <a:lnTo>
                    <a:pt x="172" y="74"/>
                  </a:lnTo>
                  <a:lnTo>
                    <a:pt x="172" y="74"/>
                  </a:lnTo>
                  <a:lnTo>
                    <a:pt x="176" y="76"/>
                  </a:lnTo>
                  <a:lnTo>
                    <a:pt x="178" y="78"/>
                  </a:lnTo>
                  <a:lnTo>
                    <a:pt x="180" y="80"/>
                  </a:lnTo>
                  <a:lnTo>
                    <a:pt x="180" y="82"/>
                  </a:lnTo>
                  <a:lnTo>
                    <a:pt x="180" y="104"/>
                  </a:lnTo>
                  <a:lnTo>
                    <a:pt x="180" y="104"/>
                  </a:lnTo>
                  <a:lnTo>
                    <a:pt x="180" y="108"/>
                  </a:lnTo>
                  <a:lnTo>
                    <a:pt x="178" y="110"/>
                  </a:lnTo>
                  <a:lnTo>
                    <a:pt x="176" y="112"/>
                  </a:lnTo>
                  <a:lnTo>
                    <a:pt x="172" y="112"/>
                  </a:lnTo>
                  <a:lnTo>
                    <a:pt x="152" y="112"/>
                  </a:lnTo>
                  <a:lnTo>
                    <a:pt x="152" y="112"/>
                  </a:lnTo>
                  <a:lnTo>
                    <a:pt x="148" y="112"/>
                  </a:lnTo>
                  <a:lnTo>
                    <a:pt x="146" y="110"/>
                  </a:lnTo>
                  <a:lnTo>
                    <a:pt x="144" y="108"/>
                  </a:lnTo>
                  <a:lnTo>
                    <a:pt x="144" y="104"/>
                  </a:lnTo>
                  <a:lnTo>
                    <a:pt x="144" y="104"/>
                  </a:lnTo>
                  <a:close/>
                  <a:moveTo>
                    <a:pt x="152" y="164"/>
                  </a:moveTo>
                  <a:lnTo>
                    <a:pt x="172" y="164"/>
                  </a:lnTo>
                  <a:lnTo>
                    <a:pt x="172" y="164"/>
                  </a:lnTo>
                  <a:lnTo>
                    <a:pt x="176" y="162"/>
                  </a:lnTo>
                  <a:lnTo>
                    <a:pt x="178" y="162"/>
                  </a:lnTo>
                  <a:lnTo>
                    <a:pt x="180" y="158"/>
                  </a:lnTo>
                  <a:lnTo>
                    <a:pt x="180" y="156"/>
                  </a:lnTo>
                  <a:lnTo>
                    <a:pt x="180" y="134"/>
                  </a:lnTo>
                  <a:lnTo>
                    <a:pt x="180" y="134"/>
                  </a:lnTo>
                  <a:lnTo>
                    <a:pt x="180" y="130"/>
                  </a:lnTo>
                  <a:lnTo>
                    <a:pt x="178" y="128"/>
                  </a:lnTo>
                  <a:lnTo>
                    <a:pt x="176" y="126"/>
                  </a:lnTo>
                  <a:lnTo>
                    <a:pt x="172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48" y="126"/>
                  </a:lnTo>
                  <a:lnTo>
                    <a:pt x="146" y="128"/>
                  </a:lnTo>
                  <a:lnTo>
                    <a:pt x="144" y="130"/>
                  </a:lnTo>
                  <a:lnTo>
                    <a:pt x="144" y="134"/>
                  </a:lnTo>
                  <a:lnTo>
                    <a:pt x="144" y="156"/>
                  </a:lnTo>
                  <a:lnTo>
                    <a:pt x="144" y="156"/>
                  </a:lnTo>
                  <a:lnTo>
                    <a:pt x="144" y="158"/>
                  </a:lnTo>
                  <a:lnTo>
                    <a:pt x="146" y="162"/>
                  </a:lnTo>
                  <a:lnTo>
                    <a:pt x="148" y="162"/>
                  </a:lnTo>
                  <a:lnTo>
                    <a:pt x="152" y="164"/>
                  </a:lnTo>
                  <a:lnTo>
                    <a:pt x="152" y="164"/>
                  </a:lnTo>
                  <a:close/>
                  <a:moveTo>
                    <a:pt x="224" y="28"/>
                  </a:moveTo>
                  <a:lnTo>
                    <a:pt x="224" y="352"/>
                  </a:lnTo>
                  <a:lnTo>
                    <a:pt x="224" y="352"/>
                  </a:lnTo>
                  <a:lnTo>
                    <a:pt x="222" y="364"/>
                  </a:lnTo>
                  <a:lnTo>
                    <a:pt x="216" y="372"/>
                  </a:lnTo>
                  <a:lnTo>
                    <a:pt x="208" y="378"/>
                  </a:lnTo>
                  <a:lnTo>
                    <a:pt x="196" y="380"/>
                  </a:lnTo>
                  <a:lnTo>
                    <a:pt x="28" y="380"/>
                  </a:lnTo>
                  <a:lnTo>
                    <a:pt x="28" y="380"/>
                  </a:lnTo>
                  <a:lnTo>
                    <a:pt x="16" y="378"/>
                  </a:lnTo>
                  <a:lnTo>
                    <a:pt x="8" y="372"/>
                  </a:lnTo>
                  <a:lnTo>
                    <a:pt x="2" y="364"/>
                  </a:lnTo>
                  <a:lnTo>
                    <a:pt x="0" y="35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6" y="2"/>
                  </a:lnTo>
                  <a:lnTo>
                    <a:pt x="28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208" y="2"/>
                  </a:lnTo>
                  <a:lnTo>
                    <a:pt x="216" y="8"/>
                  </a:lnTo>
                  <a:lnTo>
                    <a:pt x="222" y="16"/>
                  </a:lnTo>
                  <a:lnTo>
                    <a:pt x="224" y="28"/>
                  </a:lnTo>
                  <a:lnTo>
                    <a:pt x="224" y="28"/>
                  </a:lnTo>
                  <a:close/>
                  <a:moveTo>
                    <a:pt x="86" y="34"/>
                  </a:moveTo>
                  <a:lnTo>
                    <a:pt x="86" y="34"/>
                  </a:lnTo>
                  <a:lnTo>
                    <a:pt x="86" y="38"/>
                  </a:lnTo>
                  <a:lnTo>
                    <a:pt x="88" y="40"/>
                  </a:lnTo>
                  <a:lnTo>
                    <a:pt x="90" y="42"/>
                  </a:lnTo>
                  <a:lnTo>
                    <a:pt x="94" y="42"/>
                  </a:lnTo>
                  <a:lnTo>
                    <a:pt x="130" y="42"/>
                  </a:lnTo>
                  <a:lnTo>
                    <a:pt x="130" y="42"/>
                  </a:lnTo>
                  <a:lnTo>
                    <a:pt x="134" y="42"/>
                  </a:lnTo>
                  <a:lnTo>
                    <a:pt x="136" y="40"/>
                  </a:lnTo>
                  <a:lnTo>
                    <a:pt x="138" y="38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38" y="32"/>
                  </a:lnTo>
                  <a:lnTo>
                    <a:pt x="136" y="28"/>
                  </a:lnTo>
                  <a:lnTo>
                    <a:pt x="134" y="28"/>
                  </a:lnTo>
                  <a:lnTo>
                    <a:pt x="130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0" y="28"/>
                  </a:lnTo>
                  <a:lnTo>
                    <a:pt x="88" y="28"/>
                  </a:lnTo>
                  <a:lnTo>
                    <a:pt x="86" y="32"/>
                  </a:lnTo>
                  <a:lnTo>
                    <a:pt x="86" y="34"/>
                  </a:lnTo>
                  <a:lnTo>
                    <a:pt x="86" y="34"/>
                  </a:lnTo>
                  <a:close/>
                  <a:moveTo>
                    <a:pt x="130" y="344"/>
                  </a:moveTo>
                  <a:lnTo>
                    <a:pt x="130" y="344"/>
                  </a:lnTo>
                  <a:lnTo>
                    <a:pt x="130" y="336"/>
                  </a:lnTo>
                  <a:lnTo>
                    <a:pt x="126" y="330"/>
                  </a:lnTo>
                  <a:lnTo>
                    <a:pt x="120" y="326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04" y="326"/>
                  </a:lnTo>
                  <a:lnTo>
                    <a:pt x="98" y="330"/>
                  </a:lnTo>
                  <a:lnTo>
                    <a:pt x="94" y="336"/>
                  </a:lnTo>
                  <a:lnTo>
                    <a:pt x="94" y="344"/>
                  </a:lnTo>
                  <a:lnTo>
                    <a:pt x="94" y="344"/>
                  </a:lnTo>
                  <a:lnTo>
                    <a:pt x="94" y="350"/>
                  </a:lnTo>
                  <a:lnTo>
                    <a:pt x="98" y="356"/>
                  </a:lnTo>
                  <a:lnTo>
                    <a:pt x="104" y="360"/>
                  </a:lnTo>
                  <a:lnTo>
                    <a:pt x="112" y="362"/>
                  </a:lnTo>
                  <a:lnTo>
                    <a:pt x="112" y="362"/>
                  </a:lnTo>
                  <a:lnTo>
                    <a:pt x="120" y="360"/>
                  </a:lnTo>
                  <a:lnTo>
                    <a:pt x="126" y="356"/>
                  </a:lnTo>
                  <a:lnTo>
                    <a:pt x="130" y="350"/>
                  </a:lnTo>
                  <a:lnTo>
                    <a:pt x="130" y="344"/>
                  </a:lnTo>
                  <a:lnTo>
                    <a:pt x="130" y="344"/>
                  </a:lnTo>
                  <a:close/>
                  <a:moveTo>
                    <a:pt x="196" y="60"/>
                  </a:moveTo>
                  <a:lnTo>
                    <a:pt x="28" y="60"/>
                  </a:lnTo>
                  <a:lnTo>
                    <a:pt x="28" y="308"/>
                  </a:lnTo>
                  <a:lnTo>
                    <a:pt x="196" y="308"/>
                  </a:lnTo>
                  <a:lnTo>
                    <a:pt x="196" y="60"/>
                  </a:lnTo>
                  <a:close/>
                  <a:moveTo>
                    <a:pt x="102" y="112"/>
                  </a:moveTo>
                  <a:lnTo>
                    <a:pt x="122" y="112"/>
                  </a:lnTo>
                  <a:lnTo>
                    <a:pt x="122" y="112"/>
                  </a:lnTo>
                  <a:lnTo>
                    <a:pt x="126" y="112"/>
                  </a:lnTo>
                  <a:lnTo>
                    <a:pt x="128" y="110"/>
                  </a:lnTo>
                  <a:lnTo>
                    <a:pt x="130" y="108"/>
                  </a:lnTo>
                  <a:lnTo>
                    <a:pt x="130" y="104"/>
                  </a:lnTo>
                  <a:lnTo>
                    <a:pt x="130" y="82"/>
                  </a:lnTo>
                  <a:lnTo>
                    <a:pt x="130" y="82"/>
                  </a:lnTo>
                  <a:lnTo>
                    <a:pt x="130" y="80"/>
                  </a:lnTo>
                  <a:lnTo>
                    <a:pt x="128" y="78"/>
                  </a:lnTo>
                  <a:lnTo>
                    <a:pt x="126" y="76"/>
                  </a:lnTo>
                  <a:lnTo>
                    <a:pt x="122" y="74"/>
                  </a:lnTo>
                  <a:lnTo>
                    <a:pt x="102" y="74"/>
                  </a:lnTo>
                  <a:lnTo>
                    <a:pt x="102" y="74"/>
                  </a:lnTo>
                  <a:lnTo>
                    <a:pt x="98" y="76"/>
                  </a:lnTo>
                  <a:lnTo>
                    <a:pt x="96" y="78"/>
                  </a:lnTo>
                  <a:lnTo>
                    <a:pt x="94" y="80"/>
                  </a:lnTo>
                  <a:lnTo>
                    <a:pt x="94" y="82"/>
                  </a:lnTo>
                  <a:lnTo>
                    <a:pt x="94" y="104"/>
                  </a:lnTo>
                  <a:lnTo>
                    <a:pt x="94" y="104"/>
                  </a:lnTo>
                  <a:lnTo>
                    <a:pt x="94" y="108"/>
                  </a:lnTo>
                  <a:lnTo>
                    <a:pt x="96" y="110"/>
                  </a:lnTo>
                  <a:lnTo>
                    <a:pt x="98" y="112"/>
                  </a:lnTo>
                  <a:lnTo>
                    <a:pt x="102" y="112"/>
                  </a:lnTo>
                  <a:lnTo>
                    <a:pt x="102" y="112"/>
                  </a:lnTo>
                  <a:close/>
                  <a:moveTo>
                    <a:pt x="52" y="228"/>
                  </a:moveTo>
                  <a:lnTo>
                    <a:pt x="130" y="228"/>
                  </a:lnTo>
                  <a:lnTo>
                    <a:pt x="130" y="228"/>
                  </a:lnTo>
                  <a:lnTo>
                    <a:pt x="134" y="228"/>
                  </a:lnTo>
                  <a:lnTo>
                    <a:pt x="136" y="226"/>
                  </a:lnTo>
                  <a:lnTo>
                    <a:pt x="138" y="224"/>
                  </a:lnTo>
                  <a:lnTo>
                    <a:pt x="138" y="220"/>
                  </a:lnTo>
                  <a:lnTo>
                    <a:pt x="138" y="220"/>
                  </a:lnTo>
                  <a:lnTo>
                    <a:pt x="138" y="218"/>
                  </a:lnTo>
                  <a:lnTo>
                    <a:pt x="136" y="216"/>
                  </a:lnTo>
                  <a:lnTo>
                    <a:pt x="134" y="214"/>
                  </a:lnTo>
                  <a:lnTo>
                    <a:pt x="130" y="212"/>
                  </a:lnTo>
                  <a:lnTo>
                    <a:pt x="52" y="212"/>
                  </a:lnTo>
                  <a:lnTo>
                    <a:pt x="52" y="212"/>
                  </a:lnTo>
                  <a:lnTo>
                    <a:pt x="48" y="214"/>
                  </a:lnTo>
                  <a:lnTo>
                    <a:pt x="46" y="216"/>
                  </a:lnTo>
                  <a:lnTo>
                    <a:pt x="44" y="218"/>
                  </a:lnTo>
                  <a:lnTo>
                    <a:pt x="44" y="220"/>
                  </a:lnTo>
                  <a:lnTo>
                    <a:pt x="44" y="220"/>
                  </a:lnTo>
                  <a:lnTo>
                    <a:pt x="44" y="224"/>
                  </a:lnTo>
                  <a:lnTo>
                    <a:pt x="46" y="226"/>
                  </a:lnTo>
                  <a:lnTo>
                    <a:pt x="48" y="228"/>
                  </a:lnTo>
                  <a:lnTo>
                    <a:pt x="52" y="228"/>
                  </a:lnTo>
                  <a:lnTo>
                    <a:pt x="52" y="228"/>
                  </a:lnTo>
                  <a:close/>
                  <a:moveTo>
                    <a:pt x="52" y="258"/>
                  </a:moveTo>
                  <a:lnTo>
                    <a:pt x="172" y="258"/>
                  </a:lnTo>
                  <a:lnTo>
                    <a:pt x="172" y="258"/>
                  </a:lnTo>
                  <a:lnTo>
                    <a:pt x="176" y="258"/>
                  </a:lnTo>
                  <a:lnTo>
                    <a:pt x="178" y="256"/>
                  </a:lnTo>
                  <a:lnTo>
                    <a:pt x="180" y="254"/>
                  </a:lnTo>
                  <a:lnTo>
                    <a:pt x="180" y="250"/>
                  </a:lnTo>
                  <a:lnTo>
                    <a:pt x="180" y="250"/>
                  </a:lnTo>
                  <a:lnTo>
                    <a:pt x="180" y="248"/>
                  </a:lnTo>
                  <a:lnTo>
                    <a:pt x="178" y="246"/>
                  </a:lnTo>
                  <a:lnTo>
                    <a:pt x="176" y="244"/>
                  </a:lnTo>
                  <a:lnTo>
                    <a:pt x="172" y="242"/>
                  </a:lnTo>
                  <a:lnTo>
                    <a:pt x="52" y="242"/>
                  </a:lnTo>
                  <a:lnTo>
                    <a:pt x="52" y="242"/>
                  </a:lnTo>
                  <a:lnTo>
                    <a:pt x="48" y="244"/>
                  </a:lnTo>
                  <a:lnTo>
                    <a:pt x="46" y="246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4" y="254"/>
                  </a:lnTo>
                  <a:lnTo>
                    <a:pt x="46" y="256"/>
                  </a:lnTo>
                  <a:lnTo>
                    <a:pt x="48" y="258"/>
                  </a:lnTo>
                  <a:lnTo>
                    <a:pt x="52" y="258"/>
                  </a:lnTo>
                  <a:lnTo>
                    <a:pt x="52" y="258"/>
                  </a:lnTo>
                  <a:close/>
                  <a:moveTo>
                    <a:pt x="52" y="288"/>
                  </a:moveTo>
                  <a:lnTo>
                    <a:pt x="152" y="288"/>
                  </a:lnTo>
                  <a:lnTo>
                    <a:pt x="152" y="288"/>
                  </a:lnTo>
                  <a:lnTo>
                    <a:pt x="154" y="286"/>
                  </a:lnTo>
                  <a:lnTo>
                    <a:pt x="156" y="286"/>
                  </a:lnTo>
                  <a:lnTo>
                    <a:pt x="158" y="282"/>
                  </a:lnTo>
                  <a:lnTo>
                    <a:pt x="160" y="280"/>
                  </a:lnTo>
                  <a:lnTo>
                    <a:pt x="160" y="280"/>
                  </a:lnTo>
                  <a:lnTo>
                    <a:pt x="158" y="276"/>
                  </a:lnTo>
                  <a:lnTo>
                    <a:pt x="156" y="274"/>
                  </a:lnTo>
                  <a:lnTo>
                    <a:pt x="154" y="272"/>
                  </a:lnTo>
                  <a:lnTo>
                    <a:pt x="152" y="272"/>
                  </a:lnTo>
                  <a:lnTo>
                    <a:pt x="52" y="272"/>
                  </a:lnTo>
                  <a:lnTo>
                    <a:pt x="52" y="272"/>
                  </a:lnTo>
                  <a:lnTo>
                    <a:pt x="48" y="272"/>
                  </a:lnTo>
                  <a:lnTo>
                    <a:pt x="46" y="274"/>
                  </a:lnTo>
                  <a:lnTo>
                    <a:pt x="44" y="276"/>
                  </a:lnTo>
                  <a:lnTo>
                    <a:pt x="44" y="280"/>
                  </a:lnTo>
                  <a:lnTo>
                    <a:pt x="44" y="280"/>
                  </a:lnTo>
                  <a:lnTo>
                    <a:pt x="44" y="282"/>
                  </a:lnTo>
                  <a:lnTo>
                    <a:pt x="46" y="286"/>
                  </a:lnTo>
                  <a:lnTo>
                    <a:pt x="48" y="286"/>
                  </a:lnTo>
                  <a:lnTo>
                    <a:pt x="52" y="288"/>
                  </a:lnTo>
                  <a:lnTo>
                    <a:pt x="52" y="288"/>
                  </a:lnTo>
                  <a:close/>
                  <a:moveTo>
                    <a:pt x="52" y="164"/>
                  </a:moveTo>
                  <a:lnTo>
                    <a:pt x="72" y="164"/>
                  </a:lnTo>
                  <a:lnTo>
                    <a:pt x="72" y="164"/>
                  </a:lnTo>
                  <a:lnTo>
                    <a:pt x="76" y="162"/>
                  </a:lnTo>
                  <a:lnTo>
                    <a:pt x="78" y="162"/>
                  </a:lnTo>
                  <a:lnTo>
                    <a:pt x="80" y="158"/>
                  </a:lnTo>
                  <a:lnTo>
                    <a:pt x="80" y="156"/>
                  </a:lnTo>
                  <a:lnTo>
                    <a:pt x="80" y="134"/>
                  </a:lnTo>
                  <a:lnTo>
                    <a:pt x="80" y="134"/>
                  </a:lnTo>
                  <a:lnTo>
                    <a:pt x="80" y="130"/>
                  </a:lnTo>
                  <a:lnTo>
                    <a:pt x="78" y="128"/>
                  </a:lnTo>
                  <a:lnTo>
                    <a:pt x="76" y="126"/>
                  </a:lnTo>
                  <a:lnTo>
                    <a:pt x="72" y="126"/>
                  </a:lnTo>
                  <a:lnTo>
                    <a:pt x="52" y="126"/>
                  </a:lnTo>
                  <a:lnTo>
                    <a:pt x="52" y="126"/>
                  </a:lnTo>
                  <a:lnTo>
                    <a:pt x="48" y="126"/>
                  </a:lnTo>
                  <a:lnTo>
                    <a:pt x="46" y="128"/>
                  </a:lnTo>
                  <a:lnTo>
                    <a:pt x="44" y="130"/>
                  </a:lnTo>
                  <a:lnTo>
                    <a:pt x="44" y="134"/>
                  </a:lnTo>
                  <a:lnTo>
                    <a:pt x="44" y="156"/>
                  </a:lnTo>
                  <a:lnTo>
                    <a:pt x="44" y="156"/>
                  </a:lnTo>
                  <a:lnTo>
                    <a:pt x="44" y="158"/>
                  </a:lnTo>
                  <a:lnTo>
                    <a:pt x="46" y="162"/>
                  </a:lnTo>
                  <a:lnTo>
                    <a:pt x="48" y="162"/>
                  </a:lnTo>
                  <a:lnTo>
                    <a:pt x="52" y="164"/>
                  </a:lnTo>
                  <a:lnTo>
                    <a:pt x="52" y="164"/>
                  </a:lnTo>
                  <a:close/>
                  <a:moveTo>
                    <a:pt x="102" y="164"/>
                  </a:moveTo>
                  <a:lnTo>
                    <a:pt x="122" y="164"/>
                  </a:lnTo>
                  <a:lnTo>
                    <a:pt x="122" y="164"/>
                  </a:lnTo>
                  <a:lnTo>
                    <a:pt x="126" y="162"/>
                  </a:lnTo>
                  <a:lnTo>
                    <a:pt x="128" y="162"/>
                  </a:lnTo>
                  <a:lnTo>
                    <a:pt x="130" y="158"/>
                  </a:lnTo>
                  <a:lnTo>
                    <a:pt x="130" y="156"/>
                  </a:lnTo>
                  <a:lnTo>
                    <a:pt x="130" y="134"/>
                  </a:lnTo>
                  <a:lnTo>
                    <a:pt x="130" y="134"/>
                  </a:lnTo>
                  <a:lnTo>
                    <a:pt x="130" y="130"/>
                  </a:lnTo>
                  <a:lnTo>
                    <a:pt x="128" y="128"/>
                  </a:lnTo>
                  <a:lnTo>
                    <a:pt x="126" y="126"/>
                  </a:lnTo>
                  <a:lnTo>
                    <a:pt x="122" y="126"/>
                  </a:lnTo>
                  <a:lnTo>
                    <a:pt x="102" y="126"/>
                  </a:lnTo>
                  <a:lnTo>
                    <a:pt x="102" y="126"/>
                  </a:lnTo>
                  <a:lnTo>
                    <a:pt x="98" y="126"/>
                  </a:lnTo>
                  <a:lnTo>
                    <a:pt x="96" y="128"/>
                  </a:lnTo>
                  <a:lnTo>
                    <a:pt x="94" y="130"/>
                  </a:lnTo>
                  <a:lnTo>
                    <a:pt x="94" y="134"/>
                  </a:lnTo>
                  <a:lnTo>
                    <a:pt x="94" y="156"/>
                  </a:lnTo>
                  <a:lnTo>
                    <a:pt x="94" y="156"/>
                  </a:lnTo>
                  <a:lnTo>
                    <a:pt x="94" y="158"/>
                  </a:lnTo>
                  <a:lnTo>
                    <a:pt x="96" y="162"/>
                  </a:lnTo>
                  <a:lnTo>
                    <a:pt x="98" y="162"/>
                  </a:lnTo>
                  <a:lnTo>
                    <a:pt x="102" y="164"/>
                  </a:lnTo>
                  <a:lnTo>
                    <a:pt x="102" y="164"/>
                  </a:lnTo>
                  <a:close/>
                  <a:moveTo>
                    <a:pt x="52" y="112"/>
                  </a:moveTo>
                  <a:lnTo>
                    <a:pt x="72" y="112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8" y="110"/>
                  </a:lnTo>
                  <a:lnTo>
                    <a:pt x="80" y="108"/>
                  </a:lnTo>
                  <a:lnTo>
                    <a:pt x="80" y="104"/>
                  </a:lnTo>
                  <a:lnTo>
                    <a:pt x="80" y="82"/>
                  </a:lnTo>
                  <a:lnTo>
                    <a:pt x="80" y="82"/>
                  </a:lnTo>
                  <a:lnTo>
                    <a:pt x="80" y="80"/>
                  </a:lnTo>
                  <a:lnTo>
                    <a:pt x="78" y="78"/>
                  </a:lnTo>
                  <a:lnTo>
                    <a:pt x="76" y="76"/>
                  </a:lnTo>
                  <a:lnTo>
                    <a:pt x="72" y="74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48" y="76"/>
                  </a:lnTo>
                  <a:lnTo>
                    <a:pt x="46" y="78"/>
                  </a:lnTo>
                  <a:lnTo>
                    <a:pt x="44" y="80"/>
                  </a:lnTo>
                  <a:lnTo>
                    <a:pt x="44" y="82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8"/>
                  </a:lnTo>
                  <a:lnTo>
                    <a:pt x="46" y="110"/>
                  </a:lnTo>
                  <a:lnTo>
                    <a:pt x="48" y="112"/>
                  </a:lnTo>
                  <a:lnTo>
                    <a:pt x="52" y="112"/>
                  </a:lnTo>
                  <a:lnTo>
                    <a:pt x="52" y="11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1569869" y="3487995"/>
            <a:ext cx="828000" cy="828000"/>
            <a:chOff x="1764284" y="4711872"/>
            <a:chExt cx="828000" cy="828000"/>
          </a:xfrm>
        </p:grpSpPr>
        <p:sp>
          <p:nvSpPr>
            <p:cNvPr id="85" name="Oval 84"/>
            <p:cNvSpPr/>
            <p:nvPr/>
          </p:nvSpPr>
          <p:spPr bwMode="ltGray">
            <a:xfrm>
              <a:off x="1764284" y="4711872"/>
              <a:ext cx="828000" cy="82800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smtClean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17" name="Group 43"/>
            <p:cNvGrpSpPr>
              <a:grpSpLocks noChangeAspect="1"/>
            </p:cNvGrpSpPr>
            <p:nvPr/>
          </p:nvGrpSpPr>
          <p:grpSpPr bwMode="auto">
            <a:xfrm>
              <a:off x="1867367" y="4905495"/>
              <a:ext cx="621835" cy="440755"/>
              <a:chOff x="-1223" y="1858"/>
              <a:chExt cx="989" cy="701"/>
            </a:xfrm>
            <a:solidFill>
              <a:schemeClr val="bg1"/>
            </a:solidFill>
          </p:grpSpPr>
          <p:sp>
            <p:nvSpPr>
              <p:cNvPr id="21" name="Freeform 45"/>
              <p:cNvSpPr>
                <a:spLocks/>
              </p:cNvSpPr>
              <p:nvPr/>
            </p:nvSpPr>
            <p:spPr bwMode="auto">
              <a:xfrm>
                <a:off x="-1223" y="2233"/>
                <a:ext cx="99" cy="145"/>
              </a:xfrm>
              <a:custGeom>
                <a:avLst/>
                <a:gdLst>
                  <a:gd name="T0" fmla="*/ 137 w 397"/>
                  <a:gd name="T1" fmla="*/ 2 h 581"/>
                  <a:gd name="T2" fmla="*/ 173 w 397"/>
                  <a:gd name="T3" fmla="*/ 12 h 581"/>
                  <a:gd name="T4" fmla="*/ 200 w 397"/>
                  <a:gd name="T5" fmla="*/ 24 h 581"/>
                  <a:gd name="T6" fmla="*/ 213 w 397"/>
                  <a:gd name="T7" fmla="*/ 32 h 581"/>
                  <a:gd name="T8" fmla="*/ 231 w 397"/>
                  <a:gd name="T9" fmla="*/ 56 h 581"/>
                  <a:gd name="T10" fmla="*/ 227 w 397"/>
                  <a:gd name="T11" fmla="*/ 120 h 581"/>
                  <a:gd name="T12" fmla="*/ 224 w 397"/>
                  <a:gd name="T13" fmla="*/ 198 h 581"/>
                  <a:gd name="T14" fmla="*/ 230 w 397"/>
                  <a:gd name="T15" fmla="*/ 259 h 581"/>
                  <a:gd name="T16" fmla="*/ 245 w 397"/>
                  <a:gd name="T17" fmla="*/ 303 h 581"/>
                  <a:gd name="T18" fmla="*/ 263 w 397"/>
                  <a:gd name="T19" fmla="*/ 335 h 581"/>
                  <a:gd name="T20" fmla="*/ 285 w 397"/>
                  <a:gd name="T21" fmla="*/ 359 h 581"/>
                  <a:gd name="T22" fmla="*/ 308 w 397"/>
                  <a:gd name="T23" fmla="*/ 377 h 581"/>
                  <a:gd name="T24" fmla="*/ 337 w 397"/>
                  <a:gd name="T25" fmla="*/ 395 h 581"/>
                  <a:gd name="T26" fmla="*/ 367 w 397"/>
                  <a:gd name="T27" fmla="*/ 422 h 581"/>
                  <a:gd name="T28" fmla="*/ 390 w 397"/>
                  <a:gd name="T29" fmla="*/ 458 h 581"/>
                  <a:gd name="T30" fmla="*/ 397 w 397"/>
                  <a:gd name="T31" fmla="*/ 503 h 581"/>
                  <a:gd name="T32" fmla="*/ 388 w 397"/>
                  <a:gd name="T33" fmla="*/ 540 h 581"/>
                  <a:gd name="T34" fmla="*/ 370 w 397"/>
                  <a:gd name="T35" fmla="*/ 562 h 581"/>
                  <a:gd name="T36" fmla="*/ 348 w 397"/>
                  <a:gd name="T37" fmla="*/ 575 h 581"/>
                  <a:gd name="T38" fmla="*/ 313 w 397"/>
                  <a:gd name="T39" fmla="*/ 581 h 581"/>
                  <a:gd name="T40" fmla="*/ 269 w 397"/>
                  <a:gd name="T41" fmla="*/ 575 h 581"/>
                  <a:gd name="T42" fmla="*/ 228 w 397"/>
                  <a:gd name="T43" fmla="*/ 562 h 581"/>
                  <a:gd name="T44" fmla="*/ 201 w 397"/>
                  <a:gd name="T45" fmla="*/ 550 h 581"/>
                  <a:gd name="T46" fmla="*/ 181 w 397"/>
                  <a:gd name="T47" fmla="*/ 545 h 581"/>
                  <a:gd name="T48" fmla="*/ 155 w 397"/>
                  <a:gd name="T49" fmla="*/ 533 h 581"/>
                  <a:gd name="T50" fmla="*/ 125 w 397"/>
                  <a:gd name="T51" fmla="*/ 511 h 581"/>
                  <a:gd name="T52" fmla="*/ 92 w 397"/>
                  <a:gd name="T53" fmla="*/ 478 h 581"/>
                  <a:gd name="T54" fmla="*/ 61 w 397"/>
                  <a:gd name="T55" fmla="*/ 430 h 581"/>
                  <a:gd name="T56" fmla="*/ 34 w 397"/>
                  <a:gd name="T57" fmla="*/ 365 h 581"/>
                  <a:gd name="T58" fmla="*/ 12 w 397"/>
                  <a:gd name="T59" fmla="*/ 280 h 581"/>
                  <a:gd name="T60" fmla="*/ 0 w 397"/>
                  <a:gd name="T61" fmla="*/ 186 h 581"/>
                  <a:gd name="T62" fmla="*/ 4 w 397"/>
                  <a:gd name="T63" fmla="*/ 111 h 581"/>
                  <a:gd name="T64" fmla="*/ 23 w 397"/>
                  <a:gd name="T65" fmla="*/ 55 h 581"/>
                  <a:gd name="T66" fmla="*/ 53 w 397"/>
                  <a:gd name="T67" fmla="*/ 20 h 581"/>
                  <a:gd name="T68" fmla="*/ 94 w 397"/>
                  <a:gd name="T69" fmla="*/ 2 h 5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97" h="581">
                    <a:moveTo>
                      <a:pt x="116" y="0"/>
                    </a:moveTo>
                    <a:lnTo>
                      <a:pt x="137" y="2"/>
                    </a:lnTo>
                    <a:lnTo>
                      <a:pt x="156" y="6"/>
                    </a:lnTo>
                    <a:lnTo>
                      <a:pt x="173" y="12"/>
                    </a:lnTo>
                    <a:lnTo>
                      <a:pt x="188" y="18"/>
                    </a:lnTo>
                    <a:lnTo>
                      <a:pt x="200" y="24"/>
                    </a:lnTo>
                    <a:lnTo>
                      <a:pt x="209" y="29"/>
                    </a:lnTo>
                    <a:lnTo>
                      <a:pt x="213" y="32"/>
                    </a:lnTo>
                    <a:lnTo>
                      <a:pt x="224" y="43"/>
                    </a:lnTo>
                    <a:lnTo>
                      <a:pt x="231" y="56"/>
                    </a:lnTo>
                    <a:lnTo>
                      <a:pt x="231" y="72"/>
                    </a:lnTo>
                    <a:lnTo>
                      <a:pt x="227" y="120"/>
                    </a:lnTo>
                    <a:lnTo>
                      <a:pt x="224" y="162"/>
                    </a:lnTo>
                    <a:lnTo>
                      <a:pt x="224" y="198"/>
                    </a:lnTo>
                    <a:lnTo>
                      <a:pt x="227" y="230"/>
                    </a:lnTo>
                    <a:lnTo>
                      <a:pt x="230" y="259"/>
                    </a:lnTo>
                    <a:lnTo>
                      <a:pt x="236" y="283"/>
                    </a:lnTo>
                    <a:lnTo>
                      <a:pt x="245" y="303"/>
                    </a:lnTo>
                    <a:lnTo>
                      <a:pt x="253" y="321"/>
                    </a:lnTo>
                    <a:lnTo>
                      <a:pt x="263" y="335"/>
                    </a:lnTo>
                    <a:lnTo>
                      <a:pt x="273" y="349"/>
                    </a:lnTo>
                    <a:lnTo>
                      <a:pt x="285" y="359"/>
                    </a:lnTo>
                    <a:lnTo>
                      <a:pt x="297" y="369"/>
                    </a:lnTo>
                    <a:lnTo>
                      <a:pt x="308" y="377"/>
                    </a:lnTo>
                    <a:lnTo>
                      <a:pt x="320" y="385"/>
                    </a:lnTo>
                    <a:lnTo>
                      <a:pt x="337" y="395"/>
                    </a:lnTo>
                    <a:lnTo>
                      <a:pt x="352" y="407"/>
                    </a:lnTo>
                    <a:lnTo>
                      <a:pt x="367" y="422"/>
                    </a:lnTo>
                    <a:lnTo>
                      <a:pt x="380" y="438"/>
                    </a:lnTo>
                    <a:lnTo>
                      <a:pt x="390" y="458"/>
                    </a:lnTo>
                    <a:lnTo>
                      <a:pt x="396" y="482"/>
                    </a:lnTo>
                    <a:lnTo>
                      <a:pt x="397" y="503"/>
                    </a:lnTo>
                    <a:lnTo>
                      <a:pt x="394" y="522"/>
                    </a:lnTo>
                    <a:lnTo>
                      <a:pt x="388" y="540"/>
                    </a:lnTo>
                    <a:lnTo>
                      <a:pt x="378" y="555"/>
                    </a:lnTo>
                    <a:lnTo>
                      <a:pt x="370" y="562"/>
                    </a:lnTo>
                    <a:lnTo>
                      <a:pt x="361" y="569"/>
                    </a:lnTo>
                    <a:lnTo>
                      <a:pt x="348" y="575"/>
                    </a:lnTo>
                    <a:lnTo>
                      <a:pt x="332" y="580"/>
                    </a:lnTo>
                    <a:lnTo>
                      <a:pt x="313" y="581"/>
                    </a:lnTo>
                    <a:lnTo>
                      <a:pt x="290" y="580"/>
                    </a:lnTo>
                    <a:lnTo>
                      <a:pt x="269" y="575"/>
                    </a:lnTo>
                    <a:lnTo>
                      <a:pt x="247" y="569"/>
                    </a:lnTo>
                    <a:lnTo>
                      <a:pt x="228" y="562"/>
                    </a:lnTo>
                    <a:lnTo>
                      <a:pt x="212" y="556"/>
                    </a:lnTo>
                    <a:lnTo>
                      <a:pt x="201" y="550"/>
                    </a:lnTo>
                    <a:lnTo>
                      <a:pt x="192" y="549"/>
                    </a:lnTo>
                    <a:lnTo>
                      <a:pt x="181" y="545"/>
                    </a:lnTo>
                    <a:lnTo>
                      <a:pt x="169" y="539"/>
                    </a:lnTo>
                    <a:lnTo>
                      <a:pt x="155" y="533"/>
                    </a:lnTo>
                    <a:lnTo>
                      <a:pt x="140" y="523"/>
                    </a:lnTo>
                    <a:lnTo>
                      <a:pt x="125" y="511"/>
                    </a:lnTo>
                    <a:lnTo>
                      <a:pt x="108" y="496"/>
                    </a:lnTo>
                    <a:lnTo>
                      <a:pt x="92" y="478"/>
                    </a:lnTo>
                    <a:lnTo>
                      <a:pt x="77" y="455"/>
                    </a:lnTo>
                    <a:lnTo>
                      <a:pt x="61" y="430"/>
                    </a:lnTo>
                    <a:lnTo>
                      <a:pt x="47" y="400"/>
                    </a:lnTo>
                    <a:lnTo>
                      <a:pt x="34" y="365"/>
                    </a:lnTo>
                    <a:lnTo>
                      <a:pt x="22" y="326"/>
                    </a:lnTo>
                    <a:lnTo>
                      <a:pt x="12" y="280"/>
                    </a:lnTo>
                    <a:lnTo>
                      <a:pt x="5" y="230"/>
                    </a:lnTo>
                    <a:lnTo>
                      <a:pt x="0" y="186"/>
                    </a:lnTo>
                    <a:lnTo>
                      <a:pt x="0" y="146"/>
                    </a:lnTo>
                    <a:lnTo>
                      <a:pt x="4" y="111"/>
                    </a:lnTo>
                    <a:lnTo>
                      <a:pt x="11" y="81"/>
                    </a:lnTo>
                    <a:lnTo>
                      <a:pt x="23" y="55"/>
                    </a:lnTo>
                    <a:lnTo>
                      <a:pt x="37" y="35"/>
                    </a:lnTo>
                    <a:lnTo>
                      <a:pt x="53" y="20"/>
                    </a:lnTo>
                    <a:lnTo>
                      <a:pt x="72" y="10"/>
                    </a:lnTo>
                    <a:lnTo>
                      <a:pt x="94" y="2"/>
                    </a:lnTo>
                    <a:lnTo>
                      <a:pt x="11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2" name="Freeform 46"/>
              <p:cNvSpPr>
                <a:spLocks/>
              </p:cNvSpPr>
              <p:nvPr/>
            </p:nvSpPr>
            <p:spPr bwMode="auto">
              <a:xfrm>
                <a:off x="-1160" y="2254"/>
                <a:ext cx="156" cy="135"/>
              </a:xfrm>
              <a:custGeom>
                <a:avLst/>
                <a:gdLst>
                  <a:gd name="T0" fmla="*/ 50 w 626"/>
                  <a:gd name="T1" fmla="*/ 0 h 540"/>
                  <a:gd name="T2" fmla="*/ 67 w 626"/>
                  <a:gd name="T3" fmla="*/ 7 h 540"/>
                  <a:gd name="T4" fmla="*/ 87 w 626"/>
                  <a:gd name="T5" fmla="*/ 17 h 540"/>
                  <a:gd name="T6" fmla="*/ 129 w 626"/>
                  <a:gd name="T7" fmla="*/ 30 h 540"/>
                  <a:gd name="T8" fmla="*/ 189 w 626"/>
                  <a:gd name="T9" fmla="*/ 40 h 540"/>
                  <a:gd name="T10" fmla="*/ 255 w 626"/>
                  <a:gd name="T11" fmla="*/ 40 h 540"/>
                  <a:gd name="T12" fmla="*/ 299 w 626"/>
                  <a:gd name="T13" fmla="*/ 39 h 540"/>
                  <a:gd name="T14" fmla="*/ 323 w 626"/>
                  <a:gd name="T15" fmla="*/ 55 h 540"/>
                  <a:gd name="T16" fmla="*/ 338 w 626"/>
                  <a:gd name="T17" fmla="*/ 98 h 540"/>
                  <a:gd name="T18" fmla="*/ 361 w 626"/>
                  <a:gd name="T19" fmla="*/ 162 h 540"/>
                  <a:gd name="T20" fmla="*/ 388 w 626"/>
                  <a:gd name="T21" fmla="*/ 222 h 540"/>
                  <a:gd name="T22" fmla="*/ 421 w 626"/>
                  <a:gd name="T23" fmla="*/ 270 h 540"/>
                  <a:gd name="T24" fmla="*/ 453 w 626"/>
                  <a:gd name="T25" fmla="*/ 297 h 540"/>
                  <a:gd name="T26" fmla="*/ 483 w 626"/>
                  <a:gd name="T27" fmla="*/ 299 h 540"/>
                  <a:gd name="T28" fmla="*/ 514 w 626"/>
                  <a:gd name="T29" fmla="*/ 276 h 540"/>
                  <a:gd name="T30" fmla="*/ 549 w 626"/>
                  <a:gd name="T31" fmla="*/ 233 h 540"/>
                  <a:gd name="T32" fmla="*/ 570 w 626"/>
                  <a:gd name="T33" fmla="*/ 217 h 540"/>
                  <a:gd name="T34" fmla="*/ 596 w 626"/>
                  <a:gd name="T35" fmla="*/ 217 h 540"/>
                  <a:gd name="T36" fmla="*/ 617 w 626"/>
                  <a:gd name="T37" fmla="*/ 231 h 540"/>
                  <a:gd name="T38" fmla="*/ 626 w 626"/>
                  <a:gd name="T39" fmla="*/ 257 h 540"/>
                  <a:gd name="T40" fmla="*/ 623 w 626"/>
                  <a:gd name="T41" fmla="*/ 306 h 540"/>
                  <a:gd name="T42" fmla="*/ 614 w 626"/>
                  <a:gd name="T43" fmla="*/ 358 h 540"/>
                  <a:gd name="T44" fmla="*/ 598 w 626"/>
                  <a:gd name="T45" fmla="*/ 412 h 540"/>
                  <a:gd name="T46" fmla="*/ 574 w 626"/>
                  <a:gd name="T47" fmla="*/ 463 h 540"/>
                  <a:gd name="T48" fmla="*/ 539 w 626"/>
                  <a:gd name="T49" fmla="*/ 503 h 540"/>
                  <a:gd name="T50" fmla="*/ 495 w 626"/>
                  <a:gd name="T51" fmla="*/ 531 h 540"/>
                  <a:gd name="T52" fmla="*/ 437 w 626"/>
                  <a:gd name="T53" fmla="*/ 540 h 540"/>
                  <a:gd name="T54" fmla="*/ 371 w 626"/>
                  <a:gd name="T55" fmla="*/ 530 h 540"/>
                  <a:gd name="T56" fmla="*/ 299 w 626"/>
                  <a:gd name="T57" fmla="*/ 496 h 540"/>
                  <a:gd name="T58" fmla="*/ 220 w 626"/>
                  <a:gd name="T59" fmla="*/ 441 h 540"/>
                  <a:gd name="T60" fmla="*/ 154 w 626"/>
                  <a:gd name="T61" fmla="*/ 382 h 540"/>
                  <a:gd name="T62" fmla="*/ 108 w 626"/>
                  <a:gd name="T63" fmla="*/ 324 h 540"/>
                  <a:gd name="T64" fmla="*/ 62 w 626"/>
                  <a:gd name="T65" fmla="*/ 251 h 540"/>
                  <a:gd name="T66" fmla="*/ 25 w 626"/>
                  <a:gd name="T67" fmla="*/ 168 h 540"/>
                  <a:gd name="T68" fmla="*/ 3 w 626"/>
                  <a:gd name="T69" fmla="*/ 83 h 540"/>
                  <a:gd name="T70" fmla="*/ 2 w 626"/>
                  <a:gd name="T71" fmla="*/ 27 h 540"/>
                  <a:gd name="T72" fmla="*/ 21 w 626"/>
                  <a:gd name="T73" fmla="*/ 5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26" h="540">
                    <a:moveTo>
                      <a:pt x="36" y="0"/>
                    </a:moveTo>
                    <a:lnTo>
                      <a:pt x="50" y="0"/>
                    </a:lnTo>
                    <a:lnTo>
                      <a:pt x="63" y="6"/>
                    </a:lnTo>
                    <a:lnTo>
                      <a:pt x="67" y="7"/>
                    </a:lnTo>
                    <a:lnTo>
                      <a:pt x="74" y="12"/>
                    </a:lnTo>
                    <a:lnTo>
                      <a:pt x="87" y="17"/>
                    </a:lnTo>
                    <a:lnTo>
                      <a:pt x="105" y="23"/>
                    </a:lnTo>
                    <a:lnTo>
                      <a:pt x="129" y="30"/>
                    </a:lnTo>
                    <a:lnTo>
                      <a:pt x="157" y="35"/>
                    </a:lnTo>
                    <a:lnTo>
                      <a:pt x="189" y="40"/>
                    </a:lnTo>
                    <a:lnTo>
                      <a:pt x="225" y="41"/>
                    </a:lnTo>
                    <a:lnTo>
                      <a:pt x="255" y="40"/>
                    </a:lnTo>
                    <a:lnTo>
                      <a:pt x="284" y="37"/>
                    </a:lnTo>
                    <a:lnTo>
                      <a:pt x="299" y="39"/>
                    </a:lnTo>
                    <a:lnTo>
                      <a:pt x="313" y="45"/>
                    </a:lnTo>
                    <a:lnTo>
                      <a:pt x="323" y="55"/>
                    </a:lnTo>
                    <a:lnTo>
                      <a:pt x="329" y="69"/>
                    </a:lnTo>
                    <a:lnTo>
                      <a:pt x="338" y="98"/>
                    </a:lnTo>
                    <a:lnTo>
                      <a:pt x="349" y="131"/>
                    </a:lnTo>
                    <a:lnTo>
                      <a:pt x="361" y="162"/>
                    </a:lnTo>
                    <a:lnTo>
                      <a:pt x="374" y="193"/>
                    </a:lnTo>
                    <a:lnTo>
                      <a:pt x="388" y="222"/>
                    </a:lnTo>
                    <a:lnTo>
                      <a:pt x="404" y="248"/>
                    </a:lnTo>
                    <a:lnTo>
                      <a:pt x="421" y="270"/>
                    </a:lnTo>
                    <a:lnTo>
                      <a:pt x="436" y="287"/>
                    </a:lnTo>
                    <a:lnTo>
                      <a:pt x="453" y="297"/>
                    </a:lnTo>
                    <a:lnTo>
                      <a:pt x="468" y="302"/>
                    </a:lnTo>
                    <a:lnTo>
                      <a:pt x="483" y="299"/>
                    </a:lnTo>
                    <a:lnTo>
                      <a:pt x="498" y="290"/>
                    </a:lnTo>
                    <a:lnTo>
                      <a:pt x="514" y="276"/>
                    </a:lnTo>
                    <a:lnTo>
                      <a:pt x="532" y="257"/>
                    </a:lnTo>
                    <a:lnTo>
                      <a:pt x="549" y="233"/>
                    </a:lnTo>
                    <a:lnTo>
                      <a:pt x="558" y="223"/>
                    </a:lnTo>
                    <a:lnTo>
                      <a:pt x="570" y="217"/>
                    </a:lnTo>
                    <a:lnTo>
                      <a:pt x="582" y="215"/>
                    </a:lnTo>
                    <a:lnTo>
                      <a:pt x="596" y="217"/>
                    </a:lnTo>
                    <a:lnTo>
                      <a:pt x="608" y="222"/>
                    </a:lnTo>
                    <a:lnTo>
                      <a:pt x="617" y="231"/>
                    </a:lnTo>
                    <a:lnTo>
                      <a:pt x="623" y="243"/>
                    </a:lnTo>
                    <a:lnTo>
                      <a:pt x="626" y="257"/>
                    </a:lnTo>
                    <a:lnTo>
                      <a:pt x="624" y="281"/>
                    </a:lnTo>
                    <a:lnTo>
                      <a:pt x="623" y="306"/>
                    </a:lnTo>
                    <a:lnTo>
                      <a:pt x="620" y="332"/>
                    </a:lnTo>
                    <a:lnTo>
                      <a:pt x="614" y="358"/>
                    </a:lnTo>
                    <a:lnTo>
                      <a:pt x="608" y="386"/>
                    </a:lnTo>
                    <a:lnTo>
                      <a:pt x="598" y="412"/>
                    </a:lnTo>
                    <a:lnTo>
                      <a:pt x="587" y="439"/>
                    </a:lnTo>
                    <a:lnTo>
                      <a:pt x="574" y="463"/>
                    </a:lnTo>
                    <a:lnTo>
                      <a:pt x="558" y="484"/>
                    </a:lnTo>
                    <a:lnTo>
                      <a:pt x="539" y="503"/>
                    </a:lnTo>
                    <a:lnTo>
                      <a:pt x="519" y="519"/>
                    </a:lnTo>
                    <a:lnTo>
                      <a:pt x="495" y="531"/>
                    </a:lnTo>
                    <a:lnTo>
                      <a:pt x="467" y="538"/>
                    </a:lnTo>
                    <a:lnTo>
                      <a:pt x="437" y="540"/>
                    </a:lnTo>
                    <a:lnTo>
                      <a:pt x="405" y="538"/>
                    </a:lnTo>
                    <a:lnTo>
                      <a:pt x="371" y="530"/>
                    </a:lnTo>
                    <a:lnTo>
                      <a:pt x="337" y="516"/>
                    </a:lnTo>
                    <a:lnTo>
                      <a:pt x="299" y="496"/>
                    </a:lnTo>
                    <a:lnTo>
                      <a:pt x="261" y="471"/>
                    </a:lnTo>
                    <a:lnTo>
                      <a:pt x="220" y="441"/>
                    </a:lnTo>
                    <a:lnTo>
                      <a:pt x="177" y="404"/>
                    </a:lnTo>
                    <a:lnTo>
                      <a:pt x="154" y="382"/>
                    </a:lnTo>
                    <a:lnTo>
                      <a:pt x="132" y="355"/>
                    </a:lnTo>
                    <a:lnTo>
                      <a:pt x="108" y="324"/>
                    </a:lnTo>
                    <a:lnTo>
                      <a:pt x="84" y="288"/>
                    </a:lnTo>
                    <a:lnTo>
                      <a:pt x="62" y="251"/>
                    </a:lnTo>
                    <a:lnTo>
                      <a:pt x="42" y="210"/>
                    </a:lnTo>
                    <a:lnTo>
                      <a:pt x="25" y="168"/>
                    </a:lnTo>
                    <a:lnTo>
                      <a:pt x="12" y="126"/>
                    </a:lnTo>
                    <a:lnTo>
                      <a:pt x="3" y="83"/>
                    </a:lnTo>
                    <a:lnTo>
                      <a:pt x="0" y="41"/>
                    </a:lnTo>
                    <a:lnTo>
                      <a:pt x="2" y="27"/>
                    </a:lnTo>
                    <a:lnTo>
                      <a:pt x="9" y="15"/>
                    </a:lnTo>
                    <a:lnTo>
                      <a:pt x="21" y="5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3" name="Freeform 47"/>
              <p:cNvSpPr>
                <a:spLocks/>
              </p:cNvSpPr>
              <p:nvPr/>
            </p:nvSpPr>
            <p:spPr bwMode="auto">
              <a:xfrm>
                <a:off x="-1174" y="1858"/>
                <a:ext cx="731" cy="400"/>
              </a:xfrm>
              <a:custGeom>
                <a:avLst/>
                <a:gdLst>
                  <a:gd name="T0" fmla="*/ 2700 w 2924"/>
                  <a:gd name="T1" fmla="*/ 0 h 1598"/>
                  <a:gd name="T2" fmla="*/ 2854 w 2924"/>
                  <a:gd name="T3" fmla="*/ 85 h 1598"/>
                  <a:gd name="T4" fmla="*/ 2899 w 2924"/>
                  <a:gd name="T5" fmla="*/ 120 h 1598"/>
                  <a:gd name="T6" fmla="*/ 2919 w 2924"/>
                  <a:gd name="T7" fmla="*/ 156 h 1598"/>
                  <a:gd name="T8" fmla="*/ 2924 w 2924"/>
                  <a:gd name="T9" fmla="*/ 187 h 1598"/>
                  <a:gd name="T10" fmla="*/ 2912 w 2924"/>
                  <a:gd name="T11" fmla="*/ 232 h 1598"/>
                  <a:gd name="T12" fmla="*/ 2882 w 2924"/>
                  <a:gd name="T13" fmla="*/ 271 h 1598"/>
                  <a:gd name="T14" fmla="*/ 2846 w 2924"/>
                  <a:gd name="T15" fmla="*/ 302 h 1598"/>
                  <a:gd name="T16" fmla="*/ 2813 w 2924"/>
                  <a:gd name="T17" fmla="*/ 323 h 1598"/>
                  <a:gd name="T18" fmla="*/ 2791 w 2924"/>
                  <a:gd name="T19" fmla="*/ 335 h 1598"/>
                  <a:gd name="T20" fmla="*/ 2777 w 2924"/>
                  <a:gd name="T21" fmla="*/ 343 h 1598"/>
                  <a:gd name="T22" fmla="*/ 2741 w 2924"/>
                  <a:gd name="T23" fmla="*/ 362 h 1598"/>
                  <a:gd name="T24" fmla="*/ 2686 w 2924"/>
                  <a:gd name="T25" fmla="*/ 392 h 1598"/>
                  <a:gd name="T26" fmla="*/ 2611 w 2924"/>
                  <a:gd name="T27" fmla="*/ 430 h 1598"/>
                  <a:gd name="T28" fmla="*/ 2523 w 2924"/>
                  <a:gd name="T29" fmla="*/ 478 h 1598"/>
                  <a:gd name="T30" fmla="*/ 2420 w 2924"/>
                  <a:gd name="T31" fmla="*/ 533 h 1598"/>
                  <a:gd name="T32" fmla="*/ 2304 w 2924"/>
                  <a:gd name="T33" fmla="*/ 594 h 1598"/>
                  <a:gd name="T34" fmla="*/ 2180 w 2924"/>
                  <a:gd name="T35" fmla="*/ 660 h 1598"/>
                  <a:gd name="T36" fmla="*/ 2048 w 2924"/>
                  <a:gd name="T37" fmla="*/ 729 h 1598"/>
                  <a:gd name="T38" fmla="*/ 1910 w 2924"/>
                  <a:gd name="T39" fmla="*/ 802 h 1598"/>
                  <a:gd name="T40" fmla="*/ 1767 w 2924"/>
                  <a:gd name="T41" fmla="*/ 878 h 1598"/>
                  <a:gd name="T42" fmla="*/ 1625 w 2924"/>
                  <a:gd name="T43" fmla="*/ 955 h 1598"/>
                  <a:gd name="T44" fmla="*/ 1482 w 2924"/>
                  <a:gd name="T45" fmla="*/ 1030 h 1598"/>
                  <a:gd name="T46" fmla="*/ 1341 w 2924"/>
                  <a:gd name="T47" fmla="*/ 1104 h 1598"/>
                  <a:gd name="T48" fmla="*/ 1205 w 2924"/>
                  <a:gd name="T49" fmla="*/ 1176 h 1598"/>
                  <a:gd name="T50" fmla="*/ 1076 w 2924"/>
                  <a:gd name="T51" fmla="*/ 1244 h 1598"/>
                  <a:gd name="T52" fmla="*/ 955 w 2924"/>
                  <a:gd name="T53" fmla="*/ 1309 h 1598"/>
                  <a:gd name="T54" fmla="*/ 843 w 2924"/>
                  <a:gd name="T55" fmla="*/ 1367 h 1598"/>
                  <a:gd name="T56" fmla="*/ 745 w 2924"/>
                  <a:gd name="T57" fmla="*/ 1419 h 1598"/>
                  <a:gd name="T58" fmla="*/ 662 w 2924"/>
                  <a:gd name="T59" fmla="*/ 1462 h 1598"/>
                  <a:gd name="T60" fmla="*/ 595 w 2924"/>
                  <a:gd name="T61" fmla="*/ 1498 h 1598"/>
                  <a:gd name="T62" fmla="*/ 472 w 2924"/>
                  <a:gd name="T63" fmla="*/ 1553 h 1598"/>
                  <a:gd name="T64" fmla="*/ 358 w 2924"/>
                  <a:gd name="T65" fmla="*/ 1587 h 1598"/>
                  <a:gd name="T66" fmla="*/ 255 w 2924"/>
                  <a:gd name="T67" fmla="*/ 1598 h 1598"/>
                  <a:gd name="T68" fmla="*/ 173 w 2924"/>
                  <a:gd name="T69" fmla="*/ 1589 h 1598"/>
                  <a:gd name="T70" fmla="*/ 111 w 2924"/>
                  <a:gd name="T71" fmla="*/ 1569 h 1598"/>
                  <a:gd name="T72" fmla="*/ 64 w 2924"/>
                  <a:gd name="T73" fmla="*/ 1541 h 1598"/>
                  <a:gd name="T74" fmla="*/ 32 w 2924"/>
                  <a:gd name="T75" fmla="*/ 1514 h 1598"/>
                  <a:gd name="T76" fmla="*/ 12 w 2924"/>
                  <a:gd name="T77" fmla="*/ 1492 h 1598"/>
                  <a:gd name="T78" fmla="*/ 6 w 2924"/>
                  <a:gd name="T79" fmla="*/ 1481 h 1598"/>
                  <a:gd name="T80" fmla="*/ 3 w 2924"/>
                  <a:gd name="T81" fmla="*/ 1449 h 1598"/>
                  <a:gd name="T82" fmla="*/ 23 w 2924"/>
                  <a:gd name="T83" fmla="*/ 1424 h 1598"/>
                  <a:gd name="T84" fmla="*/ 2687 w 2924"/>
                  <a:gd name="T85" fmla="*/ 0 h 1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24" h="1598">
                    <a:moveTo>
                      <a:pt x="2687" y="0"/>
                    </a:moveTo>
                    <a:lnTo>
                      <a:pt x="2700" y="0"/>
                    </a:lnTo>
                    <a:lnTo>
                      <a:pt x="2713" y="5"/>
                    </a:lnTo>
                    <a:lnTo>
                      <a:pt x="2854" y="85"/>
                    </a:lnTo>
                    <a:lnTo>
                      <a:pt x="2880" y="102"/>
                    </a:lnTo>
                    <a:lnTo>
                      <a:pt x="2899" y="120"/>
                    </a:lnTo>
                    <a:lnTo>
                      <a:pt x="2912" y="138"/>
                    </a:lnTo>
                    <a:lnTo>
                      <a:pt x="2919" y="156"/>
                    </a:lnTo>
                    <a:lnTo>
                      <a:pt x="2924" y="171"/>
                    </a:lnTo>
                    <a:lnTo>
                      <a:pt x="2924" y="187"/>
                    </a:lnTo>
                    <a:lnTo>
                      <a:pt x="2921" y="210"/>
                    </a:lnTo>
                    <a:lnTo>
                      <a:pt x="2912" y="232"/>
                    </a:lnTo>
                    <a:lnTo>
                      <a:pt x="2899" y="253"/>
                    </a:lnTo>
                    <a:lnTo>
                      <a:pt x="2882" y="271"/>
                    </a:lnTo>
                    <a:lnTo>
                      <a:pt x="2866" y="287"/>
                    </a:lnTo>
                    <a:lnTo>
                      <a:pt x="2846" y="302"/>
                    </a:lnTo>
                    <a:lnTo>
                      <a:pt x="2828" y="314"/>
                    </a:lnTo>
                    <a:lnTo>
                      <a:pt x="2813" y="323"/>
                    </a:lnTo>
                    <a:lnTo>
                      <a:pt x="2800" y="331"/>
                    </a:lnTo>
                    <a:lnTo>
                      <a:pt x="2791" y="335"/>
                    </a:lnTo>
                    <a:lnTo>
                      <a:pt x="2786" y="338"/>
                    </a:lnTo>
                    <a:lnTo>
                      <a:pt x="2777" y="343"/>
                    </a:lnTo>
                    <a:lnTo>
                      <a:pt x="2761" y="351"/>
                    </a:lnTo>
                    <a:lnTo>
                      <a:pt x="2741" y="362"/>
                    </a:lnTo>
                    <a:lnTo>
                      <a:pt x="2716" y="376"/>
                    </a:lnTo>
                    <a:lnTo>
                      <a:pt x="2686" y="392"/>
                    </a:lnTo>
                    <a:lnTo>
                      <a:pt x="2651" y="410"/>
                    </a:lnTo>
                    <a:lnTo>
                      <a:pt x="2611" y="430"/>
                    </a:lnTo>
                    <a:lnTo>
                      <a:pt x="2569" y="453"/>
                    </a:lnTo>
                    <a:lnTo>
                      <a:pt x="2523" y="478"/>
                    </a:lnTo>
                    <a:lnTo>
                      <a:pt x="2472" y="504"/>
                    </a:lnTo>
                    <a:lnTo>
                      <a:pt x="2420" y="533"/>
                    </a:lnTo>
                    <a:lnTo>
                      <a:pt x="2363" y="563"/>
                    </a:lnTo>
                    <a:lnTo>
                      <a:pt x="2304" y="594"/>
                    </a:lnTo>
                    <a:lnTo>
                      <a:pt x="2243" y="626"/>
                    </a:lnTo>
                    <a:lnTo>
                      <a:pt x="2180" y="660"/>
                    </a:lnTo>
                    <a:lnTo>
                      <a:pt x="2115" y="695"/>
                    </a:lnTo>
                    <a:lnTo>
                      <a:pt x="2048" y="729"/>
                    </a:lnTo>
                    <a:lnTo>
                      <a:pt x="1980" y="766"/>
                    </a:lnTo>
                    <a:lnTo>
                      <a:pt x="1910" y="802"/>
                    </a:lnTo>
                    <a:lnTo>
                      <a:pt x="1839" y="841"/>
                    </a:lnTo>
                    <a:lnTo>
                      <a:pt x="1767" y="878"/>
                    </a:lnTo>
                    <a:lnTo>
                      <a:pt x="1697" y="916"/>
                    </a:lnTo>
                    <a:lnTo>
                      <a:pt x="1625" y="955"/>
                    </a:lnTo>
                    <a:lnTo>
                      <a:pt x="1553" y="992"/>
                    </a:lnTo>
                    <a:lnTo>
                      <a:pt x="1482" y="1030"/>
                    </a:lnTo>
                    <a:lnTo>
                      <a:pt x="1411" y="1067"/>
                    </a:lnTo>
                    <a:lnTo>
                      <a:pt x="1341" y="1104"/>
                    </a:lnTo>
                    <a:lnTo>
                      <a:pt x="1272" y="1140"/>
                    </a:lnTo>
                    <a:lnTo>
                      <a:pt x="1205" y="1176"/>
                    </a:lnTo>
                    <a:lnTo>
                      <a:pt x="1139" y="1211"/>
                    </a:lnTo>
                    <a:lnTo>
                      <a:pt x="1076" y="1244"/>
                    </a:lnTo>
                    <a:lnTo>
                      <a:pt x="1013" y="1277"/>
                    </a:lnTo>
                    <a:lnTo>
                      <a:pt x="955" y="1309"/>
                    </a:lnTo>
                    <a:lnTo>
                      <a:pt x="897" y="1339"/>
                    </a:lnTo>
                    <a:lnTo>
                      <a:pt x="843" y="1367"/>
                    </a:lnTo>
                    <a:lnTo>
                      <a:pt x="793" y="1394"/>
                    </a:lnTo>
                    <a:lnTo>
                      <a:pt x="745" y="1419"/>
                    </a:lnTo>
                    <a:lnTo>
                      <a:pt x="702" y="1442"/>
                    </a:lnTo>
                    <a:lnTo>
                      <a:pt x="662" y="1462"/>
                    </a:lnTo>
                    <a:lnTo>
                      <a:pt x="626" y="1481"/>
                    </a:lnTo>
                    <a:lnTo>
                      <a:pt x="595" y="1498"/>
                    </a:lnTo>
                    <a:lnTo>
                      <a:pt x="531" y="1528"/>
                    </a:lnTo>
                    <a:lnTo>
                      <a:pt x="472" y="1553"/>
                    </a:lnTo>
                    <a:lnTo>
                      <a:pt x="414" y="1573"/>
                    </a:lnTo>
                    <a:lnTo>
                      <a:pt x="358" y="1587"/>
                    </a:lnTo>
                    <a:lnTo>
                      <a:pt x="305" y="1595"/>
                    </a:lnTo>
                    <a:lnTo>
                      <a:pt x="255" y="1598"/>
                    </a:lnTo>
                    <a:lnTo>
                      <a:pt x="211" y="1595"/>
                    </a:lnTo>
                    <a:lnTo>
                      <a:pt x="173" y="1589"/>
                    </a:lnTo>
                    <a:lnTo>
                      <a:pt x="139" y="1581"/>
                    </a:lnTo>
                    <a:lnTo>
                      <a:pt x="111" y="1569"/>
                    </a:lnTo>
                    <a:lnTo>
                      <a:pt x="86" y="1556"/>
                    </a:lnTo>
                    <a:lnTo>
                      <a:pt x="64" y="1541"/>
                    </a:lnTo>
                    <a:lnTo>
                      <a:pt x="46" y="1527"/>
                    </a:lnTo>
                    <a:lnTo>
                      <a:pt x="32" y="1514"/>
                    </a:lnTo>
                    <a:lnTo>
                      <a:pt x="21" y="1502"/>
                    </a:lnTo>
                    <a:lnTo>
                      <a:pt x="12" y="1492"/>
                    </a:lnTo>
                    <a:lnTo>
                      <a:pt x="8" y="1485"/>
                    </a:lnTo>
                    <a:lnTo>
                      <a:pt x="6" y="1481"/>
                    </a:lnTo>
                    <a:lnTo>
                      <a:pt x="0" y="1466"/>
                    </a:lnTo>
                    <a:lnTo>
                      <a:pt x="3" y="1449"/>
                    </a:lnTo>
                    <a:lnTo>
                      <a:pt x="10" y="1435"/>
                    </a:lnTo>
                    <a:lnTo>
                      <a:pt x="23" y="1424"/>
                    </a:lnTo>
                    <a:lnTo>
                      <a:pt x="2674" y="5"/>
                    </a:lnTo>
                    <a:lnTo>
                      <a:pt x="26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4" name="Freeform 48"/>
              <p:cNvSpPr>
                <a:spLocks/>
              </p:cNvSpPr>
              <p:nvPr/>
            </p:nvSpPr>
            <p:spPr bwMode="auto">
              <a:xfrm>
                <a:off x="-1033" y="1950"/>
                <a:ext cx="584" cy="416"/>
              </a:xfrm>
              <a:custGeom>
                <a:avLst/>
                <a:gdLst>
                  <a:gd name="T0" fmla="*/ 2226 w 2337"/>
                  <a:gd name="T1" fmla="*/ 0 h 1666"/>
                  <a:gd name="T2" fmla="*/ 2238 w 2337"/>
                  <a:gd name="T3" fmla="*/ 4 h 1666"/>
                  <a:gd name="T4" fmla="*/ 2249 w 2337"/>
                  <a:gd name="T5" fmla="*/ 11 h 1666"/>
                  <a:gd name="T6" fmla="*/ 2258 w 2337"/>
                  <a:gd name="T7" fmla="*/ 22 h 1666"/>
                  <a:gd name="T8" fmla="*/ 2332 w 2337"/>
                  <a:gd name="T9" fmla="*/ 157 h 1666"/>
                  <a:gd name="T10" fmla="*/ 2337 w 2337"/>
                  <a:gd name="T11" fmla="*/ 171 h 1666"/>
                  <a:gd name="T12" fmla="*/ 2335 w 2337"/>
                  <a:gd name="T13" fmla="*/ 186 h 1666"/>
                  <a:gd name="T14" fmla="*/ 2331 w 2337"/>
                  <a:gd name="T15" fmla="*/ 199 h 1666"/>
                  <a:gd name="T16" fmla="*/ 2320 w 2337"/>
                  <a:gd name="T17" fmla="*/ 210 h 1666"/>
                  <a:gd name="T18" fmla="*/ 2272 w 2337"/>
                  <a:gd name="T19" fmla="*/ 250 h 1666"/>
                  <a:gd name="T20" fmla="*/ 2230 w 2337"/>
                  <a:gd name="T21" fmla="*/ 290 h 1666"/>
                  <a:gd name="T22" fmla="*/ 2194 w 2337"/>
                  <a:gd name="T23" fmla="*/ 331 h 1666"/>
                  <a:gd name="T24" fmla="*/ 2164 w 2337"/>
                  <a:gd name="T25" fmla="*/ 371 h 1666"/>
                  <a:gd name="T26" fmla="*/ 2139 w 2337"/>
                  <a:gd name="T27" fmla="*/ 412 h 1666"/>
                  <a:gd name="T28" fmla="*/ 2118 w 2337"/>
                  <a:gd name="T29" fmla="*/ 450 h 1666"/>
                  <a:gd name="T30" fmla="*/ 2102 w 2337"/>
                  <a:gd name="T31" fmla="*/ 488 h 1666"/>
                  <a:gd name="T32" fmla="*/ 2090 w 2337"/>
                  <a:gd name="T33" fmla="*/ 522 h 1666"/>
                  <a:gd name="T34" fmla="*/ 2080 w 2337"/>
                  <a:gd name="T35" fmla="*/ 555 h 1666"/>
                  <a:gd name="T36" fmla="*/ 2074 w 2337"/>
                  <a:gd name="T37" fmla="*/ 583 h 1666"/>
                  <a:gd name="T38" fmla="*/ 2069 w 2337"/>
                  <a:gd name="T39" fmla="*/ 607 h 1666"/>
                  <a:gd name="T40" fmla="*/ 2067 w 2337"/>
                  <a:gd name="T41" fmla="*/ 628 h 1666"/>
                  <a:gd name="T42" fmla="*/ 2066 w 2337"/>
                  <a:gd name="T43" fmla="*/ 643 h 1666"/>
                  <a:gd name="T44" fmla="*/ 2066 w 2337"/>
                  <a:gd name="T45" fmla="*/ 653 h 1666"/>
                  <a:gd name="T46" fmla="*/ 2066 w 2337"/>
                  <a:gd name="T47" fmla="*/ 656 h 1666"/>
                  <a:gd name="T48" fmla="*/ 2063 w 2337"/>
                  <a:gd name="T49" fmla="*/ 672 h 1666"/>
                  <a:gd name="T50" fmla="*/ 2056 w 2337"/>
                  <a:gd name="T51" fmla="*/ 685 h 1666"/>
                  <a:gd name="T52" fmla="*/ 2044 w 2337"/>
                  <a:gd name="T53" fmla="*/ 695 h 1666"/>
                  <a:gd name="T54" fmla="*/ 221 w 2337"/>
                  <a:gd name="T55" fmla="*/ 1661 h 1666"/>
                  <a:gd name="T56" fmla="*/ 211 w 2337"/>
                  <a:gd name="T57" fmla="*/ 1665 h 1666"/>
                  <a:gd name="T58" fmla="*/ 200 w 2337"/>
                  <a:gd name="T59" fmla="*/ 1666 h 1666"/>
                  <a:gd name="T60" fmla="*/ 187 w 2337"/>
                  <a:gd name="T61" fmla="*/ 1664 h 1666"/>
                  <a:gd name="T62" fmla="*/ 174 w 2337"/>
                  <a:gd name="T63" fmla="*/ 1656 h 1666"/>
                  <a:gd name="T64" fmla="*/ 167 w 2337"/>
                  <a:gd name="T65" fmla="*/ 1648 h 1666"/>
                  <a:gd name="T66" fmla="*/ 161 w 2337"/>
                  <a:gd name="T67" fmla="*/ 1637 h 1666"/>
                  <a:gd name="T68" fmla="*/ 160 w 2337"/>
                  <a:gd name="T69" fmla="*/ 1625 h 1666"/>
                  <a:gd name="T70" fmla="*/ 161 w 2337"/>
                  <a:gd name="T71" fmla="*/ 1612 h 1666"/>
                  <a:gd name="T72" fmla="*/ 168 w 2337"/>
                  <a:gd name="T73" fmla="*/ 1580 h 1666"/>
                  <a:gd name="T74" fmla="*/ 170 w 2337"/>
                  <a:gd name="T75" fmla="*/ 1547 h 1666"/>
                  <a:gd name="T76" fmla="*/ 167 w 2337"/>
                  <a:gd name="T77" fmla="*/ 1514 h 1666"/>
                  <a:gd name="T78" fmla="*/ 161 w 2337"/>
                  <a:gd name="T79" fmla="*/ 1482 h 1666"/>
                  <a:gd name="T80" fmla="*/ 150 w 2337"/>
                  <a:gd name="T81" fmla="*/ 1450 h 1666"/>
                  <a:gd name="T82" fmla="*/ 138 w 2337"/>
                  <a:gd name="T83" fmla="*/ 1419 h 1666"/>
                  <a:gd name="T84" fmla="*/ 124 w 2337"/>
                  <a:gd name="T85" fmla="*/ 1391 h 1666"/>
                  <a:gd name="T86" fmla="*/ 108 w 2337"/>
                  <a:gd name="T87" fmla="*/ 1363 h 1666"/>
                  <a:gd name="T88" fmla="*/ 91 w 2337"/>
                  <a:gd name="T89" fmla="*/ 1338 h 1666"/>
                  <a:gd name="T90" fmla="*/ 75 w 2337"/>
                  <a:gd name="T91" fmla="*/ 1315 h 1666"/>
                  <a:gd name="T92" fmla="*/ 59 w 2337"/>
                  <a:gd name="T93" fmla="*/ 1295 h 1666"/>
                  <a:gd name="T94" fmla="*/ 45 w 2337"/>
                  <a:gd name="T95" fmla="*/ 1278 h 1666"/>
                  <a:gd name="T96" fmla="*/ 33 w 2337"/>
                  <a:gd name="T97" fmla="*/ 1264 h 1666"/>
                  <a:gd name="T98" fmla="*/ 22 w 2337"/>
                  <a:gd name="T99" fmla="*/ 1253 h 1666"/>
                  <a:gd name="T100" fmla="*/ 16 w 2337"/>
                  <a:gd name="T101" fmla="*/ 1247 h 1666"/>
                  <a:gd name="T102" fmla="*/ 13 w 2337"/>
                  <a:gd name="T103" fmla="*/ 1243 h 1666"/>
                  <a:gd name="T104" fmla="*/ 5 w 2337"/>
                  <a:gd name="T105" fmla="*/ 1234 h 1666"/>
                  <a:gd name="T106" fmla="*/ 1 w 2337"/>
                  <a:gd name="T107" fmla="*/ 1222 h 1666"/>
                  <a:gd name="T108" fmla="*/ 0 w 2337"/>
                  <a:gd name="T109" fmla="*/ 1209 h 1666"/>
                  <a:gd name="T110" fmla="*/ 5 w 2337"/>
                  <a:gd name="T111" fmla="*/ 1195 h 1666"/>
                  <a:gd name="T112" fmla="*/ 12 w 2337"/>
                  <a:gd name="T113" fmla="*/ 1185 h 1666"/>
                  <a:gd name="T114" fmla="*/ 22 w 2337"/>
                  <a:gd name="T115" fmla="*/ 1177 h 1666"/>
                  <a:gd name="T116" fmla="*/ 2201 w 2337"/>
                  <a:gd name="T117" fmla="*/ 5 h 1666"/>
                  <a:gd name="T118" fmla="*/ 2213 w 2337"/>
                  <a:gd name="T119" fmla="*/ 0 h 1666"/>
                  <a:gd name="T120" fmla="*/ 2226 w 2337"/>
                  <a:gd name="T121" fmla="*/ 0 h 1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337" h="1666">
                    <a:moveTo>
                      <a:pt x="2226" y="0"/>
                    </a:moveTo>
                    <a:lnTo>
                      <a:pt x="2238" y="4"/>
                    </a:lnTo>
                    <a:lnTo>
                      <a:pt x="2249" y="11"/>
                    </a:lnTo>
                    <a:lnTo>
                      <a:pt x="2258" y="22"/>
                    </a:lnTo>
                    <a:lnTo>
                      <a:pt x="2332" y="157"/>
                    </a:lnTo>
                    <a:lnTo>
                      <a:pt x="2337" y="171"/>
                    </a:lnTo>
                    <a:lnTo>
                      <a:pt x="2335" y="186"/>
                    </a:lnTo>
                    <a:lnTo>
                      <a:pt x="2331" y="199"/>
                    </a:lnTo>
                    <a:lnTo>
                      <a:pt x="2320" y="210"/>
                    </a:lnTo>
                    <a:lnTo>
                      <a:pt x="2272" y="250"/>
                    </a:lnTo>
                    <a:lnTo>
                      <a:pt x="2230" y="290"/>
                    </a:lnTo>
                    <a:lnTo>
                      <a:pt x="2194" y="331"/>
                    </a:lnTo>
                    <a:lnTo>
                      <a:pt x="2164" y="371"/>
                    </a:lnTo>
                    <a:lnTo>
                      <a:pt x="2139" y="412"/>
                    </a:lnTo>
                    <a:lnTo>
                      <a:pt x="2118" y="450"/>
                    </a:lnTo>
                    <a:lnTo>
                      <a:pt x="2102" y="488"/>
                    </a:lnTo>
                    <a:lnTo>
                      <a:pt x="2090" y="522"/>
                    </a:lnTo>
                    <a:lnTo>
                      <a:pt x="2080" y="555"/>
                    </a:lnTo>
                    <a:lnTo>
                      <a:pt x="2074" y="583"/>
                    </a:lnTo>
                    <a:lnTo>
                      <a:pt x="2069" y="607"/>
                    </a:lnTo>
                    <a:lnTo>
                      <a:pt x="2067" y="628"/>
                    </a:lnTo>
                    <a:lnTo>
                      <a:pt x="2066" y="643"/>
                    </a:lnTo>
                    <a:lnTo>
                      <a:pt x="2066" y="653"/>
                    </a:lnTo>
                    <a:lnTo>
                      <a:pt x="2066" y="656"/>
                    </a:lnTo>
                    <a:lnTo>
                      <a:pt x="2063" y="672"/>
                    </a:lnTo>
                    <a:lnTo>
                      <a:pt x="2056" y="685"/>
                    </a:lnTo>
                    <a:lnTo>
                      <a:pt x="2044" y="695"/>
                    </a:lnTo>
                    <a:lnTo>
                      <a:pt x="221" y="1661"/>
                    </a:lnTo>
                    <a:lnTo>
                      <a:pt x="211" y="1665"/>
                    </a:lnTo>
                    <a:lnTo>
                      <a:pt x="200" y="1666"/>
                    </a:lnTo>
                    <a:lnTo>
                      <a:pt x="187" y="1664"/>
                    </a:lnTo>
                    <a:lnTo>
                      <a:pt x="174" y="1656"/>
                    </a:lnTo>
                    <a:lnTo>
                      <a:pt x="167" y="1648"/>
                    </a:lnTo>
                    <a:lnTo>
                      <a:pt x="161" y="1637"/>
                    </a:lnTo>
                    <a:lnTo>
                      <a:pt x="160" y="1625"/>
                    </a:lnTo>
                    <a:lnTo>
                      <a:pt x="161" y="1612"/>
                    </a:lnTo>
                    <a:lnTo>
                      <a:pt x="168" y="1580"/>
                    </a:lnTo>
                    <a:lnTo>
                      <a:pt x="170" y="1547"/>
                    </a:lnTo>
                    <a:lnTo>
                      <a:pt x="167" y="1514"/>
                    </a:lnTo>
                    <a:lnTo>
                      <a:pt x="161" y="1482"/>
                    </a:lnTo>
                    <a:lnTo>
                      <a:pt x="150" y="1450"/>
                    </a:lnTo>
                    <a:lnTo>
                      <a:pt x="138" y="1419"/>
                    </a:lnTo>
                    <a:lnTo>
                      <a:pt x="124" y="1391"/>
                    </a:lnTo>
                    <a:lnTo>
                      <a:pt x="108" y="1363"/>
                    </a:lnTo>
                    <a:lnTo>
                      <a:pt x="91" y="1338"/>
                    </a:lnTo>
                    <a:lnTo>
                      <a:pt x="75" y="1315"/>
                    </a:lnTo>
                    <a:lnTo>
                      <a:pt x="59" y="1295"/>
                    </a:lnTo>
                    <a:lnTo>
                      <a:pt x="45" y="1278"/>
                    </a:lnTo>
                    <a:lnTo>
                      <a:pt x="33" y="1264"/>
                    </a:lnTo>
                    <a:lnTo>
                      <a:pt x="22" y="1253"/>
                    </a:lnTo>
                    <a:lnTo>
                      <a:pt x="16" y="1247"/>
                    </a:lnTo>
                    <a:lnTo>
                      <a:pt x="13" y="1243"/>
                    </a:lnTo>
                    <a:lnTo>
                      <a:pt x="5" y="1234"/>
                    </a:lnTo>
                    <a:lnTo>
                      <a:pt x="1" y="1222"/>
                    </a:lnTo>
                    <a:lnTo>
                      <a:pt x="0" y="1209"/>
                    </a:lnTo>
                    <a:lnTo>
                      <a:pt x="5" y="1195"/>
                    </a:lnTo>
                    <a:lnTo>
                      <a:pt x="12" y="1185"/>
                    </a:lnTo>
                    <a:lnTo>
                      <a:pt x="22" y="1177"/>
                    </a:lnTo>
                    <a:lnTo>
                      <a:pt x="2201" y="5"/>
                    </a:lnTo>
                    <a:lnTo>
                      <a:pt x="2213" y="0"/>
                    </a:lnTo>
                    <a:lnTo>
                      <a:pt x="222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5" name="Freeform 49"/>
              <p:cNvSpPr>
                <a:spLocks noEditPoints="1"/>
              </p:cNvSpPr>
              <p:nvPr/>
            </p:nvSpPr>
            <p:spPr bwMode="auto">
              <a:xfrm>
                <a:off x="-784" y="2185"/>
                <a:ext cx="201" cy="181"/>
              </a:xfrm>
              <a:custGeom>
                <a:avLst/>
                <a:gdLst>
                  <a:gd name="T0" fmla="*/ 406 w 805"/>
                  <a:gd name="T1" fmla="*/ 259 h 723"/>
                  <a:gd name="T2" fmla="*/ 354 w 805"/>
                  <a:gd name="T3" fmla="*/ 281 h 723"/>
                  <a:gd name="T4" fmla="*/ 315 w 805"/>
                  <a:gd name="T5" fmla="*/ 320 h 723"/>
                  <a:gd name="T6" fmla="*/ 293 w 805"/>
                  <a:gd name="T7" fmla="*/ 371 h 723"/>
                  <a:gd name="T8" fmla="*/ 293 w 805"/>
                  <a:gd name="T9" fmla="*/ 430 h 723"/>
                  <a:gd name="T10" fmla="*/ 315 w 805"/>
                  <a:gd name="T11" fmla="*/ 481 h 723"/>
                  <a:gd name="T12" fmla="*/ 354 w 805"/>
                  <a:gd name="T13" fmla="*/ 521 h 723"/>
                  <a:gd name="T14" fmla="*/ 406 w 805"/>
                  <a:gd name="T15" fmla="*/ 542 h 723"/>
                  <a:gd name="T16" fmla="*/ 463 w 805"/>
                  <a:gd name="T17" fmla="*/ 542 h 723"/>
                  <a:gd name="T18" fmla="*/ 515 w 805"/>
                  <a:gd name="T19" fmla="*/ 521 h 723"/>
                  <a:gd name="T20" fmla="*/ 554 w 805"/>
                  <a:gd name="T21" fmla="*/ 481 h 723"/>
                  <a:gd name="T22" fmla="*/ 576 w 805"/>
                  <a:gd name="T23" fmla="*/ 430 h 723"/>
                  <a:gd name="T24" fmla="*/ 576 w 805"/>
                  <a:gd name="T25" fmla="*/ 371 h 723"/>
                  <a:gd name="T26" fmla="*/ 554 w 805"/>
                  <a:gd name="T27" fmla="*/ 320 h 723"/>
                  <a:gd name="T28" fmla="*/ 515 w 805"/>
                  <a:gd name="T29" fmla="*/ 281 h 723"/>
                  <a:gd name="T30" fmla="*/ 463 w 805"/>
                  <a:gd name="T31" fmla="*/ 259 h 723"/>
                  <a:gd name="T32" fmla="*/ 648 w 805"/>
                  <a:gd name="T33" fmla="*/ 0 h 723"/>
                  <a:gd name="T34" fmla="*/ 675 w 805"/>
                  <a:gd name="T35" fmla="*/ 5 h 723"/>
                  <a:gd name="T36" fmla="*/ 690 w 805"/>
                  <a:gd name="T37" fmla="*/ 19 h 723"/>
                  <a:gd name="T38" fmla="*/ 705 w 805"/>
                  <a:gd name="T39" fmla="*/ 41 h 723"/>
                  <a:gd name="T40" fmla="*/ 729 w 805"/>
                  <a:gd name="T41" fmla="*/ 78 h 723"/>
                  <a:gd name="T42" fmla="*/ 756 w 805"/>
                  <a:gd name="T43" fmla="*/ 129 h 723"/>
                  <a:gd name="T44" fmla="*/ 781 w 805"/>
                  <a:gd name="T45" fmla="*/ 191 h 723"/>
                  <a:gd name="T46" fmla="*/ 799 w 805"/>
                  <a:gd name="T47" fmla="*/ 263 h 723"/>
                  <a:gd name="T48" fmla="*/ 805 w 805"/>
                  <a:gd name="T49" fmla="*/ 341 h 723"/>
                  <a:gd name="T50" fmla="*/ 794 w 805"/>
                  <a:gd name="T51" fmla="*/ 424 h 723"/>
                  <a:gd name="T52" fmla="*/ 762 w 805"/>
                  <a:gd name="T53" fmla="*/ 505 h 723"/>
                  <a:gd name="T54" fmla="*/ 710 w 805"/>
                  <a:gd name="T55" fmla="*/ 578 h 723"/>
                  <a:gd name="T56" fmla="*/ 637 w 805"/>
                  <a:gd name="T57" fmla="*/ 644 h 723"/>
                  <a:gd name="T58" fmla="*/ 552 w 805"/>
                  <a:gd name="T59" fmla="*/ 694 h 723"/>
                  <a:gd name="T60" fmla="*/ 464 w 805"/>
                  <a:gd name="T61" fmla="*/ 720 h 723"/>
                  <a:gd name="T62" fmla="*/ 376 w 805"/>
                  <a:gd name="T63" fmla="*/ 720 h 723"/>
                  <a:gd name="T64" fmla="*/ 293 w 805"/>
                  <a:gd name="T65" fmla="*/ 697 h 723"/>
                  <a:gd name="T66" fmla="*/ 217 w 805"/>
                  <a:gd name="T67" fmla="*/ 656 h 723"/>
                  <a:gd name="T68" fmla="*/ 151 w 805"/>
                  <a:gd name="T69" fmla="*/ 605 h 723"/>
                  <a:gd name="T70" fmla="*/ 96 w 805"/>
                  <a:gd name="T71" fmla="*/ 546 h 723"/>
                  <a:gd name="T72" fmla="*/ 52 w 805"/>
                  <a:gd name="T73" fmla="*/ 487 h 723"/>
                  <a:gd name="T74" fmla="*/ 21 w 805"/>
                  <a:gd name="T75" fmla="*/ 433 h 723"/>
                  <a:gd name="T76" fmla="*/ 3 w 805"/>
                  <a:gd name="T77" fmla="*/ 391 h 723"/>
                  <a:gd name="T78" fmla="*/ 2 w 805"/>
                  <a:gd name="T79" fmla="*/ 360 h 723"/>
                  <a:gd name="T80" fmla="*/ 22 w 805"/>
                  <a:gd name="T81" fmla="*/ 336 h 723"/>
                  <a:gd name="T82" fmla="*/ 648 w 805"/>
                  <a:gd name="T83" fmla="*/ 0 h 7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5" h="723">
                    <a:moveTo>
                      <a:pt x="434" y="256"/>
                    </a:moveTo>
                    <a:lnTo>
                      <a:pt x="406" y="259"/>
                    </a:lnTo>
                    <a:lnTo>
                      <a:pt x="378" y="267"/>
                    </a:lnTo>
                    <a:lnTo>
                      <a:pt x="354" y="281"/>
                    </a:lnTo>
                    <a:lnTo>
                      <a:pt x="332" y="298"/>
                    </a:lnTo>
                    <a:lnTo>
                      <a:pt x="315" y="320"/>
                    </a:lnTo>
                    <a:lnTo>
                      <a:pt x="301" y="345"/>
                    </a:lnTo>
                    <a:lnTo>
                      <a:pt x="293" y="371"/>
                    </a:lnTo>
                    <a:lnTo>
                      <a:pt x="289" y="401"/>
                    </a:lnTo>
                    <a:lnTo>
                      <a:pt x="293" y="430"/>
                    </a:lnTo>
                    <a:lnTo>
                      <a:pt x="301" y="456"/>
                    </a:lnTo>
                    <a:lnTo>
                      <a:pt x="315" y="481"/>
                    </a:lnTo>
                    <a:lnTo>
                      <a:pt x="332" y="503"/>
                    </a:lnTo>
                    <a:lnTo>
                      <a:pt x="354" y="521"/>
                    </a:lnTo>
                    <a:lnTo>
                      <a:pt x="378" y="534"/>
                    </a:lnTo>
                    <a:lnTo>
                      <a:pt x="406" y="542"/>
                    </a:lnTo>
                    <a:lnTo>
                      <a:pt x="434" y="545"/>
                    </a:lnTo>
                    <a:lnTo>
                      <a:pt x="463" y="542"/>
                    </a:lnTo>
                    <a:lnTo>
                      <a:pt x="491" y="534"/>
                    </a:lnTo>
                    <a:lnTo>
                      <a:pt x="515" y="521"/>
                    </a:lnTo>
                    <a:lnTo>
                      <a:pt x="536" y="503"/>
                    </a:lnTo>
                    <a:lnTo>
                      <a:pt x="554" y="481"/>
                    </a:lnTo>
                    <a:lnTo>
                      <a:pt x="567" y="456"/>
                    </a:lnTo>
                    <a:lnTo>
                      <a:pt x="576" y="430"/>
                    </a:lnTo>
                    <a:lnTo>
                      <a:pt x="579" y="401"/>
                    </a:lnTo>
                    <a:lnTo>
                      <a:pt x="576" y="371"/>
                    </a:lnTo>
                    <a:lnTo>
                      <a:pt x="567" y="345"/>
                    </a:lnTo>
                    <a:lnTo>
                      <a:pt x="554" y="320"/>
                    </a:lnTo>
                    <a:lnTo>
                      <a:pt x="536" y="298"/>
                    </a:lnTo>
                    <a:lnTo>
                      <a:pt x="515" y="281"/>
                    </a:lnTo>
                    <a:lnTo>
                      <a:pt x="491" y="267"/>
                    </a:lnTo>
                    <a:lnTo>
                      <a:pt x="463" y="259"/>
                    </a:lnTo>
                    <a:lnTo>
                      <a:pt x="434" y="256"/>
                    </a:lnTo>
                    <a:close/>
                    <a:moveTo>
                      <a:pt x="648" y="0"/>
                    </a:moveTo>
                    <a:lnTo>
                      <a:pt x="662" y="0"/>
                    </a:lnTo>
                    <a:lnTo>
                      <a:pt x="675" y="5"/>
                    </a:lnTo>
                    <a:lnTo>
                      <a:pt x="686" y="14"/>
                    </a:lnTo>
                    <a:lnTo>
                      <a:pt x="690" y="19"/>
                    </a:lnTo>
                    <a:lnTo>
                      <a:pt x="696" y="27"/>
                    </a:lnTo>
                    <a:lnTo>
                      <a:pt x="705" y="41"/>
                    </a:lnTo>
                    <a:lnTo>
                      <a:pt x="716" y="57"/>
                    </a:lnTo>
                    <a:lnTo>
                      <a:pt x="729" y="78"/>
                    </a:lnTo>
                    <a:lnTo>
                      <a:pt x="742" y="102"/>
                    </a:lnTo>
                    <a:lnTo>
                      <a:pt x="756" y="129"/>
                    </a:lnTo>
                    <a:lnTo>
                      <a:pt x="769" y="159"/>
                    </a:lnTo>
                    <a:lnTo>
                      <a:pt x="781" y="191"/>
                    </a:lnTo>
                    <a:lnTo>
                      <a:pt x="790" y="226"/>
                    </a:lnTo>
                    <a:lnTo>
                      <a:pt x="799" y="263"/>
                    </a:lnTo>
                    <a:lnTo>
                      <a:pt x="804" y="302"/>
                    </a:lnTo>
                    <a:lnTo>
                      <a:pt x="805" y="341"/>
                    </a:lnTo>
                    <a:lnTo>
                      <a:pt x="802" y="381"/>
                    </a:lnTo>
                    <a:lnTo>
                      <a:pt x="794" y="424"/>
                    </a:lnTo>
                    <a:lnTo>
                      <a:pt x="781" y="466"/>
                    </a:lnTo>
                    <a:lnTo>
                      <a:pt x="762" y="505"/>
                    </a:lnTo>
                    <a:lnTo>
                      <a:pt x="739" y="542"/>
                    </a:lnTo>
                    <a:lnTo>
                      <a:pt x="710" y="578"/>
                    </a:lnTo>
                    <a:lnTo>
                      <a:pt x="675" y="612"/>
                    </a:lnTo>
                    <a:lnTo>
                      <a:pt x="637" y="644"/>
                    </a:lnTo>
                    <a:lnTo>
                      <a:pt x="595" y="673"/>
                    </a:lnTo>
                    <a:lnTo>
                      <a:pt x="552" y="694"/>
                    </a:lnTo>
                    <a:lnTo>
                      <a:pt x="508" y="710"/>
                    </a:lnTo>
                    <a:lnTo>
                      <a:pt x="464" y="720"/>
                    </a:lnTo>
                    <a:lnTo>
                      <a:pt x="420" y="723"/>
                    </a:lnTo>
                    <a:lnTo>
                      <a:pt x="376" y="720"/>
                    </a:lnTo>
                    <a:lnTo>
                      <a:pt x="332" y="711"/>
                    </a:lnTo>
                    <a:lnTo>
                      <a:pt x="293" y="697"/>
                    </a:lnTo>
                    <a:lnTo>
                      <a:pt x="253" y="679"/>
                    </a:lnTo>
                    <a:lnTo>
                      <a:pt x="217" y="656"/>
                    </a:lnTo>
                    <a:lnTo>
                      <a:pt x="184" y="631"/>
                    </a:lnTo>
                    <a:lnTo>
                      <a:pt x="151" y="605"/>
                    </a:lnTo>
                    <a:lnTo>
                      <a:pt x="123" y="576"/>
                    </a:lnTo>
                    <a:lnTo>
                      <a:pt x="96" y="546"/>
                    </a:lnTo>
                    <a:lnTo>
                      <a:pt x="72" y="516"/>
                    </a:lnTo>
                    <a:lnTo>
                      <a:pt x="52" y="487"/>
                    </a:lnTo>
                    <a:lnTo>
                      <a:pt x="34" y="460"/>
                    </a:lnTo>
                    <a:lnTo>
                      <a:pt x="21" y="433"/>
                    </a:lnTo>
                    <a:lnTo>
                      <a:pt x="10" y="411"/>
                    </a:lnTo>
                    <a:lnTo>
                      <a:pt x="3" y="391"/>
                    </a:lnTo>
                    <a:lnTo>
                      <a:pt x="0" y="376"/>
                    </a:lnTo>
                    <a:lnTo>
                      <a:pt x="2" y="360"/>
                    </a:lnTo>
                    <a:lnTo>
                      <a:pt x="10" y="346"/>
                    </a:lnTo>
                    <a:lnTo>
                      <a:pt x="22" y="336"/>
                    </a:lnTo>
                    <a:lnTo>
                      <a:pt x="635" y="5"/>
                    </a:lnTo>
                    <a:lnTo>
                      <a:pt x="64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6" name="Freeform 50"/>
              <p:cNvSpPr>
                <a:spLocks/>
              </p:cNvSpPr>
              <p:nvPr/>
            </p:nvSpPr>
            <p:spPr bwMode="auto">
              <a:xfrm>
                <a:off x="-690" y="2270"/>
                <a:ext cx="30" cy="31"/>
              </a:xfrm>
              <a:custGeom>
                <a:avLst/>
                <a:gdLst>
                  <a:gd name="T0" fmla="*/ 61 w 123"/>
                  <a:gd name="T1" fmla="*/ 0 h 123"/>
                  <a:gd name="T2" fmla="*/ 81 w 123"/>
                  <a:gd name="T3" fmla="*/ 3 h 123"/>
                  <a:gd name="T4" fmla="*/ 97 w 123"/>
                  <a:gd name="T5" fmla="*/ 12 h 123"/>
                  <a:gd name="T6" fmla="*/ 111 w 123"/>
                  <a:gd name="T7" fmla="*/ 25 h 123"/>
                  <a:gd name="T8" fmla="*/ 120 w 123"/>
                  <a:gd name="T9" fmla="*/ 42 h 123"/>
                  <a:gd name="T10" fmla="*/ 123 w 123"/>
                  <a:gd name="T11" fmla="*/ 62 h 123"/>
                  <a:gd name="T12" fmla="*/ 120 w 123"/>
                  <a:gd name="T13" fmla="*/ 81 h 123"/>
                  <a:gd name="T14" fmla="*/ 111 w 123"/>
                  <a:gd name="T15" fmla="*/ 98 h 123"/>
                  <a:gd name="T16" fmla="*/ 97 w 123"/>
                  <a:gd name="T17" fmla="*/ 111 h 123"/>
                  <a:gd name="T18" fmla="*/ 81 w 123"/>
                  <a:gd name="T19" fmla="*/ 120 h 123"/>
                  <a:gd name="T20" fmla="*/ 61 w 123"/>
                  <a:gd name="T21" fmla="*/ 123 h 123"/>
                  <a:gd name="T22" fmla="*/ 42 w 123"/>
                  <a:gd name="T23" fmla="*/ 120 h 123"/>
                  <a:gd name="T24" fmla="*/ 25 w 123"/>
                  <a:gd name="T25" fmla="*/ 111 h 123"/>
                  <a:gd name="T26" fmla="*/ 12 w 123"/>
                  <a:gd name="T27" fmla="*/ 98 h 123"/>
                  <a:gd name="T28" fmla="*/ 4 w 123"/>
                  <a:gd name="T29" fmla="*/ 81 h 123"/>
                  <a:gd name="T30" fmla="*/ 0 w 123"/>
                  <a:gd name="T31" fmla="*/ 62 h 123"/>
                  <a:gd name="T32" fmla="*/ 4 w 123"/>
                  <a:gd name="T33" fmla="*/ 42 h 123"/>
                  <a:gd name="T34" fmla="*/ 12 w 123"/>
                  <a:gd name="T35" fmla="*/ 25 h 123"/>
                  <a:gd name="T36" fmla="*/ 25 w 123"/>
                  <a:gd name="T37" fmla="*/ 12 h 123"/>
                  <a:gd name="T38" fmla="*/ 42 w 123"/>
                  <a:gd name="T39" fmla="*/ 3 h 123"/>
                  <a:gd name="T40" fmla="*/ 61 w 123"/>
                  <a:gd name="T41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123">
                    <a:moveTo>
                      <a:pt x="61" y="0"/>
                    </a:moveTo>
                    <a:lnTo>
                      <a:pt x="81" y="3"/>
                    </a:lnTo>
                    <a:lnTo>
                      <a:pt x="97" y="12"/>
                    </a:lnTo>
                    <a:lnTo>
                      <a:pt x="111" y="25"/>
                    </a:lnTo>
                    <a:lnTo>
                      <a:pt x="120" y="42"/>
                    </a:lnTo>
                    <a:lnTo>
                      <a:pt x="123" y="62"/>
                    </a:lnTo>
                    <a:lnTo>
                      <a:pt x="120" y="81"/>
                    </a:lnTo>
                    <a:lnTo>
                      <a:pt x="111" y="98"/>
                    </a:lnTo>
                    <a:lnTo>
                      <a:pt x="97" y="111"/>
                    </a:lnTo>
                    <a:lnTo>
                      <a:pt x="81" y="120"/>
                    </a:lnTo>
                    <a:lnTo>
                      <a:pt x="61" y="123"/>
                    </a:lnTo>
                    <a:lnTo>
                      <a:pt x="42" y="120"/>
                    </a:lnTo>
                    <a:lnTo>
                      <a:pt x="25" y="111"/>
                    </a:lnTo>
                    <a:lnTo>
                      <a:pt x="12" y="98"/>
                    </a:lnTo>
                    <a:lnTo>
                      <a:pt x="4" y="81"/>
                    </a:lnTo>
                    <a:lnTo>
                      <a:pt x="0" y="62"/>
                    </a:lnTo>
                    <a:lnTo>
                      <a:pt x="4" y="42"/>
                    </a:lnTo>
                    <a:lnTo>
                      <a:pt x="12" y="25"/>
                    </a:lnTo>
                    <a:lnTo>
                      <a:pt x="25" y="12"/>
                    </a:lnTo>
                    <a:lnTo>
                      <a:pt x="42" y="3"/>
                    </a:lnTo>
                    <a:lnTo>
                      <a:pt x="6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8" name="Freeform 51"/>
              <p:cNvSpPr>
                <a:spLocks/>
              </p:cNvSpPr>
              <p:nvPr/>
            </p:nvSpPr>
            <p:spPr bwMode="auto">
              <a:xfrm>
                <a:off x="-711" y="2369"/>
                <a:ext cx="393" cy="157"/>
              </a:xfrm>
              <a:custGeom>
                <a:avLst/>
                <a:gdLst>
                  <a:gd name="T0" fmla="*/ 248 w 1576"/>
                  <a:gd name="T1" fmla="*/ 0 h 630"/>
                  <a:gd name="T2" fmla="*/ 271 w 1576"/>
                  <a:gd name="T3" fmla="*/ 7 h 630"/>
                  <a:gd name="T4" fmla="*/ 287 w 1576"/>
                  <a:gd name="T5" fmla="*/ 26 h 630"/>
                  <a:gd name="T6" fmla="*/ 293 w 1576"/>
                  <a:gd name="T7" fmla="*/ 37 h 630"/>
                  <a:gd name="T8" fmla="*/ 306 w 1576"/>
                  <a:gd name="T9" fmla="*/ 61 h 630"/>
                  <a:gd name="T10" fmla="*/ 330 w 1576"/>
                  <a:gd name="T11" fmla="*/ 93 h 630"/>
                  <a:gd name="T12" fmla="*/ 366 w 1576"/>
                  <a:gd name="T13" fmla="*/ 130 h 630"/>
                  <a:gd name="T14" fmla="*/ 415 w 1576"/>
                  <a:gd name="T15" fmla="*/ 166 h 630"/>
                  <a:gd name="T16" fmla="*/ 479 w 1576"/>
                  <a:gd name="T17" fmla="*/ 197 h 630"/>
                  <a:gd name="T18" fmla="*/ 558 w 1576"/>
                  <a:gd name="T19" fmla="*/ 220 h 630"/>
                  <a:gd name="T20" fmla="*/ 655 w 1576"/>
                  <a:gd name="T21" fmla="*/ 229 h 630"/>
                  <a:gd name="T22" fmla="*/ 1296 w 1576"/>
                  <a:gd name="T23" fmla="*/ 84 h 630"/>
                  <a:gd name="T24" fmla="*/ 1308 w 1576"/>
                  <a:gd name="T25" fmla="*/ 54 h 630"/>
                  <a:gd name="T26" fmla="*/ 1337 w 1576"/>
                  <a:gd name="T27" fmla="*/ 42 h 630"/>
                  <a:gd name="T28" fmla="*/ 1543 w 1576"/>
                  <a:gd name="T29" fmla="*/ 38 h 630"/>
                  <a:gd name="T30" fmla="*/ 1562 w 1576"/>
                  <a:gd name="T31" fmla="*/ 49 h 630"/>
                  <a:gd name="T32" fmla="*/ 1574 w 1576"/>
                  <a:gd name="T33" fmla="*/ 68 h 630"/>
                  <a:gd name="T34" fmla="*/ 1576 w 1576"/>
                  <a:gd name="T35" fmla="*/ 588 h 630"/>
                  <a:gd name="T36" fmla="*/ 1564 w 1576"/>
                  <a:gd name="T37" fmla="*/ 617 h 630"/>
                  <a:gd name="T38" fmla="*/ 1534 w 1576"/>
                  <a:gd name="T39" fmla="*/ 630 h 630"/>
                  <a:gd name="T40" fmla="*/ 1315 w 1576"/>
                  <a:gd name="T41" fmla="*/ 626 h 630"/>
                  <a:gd name="T42" fmla="*/ 1293 w 1576"/>
                  <a:gd name="T43" fmla="*/ 603 h 630"/>
                  <a:gd name="T44" fmla="*/ 1291 w 1576"/>
                  <a:gd name="T45" fmla="*/ 488 h 630"/>
                  <a:gd name="T46" fmla="*/ 579 w 1576"/>
                  <a:gd name="T47" fmla="*/ 488 h 630"/>
                  <a:gd name="T48" fmla="*/ 487 w 1576"/>
                  <a:gd name="T49" fmla="*/ 480 h 630"/>
                  <a:gd name="T50" fmla="*/ 395 w 1576"/>
                  <a:gd name="T51" fmla="*/ 463 h 630"/>
                  <a:gd name="T52" fmla="*/ 306 w 1576"/>
                  <a:gd name="T53" fmla="*/ 437 h 630"/>
                  <a:gd name="T54" fmla="*/ 225 w 1576"/>
                  <a:gd name="T55" fmla="*/ 400 h 630"/>
                  <a:gd name="T56" fmla="*/ 151 w 1576"/>
                  <a:gd name="T57" fmla="*/ 353 h 630"/>
                  <a:gd name="T58" fmla="*/ 89 w 1576"/>
                  <a:gd name="T59" fmla="*/ 293 h 630"/>
                  <a:gd name="T60" fmla="*/ 42 w 1576"/>
                  <a:gd name="T61" fmla="*/ 223 h 630"/>
                  <a:gd name="T62" fmla="*/ 11 w 1576"/>
                  <a:gd name="T63" fmla="*/ 139 h 630"/>
                  <a:gd name="T64" fmla="*/ 0 w 1576"/>
                  <a:gd name="T65" fmla="*/ 42 h 630"/>
                  <a:gd name="T66" fmla="*/ 14 w 1576"/>
                  <a:gd name="T67" fmla="*/ 12 h 630"/>
                  <a:gd name="T68" fmla="*/ 42 w 1576"/>
                  <a:gd name="T69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76" h="630">
                    <a:moveTo>
                      <a:pt x="42" y="0"/>
                    </a:moveTo>
                    <a:lnTo>
                      <a:pt x="248" y="0"/>
                    </a:lnTo>
                    <a:lnTo>
                      <a:pt x="260" y="1"/>
                    </a:lnTo>
                    <a:lnTo>
                      <a:pt x="271" y="7"/>
                    </a:lnTo>
                    <a:lnTo>
                      <a:pt x="281" y="15"/>
                    </a:lnTo>
                    <a:lnTo>
                      <a:pt x="287" y="26"/>
                    </a:lnTo>
                    <a:lnTo>
                      <a:pt x="289" y="30"/>
                    </a:lnTo>
                    <a:lnTo>
                      <a:pt x="293" y="37"/>
                    </a:lnTo>
                    <a:lnTo>
                      <a:pt x="298" y="48"/>
                    </a:lnTo>
                    <a:lnTo>
                      <a:pt x="306" y="61"/>
                    </a:lnTo>
                    <a:lnTo>
                      <a:pt x="317" y="76"/>
                    </a:lnTo>
                    <a:lnTo>
                      <a:pt x="330" y="93"/>
                    </a:lnTo>
                    <a:lnTo>
                      <a:pt x="347" y="112"/>
                    </a:lnTo>
                    <a:lnTo>
                      <a:pt x="366" y="130"/>
                    </a:lnTo>
                    <a:lnTo>
                      <a:pt x="389" y="148"/>
                    </a:lnTo>
                    <a:lnTo>
                      <a:pt x="415" y="166"/>
                    </a:lnTo>
                    <a:lnTo>
                      <a:pt x="445" y="183"/>
                    </a:lnTo>
                    <a:lnTo>
                      <a:pt x="479" y="197"/>
                    </a:lnTo>
                    <a:lnTo>
                      <a:pt x="516" y="211"/>
                    </a:lnTo>
                    <a:lnTo>
                      <a:pt x="558" y="220"/>
                    </a:lnTo>
                    <a:lnTo>
                      <a:pt x="605" y="226"/>
                    </a:lnTo>
                    <a:lnTo>
                      <a:pt x="655" y="229"/>
                    </a:lnTo>
                    <a:lnTo>
                      <a:pt x="1296" y="229"/>
                    </a:lnTo>
                    <a:lnTo>
                      <a:pt x="1296" y="84"/>
                    </a:lnTo>
                    <a:lnTo>
                      <a:pt x="1299" y="67"/>
                    </a:lnTo>
                    <a:lnTo>
                      <a:pt x="1308" y="54"/>
                    </a:lnTo>
                    <a:lnTo>
                      <a:pt x="1320" y="45"/>
                    </a:lnTo>
                    <a:lnTo>
                      <a:pt x="1337" y="42"/>
                    </a:lnTo>
                    <a:lnTo>
                      <a:pt x="1534" y="37"/>
                    </a:lnTo>
                    <a:lnTo>
                      <a:pt x="1543" y="38"/>
                    </a:lnTo>
                    <a:lnTo>
                      <a:pt x="1554" y="42"/>
                    </a:lnTo>
                    <a:lnTo>
                      <a:pt x="1562" y="49"/>
                    </a:lnTo>
                    <a:lnTo>
                      <a:pt x="1570" y="57"/>
                    </a:lnTo>
                    <a:lnTo>
                      <a:pt x="1574" y="68"/>
                    </a:lnTo>
                    <a:lnTo>
                      <a:pt x="1576" y="79"/>
                    </a:lnTo>
                    <a:lnTo>
                      <a:pt x="1576" y="588"/>
                    </a:lnTo>
                    <a:lnTo>
                      <a:pt x="1572" y="603"/>
                    </a:lnTo>
                    <a:lnTo>
                      <a:pt x="1564" y="617"/>
                    </a:lnTo>
                    <a:lnTo>
                      <a:pt x="1550" y="626"/>
                    </a:lnTo>
                    <a:lnTo>
                      <a:pt x="1534" y="630"/>
                    </a:lnTo>
                    <a:lnTo>
                      <a:pt x="1332" y="630"/>
                    </a:lnTo>
                    <a:lnTo>
                      <a:pt x="1315" y="626"/>
                    </a:lnTo>
                    <a:lnTo>
                      <a:pt x="1302" y="617"/>
                    </a:lnTo>
                    <a:lnTo>
                      <a:pt x="1293" y="603"/>
                    </a:lnTo>
                    <a:lnTo>
                      <a:pt x="1290" y="587"/>
                    </a:lnTo>
                    <a:lnTo>
                      <a:pt x="1291" y="488"/>
                    </a:lnTo>
                    <a:lnTo>
                      <a:pt x="625" y="490"/>
                    </a:lnTo>
                    <a:lnTo>
                      <a:pt x="579" y="488"/>
                    </a:lnTo>
                    <a:lnTo>
                      <a:pt x="534" y="485"/>
                    </a:lnTo>
                    <a:lnTo>
                      <a:pt x="487" y="480"/>
                    </a:lnTo>
                    <a:lnTo>
                      <a:pt x="440" y="473"/>
                    </a:lnTo>
                    <a:lnTo>
                      <a:pt x="395" y="463"/>
                    </a:lnTo>
                    <a:lnTo>
                      <a:pt x="350" y="451"/>
                    </a:lnTo>
                    <a:lnTo>
                      <a:pt x="306" y="437"/>
                    </a:lnTo>
                    <a:lnTo>
                      <a:pt x="264" y="420"/>
                    </a:lnTo>
                    <a:lnTo>
                      <a:pt x="225" y="400"/>
                    </a:lnTo>
                    <a:lnTo>
                      <a:pt x="186" y="378"/>
                    </a:lnTo>
                    <a:lnTo>
                      <a:pt x="151" y="353"/>
                    </a:lnTo>
                    <a:lnTo>
                      <a:pt x="119" y="324"/>
                    </a:lnTo>
                    <a:lnTo>
                      <a:pt x="89" y="293"/>
                    </a:lnTo>
                    <a:lnTo>
                      <a:pt x="64" y="260"/>
                    </a:lnTo>
                    <a:lnTo>
                      <a:pt x="42" y="223"/>
                    </a:lnTo>
                    <a:lnTo>
                      <a:pt x="24" y="182"/>
                    </a:lnTo>
                    <a:lnTo>
                      <a:pt x="11" y="139"/>
                    </a:lnTo>
                    <a:lnTo>
                      <a:pt x="4" y="92"/>
                    </a:lnTo>
                    <a:lnTo>
                      <a:pt x="0" y="42"/>
                    </a:lnTo>
                    <a:lnTo>
                      <a:pt x="4" y="25"/>
                    </a:lnTo>
                    <a:lnTo>
                      <a:pt x="14" y="12"/>
                    </a:lnTo>
                    <a:lnTo>
                      <a:pt x="27" y="3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9" name="Freeform 52"/>
              <p:cNvSpPr>
                <a:spLocks/>
              </p:cNvSpPr>
              <p:nvPr/>
            </p:nvSpPr>
            <p:spPr bwMode="auto">
              <a:xfrm>
                <a:off x="-313" y="2345"/>
                <a:ext cx="79" cy="214"/>
              </a:xfrm>
              <a:custGeom>
                <a:avLst/>
                <a:gdLst>
                  <a:gd name="T0" fmla="*/ 42 w 315"/>
                  <a:gd name="T1" fmla="*/ 0 h 856"/>
                  <a:gd name="T2" fmla="*/ 273 w 315"/>
                  <a:gd name="T3" fmla="*/ 0 h 856"/>
                  <a:gd name="T4" fmla="*/ 290 w 315"/>
                  <a:gd name="T5" fmla="*/ 4 h 856"/>
                  <a:gd name="T6" fmla="*/ 303 w 315"/>
                  <a:gd name="T7" fmla="*/ 12 h 856"/>
                  <a:gd name="T8" fmla="*/ 311 w 315"/>
                  <a:gd name="T9" fmla="*/ 26 h 856"/>
                  <a:gd name="T10" fmla="*/ 315 w 315"/>
                  <a:gd name="T11" fmla="*/ 42 h 856"/>
                  <a:gd name="T12" fmla="*/ 315 w 315"/>
                  <a:gd name="T13" fmla="*/ 814 h 856"/>
                  <a:gd name="T14" fmla="*/ 311 w 315"/>
                  <a:gd name="T15" fmla="*/ 829 h 856"/>
                  <a:gd name="T16" fmla="*/ 303 w 315"/>
                  <a:gd name="T17" fmla="*/ 842 h 856"/>
                  <a:gd name="T18" fmla="*/ 290 w 315"/>
                  <a:gd name="T19" fmla="*/ 852 h 856"/>
                  <a:gd name="T20" fmla="*/ 273 w 315"/>
                  <a:gd name="T21" fmla="*/ 856 h 856"/>
                  <a:gd name="T22" fmla="*/ 42 w 315"/>
                  <a:gd name="T23" fmla="*/ 856 h 856"/>
                  <a:gd name="T24" fmla="*/ 26 w 315"/>
                  <a:gd name="T25" fmla="*/ 852 h 856"/>
                  <a:gd name="T26" fmla="*/ 12 w 315"/>
                  <a:gd name="T27" fmla="*/ 842 h 856"/>
                  <a:gd name="T28" fmla="*/ 3 w 315"/>
                  <a:gd name="T29" fmla="*/ 829 h 856"/>
                  <a:gd name="T30" fmla="*/ 0 w 315"/>
                  <a:gd name="T31" fmla="*/ 814 h 856"/>
                  <a:gd name="T32" fmla="*/ 0 w 315"/>
                  <a:gd name="T33" fmla="*/ 42 h 856"/>
                  <a:gd name="T34" fmla="*/ 3 w 315"/>
                  <a:gd name="T35" fmla="*/ 26 h 856"/>
                  <a:gd name="T36" fmla="*/ 12 w 315"/>
                  <a:gd name="T37" fmla="*/ 12 h 856"/>
                  <a:gd name="T38" fmla="*/ 26 w 315"/>
                  <a:gd name="T39" fmla="*/ 4 h 856"/>
                  <a:gd name="T40" fmla="*/ 42 w 315"/>
                  <a:gd name="T41" fmla="*/ 0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15" h="856">
                    <a:moveTo>
                      <a:pt x="42" y="0"/>
                    </a:moveTo>
                    <a:lnTo>
                      <a:pt x="273" y="0"/>
                    </a:lnTo>
                    <a:lnTo>
                      <a:pt x="290" y="4"/>
                    </a:lnTo>
                    <a:lnTo>
                      <a:pt x="303" y="12"/>
                    </a:lnTo>
                    <a:lnTo>
                      <a:pt x="311" y="26"/>
                    </a:lnTo>
                    <a:lnTo>
                      <a:pt x="315" y="42"/>
                    </a:lnTo>
                    <a:lnTo>
                      <a:pt x="315" y="814"/>
                    </a:lnTo>
                    <a:lnTo>
                      <a:pt x="311" y="829"/>
                    </a:lnTo>
                    <a:lnTo>
                      <a:pt x="303" y="842"/>
                    </a:lnTo>
                    <a:lnTo>
                      <a:pt x="290" y="852"/>
                    </a:lnTo>
                    <a:lnTo>
                      <a:pt x="273" y="856"/>
                    </a:lnTo>
                    <a:lnTo>
                      <a:pt x="42" y="856"/>
                    </a:lnTo>
                    <a:lnTo>
                      <a:pt x="26" y="852"/>
                    </a:lnTo>
                    <a:lnTo>
                      <a:pt x="12" y="842"/>
                    </a:lnTo>
                    <a:lnTo>
                      <a:pt x="3" y="829"/>
                    </a:lnTo>
                    <a:lnTo>
                      <a:pt x="0" y="814"/>
                    </a:lnTo>
                    <a:lnTo>
                      <a:pt x="0" y="42"/>
                    </a:lnTo>
                    <a:lnTo>
                      <a:pt x="3" y="26"/>
                    </a:lnTo>
                    <a:lnTo>
                      <a:pt x="12" y="12"/>
                    </a:lnTo>
                    <a:lnTo>
                      <a:pt x="26" y="4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35" name="Group 34"/>
          <p:cNvGrpSpPr/>
          <p:nvPr/>
        </p:nvGrpSpPr>
        <p:grpSpPr>
          <a:xfrm>
            <a:off x="1569869" y="4428045"/>
            <a:ext cx="828000" cy="828000"/>
            <a:chOff x="3729626" y="3622207"/>
            <a:chExt cx="828000" cy="828000"/>
          </a:xfrm>
        </p:grpSpPr>
        <p:sp>
          <p:nvSpPr>
            <p:cNvPr id="86" name="Oval 85"/>
            <p:cNvSpPr/>
            <p:nvPr/>
          </p:nvSpPr>
          <p:spPr bwMode="ltGray">
            <a:xfrm>
              <a:off x="3729626" y="3622207"/>
              <a:ext cx="828000" cy="82800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6" name="Freeform 4985"/>
            <p:cNvSpPr>
              <a:spLocks noEditPoints="1"/>
            </p:cNvSpPr>
            <p:nvPr/>
          </p:nvSpPr>
          <p:spPr bwMode="auto">
            <a:xfrm>
              <a:off x="3848211" y="3766641"/>
              <a:ext cx="590830" cy="539133"/>
            </a:xfrm>
            <a:custGeom>
              <a:avLst/>
              <a:gdLst>
                <a:gd name="T0" fmla="*/ 282 w 320"/>
                <a:gd name="T1" fmla="*/ 112 h 292"/>
                <a:gd name="T2" fmla="*/ 294 w 320"/>
                <a:gd name="T3" fmla="*/ 114 h 292"/>
                <a:gd name="T4" fmla="*/ 308 w 320"/>
                <a:gd name="T5" fmla="*/ 120 h 292"/>
                <a:gd name="T6" fmla="*/ 320 w 320"/>
                <a:gd name="T7" fmla="*/ 138 h 292"/>
                <a:gd name="T8" fmla="*/ 320 w 320"/>
                <a:gd name="T9" fmla="*/ 196 h 292"/>
                <a:gd name="T10" fmla="*/ 320 w 320"/>
                <a:gd name="T11" fmla="*/ 202 h 292"/>
                <a:gd name="T12" fmla="*/ 316 w 320"/>
                <a:gd name="T13" fmla="*/ 214 h 292"/>
                <a:gd name="T14" fmla="*/ 304 w 320"/>
                <a:gd name="T15" fmla="*/ 228 h 292"/>
                <a:gd name="T16" fmla="*/ 282 w 320"/>
                <a:gd name="T17" fmla="*/ 234 h 292"/>
                <a:gd name="T18" fmla="*/ 252 w 320"/>
                <a:gd name="T19" fmla="*/ 234 h 292"/>
                <a:gd name="T20" fmla="*/ 260 w 320"/>
                <a:gd name="T21" fmla="*/ 264 h 292"/>
                <a:gd name="T22" fmla="*/ 272 w 320"/>
                <a:gd name="T23" fmla="*/ 286 h 292"/>
                <a:gd name="T24" fmla="*/ 278 w 320"/>
                <a:gd name="T25" fmla="*/ 292 h 292"/>
                <a:gd name="T26" fmla="*/ 254 w 320"/>
                <a:gd name="T27" fmla="*/ 278 h 292"/>
                <a:gd name="T28" fmla="*/ 234 w 320"/>
                <a:gd name="T29" fmla="*/ 260 h 292"/>
                <a:gd name="T30" fmla="*/ 218 w 320"/>
                <a:gd name="T31" fmla="*/ 234 h 292"/>
                <a:gd name="T32" fmla="*/ 198 w 320"/>
                <a:gd name="T33" fmla="*/ 234 h 292"/>
                <a:gd name="T34" fmla="*/ 186 w 320"/>
                <a:gd name="T35" fmla="*/ 232 h 292"/>
                <a:gd name="T36" fmla="*/ 172 w 320"/>
                <a:gd name="T37" fmla="*/ 224 h 292"/>
                <a:gd name="T38" fmla="*/ 162 w 320"/>
                <a:gd name="T39" fmla="*/ 208 h 292"/>
                <a:gd name="T40" fmla="*/ 160 w 320"/>
                <a:gd name="T41" fmla="*/ 150 h 292"/>
                <a:gd name="T42" fmla="*/ 160 w 320"/>
                <a:gd name="T43" fmla="*/ 144 h 292"/>
                <a:gd name="T44" fmla="*/ 164 w 320"/>
                <a:gd name="T45" fmla="*/ 130 h 292"/>
                <a:gd name="T46" fmla="*/ 176 w 320"/>
                <a:gd name="T47" fmla="*/ 118 h 292"/>
                <a:gd name="T48" fmla="*/ 198 w 320"/>
                <a:gd name="T49" fmla="*/ 112 h 292"/>
                <a:gd name="T50" fmla="*/ 140 w 320"/>
                <a:gd name="T51" fmla="*/ 150 h 292"/>
                <a:gd name="T52" fmla="*/ 142 w 320"/>
                <a:gd name="T53" fmla="*/ 142 h 292"/>
                <a:gd name="T54" fmla="*/ 148 w 320"/>
                <a:gd name="T55" fmla="*/ 122 h 292"/>
                <a:gd name="T56" fmla="*/ 162 w 320"/>
                <a:gd name="T57" fmla="*/ 104 h 292"/>
                <a:gd name="T58" fmla="*/ 184 w 320"/>
                <a:gd name="T59" fmla="*/ 94 h 292"/>
                <a:gd name="T60" fmla="*/ 282 w 320"/>
                <a:gd name="T61" fmla="*/ 92 h 292"/>
                <a:gd name="T62" fmla="*/ 288 w 320"/>
                <a:gd name="T63" fmla="*/ 94 h 292"/>
                <a:gd name="T64" fmla="*/ 288 w 320"/>
                <a:gd name="T65" fmla="*/ 52 h 292"/>
                <a:gd name="T66" fmla="*/ 286 w 320"/>
                <a:gd name="T67" fmla="*/ 36 h 292"/>
                <a:gd name="T68" fmla="*/ 276 w 320"/>
                <a:gd name="T69" fmla="*/ 16 h 292"/>
                <a:gd name="T70" fmla="*/ 254 w 320"/>
                <a:gd name="T71" fmla="*/ 2 h 292"/>
                <a:gd name="T72" fmla="*/ 236 w 320"/>
                <a:gd name="T73" fmla="*/ 0 h 292"/>
                <a:gd name="T74" fmla="*/ 52 w 320"/>
                <a:gd name="T75" fmla="*/ 0 h 292"/>
                <a:gd name="T76" fmla="*/ 34 w 320"/>
                <a:gd name="T77" fmla="*/ 2 h 292"/>
                <a:gd name="T78" fmla="*/ 16 w 320"/>
                <a:gd name="T79" fmla="*/ 12 h 292"/>
                <a:gd name="T80" fmla="*/ 2 w 320"/>
                <a:gd name="T81" fmla="*/ 34 h 292"/>
                <a:gd name="T82" fmla="*/ 0 w 320"/>
                <a:gd name="T83" fmla="*/ 52 h 292"/>
                <a:gd name="T84" fmla="*/ 0 w 320"/>
                <a:gd name="T85" fmla="*/ 112 h 292"/>
                <a:gd name="T86" fmla="*/ 2 w 320"/>
                <a:gd name="T87" fmla="*/ 130 h 292"/>
                <a:gd name="T88" fmla="*/ 12 w 320"/>
                <a:gd name="T89" fmla="*/ 148 h 292"/>
                <a:gd name="T90" fmla="*/ 34 w 320"/>
                <a:gd name="T91" fmla="*/ 162 h 292"/>
                <a:gd name="T92" fmla="*/ 52 w 320"/>
                <a:gd name="T93" fmla="*/ 164 h 292"/>
                <a:gd name="T94" fmla="*/ 64 w 320"/>
                <a:gd name="T95" fmla="*/ 164 h 292"/>
                <a:gd name="T96" fmla="*/ 54 w 320"/>
                <a:gd name="T97" fmla="*/ 206 h 292"/>
                <a:gd name="T98" fmla="*/ 44 w 320"/>
                <a:gd name="T99" fmla="*/ 226 h 292"/>
                <a:gd name="T100" fmla="*/ 30 w 320"/>
                <a:gd name="T101" fmla="*/ 244 h 292"/>
                <a:gd name="T102" fmla="*/ 40 w 320"/>
                <a:gd name="T103" fmla="*/ 240 h 292"/>
                <a:gd name="T104" fmla="*/ 62 w 320"/>
                <a:gd name="T105" fmla="*/ 226 h 292"/>
                <a:gd name="T106" fmla="*/ 90 w 320"/>
                <a:gd name="T107" fmla="*/ 200 h 292"/>
                <a:gd name="T108" fmla="*/ 110 w 320"/>
                <a:gd name="T109" fmla="*/ 164 h 292"/>
                <a:gd name="T110" fmla="*/ 140 w 320"/>
                <a:gd name="T111" fmla="*/ 15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0" h="292">
                  <a:moveTo>
                    <a:pt x="282" y="112"/>
                  </a:moveTo>
                  <a:lnTo>
                    <a:pt x="282" y="112"/>
                  </a:lnTo>
                  <a:lnTo>
                    <a:pt x="288" y="112"/>
                  </a:lnTo>
                  <a:lnTo>
                    <a:pt x="294" y="114"/>
                  </a:lnTo>
                  <a:lnTo>
                    <a:pt x="302" y="116"/>
                  </a:lnTo>
                  <a:lnTo>
                    <a:pt x="308" y="120"/>
                  </a:lnTo>
                  <a:lnTo>
                    <a:pt x="314" y="128"/>
                  </a:lnTo>
                  <a:lnTo>
                    <a:pt x="320" y="138"/>
                  </a:lnTo>
                  <a:lnTo>
                    <a:pt x="320" y="150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202"/>
                  </a:lnTo>
                  <a:lnTo>
                    <a:pt x="318" y="208"/>
                  </a:lnTo>
                  <a:lnTo>
                    <a:pt x="316" y="214"/>
                  </a:lnTo>
                  <a:lnTo>
                    <a:pt x="312" y="222"/>
                  </a:lnTo>
                  <a:lnTo>
                    <a:pt x="304" y="228"/>
                  </a:lnTo>
                  <a:lnTo>
                    <a:pt x="294" y="232"/>
                  </a:lnTo>
                  <a:lnTo>
                    <a:pt x="282" y="234"/>
                  </a:lnTo>
                  <a:lnTo>
                    <a:pt x="252" y="234"/>
                  </a:lnTo>
                  <a:lnTo>
                    <a:pt x="252" y="234"/>
                  </a:lnTo>
                  <a:lnTo>
                    <a:pt x="256" y="248"/>
                  </a:lnTo>
                  <a:lnTo>
                    <a:pt x="260" y="264"/>
                  </a:lnTo>
                  <a:lnTo>
                    <a:pt x="268" y="280"/>
                  </a:lnTo>
                  <a:lnTo>
                    <a:pt x="272" y="286"/>
                  </a:lnTo>
                  <a:lnTo>
                    <a:pt x="278" y="292"/>
                  </a:lnTo>
                  <a:lnTo>
                    <a:pt x="278" y="292"/>
                  </a:lnTo>
                  <a:lnTo>
                    <a:pt x="272" y="290"/>
                  </a:lnTo>
                  <a:lnTo>
                    <a:pt x="254" y="278"/>
                  </a:lnTo>
                  <a:lnTo>
                    <a:pt x="244" y="270"/>
                  </a:lnTo>
                  <a:lnTo>
                    <a:pt x="234" y="260"/>
                  </a:lnTo>
                  <a:lnTo>
                    <a:pt x="226" y="248"/>
                  </a:lnTo>
                  <a:lnTo>
                    <a:pt x="218" y="234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192" y="234"/>
                  </a:lnTo>
                  <a:lnTo>
                    <a:pt x="186" y="232"/>
                  </a:lnTo>
                  <a:lnTo>
                    <a:pt x="180" y="230"/>
                  </a:lnTo>
                  <a:lnTo>
                    <a:pt x="172" y="224"/>
                  </a:lnTo>
                  <a:lnTo>
                    <a:pt x="166" y="218"/>
                  </a:lnTo>
                  <a:lnTo>
                    <a:pt x="162" y="208"/>
                  </a:lnTo>
                  <a:lnTo>
                    <a:pt x="160" y="196"/>
                  </a:lnTo>
                  <a:lnTo>
                    <a:pt x="160" y="150"/>
                  </a:lnTo>
                  <a:lnTo>
                    <a:pt x="160" y="150"/>
                  </a:lnTo>
                  <a:lnTo>
                    <a:pt x="160" y="144"/>
                  </a:lnTo>
                  <a:lnTo>
                    <a:pt x="162" y="138"/>
                  </a:lnTo>
                  <a:lnTo>
                    <a:pt x="164" y="130"/>
                  </a:lnTo>
                  <a:lnTo>
                    <a:pt x="170" y="124"/>
                  </a:lnTo>
                  <a:lnTo>
                    <a:pt x="176" y="118"/>
                  </a:lnTo>
                  <a:lnTo>
                    <a:pt x="186" y="114"/>
                  </a:lnTo>
                  <a:lnTo>
                    <a:pt x="198" y="112"/>
                  </a:lnTo>
                  <a:lnTo>
                    <a:pt x="282" y="112"/>
                  </a:lnTo>
                  <a:close/>
                  <a:moveTo>
                    <a:pt x="140" y="150"/>
                  </a:moveTo>
                  <a:lnTo>
                    <a:pt x="140" y="150"/>
                  </a:lnTo>
                  <a:lnTo>
                    <a:pt x="142" y="142"/>
                  </a:lnTo>
                  <a:lnTo>
                    <a:pt x="144" y="132"/>
                  </a:lnTo>
                  <a:lnTo>
                    <a:pt x="148" y="122"/>
                  </a:lnTo>
                  <a:lnTo>
                    <a:pt x="154" y="112"/>
                  </a:lnTo>
                  <a:lnTo>
                    <a:pt x="162" y="104"/>
                  </a:lnTo>
                  <a:lnTo>
                    <a:pt x="172" y="98"/>
                  </a:lnTo>
                  <a:lnTo>
                    <a:pt x="184" y="94"/>
                  </a:lnTo>
                  <a:lnTo>
                    <a:pt x="198" y="92"/>
                  </a:lnTo>
                  <a:lnTo>
                    <a:pt x="282" y="92"/>
                  </a:lnTo>
                  <a:lnTo>
                    <a:pt x="282" y="92"/>
                  </a:lnTo>
                  <a:lnTo>
                    <a:pt x="288" y="94"/>
                  </a:lnTo>
                  <a:lnTo>
                    <a:pt x="288" y="52"/>
                  </a:lnTo>
                  <a:lnTo>
                    <a:pt x="288" y="52"/>
                  </a:lnTo>
                  <a:lnTo>
                    <a:pt x="288" y="44"/>
                  </a:lnTo>
                  <a:lnTo>
                    <a:pt x="286" y="36"/>
                  </a:lnTo>
                  <a:lnTo>
                    <a:pt x="282" y="26"/>
                  </a:lnTo>
                  <a:lnTo>
                    <a:pt x="276" y="16"/>
                  </a:lnTo>
                  <a:lnTo>
                    <a:pt x="266" y="8"/>
                  </a:lnTo>
                  <a:lnTo>
                    <a:pt x="254" y="2"/>
                  </a:lnTo>
                  <a:lnTo>
                    <a:pt x="246" y="0"/>
                  </a:lnTo>
                  <a:lnTo>
                    <a:pt x="236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4" y="0"/>
                  </a:lnTo>
                  <a:lnTo>
                    <a:pt x="34" y="2"/>
                  </a:lnTo>
                  <a:lnTo>
                    <a:pt x="26" y="6"/>
                  </a:lnTo>
                  <a:lnTo>
                    <a:pt x="16" y="12"/>
                  </a:lnTo>
                  <a:lnTo>
                    <a:pt x="8" y="22"/>
                  </a:lnTo>
                  <a:lnTo>
                    <a:pt x="2" y="34"/>
                  </a:lnTo>
                  <a:lnTo>
                    <a:pt x="0" y="42"/>
                  </a:lnTo>
                  <a:lnTo>
                    <a:pt x="0" y="5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20"/>
                  </a:lnTo>
                  <a:lnTo>
                    <a:pt x="2" y="130"/>
                  </a:lnTo>
                  <a:lnTo>
                    <a:pt x="6" y="138"/>
                  </a:lnTo>
                  <a:lnTo>
                    <a:pt x="12" y="148"/>
                  </a:lnTo>
                  <a:lnTo>
                    <a:pt x="22" y="156"/>
                  </a:lnTo>
                  <a:lnTo>
                    <a:pt x="34" y="162"/>
                  </a:lnTo>
                  <a:lnTo>
                    <a:pt x="42" y="164"/>
                  </a:lnTo>
                  <a:lnTo>
                    <a:pt x="52" y="164"/>
                  </a:lnTo>
                  <a:lnTo>
                    <a:pt x="64" y="164"/>
                  </a:lnTo>
                  <a:lnTo>
                    <a:pt x="64" y="164"/>
                  </a:lnTo>
                  <a:lnTo>
                    <a:pt x="60" y="186"/>
                  </a:lnTo>
                  <a:lnTo>
                    <a:pt x="54" y="206"/>
                  </a:lnTo>
                  <a:lnTo>
                    <a:pt x="50" y="218"/>
                  </a:lnTo>
                  <a:lnTo>
                    <a:pt x="44" y="226"/>
                  </a:lnTo>
                  <a:lnTo>
                    <a:pt x="38" y="236"/>
                  </a:lnTo>
                  <a:lnTo>
                    <a:pt x="30" y="244"/>
                  </a:lnTo>
                  <a:lnTo>
                    <a:pt x="30" y="244"/>
                  </a:lnTo>
                  <a:lnTo>
                    <a:pt x="40" y="240"/>
                  </a:lnTo>
                  <a:lnTo>
                    <a:pt x="50" y="234"/>
                  </a:lnTo>
                  <a:lnTo>
                    <a:pt x="62" y="226"/>
                  </a:lnTo>
                  <a:lnTo>
                    <a:pt x="76" y="214"/>
                  </a:lnTo>
                  <a:lnTo>
                    <a:pt x="90" y="200"/>
                  </a:lnTo>
                  <a:lnTo>
                    <a:pt x="102" y="184"/>
                  </a:lnTo>
                  <a:lnTo>
                    <a:pt x="110" y="164"/>
                  </a:lnTo>
                  <a:lnTo>
                    <a:pt x="140" y="164"/>
                  </a:lnTo>
                  <a:lnTo>
                    <a:pt x="140" y="1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569869" y="5368094"/>
            <a:ext cx="828000" cy="828000"/>
            <a:chOff x="4975690" y="3660901"/>
            <a:chExt cx="828000" cy="828000"/>
          </a:xfrm>
        </p:grpSpPr>
        <p:sp>
          <p:nvSpPr>
            <p:cNvPr id="87" name="Oval 86"/>
            <p:cNvSpPr/>
            <p:nvPr/>
          </p:nvSpPr>
          <p:spPr bwMode="ltGray">
            <a:xfrm>
              <a:off x="4975690" y="3660901"/>
              <a:ext cx="828000" cy="82800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smtClean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97" name="Group 175"/>
            <p:cNvGrpSpPr>
              <a:grpSpLocks noChangeAspect="1"/>
            </p:cNvGrpSpPr>
            <p:nvPr/>
          </p:nvGrpSpPr>
          <p:grpSpPr bwMode="auto">
            <a:xfrm>
              <a:off x="5172692" y="3809681"/>
              <a:ext cx="433997" cy="530440"/>
              <a:chOff x="-825" y="3791"/>
              <a:chExt cx="477" cy="583"/>
            </a:xfrm>
          </p:grpSpPr>
          <p:sp>
            <p:nvSpPr>
              <p:cNvPr id="98" name="Freeform 177"/>
              <p:cNvSpPr>
                <a:spLocks noEditPoints="1"/>
              </p:cNvSpPr>
              <p:nvPr/>
            </p:nvSpPr>
            <p:spPr bwMode="auto">
              <a:xfrm>
                <a:off x="-806" y="3914"/>
                <a:ext cx="139" cy="131"/>
              </a:xfrm>
              <a:custGeom>
                <a:avLst/>
                <a:gdLst>
                  <a:gd name="T0" fmla="*/ 346 w 834"/>
                  <a:gd name="T1" fmla="*/ 246 h 783"/>
                  <a:gd name="T2" fmla="*/ 276 w 834"/>
                  <a:gd name="T3" fmla="*/ 304 h 783"/>
                  <a:gd name="T4" fmla="*/ 249 w 834"/>
                  <a:gd name="T5" fmla="*/ 391 h 783"/>
                  <a:gd name="T6" fmla="*/ 276 w 834"/>
                  <a:gd name="T7" fmla="*/ 480 h 783"/>
                  <a:gd name="T8" fmla="*/ 346 w 834"/>
                  <a:gd name="T9" fmla="*/ 537 h 783"/>
                  <a:gd name="T10" fmla="*/ 440 w 834"/>
                  <a:gd name="T11" fmla="*/ 547 h 783"/>
                  <a:gd name="T12" fmla="*/ 521 w 834"/>
                  <a:gd name="T13" fmla="*/ 503 h 783"/>
                  <a:gd name="T14" fmla="*/ 565 w 834"/>
                  <a:gd name="T15" fmla="*/ 423 h 783"/>
                  <a:gd name="T16" fmla="*/ 555 w 834"/>
                  <a:gd name="T17" fmla="*/ 330 h 783"/>
                  <a:gd name="T18" fmla="*/ 497 w 834"/>
                  <a:gd name="T19" fmla="*/ 261 h 783"/>
                  <a:gd name="T20" fmla="*/ 408 w 834"/>
                  <a:gd name="T21" fmla="*/ 234 h 783"/>
                  <a:gd name="T22" fmla="*/ 503 w 834"/>
                  <a:gd name="T23" fmla="*/ 54 h 783"/>
                  <a:gd name="T24" fmla="*/ 505 w 834"/>
                  <a:gd name="T25" fmla="*/ 87 h 783"/>
                  <a:gd name="T26" fmla="*/ 537 w 834"/>
                  <a:gd name="T27" fmla="*/ 122 h 783"/>
                  <a:gd name="T28" fmla="*/ 584 w 834"/>
                  <a:gd name="T29" fmla="*/ 118 h 783"/>
                  <a:gd name="T30" fmla="*/ 610 w 834"/>
                  <a:gd name="T31" fmla="*/ 95 h 783"/>
                  <a:gd name="T32" fmla="*/ 690 w 834"/>
                  <a:gd name="T33" fmla="*/ 90 h 783"/>
                  <a:gd name="T34" fmla="*/ 792 w 834"/>
                  <a:gd name="T35" fmla="*/ 283 h 783"/>
                  <a:gd name="T36" fmla="*/ 769 w 834"/>
                  <a:gd name="T37" fmla="*/ 300 h 783"/>
                  <a:gd name="T38" fmla="*/ 740 w 834"/>
                  <a:gd name="T39" fmla="*/ 327 h 783"/>
                  <a:gd name="T40" fmla="*/ 736 w 834"/>
                  <a:gd name="T41" fmla="*/ 378 h 783"/>
                  <a:gd name="T42" fmla="*/ 773 w 834"/>
                  <a:gd name="T43" fmla="*/ 399 h 783"/>
                  <a:gd name="T44" fmla="*/ 807 w 834"/>
                  <a:gd name="T45" fmla="*/ 419 h 783"/>
                  <a:gd name="T46" fmla="*/ 834 w 834"/>
                  <a:gd name="T47" fmla="*/ 493 h 783"/>
                  <a:gd name="T48" fmla="*/ 682 w 834"/>
                  <a:gd name="T49" fmla="*/ 646 h 783"/>
                  <a:gd name="T50" fmla="*/ 656 w 834"/>
                  <a:gd name="T51" fmla="*/ 632 h 783"/>
                  <a:gd name="T52" fmla="*/ 622 w 834"/>
                  <a:gd name="T53" fmla="*/ 613 h 783"/>
                  <a:gd name="T54" fmla="*/ 587 w 834"/>
                  <a:gd name="T55" fmla="*/ 650 h 783"/>
                  <a:gd name="T56" fmla="*/ 591 w 834"/>
                  <a:gd name="T57" fmla="*/ 695 h 783"/>
                  <a:gd name="T58" fmla="*/ 592 w 834"/>
                  <a:gd name="T59" fmla="*/ 718 h 783"/>
                  <a:gd name="T60" fmla="*/ 334 w 834"/>
                  <a:gd name="T61" fmla="*/ 732 h 783"/>
                  <a:gd name="T62" fmla="*/ 332 w 834"/>
                  <a:gd name="T63" fmla="*/ 709 h 783"/>
                  <a:gd name="T64" fmla="*/ 327 w 834"/>
                  <a:gd name="T65" fmla="*/ 669 h 783"/>
                  <a:gd name="T66" fmla="*/ 268 w 834"/>
                  <a:gd name="T67" fmla="*/ 659 h 783"/>
                  <a:gd name="T68" fmla="*/ 238 w 834"/>
                  <a:gd name="T69" fmla="*/ 685 h 783"/>
                  <a:gd name="T70" fmla="*/ 222 w 834"/>
                  <a:gd name="T71" fmla="*/ 700 h 783"/>
                  <a:gd name="T72" fmla="*/ 218 w 834"/>
                  <a:gd name="T73" fmla="*/ 701 h 783"/>
                  <a:gd name="T74" fmla="*/ 212 w 834"/>
                  <a:gd name="T75" fmla="*/ 704 h 783"/>
                  <a:gd name="T76" fmla="*/ 186 w 834"/>
                  <a:gd name="T77" fmla="*/ 703 h 783"/>
                  <a:gd name="T78" fmla="*/ 152 w 834"/>
                  <a:gd name="T79" fmla="*/ 700 h 783"/>
                  <a:gd name="T80" fmla="*/ 46 w 834"/>
                  <a:gd name="T81" fmla="*/ 508 h 783"/>
                  <a:gd name="T82" fmla="*/ 61 w 834"/>
                  <a:gd name="T83" fmla="*/ 496 h 783"/>
                  <a:gd name="T84" fmla="*/ 88 w 834"/>
                  <a:gd name="T85" fmla="*/ 473 h 783"/>
                  <a:gd name="T86" fmla="*/ 100 w 834"/>
                  <a:gd name="T87" fmla="*/ 433 h 783"/>
                  <a:gd name="T88" fmla="*/ 75 w 834"/>
                  <a:gd name="T89" fmla="*/ 398 h 783"/>
                  <a:gd name="T90" fmla="*/ 38 w 834"/>
                  <a:gd name="T91" fmla="*/ 382 h 783"/>
                  <a:gd name="T92" fmla="*/ 21 w 834"/>
                  <a:gd name="T93" fmla="*/ 373 h 783"/>
                  <a:gd name="T94" fmla="*/ 68 w 834"/>
                  <a:gd name="T95" fmla="*/ 161 h 783"/>
                  <a:gd name="T96" fmla="*/ 148 w 834"/>
                  <a:gd name="T97" fmla="*/ 147 h 783"/>
                  <a:gd name="T98" fmla="*/ 182 w 834"/>
                  <a:gd name="T99" fmla="*/ 162 h 783"/>
                  <a:gd name="T100" fmla="*/ 226 w 834"/>
                  <a:gd name="T101" fmla="*/ 158 h 783"/>
                  <a:gd name="T102" fmla="*/ 246 w 834"/>
                  <a:gd name="T103" fmla="*/ 116 h 783"/>
                  <a:gd name="T104" fmla="*/ 243 w 834"/>
                  <a:gd name="T105" fmla="*/ 75 h 783"/>
                  <a:gd name="T106" fmla="*/ 293 w 834"/>
                  <a:gd name="T107" fmla="*/ 13 h 7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34" h="783">
                    <a:moveTo>
                      <a:pt x="408" y="234"/>
                    </a:moveTo>
                    <a:lnTo>
                      <a:pt x="376" y="237"/>
                    </a:lnTo>
                    <a:lnTo>
                      <a:pt x="346" y="246"/>
                    </a:lnTo>
                    <a:lnTo>
                      <a:pt x="319" y="261"/>
                    </a:lnTo>
                    <a:lnTo>
                      <a:pt x="295" y="280"/>
                    </a:lnTo>
                    <a:lnTo>
                      <a:pt x="276" y="304"/>
                    </a:lnTo>
                    <a:lnTo>
                      <a:pt x="261" y="330"/>
                    </a:lnTo>
                    <a:lnTo>
                      <a:pt x="252" y="360"/>
                    </a:lnTo>
                    <a:lnTo>
                      <a:pt x="249" y="391"/>
                    </a:lnTo>
                    <a:lnTo>
                      <a:pt x="252" y="423"/>
                    </a:lnTo>
                    <a:lnTo>
                      <a:pt x="261" y="453"/>
                    </a:lnTo>
                    <a:lnTo>
                      <a:pt x="276" y="480"/>
                    </a:lnTo>
                    <a:lnTo>
                      <a:pt x="295" y="503"/>
                    </a:lnTo>
                    <a:lnTo>
                      <a:pt x="319" y="523"/>
                    </a:lnTo>
                    <a:lnTo>
                      <a:pt x="346" y="537"/>
                    </a:lnTo>
                    <a:lnTo>
                      <a:pt x="376" y="547"/>
                    </a:lnTo>
                    <a:lnTo>
                      <a:pt x="408" y="549"/>
                    </a:lnTo>
                    <a:lnTo>
                      <a:pt x="440" y="547"/>
                    </a:lnTo>
                    <a:lnTo>
                      <a:pt x="470" y="537"/>
                    </a:lnTo>
                    <a:lnTo>
                      <a:pt x="497" y="523"/>
                    </a:lnTo>
                    <a:lnTo>
                      <a:pt x="521" y="503"/>
                    </a:lnTo>
                    <a:lnTo>
                      <a:pt x="541" y="480"/>
                    </a:lnTo>
                    <a:lnTo>
                      <a:pt x="555" y="453"/>
                    </a:lnTo>
                    <a:lnTo>
                      <a:pt x="565" y="423"/>
                    </a:lnTo>
                    <a:lnTo>
                      <a:pt x="567" y="391"/>
                    </a:lnTo>
                    <a:lnTo>
                      <a:pt x="565" y="360"/>
                    </a:lnTo>
                    <a:lnTo>
                      <a:pt x="555" y="330"/>
                    </a:lnTo>
                    <a:lnTo>
                      <a:pt x="541" y="304"/>
                    </a:lnTo>
                    <a:lnTo>
                      <a:pt x="521" y="280"/>
                    </a:lnTo>
                    <a:lnTo>
                      <a:pt x="497" y="261"/>
                    </a:lnTo>
                    <a:lnTo>
                      <a:pt x="470" y="246"/>
                    </a:lnTo>
                    <a:lnTo>
                      <a:pt x="440" y="237"/>
                    </a:lnTo>
                    <a:lnTo>
                      <a:pt x="408" y="234"/>
                    </a:lnTo>
                    <a:close/>
                    <a:moveTo>
                      <a:pt x="451" y="0"/>
                    </a:moveTo>
                    <a:lnTo>
                      <a:pt x="503" y="51"/>
                    </a:lnTo>
                    <a:lnTo>
                      <a:pt x="503" y="54"/>
                    </a:lnTo>
                    <a:lnTo>
                      <a:pt x="503" y="63"/>
                    </a:lnTo>
                    <a:lnTo>
                      <a:pt x="504" y="74"/>
                    </a:lnTo>
                    <a:lnTo>
                      <a:pt x="505" y="87"/>
                    </a:lnTo>
                    <a:lnTo>
                      <a:pt x="506" y="100"/>
                    </a:lnTo>
                    <a:lnTo>
                      <a:pt x="507" y="112"/>
                    </a:lnTo>
                    <a:lnTo>
                      <a:pt x="537" y="122"/>
                    </a:lnTo>
                    <a:lnTo>
                      <a:pt x="566" y="134"/>
                    </a:lnTo>
                    <a:lnTo>
                      <a:pt x="575" y="126"/>
                    </a:lnTo>
                    <a:lnTo>
                      <a:pt x="584" y="118"/>
                    </a:lnTo>
                    <a:lnTo>
                      <a:pt x="594" y="110"/>
                    </a:lnTo>
                    <a:lnTo>
                      <a:pt x="602" y="102"/>
                    </a:lnTo>
                    <a:lnTo>
                      <a:pt x="610" y="95"/>
                    </a:lnTo>
                    <a:lnTo>
                      <a:pt x="616" y="91"/>
                    </a:lnTo>
                    <a:lnTo>
                      <a:pt x="618" y="90"/>
                    </a:lnTo>
                    <a:lnTo>
                      <a:pt x="690" y="90"/>
                    </a:lnTo>
                    <a:lnTo>
                      <a:pt x="794" y="209"/>
                    </a:lnTo>
                    <a:lnTo>
                      <a:pt x="794" y="281"/>
                    </a:lnTo>
                    <a:lnTo>
                      <a:pt x="792" y="283"/>
                    </a:lnTo>
                    <a:lnTo>
                      <a:pt x="786" y="286"/>
                    </a:lnTo>
                    <a:lnTo>
                      <a:pt x="779" y="293"/>
                    </a:lnTo>
                    <a:lnTo>
                      <a:pt x="769" y="300"/>
                    </a:lnTo>
                    <a:lnTo>
                      <a:pt x="759" y="309"/>
                    </a:lnTo>
                    <a:lnTo>
                      <a:pt x="750" y="318"/>
                    </a:lnTo>
                    <a:lnTo>
                      <a:pt x="740" y="327"/>
                    </a:lnTo>
                    <a:lnTo>
                      <a:pt x="731" y="334"/>
                    </a:lnTo>
                    <a:lnTo>
                      <a:pt x="734" y="356"/>
                    </a:lnTo>
                    <a:lnTo>
                      <a:pt x="736" y="378"/>
                    </a:lnTo>
                    <a:lnTo>
                      <a:pt x="747" y="385"/>
                    </a:lnTo>
                    <a:lnTo>
                      <a:pt x="759" y="393"/>
                    </a:lnTo>
                    <a:lnTo>
                      <a:pt x="773" y="399"/>
                    </a:lnTo>
                    <a:lnTo>
                      <a:pt x="786" y="407"/>
                    </a:lnTo>
                    <a:lnTo>
                      <a:pt x="797" y="413"/>
                    </a:lnTo>
                    <a:lnTo>
                      <a:pt x="807" y="419"/>
                    </a:lnTo>
                    <a:lnTo>
                      <a:pt x="813" y="423"/>
                    </a:lnTo>
                    <a:lnTo>
                      <a:pt x="816" y="424"/>
                    </a:lnTo>
                    <a:lnTo>
                      <a:pt x="834" y="493"/>
                    </a:lnTo>
                    <a:lnTo>
                      <a:pt x="754" y="629"/>
                    </a:lnTo>
                    <a:lnTo>
                      <a:pt x="684" y="648"/>
                    </a:lnTo>
                    <a:lnTo>
                      <a:pt x="682" y="646"/>
                    </a:lnTo>
                    <a:lnTo>
                      <a:pt x="675" y="643"/>
                    </a:lnTo>
                    <a:lnTo>
                      <a:pt x="667" y="637"/>
                    </a:lnTo>
                    <a:lnTo>
                      <a:pt x="656" y="632"/>
                    </a:lnTo>
                    <a:lnTo>
                      <a:pt x="643" y="625"/>
                    </a:lnTo>
                    <a:lnTo>
                      <a:pt x="632" y="618"/>
                    </a:lnTo>
                    <a:lnTo>
                      <a:pt x="622" y="613"/>
                    </a:lnTo>
                    <a:lnTo>
                      <a:pt x="605" y="625"/>
                    </a:lnTo>
                    <a:lnTo>
                      <a:pt x="586" y="637"/>
                    </a:lnTo>
                    <a:lnTo>
                      <a:pt x="587" y="650"/>
                    </a:lnTo>
                    <a:lnTo>
                      <a:pt x="588" y="664"/>
                    </a:lnTo>
                    <a:lnTo>
                      <a:pt x="589" y="680"/>
                    </a:lnTo>
                    <a:lnTo>
                      <a:pt x="591" y="695"/>
                    </a:lnTo>
                    <a:lnTo>
                      <a:pt x="592" y="707"/>
                    </a:lnTo>
                    <a:lnTo>
                      <a:pt x="592" y="715"/>
                    </a:lnTo>
                    <a:lnTo>
                      <a:pt x="592" y="718"/>
                    </a:lnTo>
                    <a:lnTo>
                      <a:pt x="542" y="769"/>
                    </a:lnTo>
                    <a:lnTo>
                      <a:pt x="385" y="783"/>
                    </a:lnTo>
                    <a:lnTo>
                      <a:pt x="334" y="732"/>
                    </a:lnTo>
                    <a:lnTo>
                      <a:pt x="333" y="729"/>
                    </a:lnTo>
                    <a:lnTo>
                      <a:pt x="333" y="721"/>
                    </a:lnTo>
                    <a:lnTo>
                      <a:pt x="332" y="709"/>
                    </a:lnTo>
                    <a:lnTo>
                      <a:pt x="329" y="695"/>
                    </a:lnTo>
                    <a:lnTo>
                      <a:pt x="328" y="681"/>
                    </a:lnTo>
                    <a:lnTo>
                      <a:pt x="327" y="669"/>
                    </a:lnTo>
                    <a:lnTo>
                      <a:pt x="302" y="661"/>
                    </a:lnTo>
                    <a:lnTo>
                      <a:pt x="278" y="651"/>
                    </a:lnTo>
                    <a:lnTo>
                      <a:pt x="268" y="659"/>
                    </a:lnTo>
                    <a:lnTo>
                      <a:pt x="259" y="668"/>
                    </a:lnTo>
                    <a:lnTo>
                      <a:pt x="247" y="677"/>
                    </a:lnTo>
                    <a:lnTo>
                      <a:pt x="238" y="685"/>
                    </a:lnTo>
                    <a:lnTo>
                      <a:pt x="230" y="693"/>
                    </a:lnTo>
                    <a:lnTo>
                      <a:pt x="224" y="697"/>
                    </a:lnTo>
                    <a:lnTo>
                      <a:pt x="222" y="700"/>
                    </a:lnTo>
                    <a:lnTo>
                      <a:pt x="221" y="700"/>
                    </a:lnTo>
                    <a:lnTo>
                      <a:pt x="220" y="701"/>
                    </a:lnTo>
                    <a:lnTo>
                      <a:pt x="218" y="701"/>
                    </a:lnTo>
                    <a:lnTo>
                      <a:pt x="217" y="702"/>
                    </a:lnTo>
                    <a:lnTo>
                      <a:pt x="214" y="703"/>
                    </a:lnTo>
                    <a:lnTo>
                      <a:pt x="212" y="704"/>
                    </a:lnTo>
                    <a:lnTo>
                      <a:pt x="208" y="704"/>
                    </a:lnTo>
                    <a:lnTo>
                      <a:pt x="198" y="704"/>
                    </a:lnTo>
                    <a:lnTo>
                      <a:pt x="186" y="703"/>
                    </a:lnTo>
                    <a:lnTo>
                      <a:pt x="173" y="702"/>
                    </a:lnTo>
                    <a:lnTo>
                      <a:pt x="161" y="701"/>
                    </a:lnTo>
                    <a:lnTo>
                      <a:pt x="152" y="700"/>
                    </a:lnTo>
                    <a:lnTo>
                      <a:pt x="149" y="700"/>
                    </a:lnTo>
                    <a:lnTo>
                      <a:pt x="46" y="579"/>
                    </a:lnTo>
                    <a:lnTo>
                      <a:pt x="46" y="508"/>
                    </a:lnTo>
                    <a:lnTo>
                      <a:pt x="48" y="505"/>
                    </a:lnTo>
                    <a:lnTo>
                      <a:pt x="53" y="502"/>
                    </a:lnTo>
                    <a:lnTo>
                      <a:pt x="61" y="496"/>
                    </a:lnTo>
                    <a:lnTo>
                      <a:pt x="69" y="489"/>
                    </a:lnTo>
                    <a:lnTo>
                      <a:pt x="78" y="480"/>
                    </a:lnTo>
                    <a:lnTo>
                      <a:pt x="88" y="473"/>
                    </a:lnTo>
                    <a:lnTo>
                      <a:pt x="98" y="465"/>
                    </a:lnTo>
                    <a:lnTo>
                      <a:pt x="106" y="457"/>
                    </a:lnTo>
                    <a:lnTo>
                      <a:pt x="100" y="433"/>
                    </a:lnTo>
                    <a:lnTo>
                      <a:pt x="98" y="408"/>
                    </a:lnTo>
                    <a:lnTo>
                      <a:pt x="87" y="404"/>
                    </a:lnTo>
                    <a:lnTo>
                      <a:pt x="75" y="398"/>
                    </a:lnTo>
                    <a:lnTo>
                      <a:pt x="62" y="393"/>
                    </a:lnTo>
                    <a:lnTo>
                      <a:pt x="50" y="386"/>
                    </a:lnTo>
                    <a:lnTo>
                      <a:pt x="38" y="382"/>
                    </a:lnTo>
                    <a:lnTo>
                      <a:pt x="29" y="377"/>
                    </a:lnTo>
                    <a:lnTo>
                      <a:pt x="23" y="374"/>
                    </a:lnTo>
                    <a:lnTo>
                      <a:pt x="21" y="373"/>
                    </a:lnTo>
                    <a:lnTo>
                      <a:pt x="0" y="314"/>
                    </a:lnTo>
                    <a:lnTo>
                      <a:pt x="2" y="304"/>
                    </a:lnTo>
                    <a:lnTo>
                      <a:pt x="68" y="161"/>
                    </a:lnTo>
                    <a:lnTo>
                      <a:pt x="138" y="143"/>
                    </a:lnTo>
                    <a:lnTo>
                      <a:pt x="141" y="144"/>
                    </a:lnTo>
                    <a:lnTo>
                      <a:pt x="148" y="147"/>
                    </a:lnTo>
                    <a:lnTo>
                      <a:pt x="158" y="151"/>
                    </a:lnTo>
                    <a:lnTo>
                      <a:pt x="169" y="157"/>
                    </a:lnTo>
                    <a:lnTo>
                      <a:pt x="182" y="162"/>
                    </a:lnTo>
                    <a:lnTo>
                      <a:pt x="194" y="168"/>
                    </a:lnTo>
                    <a:lnTo>
                      <a:pt x="205" y="173"/>
                    </a:lnTo>
                    <a:lnTo>
                      <a:pt x="226" y="158"/>
                    </a:lnTo>
                    <a:lnTo>
                      <a:pt x="249" y="144"/>
                    </a:lnTo>
                    <a:lnTo>
                      <a:pt x="247" y="131"/>
                    </a:lnTo>
                    <a:lnTo>
                      <a:pt x="246" y="116"/>
                    </a:lnTo>
                    <a:lnTo>
                      <a:pt x="245" y="101"/>
                    </a:lnTo>
                    <a:lnTo>
                      <a:pt x="244" y="87"/>
                    </a:lnTo>
                    <a:lnTo>
                      <a:pt x="243" y="75"/>
                    </a:lnTo>
                    <a:lnTo>
                      <a:pt x="242" y="67"/>
                    </a:lnTo>
                    <a:lnTo>
                      <a:pt x="242" y="64"/>
                    </a:lnTo>
                    <a:lnTo>
                      <a:pt x="293" y="13"/>
                    </a:lnTo>
                    <a:lnTo>
                      <a:pt x="451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9" name="Freeform 178"/>
              <p:cNvSpPr>
                <a:spLocks noEditPoints="1"/>
              </p:cNvSpPr>
              <p:nvPr/>
            </p:nvSpPr>
            <p:spPr bwMode="auto">
              <a:xfrm>
                <a:off x="-709" y="4029"/>
                <a:ext cx="105" cy="99"/>
              </a:xfrm>
              <a:custGeom>
                <a:avLst/>
                <a:gdLst>
                  <a:gd name="T0" fmla="*/ 256 w 631"/>
                  <a:gd name="T1" fmla="*/ 188 h 592"/>
                  <a:gd name="T2" fmla="*/ 201 w 631"/>
                  <a:gd name="T3" fmla="*/ 243 h 592"/>
                  <a:gd name="T4" fmla="*/ 192 w 631"/>
                  <a:gd name="T5" fmla="*/ 323 h 592"/>
                  <a:gd name="T6" fmla="*/ 234 w 631"/>
                  <a:gd name="T7" fmla="*/ 389 h 592"/>
                  <a:gd name="T8" fmla="*/ 309 w 631"/>
                  <a:gd name="T9" fmla="*/ 415 h 592"/>
                  <a:gd name="T10" fmla="*/ 384 w 631"/>
                  <a:gd name="T11" fmla="*/ 389 h 592"/>
                  <a:gd name="T12" fmla="*/ 426 w 631"/>
                  <a:gd name="T13" fmla="*/ 323 h 592"/>
                  <a:gd name="T14" fmla="*/ 418 w 631"/>
                  <a:gd name="T15" fmla="*/ 243 h 592"/>
                  <a:gd name="T16" fmla="*/ 362 w 631"/>
                  <a:gd name="T17" fmla="*/ 188 h 592"/>
                  <a:gd name="T18" fmla="*/ 341 w 631"/>
                  <a:gd name="T19" fmla="*/ 0 h 592"/>
                  <a:gd name="T20" fmla="*/ 381 w 631"/>
                  <a:gd name="T21" fmla="*/ 50 h 592"/>
                  <a:gd name="T22" fmla="*/ 384 w 631"/>
                  <a:gd name="T23" fmla="*/ 84 h 592"/>
                  <a:gd name="T24" fmla="*/ 435 w 631"/>
                  <a:gd name="T25" fmla="*/ 94 h 592"/>
                  <a:gd name="T26" fmla="*/ 460 w 631"/>
                  <a:gd name="T27" fmla="*/ 73 h 592"/>
                  <a:gd name="T28" fmla="*/ 521 w 631"/>
                  <a:gd name="T29" fmla="*/ 68 h 592"/>
                  <a:gd name="T30" fmla="*/ 599 w 631"/>
                  <a:gd name="T31" fmla="*/ 213 h 592"/>
                  <a:gd name="T32" fmla="*/ 578 w 631"/>
                  <a:gd name="T33" fmla="*/ 231 h 592"/>
                  <a:gd name="T34" fmla="*/ 552 w 631"/>
                  <a:gd name="T35" fmla="*/ 252 h 592"/>
                  <a:gd name="T36" fmla="*/ 567 w 631"/>
                  <a:gd name="T37" fmla="*/ 291 h 592"/>
                  <a:gd name="T38" fmla="*/ 599 w 631"/>
                  <a:gd name="T39" fmla="*/ 310 h 592"/>
                  <a:gd name="T40" fmla="*/ 617 w 631"/>
                  <a:gd name="T41" fmla="*/ 320 h 592"/>
                  <a:gd name="T42" fmla="*/ 517 w 631"/>
                  <a:gd name="T43" fmla="*/ 490 h 592"/>
                  <a:gd name="T44" fmla="*/ 500 w 631"/>
                  <a:gd name="T45" fmla="*/ 479 h 592"/>
                  <a:gd name="T46" fmla="*/ 472 w 631"/>
                  <a:gd name="T47" fmla="*/ 462 h 592"/>
                  <a:gd name="T48" fmla="*/ 444 w 631"/>
                  <a:gd name="T49" fmla="*/ 493 h 592"/>
                  <a:gd name="T50" fmla="*/ 447 w 631"/>
                  <a:gd name="T51" fmla="*/ 531 h 592"/>
                  <a:gd name="T52" fmla="*/ 410 w 631"/>
                  <a:gd name="T53" fmla="*/ 581 h 592"/>
                  <a:gd name="T54" fmla="*/ 252 w 631"/>
                  <a:gd name="T55" fmla="*/ 550 h 592"/>
                  <a:gd name="T56" fmla="*/ 248 w 631"/>
                  <a:gd name="T57" fmla="*/ 517 h 592"/>
                  <a:gd name="T58" fmla="*/ 211 w 631"/>
                  <a:gd name="T59" fmla="*/ 492 h 592"/>
                  <a:gd name="T60" fmla="*/ 184 w 631"/>
                  <a:gd name="T61" fmla="*/ 515 h 592"/>
                  <a:gd name="T62" fmla="*/ 168 w 631"/>
                  <a:gd name="T63" fmla="*/ 528 h 592"/>
                  <a:gd name="T64" fmla="*/ 164 w 631"/>
                  <a:gd name="T65" fmla="*/ 530 h 592"/>
                  <a:gd name="T66" fmla="*/ 157 w 631"/>
                  <a:gd name="T67" fmla="*/ 533 h 592"/>
                  <a:gd name="T68" fmla="*/ 124 w 631"/>
                  <a:gd name="T69" fmla="*/ 529 h 592"/>
                  <a:gd name="T70" fmla="*/ 36 w 631"/>
                  <a:gd name="T71" fmla="*/ 437 h 592"/>
                  <a:gd name="T72" fmla="*/ 42 w 631"/>
                  <a:gd name="T73" fmla="*/ 378 h 592"/>
                  <a:gd name="T74" fmla="*/ 65 w 631"/>
                  <a:gd name="T75" fmla="*/ 358 h 592"/>
                  <a:gd name="T76" fmla="*/ 77 w 631"/>
                  <a:gd name="T77" fmla="*/ 327 h 592"/>
                  <a:gd name="T78" fmla="*/ 55 w 631"/>
                  <a:gd name="T79" fmla="*/ 299 h 592"/>
                  <a:gd name="T80" fmla="*/ 24 w 631"/>
                  <a:gd name="T81" fmla="*/ 286 h 592"/>
                  <a:gd name="T82" fmla="*/ 0 w 631"/>
                  <a:gd name="T83" fmla="*/ 236 h 592"/>
                  <a:gd name="T84" fmla="*/ 105 w 631"/>
                  <a:gd name="T85" fmla="*/ 107 h 592"/>
                  <a:gd name="T86" fmla="*/ 123 w 631"/>
                  <a:gd name="T87" fmla="*/ 116 h 592"/>
                  <a:gd name="T88" fmla="*/ 155 w 631"/>
                  <a:gd name="T89" fmla="*/ 130 h 592"/>
                  <a:gd name="T90" fmla="*/ 188 w 631"/>
                  <a:gd name="T91" fmla="*/ 96 h 592"/>
                  <a:gd name="T92" fmla="*/ 184 w 631"/>
                  <a:gd name="T93" fmla="*/ 59 h 592"/>
                  <a:gd name="T94" fmla="*/ 222 w 631"/>
                  <a:gd name="T95" fmla="*/ 10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31" h="592">
                    <a:moveTo>
                      <a:pt x="309" y="176"/>
                    </a:moveTo>
                    <a:lnTo>
                      <a:pt x="282" y="179"/>
                    </a:lnTo>
                    <a:lnTo>
                      <a:pt x="256" y="188"/>
                    </a:lnTo>
                    <a:lnTo>
                      <a:pt x="234" y="203"/>
                    </a:lnTo>
                    <a:lnTo>
                      <a:pt x="215" y="221"/>
                    </a:lnTo>
                    <a:lnTo>
                      <a:pt x="201" y="243"/>
                    </a:lnTo>
                    <a:lnTo>
                      <a:pt x="192" y="268"/>
                    </a:lnTo>
                    <a:lnTo>
                      <a:pt x="189" y="296"/>
                    </a:lnTo>
                    <a:lnTo>
                      <a:pt x="192" y="323"/>
                    </a:lnTo>
                    <a:lnTo>
                      <a:pt x="201" y="348"/>
                    </a:lnTo>
                    <a:lnTo>
                      <a:pt x="215" y="370"/>
                    </a:lnTo>
                    <a:lnTo>
                      <a:pt x="234" y="389"/>
                    </a:lnTo>
                    <a:lnTo>
                      <a:pt x="256" y="403"/>
                    </a:lnTo>
                    <a:lnTo>
                      <a:pt x="282" y="412"/>
                    </a:lnTo>
                    <a:lnTo>
                      <a:pt x="309" y="415"/>
                    </a:lnTo>
                    <a:lnTo>
                      <a:pt x="337" y="412"/>
                    </a:lnTo>
                    <a:lnTo>
                      <a:pt x="362" y="403"/>
                    </a:lnTo>
                    <a:lnTo>
                      <a:pt x="384" y="389"/>
                    </a:lnTo>
                    <a:lnTo>
                      <a:pt x="403" y="370"/>
                    </a:lnTo>
                    <a:lnTo>
                      <a:pt x="418" y="348"/>
                    </a:lnTo>
                    <a:lnTo>
                      <a:pt x="426" y="323"/>
                    </a:lnTo>
                    <a:lnTo>
                      <a:pt x="430" y="296"/>
                    </a:lnTo>
                    <a:lnTo>
                      <a:pt x="426" y="268"/>
                    </a:lnTo>
                    <a:lnTo>
                      <a:pt x="418" y="243"/>
                    </a:lnTo>
                    <a:lnTo>
                      <a:pt x="403" y="221"/>
                    </a:lnTo>
                    <a:lnTo>
                      <a:pt x="384" y="203"/>
                    </a:lnTo>
                    <a:lnTo>
                      <a:pt x="362" y="188"/>
                    </a:lnTo>
                    <a:lnTo>
                      <a:pt x="337" y="179"/>
                    </a:lnTo>
                    <a:lnTo>
                      <a:pt x="309" y="176"/>
                    </a:lnTo>
                    <a:close/>
                    <a:moveTo>
                      <a:pt x="341" y="0"/>
                    </a:moveTo>
                    <a:lnTo>
                      <a:pt x="380" y="38"/>
                    </a:lnTo>
                    <a:lnTo>
                      <a:pt x="381" y="41"/>
                    </a:lnTo>
                    <a:lnTo>
                      <a:pt x="381" y="50"/>
                    </a:lnTo>
                    <a:lnTo>
                      <a:pt x="382" y="61"/>
                    </a:lnTo>
                    <a:lnTo>
                      <a:pt x="383" y="73"/>
                    </a:lnTo>
                    <a:lnTo>
                      <a:pt x="384" y="84"/>
                    </a:lnTo>
                    <a:lnTo>
                      <a:pt x="406" y="92"/>
                    </a:lnTo>
                    <a:lnTo>
                      <a:pt x="429" y="101"/>
                    </a:lnTo>
                    <a:lnTo>
                      <a:pt x="435" y="94"/>
                    </a:lnTo>
                    <a:lnTo>
                      <a:pt x="444" y="87"/>
                    </a:lnTo>
                    <a:lnTo>
                      <a:pt x="453" y="80"/>
                    </a:lnTo>
                    <a:lnTo>
                      <a:pt x="460" y="73"/>
                    </a:lnTo>
                    <a:lnTo>
                      <a:pt x="465" y="69"/>
                    </a:lnTo>
                    <a:lnTo>
                      <a:pt x="467" y="68"/>
                    </a:lnTo>
                    <a:lnTo>
                      <a:pt x="521" y="68"/>
                    </a:lnTo>
                    <a:lnTo>
                      <a:pt x="600" y="158"/>
                    </a:lnTo>
                    <a:lnTo>
                      <a:pt x="600" y="212"/>
                    </a:lnTo>
                    <a:lnTo>
                      <a:pt x="599" y="213"/>
                    </a:lnTo>
                    <a:lnTo>
                      <a:pt x="593" y="218"/>
                    </a:lnTo>
                    <a:lnTo>
                      <a:pt x="587" y="223"/>
                    </a:lnTo>
                    <a:lnTo>
                      <a:pt x="578" y="231"/>
                    </a:lnTo>
                    <a:lnTo>
                      <a:pt x="569" y="239"/>
                    </a:lnTo>
                    <a:lnTo>
                      <a:pt x="560" y="245"/>
                    </a:lnTo>
                    <a:lnTo>
                      <a:pt x="552" y="252"/>
                    </a:lnTo>
                    <a:lnTo>
                      <a:pt x="556" y="268"/>
                    </a:lnTo>
                    <a:lnTo>
                      <a:pt x="557" y="286"/>
                    </a:lnTo>
                    <a:lnTo>
                      <a:pt x="567" y="291"/>
                    </a:lnTo>
                    <a:lnTo>
                      <a:pt x="578" y="298"/>
                    </a:lnTo>
                    <a:lnTo>
                      <a:pt x="589" y="304"/>
                    </a:lnTo>
                    <a:lnTo>
                      <a:pt x="599" y="310"/>
                    </a:lnTo>
                    <a:lnTo>
                      <a:pt x="609" y="315"/>
                    </a:lnTo>
                    <a:lnTo>
                      <a:pt x="614" y="319"/>
                    </a:lnTo>
                    <a:lnTo>
                      <a:pt x="617" y="320"/>
                    </a:lnTo>
                    <a:lnTo>
                      <a:pt x="631" y="372"/>
                    </a:lnTo>
                    <a:lnTo>
                      <a:pt x="570" y="476"/>
                    </a:lnTo>
                    <a:lnTo>
                      <a:pt x="517" y="490"/>
                    </a:lnTo>
                    <a:lnTo>
                      <a:pt x="515" y="488"/>
                    </a:lnTo>
                    <a:lnTo>
                      <a:pt x="509" y="484"/>
                    </a:lnTo>
                    <a:lnTo>
                      <a:pt x="500" y="479"/>
                    </a:lnTo>
                    <a:lnTo>
                      <a:pt x="491" y="473"/>
                    </a:lnTo>
                    <a:lnTo>
                      <a:pt x="479" y="468"/>
                    </a:lnTo>
                    <a:lnTo>
                      <a:pt x="472" y="462"/>
                    </a:lnTo>
                    <a:lnTo>
                      <a:pt x="457" y="472"/>
                    </a:lnTo>
                    <a:lnTo>
                      <a:pt x="443" y="481"/>
                    </a:lnTo>
                    <a:lnTo>
                      <a:pt x="444" y="493"/>
                    </a:lnTo>
                    <a:lnTo>
                      <a:pt x="445" y="506"/>
                    </a:lnTo>
                    <a:lnTo>
                      <a:pt x="446" y="519"/>
                    </a:lnTo>
                    <a:lnTo>
                      <a:pt x="447" y="531"/>
                    </a:lnTo>
                    <a:lnTo>
                      <a:pt x="448" y="539"/>
                    </a:lnTo>
                    <a:lnTo>
                      <a:pt x="448" y="542"/>
                    </a:lnTo>
                    <a:lnTo>
                      <a:pt x="410" y="581"/>
                    </a:lnTo>
                    <a:lnTo>
                      <a:pt x="290" y="592"/>
                    </a:lnTo>
                    <a:lnTo>
                      <a:pt x="253" y="553"/>
                    </a:lnTo>
                    <a:lnTo>
                      <a:pt x="252" y="550"/>
                    </a:lnTo>
                    <a:lnTo>
                      <a:pt x="252" y="541"/>
                    </a:lnTo>
                    <a:lnTo>
                      <a:pt x="251" y="529"/>
                    </a:lnTo>
                    <a:lnTo>
                      <a:pt x="248" y="517"/>
                    </a:lnTo>
                    <a:lnTo>
                      <a:pt x="247" y="506"/>
                    </a:lnTo>
                    <a:lnTo>
                      <a:pt x="228" y="500"/>
                    </a:lnTo>
                    <a:lnTo>
                      <a:pt x="211" y="492"/>
                    </a:lnTo>
                    <a:lnTo>
                      <a:pt x="202" y="499"/>
                    </a:lnTo>
                    <a:lnTo>
                      <a:pt x="193" y="507"/>
                    </a:lnTo>
                    <a:lnTo>
                      <a:pt x="184" y="515"/>
                    </a:lnTo>
                    <a:lnTo>
                      <a:pt x="175" y="522"/>
                    </a:lnTo>
                    <a:lnTo>
                      <a:pt x="170" y="526"/>
                    </a:lnTo>
                    <a:lnTo>
                      <a:pt x="168" y="528"/>
                    </a:lnTo>
                    <a:lnTo>
                      <a:pt x="168" y="528"/>
                    </a:lnTo>
                    <a:lnTo>
                      <a:pt x="167" y="529"/>
                    </a:lnTo>
                    <a:lnTo>
                      <a:pt x="164" y="530"/>
                    </a:lnTo>
                    <a:lnTo>
                      <a:pt x="162" y="531"/>
                    </a:lnTo>
                    <a:lnTo>
                      <a:pt x="161" y="533"/>
                    </a:lnTo>
                    <a:lnTo>
                      <a:pt x="157" y="533"/>
                    </a:lnTo>
                    <a:lnTo>
                      <a:pt x="148" y="531"/>
                    </a:lnTo>
                    <a:lnTo>
                      <a:pt x="136" y="530"/>
                    </a:lnTo>
                    <a:lnTo>
                      <a:pt x="124" y="529"/>
                    </a:lnTo>
                    <a:lnTo>
                      <a:pt x="117" y="528"/>
                    </a:lnTo>
                    <a:lnTo>
                      <a:pt x="113" y="528"/>
                    </a:lnTo>
                    <a:lnTo>
                      <a:pt x="36" y="437"/>
                    </a:lnTo>
                    <a:lnTo>
                      <a:pt x="36" y="383"/>
                    </a:lnTo>
                    <a:lnTo>
                      <a:pt x="37" y="381"/>
                    </a:lnTo>
                    <a:lnTo>
                      <a:pt x="42" y="378"/>
                    </a:lnTo>
                    <a:lnTo>
                      <a:pt x="48" y="372"/>
                    </a:lnTo>
                    <a:lnTo>
                      <a:pt x="57" y="366"/>
                    </a:lnTo>
                    <a:lnTo>
                      <a:pt x="65" y="358"/>
                    </a:lnTo>
                    <a:lnTo>
                      <a:pt x="74" y="352"/>
                    </a:lnTo>
                    <a:lnTo>
                      <a:pt x="80" y="346"/>
                    </a:lnTo>
                    <a:lnTo>
                      <a:pt x="77" y="327"/>
                    </a:lnTo>
                    <a:lnTo>
                      <a:pt x="75" y="308"/>
                    </a:lnTo>
                    <a:lnTo>
                      <a:pt x="65" y="304"/>
                    </a:lnTo>
                    <a:lnTo>
                      <a:pt x="55" y="299"/>
                    </a:lnTo>
                    <a:lnTo>
                      <a:pt x="44" y="295"/>
                    </a:lnTo>
                    <a:lnTo>
                      <a:pt x="33" y="289"/>
                    </a:lnTo>
                    <a:lnTo>
                      <a:pt x="24" y="286"/>
                    </a:lnTo>
                    <a:lnTo>
                      <a:pt x="18" y="283"/>
                    </a:lnTo>
                    <a:lnTo>
                      <a:pt x="16" y="281"/>
                    </a:lnTo>
                    <a:lnTo>
                      <a:pt x="0" y="236"/>
                    </a:lnTo>
                    <a:lnTo>
                      <a:pt x="2" y="229"/>
                    </a:lnTo>
                    <a:lnTo>
                      <a:pt x="52" y="121"/>
                    </a:lnTo>
                    <a:lnTo>
                      <a:pt x="105" y="107"/>
                    </a:lnTo>
                    <a:lnTo>
                      <a:pt x="108" y="108"/>
                    </a:lnTo>
                    <a:lnTo>
                      <a:pt x="115" y="112"/>
                    </a:lnTo>
                    <a:lnTo>
                      <a:pt x="123" y="116"/>
                    </a:lnTo>
                    <a:lnTo>
                      <a:pt x="134" y="121"/>
                    </a:lnTo>
                    <a:lnTo>
                      <a:pt x="146" y="126"/>
                    </a:lnTo>
                    <a:lnTo>
                      <a:pt x="155" y="130"/>
                    </a:lnTo>
                    <a:lnTo>
                      <a:pt x="171" y="118"/>
                    </a:lnTo>
                    <a:lnTo>
                      <a:pt x="189" y="108"/>
                    </a:lnTo>
                    <a:lnTo>
                      <a:pt x="188" y="96"/>
                    </a:lnTo>
                    <a:lnTo>
                      <a:pt x="186" y="83"/>
                    </a:lnTo>
                    <a:lnTo>
                      <a:pt x="185" y="70"/>
                    </a:lnTo>
                    <a:lnTo>
                      <a:pt x="184" y="59"/>
                    </a:lnTo>
                    <a:lnTo>
                      <a:pt x="184" y="51"/>
                    </a:lnTo>
                    <a:lnTo>
                      <a:pt x="183" y="48"/>
                    </a:lnTo>
                    <a:lnTo>
                      <a:pt x="222" y="10"/>
                    </a:lnTo>
                    <a:lnTo>
                      <a:pt x="341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0" name="Freeform 179"/>
              <p:cNvSpPr>
                <a:spLocks/>
              </p:cNvSpPr>
              <p:nvPr/>
            </p:nvSpPr>
            <p:spPr bwMode="auto">
              <a:xfrm>
                <a:off x="-720" y="3871"/>
                <a:ext cx="285" cy="33"/>
              </a:xfrm>
              <a:custGeom>
                <a:avLst/>
                <a:gdLst>
                  <a:gd name="T0" fmla="*/ 95 w 1709"/>
                  <a:gd name="T1" fmla="*/ 0 h 195"/>
                  <a:gd name="T2" fmla="*/ 1615 w 1709"/>
                  <a:gd name="T3" fmla="*/ 0 h 195"/>
                  <a:gd name="T4" fmla="*/ 1638 w 1709"/>
                  <a:gd name="T5" fmla="*/ 3 h 195"/>
                  <a:gd name="T6" fmla="*/ 1658 w 1709"/>
                  <a:gd name="T7" fmla="*/ 10 h 195"/>
                  <a:gd name="T8" fmla="*/ 1676 w 1709"/>
                  <a:gd name="T9" fmla="*/ 20 h 195"/>
                  <a:gd name="T10" fmla="*/ 1689 w 1709"/>
                  <a:gd name="T11" fmla="*/ 34 h 195"/>
                  <a:gd name="T12" fmla="*/ 1699 w 1709"/>
                  <a:gd name="T13" fmla="*/ 51 h 195"/>
                  <a:gd name="T14" fmla="*/ 1705 w 1709"/>
                  <a:gd name="T15" fmla="*/ 69 h 195"/>
                  <a:gd name="T16" fmla="*/ 1709 w 1709"/>
                  <a:gd name="T17" fmla="*/ 88 h 195"/>
                  <a:gd name="T18" fmla="*/ 1709 w 1709"/>
                  <a:gd name="T19" fmla="*/ 108 h 195"/>
                  <a:gd name="T20" fmla="*/ 1705 w 1709"/>
                  <a:gd name="T21" fmla="*/ 126 h 195"/>
                  <a:gd name="T22" fmla="*/ 1699 w 1709"/>
                  <a:gd name="T23" fmla="*/ 145 h 195"/>
                  <a:gd name="T24" fmla="*/ 1689 w 1709"/>
                  <a:gd name="T25" fmla="*/ 161 h 195"/>
                  <a:gd name="T26" fmla="*/ 1676 w 1709"/>
                  <a:gd name="T27" fmla="*/ 176 h 195"/>
                  <a:gd name="T28" fmla="*/ 1658 w 1709"/>
                  <a:gd name="T29" fmla="*/ 187 h 195"/>
                  <a:gd name="T30" fmla="*/ 1638 w 1709"/>
                  <a:gd name="T31" fmla="*/ 193 h 195"/>
                  <a:gd name="T32" fmla="*/ 1615 w 1709"/>
                  <a:gd name="T33" fmla="*/ 195 h 195"/>
                  <a:gd name="T34" fmla="*/ 95 w 1709"/>
                  <a:gd name="T35" fmla="*/ 195 h 195"/>
                  <a:gd name="T36" fmla="*/ 71 w 1709"/>
                  <a:gd name="T37" fmla="*/ 193 h 195"/>
                  <a:gd name="T38" fmla="*/ 51 w 1709"/>
                  <a:gd name="T39" fmla="*/ 187 h 195"/>
                  <a:gd name="T40" fmla="*/ 35 w 1709"/>
                  <a:gd name="T41" fmla="*/ 176 h 195"/>
                  <a:gd name="T42" fmla="*/ 20 w 1709"/>
                  <a:gd name="T43" fmla="*/ 161 h 195"/>
                  <a:gd name="T44" fmla="*/ 10 w 1709"/>
                  <a:gd name="T45" fmla="*/ 145 h 195"/>
                  <a:gd name="T46" fmla="*/ 4 w 1709"/>
                  <a:gd name="T47" fmla="*/ 126 h 195"/>
                  <a:gd name="T48" fmla="*/ 0 w 1709"/>
                  <a:gd name="T49" fmla="*/ 108 h 195"/>
                  <a:gd name="T50" fmla="*/ 0 w 1709"/>
                  <a:gd name="T51" fmla="*/ 88 h 195"/>
                  <a:gd name="T52" fmla="*/ 4 w 1709"/>
                  <a:gd name="T53" fmla="*/ 69 h 195"/>
                  <a:gd name="T54" fmla="*/ 10 w 1709"/>
                  <a:gd name="T55" fmla="*/ 51 h 195"/>
                  <a:gd name="T56" fmla="*/ 20 w 1709"/>
                  <a:gd name="T57" fmla="*/ 34 h 195"/>
                  <a:gd name="T58" fmla="*/ 35 w 1709"/>
                  <a:gd name="T59" fmla="*/ 20 h 195"/>
                  <a:gd name="T60" fmla="*/ 51 w 1709"/>
                  <a:gd name="T61" fmla="*/ 10 h 195"/>
                  <a:gd name="T62" fmla="*/ 71 w 1709"/>
                  <a:gd name="T63" fmla="*/ 3 h 195"/>
                  <a:gd name="T64" fmla="*/ 95 w 1709"/>
                  <a:gd name="T65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09" h="195">
                    <a:moveTo>
                      <a:pt x="95" y="0"/>
                    </a:moveTo>
                    <a:lnTo>
                      <a:pt x="1615" y="0"/>
                    </a:lnTo>
                    <a:lnTo>
                      <a:pt x="1638" y="3"/>
                    </a:lnTo>
                    <a:lnTo>
                      <a:pt x="1658" y="10"/>
                    </a:lnTo>
                    <a:lnTo>
                      <a:pt x="1676" y="20"/>
                    </a:lnTo>
                    <a:lnTo>
                      <a:pt x="1689" y="34"/>
                    </a:lnTo>
                    <a:lnTo>
                      <a:pt x="1699" y="51"/>
                    </a:lnTo>
                    <a:lnTo>
                      <a:pt x="1705" y="69"/>
                    </a:lnTo>
                    <a:lnTo>
                      <a:pt x="1709" y="88"/>
                    </a:lnTo>
                    <a:lnTo>
                      <a:pt x="1709" y="108"/>
                    </a:lnTo>
                    <a:lnTo>
                      <a:pt x="1705" y="126"/>
                    </a:lnTo>
                    <a:lnTo>
                      <a:pt x="1699" y="145"/>
                    </a:lnTo>
                    <a:lnTo>
                      <a:pt x="1689" y="161"/>
                    </a:lnTo>
                    <a:lnTo>
                      <a:pt x="1676" y="176"/>
                    </a:lnTo>
                    <a:lnTo>
                      <a:pt x="1658" y="187"/>
                    </a:lnTo>
                    <a:lnTo>
                      <a:pt x="1638" y="193"/>
                    </a:lnTo>
                    <a:lnTo>
                      <a:pt x="1615" y="195"/>
                    </a:lnTo>
                    <a:lnTo>
                      <a:pt x="95" y="195"/>
                    </a:lnTo>
                    <a:lnTo>
                      <a:pt x="71" y="193"/>
                    </a:lnTo>
                    <a:lnTo>
                      <a:pt x="51" y="187"/>
                    </a:lnTo>
                    <a:lnTo>
                      <a:pt x="35" y="176"/>
                    </a:lnTo>
                    <a:lnTo>
                      <a:pt x="20" y="161"/>
                    </a:lnTo>
                    <a:lnTo>
                      <a:pt x="10" y="145"/>
                    </a:lnTo>
                    <a:lnTo>
                      <a:pt x="4" y="126"/>
                    </a:lnTo>
                    <a:lnTo>
                      <a:pt x="0" y="108"/>
                    </a:lnTo>
                    <a:lnTo>
                      <a:pt x="0" y="88"/>
                    </a:lnTo>
                    <a:lnTo>
                      <a:pt x="4" y="69"/>
                    </a:lnTo>
                    <a:lnTo>
                      <a:pt x="10" y="51"/>
                    </a:lnTo>
                    <a:lnTo>
                      <a:pt x="20" y="34"/>
                    </a:lnTo>
                    <a:lnTo>
                      <a:pt x="35" y="20"/>
                    </a:lnTo>
                    <a:lnTo>
                      <a:pt x="51" y="10"/>
                    </a:lnTo>
                    <a:lnTo>
                      <a:pt x="71" y="3"/>
                    </a:lnTo>
                    <a:lnTo>
                      <a:pt x="95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1" name="Freeform 180"/>
              <p:cNvSpPr>
                <a:spLocks/>
              </p:cNvSpPr>
              <p:nvPr/>
            </p:nvSpPr>
            <p:spPr bwMode="auto">
              <a:xfrm>
                <a:off x="-589" y="3948"/>
                <a:ext cx="154" cy="33"/>
              </a:xfrm>
              <a:custGeom>
                <a:avLst/>
                <a:gdLst>
                  <a:gd name="T0" fmla="*/ 95 w 920"/>
                  <a:gd name="T1" fmla="*/ 0 h 195"/>
                  <a:gd name="T2" fmla="*/ 826 w 920"/>
                  <a:gd name="T3" fmla="*/ 0 h 195"/>
                  <a:gd name="T4" fmla="*/ 849 w 920"/>
                  <a:gd name="T5" fmla="*/ 2 h 195"/>
                  <a:gd name="T6" fmla="*/ 869 w 920"/>
                  <a:gd name="T7" fmla="*/ 10 h 195"/>
                  <a:gd name="T8" fmla="*/ 887 w 920"/>
                  <a:gd name="T9" fmla="*/ 21 h 195"/>
                  <a:gd name="T10" fmla="*/ 900 w 920"/>
                  <a:gd name="T11" fmla="*/ 34 h 195"/>
                  <a:gd name="T12" fmla="*/ 910 w 920"/>
                  <a:gd name="T13" fmla="*/ 50 h 195"/>
                  <a:gd name="T14" fmla="*/ 916 w 920"/>
                  <a:gd name="T15" fmla="*/ 69 h 195"/>
                  <a:gd name="T16" fmla="*/ 920 w 920"/>
                  <a:gd name="T17" fmla="*/ 88 h 195"/>
                  <a:gd name="T18" fmla="*/ 920 w 920"/>
                  <a:gd name="T19" fmla="*/ 107 h 195"/>
                  <a:gd name="T20" fmla="*/ 916 w 920"/>
                  <a:gd name="T21" fmla="*/ 127 h 195"/>
                  <a:gd name="T22" fmla="*/ 910 w 920"/>
                  <a:gd name="T23" fmla="*/ 145 h 195"/>
                  <a:gd name="T24" fmla="*/ 900 w 920"/>
                  <a:gd name="T25" fmla="*/ 161 h 195"/>
                  <a:gd name="T26" fmla="*/ 887 w 920"/>
                  <a:gd name="T27" fmla="*/ 175 h 195"/>
                  <a:gd name="T28" fmla="*/ 869 w 920"/>
                  <a:gd name="T29" fmla="*/ 186 h 195"/>
                  <a:gd name="T30" fmla="*/ 849 w 920"/>
                  <a:gd name="T31" fmla="*/ 193 h 195"/>
                  <a:gd name="T32" fmla="*/ 826 w 920"/>
                  <a:gd name="T33" fmla="*/ 195 h 195"/>
                  <a:gd name="T34" fmla="*/ 95 w 920"/>
                  <a:gd name="T35" fmla="*/ 195 h 195"/>
                  <a:gd name="T36" fmla="*/ 72 w 920"/>
                  <a:gd name="T37" fmla="*/ 193 h 195"/>
                  <a:gd name="T38" fmla="*/ 51 w 920"/>
                  <a:gd name="T39" fmla="*/ 186 h 195"/>
                  <a:gd name="T40" fmla="*/ 34 w 920"/>
                  <a:gd name="T41" fmla="*/ 175 h 195"/>
                  <a:gd name="T42" fmla="*/ 21 w 920"/>
                  <a:gd name="T43" fmla="*/ 161 h 195"/>
                  <a:gd name="T44" fmla="*/ 10 w 920"/>
                  <a:gd name="T45" fmla="*/ 145 h 195"/>
                  <a:gd name="T46" fmla="*/ 3 w 920"/>
                  <a:gd name="T47" fmla="*/ 127 h 195"/>
                  <a:gd name="T48" fmla="*/ 0 w 920"/>
                  <a:gd name="T49" fmla="*/ 107 h 195"/>
                  <a:gd name="T50" fmla="*/ 0 w 920"/>
                  <a:gd name="T51" fmla="*/ 88 h 195"/>
                  <a:gd name="T52" fmla="*/ 3 w 920"/>
                  <a:gd name="T53" fmla="*/ 69 h 195"/>
                  <a:gd name="T54" fmla="*/ 10 w 920"/>
                  <a:gd name="T55" fmla="*/ 50 h 195"/>
                  <a:gd name="T56" fmla="*/ 21 w 920"/>
                  <a:gd name="T57" fmla="*/ 34 h 195"/>
                  <a:gd name="T58" fmla="*/ 34 w 920"/>
                  <a:gd name="T59" fmla="*/ 21 h 195"/>
                  <a:gd name="T60" fmla="*/ 51 w 920"/>
                  <a:gd name="T61" fmla="*/ 10 h 195"/>
                  <a:gd name="T62" fmla="*/ 72 w 920"/>
                  <a:gd name="T63" fmla="*/ 2 h 195"/>
                  <a:gd name="T64" fmla="*/ 95 w 920"/>
                  <a:gd name="T65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20" h="195">
                    <a:moveTo>
                      <a:pt x="95" y="0"/>
                    </a:moveTo>
                    <a:lnTo>
                      <a:pt x="826" y="0"/>
                    </a:lnTo>
                    <a:lnTo>
                      <a:pt x="849" y="2"/>
                    </a:lnTo>
                    <a:lnTo>
                      <a:pt x="869" y="10"/>
                    </a:lnTo>
                    <a:lnTo>
                      <a:pt x="887" y="21"/>
                    </a:lnTo>
                    <a:lnTo>
                      <a:pt x="900" y="34"/>
                    </a:lnTo>
                    <a:lnTo>
                      <a:pt x="910" y="50"/>
                    </a:lnTo>
                    <a:lnTo>
                      <a:pt x="916" y="69"/>
                    </a:lnTo>
                    <a:lnTo>
                      <a:pt x="920" y="88"/>
                    </a:lnTo>
                    <a:lnTo>
                      <a:pt x="920" y="107"/>
                    </a:lnTo>
                    <a:lnTo>
                      <a:pt x="916" y="127"/>
                    </a:lnTo>
                    <a:lnTo>
                      <a:pt x="910" y="145"/>
                    </a:lnTo>
                    <a:lnTo>
                      <a:pt x="900" y="161"/>
                    </a:lnTo>
                    <a:lnTo>
                      <a:pt x="887" y="175"/>
                    </a:lnTo>
                    <a:lnTo>
                      <a:pt x="869" y="186"/>
                    </a:lnTo>
                    <a:lnTo>
                      <a:pt x="849" y="193"/>
                    </a:lnTo>
                    <a:lnTo>
                      <a:pt x="826" y="195"/>
                    </a:lnTo>
                    <a:lnTo>
                      <a:pt x="95" y="195"/>
                    </a:lnTo>
                    <a:lnTo>
                      <a:pt x="72" y="193"/>
                    </a:lnTo>
                    <a:lnTo>
                      <a:pt x="51" y="186"/>
                    </a:lnTo>
                    <a:lnTo>
                      <a:pt x="34" y="175"/>
                    </a:lnTo>
                    <a:lnTo>
                      <a:pt x="21" y="161"/>
                    </a:lnTo>
                    <a:lnTo>
                      <a:pt x="10" y="145"/>
                    </a:lnTo>
                    <a:lnTo>
                      <a:pt x="3" y="127"/>
                    </a:lnTo>
                    <a:lnTo>
                      <a:pt x="0" y="107"/>
                    </a:lnTo>
                    <a:lnTo>
                      <a:pt x="0" y="88"/>
                    </a:lnTo>
                    <a:lnTo>
                      <a:pt x="3" y="69"/>
                    </a:lnTo>
                    <a:lnTo>
                      <a:pt x="10" y="50"/>
                    </a:lnTo>
                    <a:lnTo>
                      <a:pt x="21" y="34"/>
                    </a:lnTo>
                    <a:lnTo>
                      <a:pt x="34" y="21"/>
                    </a:lnTo>
                    <a:lnTo>
                      <a:pt x="51" y="10"/>
                    </a:lnTo>
                    <a:lnTo>
                      <a:pt x="72" y="2"/>
                    </a:lnTo>
                    <a:lnTo>
                      <a:pt x="95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2" name="Freeform 181"/>
              <p:cNvSpPr>
                <a:spLocks/>
              </p:cNvSpPr>
              <p:nvPr/>
            </p:nvSpPr>
            <p:spPr bwMode="auto">
              <a:xfrm>
                <a:off x="-825" y="3791"/>
                <a:ext cx="461" cy="246"/>
              </a:xfrm>
              <a:custGeom>
                <a:avLst/>
                <a:gdLst>
                  <a:gd name="T0" fmla="*/ 0 w 2765"/>
                  <a:gd name="T1" fmla="*/ 0 h 1476"/>
                  <a:gd name="T2" fmla="*/ 2765 w 2765"/>
                  <a:gd name="T3" fmla="*/ 0 h 1476"/>
                  <a:gd name="T4" fmla="*/ 2765 w 2765"/>
                  <a:gd name="T5" fmla="*/ 1476 h 1476"/>
                  <a:gd name="T6" fmla="*/ 2529 w 2765"/>
                  <a:gd name="T7" fmla="*/ 1476 h 1476"/>
                  <a:gd name="T8" fmla="*/ 2529 w 2765"/>
                  <a:gd name="T9" fmla="*/ 235 h 1476"/>
                  <a:gd name="T10" fmla="*/ 237 w 2765"/>
                  <a:gd name="T11" fmla="*/ 235 h 1476"/>
                  <a:gd name="T12" fmla="*/ 237 w 2765"/>
                  <a:gd name="T13" fmla="*/ 765 h 1476"/>
                  <a:gd name="T14" fmla="*/ 0 w 2765"/>
                  <a:gd name="T15" fmla="*/ 765 h 1476"/>
                  <a:gd name="T16" fmla="*/ 0 w 2765"/>
                  <a:gd name="T17" fmla="*/ 0 h 1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65" h="1476">
                    <a:moveTo>
                      <a:pt x="0" y="0"/>
                    </a:moveTo>
                    <a:lnTo>
                      <a:pt x="2765" y="0"/>
                    </a:lnTo>
                    <a:lnTo>
                      <a:pt x="2765" y="1476"/>
                    </a:lnTo>
                    <a:lnTo>
                      <a:pt x="2529" y="1476"/>
                    </a:lnTo>
                    <a:lnTo>
                      <a:pt x="2529" y="235"/>
                    </a:lnTo>
                    <a:lnTo>
                      <a:pt x="237" y="235"/>
                    </a:lnTo>
                    <a:lnTo>
                      <a:pt x="237" y="765"/>
                    </a:lnTo>
                    <a:lnTo>
                      <a:pt x="0" y="7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3" name="Freeform 182"/>
              <p:cNvSpPr>
                <a:spLocks noEditPoints="1"/>
              </p:cNvSpPr>
              <p:nvPr/>
            </p:nvSpPr>
            <p:spPr bwMode="auto">
              <a:xfrm>
                <a:off x="-635" y="4151"/>
                <a:ext cx="227" cy="215"/>
              </a:xfrm>
              <a:custGeom>
                <a:avLst/>
                <a:gdLst>
                  <a:gd name="T0" fmla="*/ 601 w 1364"/>
                  <a:gd name="T1" fmla="*/ 392 h 1287"/>
                  <a:gd name="T2" fmla="*/ 503 w 1364"/>
                  <a:gd name="T3" fmla="*/ 441 h 1287"/>
                  <a:gd name="T4" fmla="*/ 434 w 1364"/>
                  <a:gd name="T5" fmla="*/ 526 h 1287"/>
                  <a:gd name="T6" fmla="*/ 406 w 1364"/>
                  <a:gd name="T7" fmla="*/ 635 h 1287"/>
                  <a:gd name="T8" fmla="*/ 427 w 1364"/>
                  <a:gd name="T9" fmla="*/ 746 h 1287"/>
                  <a:gd name="T10" fmla="*/ 490 w 1364"/>
                  <a:gd name="T11" fmla="*/ 834 h 1287"/>
                  <a:gd name="T12" fmla="*/ 585 w 1364"/>
                  <a:gd name="T13" fmla="*/ 890 h 1287"/>
                  <a:gd name="T14" fmla="*/ 700 w 1364"/>
                  <a:gd name="T15" fmla="*/ 902 h 1287"/>
                  <a:gd name="T16" fmla="*/ 805 w 1364"/>
                  <a:gd name="T17" fmla="*/ 866 h 1287"/>
                  <a:gd name="T18" fmla="*/ 884 w 1364"/>
                  <a:gd name="T19" fmla="*/ 793 h 1287"/>
                  <a:gd name="T20" fmla="*/ 928 w 1364"/>
                  <a:gd name="T21" fmla="*/ 691 h 1287"/>
                  <a:gd name="T22" fmla="*/ 923 w 1364"/>
                  <a:gd name="T23" fmla="*/ 576 h 1287"/>
                  <a:gd name="T24" fmla="*/ 873 w 1364"/>
                  <a:gd name="T25" fmla="*/ 478 h 1287"/>
                  <a:gd name="T26" fmla="*/ 787 w 1364"/>
                  <a:gd name="T27" fmla="*/ 410 h 1287"/>
                  <a:gd name="T28" fmla="*/ 678 w 1364"/>
                  <a:gd name="T29" fmla="*/ 383 h 1287"/>
                  <a:gd name="T30" fmla="*/ 842 w 1364"/>
                  <a:gd name="T31" fmla="*/ 90 h 1287"/>
                  <a:gd name="T32" fmla="*/ 845 w 1364"/>
                  <a:gd name="T33" fmla="*/ 133 h 1287"/>
                  <a:gd name="T34" fmla="*/ 848 w 1364"/>
                  <a:gd name="T35" fmla="*/ 187 h 1287"/>
                  <a:gd name="T36" fmla="*/ 954 w 1364"/>
                  <a:gd name="T37" fmla="*/ 217 h 1287"/>
                  <a:gd name="T38" fmla="*/ 992 w 1364"/>
                  <a:gd name="T39" fmla="*/ 188 h 1287"/>
                  <a:gd name="T40" fmla="*/ 1023 w 1364"/>
                  <a:gd name="T41" fmla="*/ 162 h 1287"/>
                  <a:gd name="T42" fmla="*/ 1150 w 1364"/>
                  <a:gd name="T43" fmla="*/ 160 h 1287"/>
                  <a:gd name="T44" fmla="*/ 1308 w 1364"/>
                  <a:gd name="T45" fmla="*/ 483 h 1287"/>
                  <a:gd name="T46" fmla="*/ 1283 w 1364"/>
                  <a:gd name="T47" fmla="*/ 502 h 1287"/>
                  <a:gd name="T48" fmla="*/ 1242 w 1364"/>
                  <a:gd name="T49" fmla="*/ 534 h 1287"/>
                  <a:gd name="T50" fmla="*/ 1203 w 1364"/>
                  <a:gd name="T51" fmla="*/ 566 h 1287"/>
                  <a:gd name="T52" fmla="*/ 1224 w 1364"/>
                  <a:gd name="T53" fmla="*/ 648 h 1287"/>
                  <a:gd name="T54" fmla="*/ 1274 w 1364"/>
                  <a:gd name="T55" fmla="*/ 678 h 1287"/>
                  <a:gd name="T56" fmla="*/ 1319 w 1364"/>
                  <a:gd name="T57" fmla="*/ 706 h 1287"/>
                  <a:gd name="T58" fmla="*/ 1338 w 1364"/>
                  <a:gd name="T59" fmla="*/ 718 h 1287"/>
                  <a:gd name="T60" fmla="*/ 1110 w 1364"/>
                  <a:gd name="T61" fmla="*/ 1080 h 1287"/>
                  <a:gd name="T62" fmla="*/ 949 w 1364"/>
                  <a:gd name="T63" fmla="*/ 1057 h 1287"/>
                  <a:gd name="T64" fmla="*/ 952 w 1364"/>
                  <a:gd name="T65" fmla="*/ 1112 h 1287"/>
                  <a:gd name="T66" fmla="*/ 954 w 1364"/>
                  <a:gd name="T67" fmla="*/ 1167 h 1287"/>
                  <a:gd name="T68" fmla="*/ 956 w 1364"/>
                  <a:gd name="T69" fmla="*/ 1192 h 1287"/>
                  <a:gd name="T70" fmla="*/ 527 w 1364"/>
                  <a:gd name="T71" fmla="*/ 1202 h 1287"/>
                  <a:gd name="T72" fmla="*/ 525 w 1364"/>
                  <a:gd name="T73" fmla="*/ 1178 h 1287"/>
                  <a:gd name="T74" fmla="*/ 523 w 1364"/>
                  <a:gd name="T75" fmla="*/ 1127 h 1287"/>
                  <a:gd name="T76" fmla="*/ 480 w 1364"/>
                  <a:gd name="T77" fmla="*/ 1082 h 1287"/>
                  <a:gd name="T78" fmla="*/ 416 w 1364"/>
                  <a:gd name="T79" fmla="*/ 1084 h 1287"/>
                  <a:gd name="T80" fmla="*/ 375 w 1364"/>
                  <a:gd name="T81" fmla="*/ 1117 h 1287"/>
                  <a:gd name="T82" fmla="*/ 347 w 1364"/>
                  <a:gd name="T83" fmla="*/ 1138 h 1287"/>
                  <a:gd name="T84" fmla="*/ 324 w 1364"/>
                  <a:gd name="T85" fmla="*/ 1148 h 1287"/>
                  <a:gd name="T86" fmla="*/ 284 w 1364"/>
                  <a:gd name="T87" fmla="*/ 1145 h 1287"/>
                  <a:gd name="T88" fmla="*/ 238 w 1364"/>
                  <a:gd name="T89" fmla="*/ 1138 h 1287"/>
                  <a:gd name="T90" fmla="*/ 63 w 1364"/>
                  <a:gd name="T91" fmla="*/ 933 h 1287"/>
                  <a:gd name="T92" fmla="*/ 74 w 1364"/>
                  <a:gd name="T93" fmla="*/ 809 h 1287"/>
                  <a:gd name="T94" fmla="*/ 105 w 1364"/>
                  <a:gd name="T95" fmla="*/ 785 h 1287"/>
                  <a:gd name="T96" fmla="*/ 144 w 1364"/>
                  <a:gd name="T97" fmla="*/ 754 h 1287"/>
                  <a:gd name="T98" fmla="*/ 160 w 1364"/>
                  <a:gd name="T99" fmla="*/ 696 h 1287"/>
                  <a:gd name="T100" fmla="*/ 127 w 1364"/>
                  <a:gd name="T101" fmla="*/ 640 h 1287"/>
                  <a:gd name="T102" fmla="*/ 78 w 1364"/>
                  <a:gd name="T103" fmla="*/ 616 h 1287"/>
                  <a:gd name="T104" fmla="*/ 40 w 1364"/>
                  <a:gd name="T105" fmla="*/ 598 h 1287"/>
                  <a:gd name="T106" fmla="*/ 0 w 1364"/>
                  <a:gd name="T107" fmla="*/ 494 h 1287"/>
                  <a:gd name="T108" fmla="*/ 238 w 1364"/>
                  <a:gd name="T109" fmla="*/ 218 h 1287"/>
                  <a:gd name="T110" fmla="*/ 258 w 1364"/>
                  <a:gd name="T111" fmla="*/ 228 h 1287"/>
                  <a:gd name="T112" fmla="*/ 302 w 1364"/>
                  <a:gd name="T113" fmla="*/ 250 h 1287"/>
                  <a:gd name="T114" fmla="*/ 346 w 1364"/>
                  <a:gd name="T115" fmla="*/ 272 h 1287"/>
                  <a:gd name="T116" fmla="*/ 419 w 1364"/>
                  <a:gd name="T117" fmla="*/ 207 h 1287"/>
                  <a:gd name="T118" fmla="*/ 416 w 1364"/>
                  <a:gd name="T119" fmla="*/ 143 h 1287"/>
                  <a:gd name="T120" fmla="*/ 413 w 1364"/>
                  <a:gd name="T121" fmla="*/ 98 h 1287"/>
                  <a:gd name="T122" fmla="*/ 761 w 1364"/>
                  <a:gd name="T123" fmla="*/ 0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364" h="1287">
                    <a:moveTo>
                      <a:pt x="678" y="383"/>
                    </a:moveTo>
                    <a:lnTo>
                      <a:pt x="639" y="384"/>
                    </a:lnTo>
                    <a:lnTo>
                      <a:pt x="601" y="392"/>
                    </a:lnTo>
                    <a:lnTo>
                      <a:pt x="566" y="404"/>
                    </a:lnTo>
                    <a:lnTo>
                      <a:pt x="533" y="420"/>
                    </a:lnTo>
                    <a:lnTo>
                      <a:pt x="503" y="441"/>
                    </a:lnTo>
                    <a:lnTo>
                      <a:pt x="476" y="466"/>
                    </a:lnTo>
                    <a:lnTo>
                      <a:pt x="453" y="495"/>
                    </a:lnTo>
                    <a:lnTo>
                      <a:pt x="434" y="526"/>
                    </a:lnTo>
                    <a:lnTo>
                      <a:pt x="419" y="560"/>
                    </a:lnTo>
                    <a:lnTo>
                      <a:pt x="410" y="597"/>
                    </a:lnTo>
                    <a:lnTo>
                      <a:pt x="406" y="635"/>
                    </a:lnTo>
                    <a:lnTo>
                      <a:pt x="408" y="673"/>
                    </a:lnTo>
                    <a:lnTo>
                      <a:pt x="415" y="711"/>
                    </a:lnTo>
                    <a:lnTo>
                      <a:pt x="427" y="746"/>
                    </a:lnTo>
                    <a:lnTo>
                      <a:pt x="443" y="779"/>
                    </a:lnTo>
                    <a:lnTo>
                      <a:pt x="465" y="808"/>
                    </a:lnTo>
                    <a:lnTo>
                      <a:pt x="490" y="834"/>
                    </a:lnTo>
                    <a:lnTo>
                      <a:pt x="518" y="858"/>
                    </a:lnTo>
                    <a:lnTo>
                      <a:pt x="551" y="876"/>
                    </a:lnTo>
                    <a:lnTo>
                      <a:pt x="585" y="890"/>
                    </a:lnTo>
                    <a:lnTo>
                      <a:pt x="621" y="900"/>
                    </a:lnTo>
                    <a:lnTo>
                      <a:pt x="661" y="904"/>
                    </a:lnTo>
                    <a:lnTo>
                      <a:pt x="700" y="902"/>
                    </a:lnTo>
                    <a:lnTo>
                      <a:pt x="737" y="896"/>
                    </a:lnTo>
                    <a:lnTo>
                      <a:pt x="772" y="884"/>
                    </a:lnTo>
                    <a:lnTo>
                      <a:pt x="805" y="866"/>
                    </a:lnTo>
                    <a:lnTo>
                      <a:pt x="835" y="845"/>
                    </a:lnTo>
                    <a:lnTo>
                      <a:pt x="862" y="821"/>
                    </a:lnTo>
                    <a:lnTo>
                      <a:pt x="884" y="793"/>
                    </a:lnTo>
                    <a:lnTo>
                      <a:pt x="904" y="761"/>
                    </a:lnTo>
                    <a:lnTo>
                      <a:pt x="919" y="727"/>
                    </a:lnTo>
                    <a:lnTo>
                      <a:pt x="928" y="691"/>
                    </a:lnTo>
                    <a:lnTo>
                      <a:pt x="932" y="652"/>
                    </a:lnTo>
                    <a:lnTo>
                      <a:pt x="931" y="613"/>
                    </a:lnTo>
                    <a:lnTo>
                      <a:pt x="923" y="576"/>
                    </a:lnTo>
                    <a:lnTo>
                      <a:pt x="911" y="541"/>
                    </a:lnTo>
                    <a:lnTo>
                      <a:pt x="894" y="509"/>
                    </a:lnTo>
                    <a:lnTo>
                      <a:pt x="873" y="478"/>
                    </a:lnTo>
                    <a:lnTo>
                      <a:pt x="848" y="452"/>
                    </a:lnTo>
                    <a:lnTo>
                      <a:pt x="819" y="429"/>
                    </a:lnTo>
                    <a:lnTo>
                      <a:pt x="787" y="410"/>
                    </a:lnTo>
                    <a:lnTo>
                      <a:pt x="753" y="396"/>
                    </a:lnTo>
                    <a:lnTo>
                      <a:pt x="716" y="387"/>
                    </a:lnTo>
                    <a:lnTo>
                      <a:pt x="678" y="383"/>
                    </a:lnTo>
                    <a:close/>
                    <a:moveTo>
                      <a:pt x="761" y="0"/>
                    </a:moveTo>
                    <a:lnTo>
                      <a:pt x="842" y="87"/>
                    </a:lnTo>
                    <a:lnTo>
                      <a:pt x="842" y="90"/>
                    </a:lnTo>
                    <a:lnTo>
                      <a:pt x="844" y="100"/>
                    </a:lnTo>
                    <a:lnTo>
                      <a:pt x="845" y="115"/>
                    </a:lnTo>
                    <a:lnTo>
                      <a:pt x="845" y="133"/>
                    </a:lnTo>
                    <a:lnTo>
                      <a:pt x="846" y="153"/>
                    </a:lnTo>
                    <a:lnTo>
                      <a:pt x="847" y="170"/>
                    </a:lnTo>
                    <a:lnTo>
                      <a:pt x="848" y="187"/>
                    </a:lnTo>
                    <a:lnTo>
                      <a:pt x="897" y="204"/>
                    </a:lnTo>
                    <a:lnTo>
                      <a:pt x="943" y="226"/>
                    </a:lnTo>
                    <a:lnTo>
                      <a:pt x="954" y="217"/>
                    </a:lnTo>
                    <a:lnTo>
                      <a:pt x="966" y="207"/>
                    </a:lnTo>
                    <a:lnTo>
                      <a:pt x="978" y="197"/>
                    </a:lnTo>
                    <a:lnTo>
                      <a:pt x="992" y="188"/>
                    </a:lnTo>
                    <a:lnTo>
                      <a:pt x="1004" y="178"/>
                    </a:lnTo>
                    <a:lnTo>
                      <a:pt x="1014" y="169"/>
                    </a:lnTo>
                    <a:lnTo>
                      <a:pt x="1023" y="162"/>
                    </a:lnTo>
                    <a:lnTo>
                      <a:pt x="1028" y="158"/>
                    </a:lnTo>
                    <a:lnTo>
                      <a:pt x="1030" y="157"/>
                    </a:lnTo>
                    <a:lnTo>
                      <a:pt x="1150" y="160"/>
                    </a:lnTo>
                    <a:lnTo>
                      <a:pt x="1314" y="362"/>
                    </a:lnTo>
                    <a:lnTo>
                      <a:pt x="1310" y="480"/>
                    </a:lnTo>
                    <a:lnTo>
                      <a:pt x="1308" y="483"/>
                    </a:lnTo>
                    <a:lnTo>
                      <a:pt x="1302" y="487"/>
                    </a:lnTo>
                    <a:lnTo>
                      <a:pt x="1294" y="494"/>
                    </a:lnTo>
                    <a:lnTo>
                      <a:pt x="1283" y="502"/>
                    </a:lnTo>
                    <a:lnTo>
                      <a:pt x="1269" y="512"/>
                    </a:lnTo>
                    <a:lnTo>
                      <a:pt x="1256" y="523"/>
                    </a:lnTo>
                    <a:lnTo>
                      <a:pt x="1242" y="534"/>
                    </a:lnTo>
                    <a:lnTo>
                      <a:pt x="1228" y="546"/>
                    </a:lnTo>
                    <a:lnTo>
                      <a:pt x="1215" y="556"/>
                    </a:lnTo>
                    <a:lnTo>
                      <a:pt x="1203" y="566"/>
                    </a:lnTo>
                    <a:lnTo>
                      <a:pt x="1208" y="602"/>
                    </a:lnTo>
                    <a:lnTo>
                      <a:pt x="1210" y="639"/>
                    </a:lnTo>
                    <a:lnTo>
                      <a:pt x="1224" y="648"/>
                    </a:lnTo>
                    <a:lnTo>
                      <a:pt x="1239" y="657"/>
                    </a:lnTo>
                    <a:lnTo>
                      <a:pt x="1256" y="668"/>
                    </a:lnTo>
                    <a:lnTo>
                      <a:pt x="1274" y="678"/>
                    </a:lnTo>
                    <a:lnTo>
                      <a:pt x="1290" y="689"/>
                    </a:lnTo>
                    <a:lnTo>
                      <a:pt x="1306" y="697"/>
                    </a:lnTo>
                    <a:lnTo>
                      <a:pt x="1319" y="706"/>
                    </a:lnTo>
                    <a:lnTo>
                      <a:pt x="1329" y="713"/>
                    </a:lnTo>
                    <a:lnTo>
                      <a:pt x="1336" y="716"/>
                    </a:lnTo>
                    <a:lnTo>
                      <a:pt x="1338" y="718"/>
                    </a:lnTo>
                    <a:lnTo>
                      <a:pt x="1364" y="833"/>
                    </a:lnTo>
                    <a:lnTo>
                      <a:pt x="1226" y="1054"/>
                    </a:lnTo>
                    <a:lnTo>
                      <a:pt x="1110" y="1080"/>
                    </a:lnTo>
                    <a:lnTo>
                      <a:pt x="1011" y="1019"/>
                    </a:lnTo>
                    <a:lnTo>
                      <a:pt x="981" y="1038"/>
                    </a:lnTo>
                    <a:lnTo>
                      <a:pt x="949" y="1057"/>
                    </a:lnTo>
                    <a:lnTo>
                      <a:pt x="950" y="1073"/>
                    </a:lnTo>
                    <a:lnTo>
                      <a:pt x="951" y="1092"/>
                    </a:lnTo>
                    <a:lnTo>
                      <a:pt x="952" y="1112"/>
                    </a:lnTo>
                    <a:lnTo>
                      <a:pt x="953" y="1132"/>
                    </a:lnTo>
                    <a:lnTo>
                      <a:pt x="954" y="1150"/>
                    </a:lnTo>
                    <a:lnTo>
                      <a:pt x="954" y="1167"/>
                    </a:lnTo>
                    <a:lnTo>
                      <a:pt x="955" y="1180"/>
                    </a:lnTo>
                    <a:lnTo>
                      <a:pt x="956" y="1189"/>
                    </a:lnTo>
                    <a:lnTo>
                      <a:pt x="956" y="1192"/>
                    </a:lnTo>
                    <a:lnTo>
                      <a:pt x="869" y="1272"/>
                    </a:lnTo>
                    <a:lnTo>
                      <a:pt x="609" y="1287"/>
                    </a:lnTo>
                    <a:lnTo>
                      <a:pt x="527" y="1202"/>
                    </a:lnTo>
                    <a:lnTo>
                      <a:pt x="526" y="1198"/>
                    </a:lnTo>
                    <a:lnTo>
                      <a:pt x="526" y="1190"/>
                    </a:lnTo>
                    <a:lnTo>
                      <a:pt x="525" y="1178"/>
                    </a:lnTo>
                    <a:lnTo>
                      <a:pt x="525" y="1162"/>
                    </a:lnTo>
                    <a:lnTo>
                      <a:pt x="524" y="1145"/>
                    </a:lnTo>
                    <a:lnTo>
                      <a:pt x="523" y="1127"/>
                    </a:lnTo>
                    <a:lnTo>
                      <a:pt x="522" y="1111"/>
                    </a:lnTo>
                    <a:lnTo>
                      <a:pt x="521" y="1097"/>
                    </a:lnTo>
                    <a:lnTo>
                      <a:pt x="480" y="1082"/>
                    </a:lnTo>
                    <a:lnTo>
                      <a:pt x="440" y="1066"/>
                    </a:lnTo>
                    <a:lnTo>
                      <a:pt x="429" y="1075"/>
                    </a:lnTo>
                    <a:lnTo>
                      <a:pt x="416" y="1084"/>
                    </a:lnTo>
                    <a:lnTo>
                      <a:pt x="401" y="1095"/>
                    </a:lnTo>
                    <a:lnTo>
                      <a:pt x="387" y="1106"/>
                    </a:lnTo>
                    <a:lnTo>
                      <a:pt x="375" y="1117"/>
                    </a:lnTo>
                    <a:lnTo>
                      <a:pt x="363" y="1126"/>
                    </a:lnTo>
                    <a:lnTo>
                      <a:pt x="354" y="1134"/>
                    </a:lnTo>
                    <a:lnTo>
                      <a:pt x="347" y="1138"/>
                    </a:lnTo>
                    <a:lnTo>
                      <a:pt x="345" y="1140"/>
                    </a:lnTo>
                    <a:lnTo>
                      <a:pt x="329" y="1148"/>
                    </a:lnTo>
                    <a:lnTo>
                      <a:pt x="324" y="1148"/>
                    </a:lnTo>
                    <a:lnTo>
                      <a:pt x="314" y="1148"/>
                    </a:lnTo>
                    <a:lnTo>
                      <a:pt x="300" y="1146"/>
                    </a:lnTo>
                    <a:lnTo>
                      <a:pt x="284" y="1145"/>
                    </a:lnTo>
                    <a:lnTo>
                      <a:pt x="267" y="1143"/>
                    </a:lnTo>
                    <a:lnTo>
                      <a:pt x="251" y="1140"/>
                    </a:lnTo>
                    <a:lnTo>
                      <a:pt x="238" y="1138"/>
                    </a:lnTo>
                    <a:lnTo>
                      <a:pt x="229" y="1137"/>
                    </a:lnTo>
                    <a:lnTo>
                      <a:pt x="225" y="1136"/>
                    </a:lnTo>
                    <a:lnTo>
                      <a:pt x="63" y="933"/>
                    </a:lnTo>
                    <a:lnTo>
                      <a:pt x="67" y="815"/>
                    </a:lnTo>
                    <a:lnTo>
                      <a:pt x="68" y="814"/>
                    </a:lnTo>
                    <a:lnTo>
                      <a:pt x="74" y="809"/>
                    </a:lnTo>
                    <a:lnTo>
                      <a:pt x="83" y="803"/>
                    </a:lnTo>
                    <a:lnTo>
                      <a:pt x="93" y="795"/>
                    </a:lnTo>
                    <a:lnTo>
                      <a:pt x="105" y="785"/>
                    </a:lnTo>
                    <a:lnTo>
                      <a:pt x="117" y="775"/>
                    </a:lnTo>
                    <a:lnTo>
                      <a:pt x="130" y="764"/>
                    </a:lnTo>
                    <a:lnTo>
                      <a:pt x="144" y="754"/>
                    </a:lnTo>
                    <a:lnTo>
                      <a:pt x="156" y="745"/>
                    </a:lnTo>
                    <a:lnTo>
                      <a:pt x="167" y="736"/>
                    </a:lnTo>
                    <a:lnTo>
                      <a:pt x="160" y="696"/>
                    </a:lnTo>
                    <a:lnTo>
                      <a:pt x="157" y="655"/>
                    </a:lnTo>
                    <a:lnTo>
                      <a:pt x="143" y="648"/>
                    </a:lnTo>
                    <a:lnTo>
                      <a:pt x="127" y="640"/>
                    </a:lnTo>
                    <a:lnTo>
                      <a:pt x="110" y="632"/>
                    </a:lnTo>
                    <a:lnTo>
                      <a:pt x="94" y="624"/>
                    </a:lnTo>
                    <a:lnTo>
                      <a:pt x="78" y="616"/>
                    </a:lnTo>
                    <a:lnTo>
                      <a:pt x="63" y="609"/>
                    </a:lnTo>
                    <a:lnTo>
                      <a:pt x="50" y="602"/>
                    </a:lnTo>
                    <a:lnTo>
                      <a:pt x="40" y="598"/>
                    </a:lnTo>
                    <a:lnTo>
                      <a:pt x="33" y="594"/>
                    </a:lnTo>
                    <a:lnTo>
                      <a:pt x="31" y="593"/>
                    </a:lnTo>
                    <a:lnTo>
                      <a:pt x="0" y="494"/>
                    </a:lnTo>
                    <a:lnTo>
                      <a:pt x="4" y="477"/>
                    </a:lnTo>
                    <a:lnTo>
                      <a:pt x="120" y="245"/>
                    </a:lnTo>
                    <a:lnTo>
                      <a:pt x="238" y="218"/>
                    </a:lnTo>
                    <a:lnTo>
                      <a:pt x="240" y="219"/>
                    </a:lnTo>
                    <a:lnTo>
                      <a:pt x="246" y="223"/>
                    </a:lnTo>
                    <a:lnTo>
                      <a:pt x="258" y="228"/>
                    </a:lnTo>
                    <a:lnTo>
                      <a:pt x="271" y="235"/>
                    </a:lnTo>
                    <a:lnTo>
                      <a:pt x="285" y="242"/>
                    </a:lnTo>
                    <a:lnTo>
                      <a:pt x="302" y="250"/>
                    </a:lnTo>
                    <a:lnTo>
                      <a:pt x="317" y="258"/>
                    </a:lnTo>
                    <a:lnTo>
                      <a:pt x="333" y="265"/>
                    </a:lnTo>
                    <a:lnTo>
                      <a:pt x="346" y="272"/>
                    </a:lnTo>
                    <a:lnTo>
                      <a:pt x="381" y="248"/>
                    </a:lnTo>
                    <a:lnTo>
                      <a:pt x="419" y="226"/>
                    </a:lnTo>
                    <a:lnTo>
                      <a:pt x="419" y="207"/>
                    </a:lnTo>
                    <a:lnTo>
                      <a:pt x="418" y="187"/>
                    </a:lnTo>
                    <a:lnTo>
                      <a:pt x="417" y="165"/>
                    </a:lnTo>
                    <a:lnTo>
                      <a:pt x="416" y="143"/>
                    </a:lnTo>
                    <a:lnTo>
                      <a:pt x="415" y="124"/>
                    </a:lnTo>
                    <a:lnTo>
                      <a:pt x="413" y="108"/>
                    </a:lnTo>
                    <a:lnTo>
                      <a:pt x="413" y="98"/>
                    </a:lnTo>
                    <a:lnTo>
                      <a:pt x="412" y="93"/>
                    </a:lnTo>
                    <a:lnTo>
                      <a:pt x="500" y="13"/>
                    </a:lnTo>
                    <a:lnTo>
                      <a:pt x="761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4" name="Freeform 183"/>
              <p:cNvSpPr>
                <a:spLocks/>
              </p:cNvSpPr>
              <p:nvPr/>
            </p:nvSpPr>
            <p:spPr bwMode="auto">
              <a:xfrm>
                <a:off x="-593" y="4037"/>
                <a:ext cx="245" cy="194"/>
              </a:xfrm>
              <a:custGeom>
                <a:avLst/>
                <a:gdLst>
                  <a:gd name="T0" fmla="*/ 907 w 1469"/>
                  <a:gd name="T1" fmla="*/ 93 h 1162"/>
                  <a:gd name="T2" fmla="*/ 907 w 1469"/>
                  <a:gd name="T3" fmla="*/ 105 h 1162"/>
                  <a:gd name="T4" fmla="*/ 909 w 1469"/>
                  <a:gd name="T5" fmla="*/ 134 h 1162"/>
                  <a:gd name="T6" fmla="*/ 910 w 1469"/>
                  <a:gd name="T7" fmla="*/ 169 h 1162"/>
                  <a:gd name="T8" fmla="*/ 913 w 1469"/>
                  <a:gd name="T9" fmla="*/ 201 h 1162"/>
                  <a:gd name="T10" fmla="*/ 1015 w 1469"/>
                  <a:gd name="T11" fmla="*/ 243 h 1162"/>
                  <a:gd name="T12" fmla="*/ 1040 w 1469"/>
                  <a:gd name="T13" fmla="*/ 224 h 1162"/>
                  <a:gd name="T14" fmla="*/ 1067 w 1469"/>
                  <a:gd name="T15" fmla="*/ 202 h 1162"/>
                  <a:gd name="T16" fmla="*/ 1092 w 1469"/>
                  <a:gd name="T17" fmla="*/ 182 h 1162"/>
                  <a:gd name="T18" fmla="*/ 1107 w 1469"/>
                  <a:gd name="T19" fmla="*/ 170 h 1162"/>
                  <a:gd name="T20" fmla="*/ 1238 w 1469"/>
                  <a:gd name="T21" fmla="*/ 172 h 1162"/>
                  <a:gd name="T22" fmla="*/ 1409 w 1469"/>
                  <a:gd name="T23" fmla="*/ 517 h 1162"/>
                  <a:gd name="T24" fmla="*/ 1401 w 1469"/>
                  <a:gd name="T25" fmla="*/ 524 h 1162"/>
                  <a:gd name="T26" fmla="*/ 1380 w 1469"/>
                  <a:gd name="T27" fmla="*/ 540 h 1162"/>
                  <a:gd name="T28" fmla="*/ 1352 w 1469"/>
                  <a:gd name="T29" fmla="*/ 563 h 1162"/>
                  <a:gd name="T30" fmla="*/ 1322 w 1469"/>
                  <a:gd name="T31" fmla="*/ 588 h 1162"/>
                  <a:gd name="T32" fmla="*/ 1295 w 1469"/>
                  <a:gd name="T33" fmla="*/ 608 h 1162"/>
                  <a:gd name="T34" fmla="*/ 1302 w 1469"/>
                  <a:gd name="T35" fmla="*/ 687 h 1162"/>
                  <a:gd name="T36" fmla="*/ 1331 w 1469"/>
                  <a:gd name="T37" fmla="*/ 705 h 1162"/>
                  <a:gd name="T38" fmla="*/ 1364 w 1469"/>
                  <a:gd name="T39" fmla="*/ 726 h 1162"/>
                  <a:gd name="T40" fmla="*/ 1396 w 1469"/>
                  <a:gd name="T41" fmla="*/ 745 h 1162"/>
                  <a:gd name="T42" fmla="*/ 1422 w 1469"/>
                  <a:gd name="T43" fmla="*/ 762 h 1162"/>
                  <a:gd name="T44" fmla="*/ 1438 w 1469"/>
                  <a:gd name="T45" fmla="*/ 771 h 1162"/>
                  <a:gd name="T46" fmla="*/ 1469 w 1469"/>
                  <a:gd name="T47" fmla="*/ 897 h 1162"/>
                  <a:gd name="T48" fmla="*/ 1195 w 1469"/>
                  <a:gd name="T49" fmla="*/ 1162 h 1162"/>
                  <a:gd name="T50" fmla="*/ 1186 w 1469"/>
                  <a:gd name="T51" fmla="*/ 1157 h 1162"/>
                  <a:gd name="T52" fmla="*/ 1165 w 1469"/>
                  <a:gd name="T53" fmla="*/ 1143 h 1162"/>
                  <a:gd name="T54" fmla="*/ 1135 w 1469"/>
                  <a:gd name="T55" fmla="*/ 1125 h 1162"/>
                  <a:gd name="T56" fmla="*/ 1139 w 1469"/>
                  <a:gd name="T57" fmla="*/ 1021 h 1162"/>
                  <a:gd name="T58" fmla="*/ 973 w 1469"/>
                  <a:gd name="T59" fmla="*/ 817 h 1162"/>
                  <a:gd name="T60" fmla="*/ 999 w 1469"/>
                  <a:gd name="T61" fmla="*/ 742 h 1162"/>
                  <a:gd name="T62" fmla="*/ 1001 w 1469"/>
                  <a:gd name="T63" fmla="*/ 660 h 1162"/>
                  <a:gd name="T64" fmla="*/ 981 w 1469"/>
                  <a:gd name="T65" fmla="*/ 582 h 1162"/>
                  <a:gd name="T66" fmla="*/ 940 w 1469"/>
                  <a:gd name="T67" fmla="*/ 515 h 1162"/>
                  <a:gd name="T68" fmla="*/ 882 w 1469"/>
                  <a:gd name="T69" fmla="*/ 461 h 1162"/>
                  <a:gd name="T70" fmla="*/ 811 w 1469"/>
                  <a:gd name="T71" fmla="*/ 426 h 1162"/>
                  <a:gd name="T72" fmla="*/ 729 w 1469"/>
                  <a:gd name="T73" fmla="*/ 411 h 1162"/>
                  <a:gd name="T74" fmla="*/ 646 w 1469"/>
                  <a:gd name="T75" fmla="*/ 421 h 1162"/>
                  <a:gd name="T76" fmla="*/ 572 w 1469"/>
                  <a:gd name="T77" fmla="*/ 454 h 1162"/>
                  <a:gd name="T78" fmla="*/ 510 w 1469"/>
                  <a:gd name="T79" fmla="*/ 505 h 1162"/>
                  <a:gd name="T80" fmla="*/ 466 w 1469"/>
                  <a:gd name="T81" fmla="*/ 572 h 1162"/>
                  <a:gd name="T82" fmla="*/ 241 w 1469"/>
                  <a:gd name="T83" fmla="*/ 619 h 1162"/>
                  <a:gd name="T84" fmla="*/ 190 w 1469"/>
                  <a:gd name="T85" fmla="*/ 640 h 1162"/>
                  <a:gd name="T86" fmla="*/ 121 w 1469"/>
                  <a:gd name="T87" fmla="*/ 681 h 1162"/>
                  <a:gd name="T88" fmla="*/ 84 w 1469"/>
                  <a:gd name="T89" fmla="*/ 663 h 1162"/>
                  <a:gd name="T90" fmla="*/ 54 w 1469"/>
                  <a:gd name="T91" fmla="*/ 648 h 1162"/>
                  <a:gd name="T92" fmla="*/ 36 w 1469"/>
                  <a:gd name="T93" fmla="*/ 638 h 1162"/>
                  <a:gd name="T94" fmla="*/ 0 w 1469"/>
                  <a:gd name="T95" fmla="*/ 531 h 1162"/>
                  <a:gd name="T96" fmla="*/ 131 w 1469"/>
                  <a:gd name="T97" fmla="*/ 264 h 1162"/>
                  <a:gd name="T98" fmla="*/ 258 w 1469"/>
                  <a:gd name="T99" fmla="*/ 237 h 1162"/>
                  <a:gd name="T100" fmla="*/ 278 w 1469"/>
                  <a:gd name="T101" fmla="*/ 246 h 1162"/>
                  <a:gd name="T102" fmla="*/ 308 w 1469"/>
                  <a:gd name="T103" fmla="*/ 261 h 1162"/>
                  <a:gd name="T104" fmla="*/ 342 w 1469"/>
                  <a:gd name="T105" fmla="*/ 277 h 1162"/>
                  <a:gd name="T106" fmla="*/ 373 w 1469"/>
                  <a:gd name="T107" fmla="*/ 293 h 1162"/>
                  <a:gd name="T108" fmla="*/ 451 w 1469"/>
                  <a:gd name="T109" fmla="*/ 242 h 1162"/>
                  <a:gd name="T110" fmla="*/ 449 w 1469"/>
                  <a:gd name="T111" fmla="*/ 206 h 1162"/>
                  <a:gd name="T112" fmla="*/ 448 w 1469"/>
                  <a:gd name="T113" fmla="*/ 164 h 1162"/>
                  <a:gd name="T114" fmla="*/ 446 w 1469"/>
                  <a:gd name="T115" fmla="*/ 127 h 1162"/>
                  <a:gd name="T116" fmla="*/ 445 w 1469"/>
                  <a:gd name="T117" fmla="*/ 104 h 1162"/>
                  <a:gd name="T118" fmla="*/ 538 w 1469"/>
                  <a:gd name="T119" fmla="*/ 14 h 1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69" h="1162">
                    <a:moveTo>
                      <a:pt x="820" y="0"/>
                    </a:moveTo>
                    <a:lnTo>
                      <a:pt x="907" y="93"/>
                    </a:lnTo>
                    <a:lnTo>
                      <a:pt x="907" y="96"/>
                    </a:lnTo>
                    <a:lnTo>
                      <a:pt x="907" y="105"/>
                    </a:lnTo>
                    <a:lnTo>
                      <a:pt x="908" y="117"/>
                    </a:lnTo>
                    <a:lnTo>
                      <a:pt x="909" y="134"/>
                    </a:lnTo>
                    <a:lnTo>
                      <a:pt x="909" y="151"/>
                    </a:lnTo>
                    <a:lnTo>
                      <a:pt x="910" y="169"/>
                    </a:lnTo>
                    <a:lnTo>
                      <a:pt x="911" y="185"/>
                    </a:lnTo>
                    <a:lnTo>
                      <a:pt x="913" y="201"/>
                    </a:lnTo>
                    <a:lnTo>
                      <a:pt x="966" y="219"/>
                    </a:lnTo>
                    <a:lnTo>
                      <a:pt x="1015" y="243"/>
                    </a:lnTo>
                    <a:lnTo>
                      <a:pt x="1026" y="233"/>
                    </a:lnTo>
                    <a:lnTo>
                      <a:pt x="1040" y="224"/>
                    </a:lnTo>
                    <a:lnTo>
                      <a:pt x="1053" y="213"/>
                    </a:lnTo>
                    <a:lnTo>
                      <a:pt x="1067" y="202"/>
                    </a:lnTo>
                    <a:lnTo>
                      <a:pt x="1081" y="191"/>
                    </a:lnTo>
                    <a:lnTo>
                      <a:pt x="1092" y="182"/>
                    </a:lnTo>
                    <a:lnTo>
                      <a:pt x="1101" y="174"/>
                    </a:lnTo>
                    <a:lnTo>
                      <a:pt x="1107" y="170"/>
                    </a:lnTo>
                    <a:lnTo>
                      <a:pt x="1109" y="168"/>
                    </a:lnTo>
                    <a:lnTo>
                      <a:pt x="1238" y="172"/>
                    </a:lnTo>
                    <a:lnTo>
                      <a:pt x="1414" y="390"/>
                    </a:lnTo>
                    <a:lnTo>
                      <a:pt x="1409" y="517"/>
                    </a:lnTo>
                    <a:lnTo>
                      <a:pt x="1407" y="519"/>
                    </a:lnTo>
                    <a:lnTo>
                      <a:pt x="1401" y="524"/>
                    </a:lnTo>
                    <a:lnTo>
                      <a:pt x="1392" y="532"/>
                    </a:lnTo>
                    <a:lnTo>
                      <a:pt x="1380" y="540"/>
                    </a:lnTo>
                    <a:lnTo>
                      <a:pt x="1367" y="551"/>
                    </a:lnTo>
                    <a:lnTo>
                      <a:pt x="1352" y="563"/>
                    </a:lnTo>
                    <a:lnTo>
                      <a:pt x="1336" y="576"/>
                    </a:lnTo>
                    <a:lnTo>
                      <a:pt x="1322" y="588"/>
                    </a:lnTo>
                    <a:lnTo>
                      <a:pt x="1307" y="599"/>
                    </a:lnTo>
                    <a:lnTo>
                      <a:pt x="1295" y="608"/>
                    </a:lnTo>
                    <a:lnTo>
                      <a:pt x="1300" y="648"/>
                    </a:lnTo>
                    <a:lnTo>
                      <a:pt x="1302" y="687"/>
                    </a:lnTo>
                    <a:lnTo>
                      <a:pt x="1315" y="696"/>
                    </a:lnTo>
                    <a:lnTo>
                      <a:pt x="1331" y="705"/>
                    </a:lnTo>
                    <a:lnTo>
                      <a:pt x="1347" y="716"/>
                    </a:lnTo>
                    <a:lnTo>
                      <a:pt x="1364" y="726"/>
                    </a:lnTo>
                    <a:lnTo>
                      <a:pt x="1380" y="736"/>
                    </a:lnTo>
                    <a:lnTo>
                      <a:pt x="1396" y="745"/>
                    </a:lnTo>
                    <a:lnTo>
                      <a:pt x="1410" y="754"/>
                    </a:lnTo>
                    <a:lnTo>
                      <a:pt x="1422" y="762"/>
                    </a:lnTo>
                    <a:lnTo>
                      <a:pt x="1431" y="767"/>
                    </a:lnTo>
                    <a:lnTo>
                      <a:pt x="1438" y="771"/>
                    </a:lnTo>
                    <a:lnTo>
                      <a:pt x="1440" y="773"/>
                    </a:lnTo>
                    <a:lnTo>
                      <a:pt x="1469" y="897"/>
                    </a:lnTo>
                    <a:lnTo>
                      <a:pt x="1321" y="1134"/>
                    </a:lnTo>
                    <a:lnTo>
                      <a:pt x="1195" y="1162"/>
                    </a:lnTo>
                    <a:lnTo>
                      <a:pt x="1192" y="1161"/>
                    </a:lnTo>
                    <a:lnTo>
                      <a:pt x="1186" y="1157"/>
                    </a:lnTo>
                    <a:lnTo>
                      <a:pt x="1177" y="1150"/>
                    </a:lnTo>
                    <a:lnTo>
                      <a:pt x="1165" y="1143"/>
                    </a:lnTo>
                    <a:lnTo>
                      <a:pt x="1150" y="1135"/>
                    </a:lnTo>
                    <a:lnTo>
                      <a:pt x="1135" y="1125"/>
                    </a:lnTo>
                    <a:lnTo>
                      <a:pt x="1137" y="1050"/>
                    </a:lnTo>
                    <a:lnTo>
                      <a:pt x="1139" y="1021"/>
                    </a:lnTo>
                    <a:lnTo>
                      <a:pt x="1120" y="999"/>
                    </a:lnTo>
                    <a:lnTo>
                      <a:pt x="973" y="817"/>
                    </a:lnTo>
                    <a:lnTo>
                      <a:pt x="989" y="781"/>
                    </a:lnTo>
                    <a:lnTo>
                      <a:pt x="999" y="742"/>
                    </a:lnTo>
                    <a:lnTo>
                      <a:pt x="1003" y="700"/>
                    </a:lnTo>
                    <a:lnTo>
                      <a:pt x="1001" y="660"/>
                    </a:lnTo>
                    <a:lnTo>
                      <a:pt x="993" y="619"/>
                    </a:lnTo>
                    <a:lnTo>
                      <a:pt x="981" y="582"/>
                    </a:lnTo>
                    <a:lnTo>
                      <a:pt x="962" y="547"/>
                    </a:lnTo>
                    <a:lnTo>
                      <a:pt x="940" y="515"/>
                    </a:lnTo>
                    <a:lnTo>
                      <a:pt x="913" y="486"/>
                    </a:lnTo>
                    <a:lnTo>
                      <a:pt x="882" y="461"/>
                    </a:lnTo>
                    <a:lnTo>
                      <a:pt x="847" y="442"/>
                    </a:lnTo>
                    <a:lnTo>
                      <a:pt x="811" y="426"/>
                    </a:lnTo>
                    <a:lnTo>
                      <a:pt x="771" y="415"/>
                    </a:lnTo>
                    <a:lnTo>
                      <a:pt x="729" y="411"/>
                    </a:lnTo>
                    <a:lnTo>
                      <a:pt x="687" y="413"/>
                    </a:lnTo>
                    <a:lnTo>
                      <a:pt x="646" y="421"/>
                    </a:lnTo>
                    <a:lnTo>
                      <a:pt x="607" y="435"/>
                    </a:lnTo>
                    <a:lnTo>
                      <a:pt x="572" y="454"/>
                    </a:lnTo>
                    <a:lnTo>
                      <a:pt x="539" y="477"/>
                    </a:lnTo>
                    <a:lnTo>
                      <a:pt x="510" y="505"/>
                    </a:lnTo>
                    <a:lnTo>
                      <a:pt x="486" y="537"/>
                    </a:lnTo>
                    <a:lnTo>
                      <a:pt x="466" y="572"/>
                    </a:lnTo>
                    <a:lnTo>
                      <a:pt x="450" y="610"/>
                    </a:lnTo>
                    <a:lnTo>
                      <a:pt x="241" y="619"/>
                    </a:lnTo>
                    <a:lnTo>
                      <a:pt x="213" y="622"/>
                    </a:lnTo>
                    <a:lnTo>
                      <a:pt x="190" y="640"/>
                    </a:lnTo>
                    <a:lnTo>
                      <a:pt x="139" y="690"/>
                    </a:lnTo>
                    <a:lnTo>
                      <a:pt x="121" y="681"/>
                    </a:lnTo>
                    <a:lnTo>
                      <a:pt x="103" y="671"/>
                    </a:lnTo>
                    <a:lnTo>
                      <a:pt x="84" y="663"/>
                    </a:lnTo>
                    <a:lnTo>
                      <a:pt x="69" y="654"/>
                    </a:lnTo>
                    <a:lnTo>
                      <a:pt x="54" y="648"/>
                    </a:lnTo>
                    <a:lnTo>
                      <a:pt x="43" y="642"/>
                    </a:lnTo>
                    <a:lnTo>
                      <a:pt x="36" y="638"/>
                    </a:lnTo>
                    <a:lnTo>
                      <a:pt x="33" y="637"/>
                    </a:lnTo>
                    <a:lnTo>
                      <a:pt x="0" y="531"/>
                    </a:lnTo>
                    <a:lnTo>
                      <a:pt x="5" y="513"/>
                    </a:lnTo>
                    <a:lnTo>
                      <a:pt x="131" y="264"/>
                    </a:lnTo>
                    <a:lnTo>
                      <a:pt x="256" y="235"/>
                    </a:lnTo>
                    <a:lnTo>
                      <a:pt x="258" y="237"/>
                    </a:lnTo>
                    <a:lnTo>
                      <a:pt x="266" y="240"/>
                    </a:lnTo>
                    <a:lnTo>
                      <a:pt x="278" y="246"/>
                    </a:lnTo>
                    <a:lnTo>
                      <a:pt x="291" y="253"/>
                    </a:lnTo>
                    <a:lnTo>
                      <a:pt x="308" y="261"/>
                    </a:lnTo>
                    <a:lnTo>
                      <a:pt x="325" y="270"/>
                    </a:lnTo>
                    <a:lnTo>
                      <a:pt x="342" y="277"/>
                    </a:lnTo>
                    <a:lnTo>
                      <a:pt x="359" y="286"/>
                    </a:lnTo>
                    <a:lnTo>
                      <a:pt x="373" y="293"/>
                    </a:lnTo>
                    <a:lnTo>
                      <a:pt x="411" y="266"/>
                    </a:lnTo>
                    <a:lnTo>
                      <a:pt x="451" y="242"/>
                    </a:lnTo>
                    <a:lnTo>
                      <a:pt x="450" y="226"/>
                    </a:lnTo>
                    <a:lnTo>
                      <a:pt x="449" y="206"/>
                    </a:lnTo>
                    <a:lnTo>
                      <a:pt x="448" y="185"/>
                    </a:lnTo>
                    <a:lnTo>
                      <a:pt x="448" y="164"/>
                    </a:lnTo>
                    <a:lnTo>
                      <a:pt x="447" y="145"/>
                    </a:lnTo>
                    <a:lnTo>
                      <a:pt x="446" y="127"/>
                    </a:lnTo>
                    <a:lnTo>
                      <a:pt x="445" y="113"/>
                    </a:lnTo>
                    <a:lnTo>
                      <a:pt x="445" y="104"/>
                    </a:lnTo>
                    <a:lnTo>
                      <a:pt x="445" y="101"/>
                    </a:lnTo>
                    <a:lnTo>
                      <a:pt x="538" y="14"/>
                    </a:lnTo>
                    <a:lnTo>
                      <a:pt x="82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5" name="Freeform 184"/>
              <p:cNvSpPr>
                <a:spLocks noEditPoints="1"/>
              </p:cNvSpPr>
              <p:nvPr/>
            </p:nvSpPr>
            <p:spPr bwMode="auto">
              <a:xfrm>
                <a:off x="-820" y="4066"/>
                <a:ext cx="35" cy="54"/>
              </a:xfrm>
              <a:custGeom>
                <a:avLst/>
                <a:gdLst>
                  <a:gd name="T0" fmla="*/ 86 w 207"/>
                  <a:gd name="T1" fmla="*/ 35 h 321"/>
                  <a:gd name="T2" fmla="*/ 60 w 207"/>
                  <a:gd name="T3" fmla="*/ 55 h 321"/>
                  <a:gd name="T4" fmla="*/ 45 w 207"/>
                  <a:gd name="T5" fmla="*/ 96 h 321"/>
                  <a:gd name="T6" fmla="*/ 40 w 207"/>
                  <a:gd name="T7" fmla="*/ 161 h 321"/>
                  <a:gd name="T8" fmla="*/ 43 w 207"/>
                  <a:gd name="T9" fmla="*/ 215 h 321"/>
                  <a:gd name="T10" fmla="*/ 52 w 207"/>
                  <a:gd name="T11" fmla="*/ 251 h 321"/>
                  <a:gd name="T12" fmla="*/ 72 w 207"/>
                  <a:gd name="T13" fmla="*/ 279 h 321"/>
                  <a:gd name="T14" fmla="*/ 104 w 207"/>
                  <a:gd name="T15" fmla="*/ 290 h 321"/>
                  <a:gd name="T16" fmla="*/ 136 w 207"/>
                  <a:gd name="T17" fmla="*/ 279 h 321"/>
                  <a:gd name="T18" fmla="*/ 157 w 207"/>
                  <a:gd name="T19" fmla="*/ 248 h 321"/>
                  <a:gd name="T20" fmla="*/ 166 w 207"/>
                  <a:gd name="T21" fmla="*/ 196 h 321"/>
                  <a:gd name="T22" fmla="*/ 166 w 207"/>
                  <a:gd name="T23" fmla="*/ 132 h 321"/>
                  <a:gd name="T24" fmla="*/ 160 w 207"/>
                  <a:gd name="T25" fmla="*/ 87 h 321"/>
                  <a:gd name="T26" fmla="*/ 148 w 207"/>
                  <a:gd name="T27" fmla="*/ 58 h 321"/>
                  <a:gd name="T28" fmla="*/ 121 w 207"/>
                  <a:gd name="T29" fmla="*/ 35 h 321"/>
                  <a:gd name="T30" fmla="*/ 104 w 207"/>
                  <a:gd name="T31" fmla="*/ 0 h 321"/>
                  <a:gd name="T32" fmla="*/ 148 w 207"/>
                  <a:gd name="T33" fmla="*/ 10 h 321"/>
                  <a:gd name="T34" fmla="*/ 180 w 207"/>
                  <a:gd name="T35" fmla="*/ 40 h 321"/>
                  <a:gd name="T36" fmla="*/ 200 w 207"/>
                  <a:gd name="T37" fmla="*/ 87 h 321"/>
                  <a:gd name="T38" fmla="*/ 206 w 207"/>
                  <a:gd name="T39" fmla="*/ 132 h 321"/>
                  <a:gd name="T40" fmla="*/ 206 w 207"/>
                  <a:gd name="T41" fmla="*/ 195 h 321"/>
                  <a:gd name="T42" fmla="*/ 196 w 207"/>
                  <a:gd name="T43" fmla="*/ 251 h 321"/>
                  <a:gd name="T44" fmla="*/ 175 w 207"/>
                  <a:gd name="T45" fmla="*/ 290 h 321"/>
                  <a:gd name="T46" fmla="*/ 145 w 207"/>
                  <a:gd name="T47" fmla="*/ 314 h 321"/>
                  <a:gd name="T48" fmla="*/ 104 w 207"/>
                  <a:gd name="T49" fmla="*/ 321 h 321"/>
                  <a:gd name="T50" fmla="*/ 62 w 207"/>
                  <a:gd name="T51" fmla="*/ 314 h 321"/>
                  <a:gd name="T52" fmla="*/ 31 w 207"/>
                  <a:gd name="T53" fmla="*/ 290 h 321"/>
                  <a:gd name="T54" fmla="*/ 11 w 207"/>
                  <a:gd name="T55" fmla="*/ 250 h 321"/>
                  <a:gd name="T56" fmla="*/ 1 w 207"/>
                  <a:gd name="T57" fmla="*/ 194 h 321"/>
                  <a:gd name="T58" fmla="*/ 1 w 207"/>
                  <a:gd name="T59" fmla="*/ 126 h 321"/>
                  <a:gd name="T60" fmla="*/ 11 w 207"/>
                  <a:gd name="T61" fmla="*/ 71 h 321"/>
                  <a:gd name="T62" fmla="*/ 32 w 207"/>
                  <a:gd name="T63" fmla="*/ 33 h 321"/>
                  <a:gd name="T64" fmla="*/ 62 w 207"/>
                  <a:gd name="T65" fmla="*/ 9 h 321"/>
                  <a:gd name="T66" fmla="*/ 104 w 207"/>
                  <a:gd name="T67" fmla="*/ 0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7" h="321">
                    <a:moveTo>
                      <a:pt x="103" y="32"/>
                    </a:moveTo>
                    <a:lnTo>
                      <a:pt x="86" y="35"/>
                    </a:lnTo>
                    <a:lnTo>
                      <a:pt x="72" y="42"/>
                    </a:lnTo>
                    <a:lnTo>
                      <a:pt x="60" y="55"/>
                    </a:lnTo>
                    <a:lnTo>
                      <a:pt x="51" y="73"/>
                    </a:lnTo>
                    <a:lnTo>
                      <a:pt x="45" y="96"/>
                    </a:lnTo>
                    <a:lnTo>
                      <a:pt x="41" y="125"/>
                    </a:lnTo>
                    <a:lnTo>
                      <a:pt x="40" y="161"/>
                    </a:lnTo>
                    <a:lnTo>
                      <a:pt x="41" y="190"/>
                    </a:lnTo>
                    <a:lnTo>
                      <a:pt x="43" y="215"/>
                    </a:lnTo>
                    <a:lnTo>
                      <a:pt x="47" y="235"/>
                    </a:lnTo>
                    <a:lnTo>
                      <a:pt x="52" y="251"/>
                    </a:lnTo>
                    <a:lnTo>
                      <a:pt x="59" y="264"/>
                    </a:lnTo>
                    <a:lnTo>
                      <a:pt x="72" y="279"/>
                    </a:lnTo>
                    <a:lnTo>
                      <a:pt x="86" y="287"/>
                    </a:lnTo>
                    <a:lnTo>
                      <a:pt x="104" y="290"/>
                    </a:lnTo>
                    <a:lnTo>
                      <a:pt x="121" y="287"/>
                    </a:lnTo>
                    <a:lnTo>
                      <a:pt x="136" y="279"/>
                    </a:lnTo>
                    <a:lnTo>
                      <a:pt x="148" y="264"/>
                    </a:lnTo>
                    <a:lnTo>
                      <a:pt x="157" y="248"/>
                    </a:lnTo>
                    <a:lnTo>
                      <a:pt x="163" y="225"/>
                    </a:lnTo>
                    <a:lnTo>
                      <a:pt x="166" y="196"/>
                    </a:lnTo>
                    <a:lnTo>
                      <a:pt x="167" y="161"/>
                    </a:lnTo>
                    <a:lnTo>
                      <a:pt x="166" y="132"/>
                    </a:lnTo>
                    <a:lnTo>
                      <a:pt x="164" y="108"/>
                    </a:lnTo>
                    <a:lnTo>
                      <a:pt x="160" y="87"/>
                    </a:lnTo>
                    <a:lnTo>
                      <a:pt x="155" y="70"/>
                    </a:lnTo>
                    <a:lnTo>
                      <a:pt x="148" y="58"/>
                    </a:lnTo>
                    <a:lnTo>
                      <a:pt x="135" y="44"/>
                    </a:lnTo>
                    <a:lnTo>
                      <a:pt x="121" y="35"/>
                    </a:lnTo>
                    <a:lnTo>
                      <a:pt x="103" y="32"/>
                    </a:lnTo>
                    <a:close/>
                    <a:moveTo>
                      <a:pt x="104" y="0"/>
                    </a:moveTo>
                    <a:lnTo>
                      <a:pt x="127" y="3"/>
                    </a:lnTo>
                    <a:lnTo>
                      <a:pt x="148" y="10"/>
                    </a:lnTo>
                    <a:lnTo>
                      <a:pt x="166" y="23"/>
                    </a:lnTo>
                    <a:lnTo>
                      <a:pt x="180" y="40"/>
                    </a:lnTo>
                    <a:lnTo>
                      <a:pt x="191" y="62"/>
                    </a:lnTo>
                    <a:lnTo>
                      <a:pt x="200" y="87"/>
                    </a:lnTo>
                    <a:lnTo>
                      <a:pt x="204" y="108"/>
                    </a:lnTo>
                    <a:lnTo>
                      <a:pt x="206" y="132"/>
                    </a:lnTo>
                    <a:lnTo>
                      <a:pt x="207" y="161"/>
                    </a:lnTo>
                    <a:lnTo>
                      <a:pt x="206" y="195"/>
                    </a:lnTo>
                    <a:lnTo>
                      <a:pt x="202" y="226"/>
                    </a:lnTo>
                    <a:lnTo>
                      <a:pt x="196" y="251"/>
                    </a:lnTo>
                    <a:lnTo>
                      <a:pt x="187" y="272"/>
                    </a:lnTo>
                    <a:lnTo>
                      <a:pt x="175" y="290"/>
                    </a:lnTo>
                    <a:lnTo>
                      <a:pt x="162" y="303"/>
                    </a:lnTo>
                    <a:lnTo>
                      <a:pt x="145" y="314"/>
                    </a:lnTo>
                    <a:lnTo>
                      <a:pt x="125" y="319"/>
                    </a:lnTo>
                    <a:lnTo>
                      <a:pt x="104" y="321"/>
                    </a:lnTo>
                    <a:lnTo>
                      <a:pt x="82" y="319"/>
                    </a:lnTo>
                    <a:lnTo>
                      <a:pt x="62" y="314"/>
                    </a:lnTo>
                    <a:lnTo>
                      <a:pt x="45" y="304"/>
                    </a:lnTo>
                    <a:lnTo>
                      <a:pt x="31" y="290"/>
                    </a:lnTo>
                    <a:lnTo>
                      <a:pt x="20" y="272"/>
                    </a:lnTo>
                    <a:lnTo>
                      <a:pt x="11" y="250"/>
                    </a:lnTo>
                    <a:lnTo>
                      <a:pt x="4" y="224"/>
                    </a:lnTo>
                    <a:lnTo>
                      <a:pt x="1" y="194"/>
                    </a:lnTo>
                    <a:lnTo>
                      <a:pt x="0" y="161"/>
                    </a:lnTo>
                    <a:lnTo>
                      <a:pt x="1" y="126"/>
                    </a:lnTo>
                    <a:lnTo>
                      <a:pt x="4" y="97"/>
                    </a:lnTo>
                    <a:lnTo>
                      <a:pt x="11" y="71"/>
                    </a:lnTo>
                    <a:lnTo>
                      <a:pt x="20" y="51"/>
                    </a:lnTo>
                    <a:lnTo>
                      <a:pt x="32" y="33"/>
                    </a:lnTo>
                    <a:lnTo>
                      <a:pt x="47" y="19"/>
                    </a:lnTo>
                    <a:lnTo>
                      <a:pt x="62" y="9"/>
                    </a:lnTo>
                    <a:lnTo>
                      <a:pt x="82" y="2"/>
                    </a:lnTo>
                    <a:lnTo>
                      <a:pt x="10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6" name="Freeform 185"/>
              <p:cNvSpPr>
                <a:spLocks/>
              </p:cNvSpPr>
              <p:nvPr/>
            </p:nvSpPr>
            <p:spPr bwMode="auto">
              <a:xfrm>
                <a:off x="-774" y="4066"/>
                <a:ext cx="20" cy="53"/>
              </a:xfrm>
              <a:custGeom>
                <a:avLst/>
                <a:gdLst>
                  <a:gd name="T0" fmla="*/ 91 w 116"/>
                  <a:gd name="T1" fmla="*/ 0 h 316"/>
                  <a:gd name="T2" fmla="*/ 116 w 116"/>
                  <a:gd name="T3" fmla="*/ 0 h 316"/>
                  <a:gd name="T4" fmla="*/ 116 w 116"/>
                  <a:gd name="T5" fmla="*/ 316 h 316"/>
                  <a:gd name="T6" fmla="*/ 77 w 116"/>
                  <a:gd name="T7" fmla="*/ 316 h 316"/>
                  <a:gd name="T8" fmla="*/ 77 w 116"/>
                  <a:gd name="T9" fmla="*/ 70 h 316"/>
                  <a:gd name="T10" fmla="*/ 61 w 116"/>
                  <a:gd name="T11" fmla="*/ 83 h 316"/>
                  <a:gd name="T12" fmla="*/ 40 w 116"/>
                  <a:gd name="T13" fmla="*/ 97 h 316"/>
                  <a:gd name="T14" fmla="*/ 18 w 116"/>
                  <a:gd name="T15" fmla="*/ 109 h 316"/>
                  <a:gd name="T16" fmla="*/ 0 w 116"/>
                  <a:gd name="T17" fmla="*/ 116 h 316"/>
                  <a:gd name="T18" fmla="*/ 0 w 116"/>
                  <a:gd name="T19" fmla="*/ 79 h 316"/>
                  <a:gd name="T20" fmla="*/ 30 w 116"/>
                  <a:gd name="T21" fmla="*/ 63 h 316"/>
                  <a:gd name="T22" fmla="*/ 57 w 116"/>
                  <a:gd name="T23" fmla="*/ 43 h 316"/>
                  <a:gd name="T24" fmla="*/ 78 w 116"/>
                  <a:gd name="T25" fmla="*/ 21 h 316"/>
                  <a:gd name="T26" fmla="*/ 91 w 116"/>
                  <a:gd name="T27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6" h="316">
                    <a:moveTo>
                      <a:pt x="91" y="0"/>
                    </a:moveTo>
                    <a:lnTo>
                      <a:pt x="116" y="0"/>
                    </a:lnTo>
                    <a:lnTo>
                      <a:pt x="116" y="316"/>
                    </a:lnTo>
                    <a:lnTo>
                      <a:pt x="77" y="316"/>
                    </a:lnTo>
                    <a:lnTo>
                      <a:pt x="77" y="70"/>
                    </a:lnTo>
                    <a:lnTo>
                      <a:pt x="61" y="83"/>
                    </a:lnTo>
                    <a:lnTo>
                      <a:pt x="40" y="97"/>
                    </a:lnTo>
                    <a:lnTo>
                      <a:pt x="18" y="109"/>
                    </a:lnTo>
                    <a:lnTo>
                      <a:pt x="0" y="116"/>
                    </a:lnTo>
                    <a:lnTo>
                      <a:pt x="0" y="79"/>
                    </a:lnTo>
                    <a:lnTo>
                      <a:pt x="30" y="63"/>
                    </a:lnTo>
                    <a:lnTo>
                      <a:pt x="57" y="43"/>
                    </a:lnTo>
                    <a:lnTo>
                      <a:pt x="78" y="21"/>
                    </a:lnTo>
                    <a:lnTo>
                      <a:pt x="91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7" name="Freeform 186"/>
              <p:cNvSpPr>
                <a:spLocks noEditPoints="1"/>
              </p:cNvSpPr>
              <p:nvPr/>
            </p:nvSpPr>
            <p:spPr bwMode="auto">
              <a:xfrm>
                <a:off x="-818" y="4144"/>
                <a:ext cx="34" cy="54"/>
              </a:xfrm>
              <a:custGeom>
                <a:avLst/>
                <a:gdLst>
                  <a:gd name="T0" fmla="*/ 86 w 207"/>
                  <a:gd name="T1" fmla="*/ 35 h 323"/>
                  <a:gd name="T2" fmla="*/ 60 w 207"/>
                  <a:gd name="T3" fmla="*/ 55 h 323"/>
                  <a:gd name="T4" fmla="*/ 44 w 207"/>
                  <a:gd name="T5" fmla="*/ 96 h 323"/>
                  <a:gd name="T6" fmla="*/ 40 w 207"/>
                  <a:gd name="T7" fmla="*/ 162 h 323"/>
                  <a:gd name="T8" fmla="*/ 43 w 207"/>
                  <a:gd name="T9" fmla="*/ 215 h 323"/>
                  <a:gd name="T10" fmla="*/ 51 w 207"/>
                  <a:gd name="T11" fmla="*/ 253 h 323"/>
                  <a:gd name="T12" fmla="*/ 71 w 207"/>
                  <a:gd name="T13" fmla="*/ 279 h 323"/>
                  <a:gd name="T14" fmla="*/ 103 w 207"/>
                  <a:gd name="T15" fmla="*/ 290 h 323"/>
                  <a:gd name="T16" fmla="*/ 135 w 207"/>
                  <a:gd name="T17" fmla="*/ 279 h 323"/>
                  <a:gd name="T18" fmla="*/ 155 w 207"/>
                  <a:gd name="T19" fmla="*/ 253 h 323"/>
                  <a:gd name="T20" fmla="*/ 163 w 207"/>
                  <a:gd name="T21" fmla="*/ 215 h 323"/>
                  <a:gd name="T22" fmla="*/ 167 w 207"/>
                  <a:gd name="T23" fmla="*/ 162 h 323"/>
                  <a:gd name="T24" fmla="*/ 163 w 207"/>
                  <a:gd name="T25" fmla="*/ 108 h 323"/>
                  <a:gd name="T26" fmla="*/ 155 w 207"/>
                  <a:gd name="T27" fmla="*/ 71 h 323"/>
                  <a:gd name="T28" fmla="*/ 135 w 207"/>
                  <a:gd name="T29" fmla="*/ 44 h 323"/>
                  <a:gd name="T30" fmla="*/ 103 w 207"/>
                  <a:gd name="T31" fmla="*/ 32 h 323"/>
                  <a:gd name="T32" fmla="*/ 119 w 207"/>
                  <a:gd name="T33" fmla="*/ 1 h 323"/>
                  <a:gd name="T34" fmla="*/ 148 w 207"/>
                  <a:gd name="T35" fmla="*/ 11 h 323"/>
                  <a:gd name="T36" fmla="*/ 170 w 207"/>
                  <a:gd name="T37" fmla="*/ 29 h 323"/>
                  <a:gd name="T38" fmla="*/ 191 w 207"/>
                  <a:gd name="T39" fmla="*/ 62 h 323"/>
                  <a:gd name="T40" fmla="*/ 203 w 207"/>
                  <a:gd name="T41" fmla="*/ 108 h 323"/>
                  <a:gd name="T42" fmla="*/ 207 w 207"/>
                  <a:gd name="T43" fmla="*/ 162 h 323"/>
                  <a:gd name="T44" fmla="*/ 201 w 207"/>
                  <a:gd name="T45" fmla="*/ 226 h 323"/>
                  <a:gd name="T46" fmla="*/ 186 w 207"/>
                  <a:gd name="T47" fmla="*/ 272 h 323"/>
                  <a:gd name="T48" fmla="*/ 160 w 207"/>
                  <a:gd name="T49" fmla="*/ 303 h 323"/>
                  <a:gd name="T50" fmla="*/ 125 w 207"/>
                  <a:gd name="T51" fmla="*/ 321 h 323"/>
                  <a:gd name="T52" fmla="*/ 82 w 207"/>
                  <a:gd name="T53" fmla="*/ 321 h 323"/>
                  <a:gd name="T54" fmla="*/ 45 w 207"/>
                  <a:gd name="T55" fmla="*/ 304 h 323"/>
                  <a:gd name="T56" fmla="*/ 20 w 207"/>
                  <a:gd name="T57" fmla="*/ 271 h 323"/>
                  <a:gd name="T58" fmla="*/ 4 w 207"/>
                  <a:gd name="T59" fmla="*/ 224 h 323"/>
                  <a:gd name="T60" fmla="*/ 0 w 207"/>
                  <a:gd name="T61" fmla="*/ 162 h 323"/>
                  <a:gd name="T62" fmla="*/ 4 w 207"/>
                  <a:gd name="T63" fmla="*/ 97 h 323"/>
                  <a:gd name="T64" fmla="*/ 20 w 207"/>
                  <a:gd name="T65" fmla="*/ 51 h 323"/>
                  <a:gd name="T66" fmla="*/ 45 w 207"/>
                  <a:gd name="T67" fmla="*/ 19 h 323"/>
                  <a:gd name="T68" fmla="*/ 82 w 207"/>
                  <a:gd name="T69" fmla="*/ 3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7" h="323">
                    <a:moveTo>
                      <a:pt x="103" y="32"/>
                    </a:moveTo>
                    <a:lnTo>
                      <a:pt x="86" y="35"/>
                    </a:lnTo>
                    <a:lnTo>
                      <a:pt x="72" y="43"/>
                    </a:lnTo>
                    <a:lnTo>
                      <a:pt x="60" y="55"/>
                    </a:lnTo>
                    <a:lnTo>
                      <a:pt x="51" y="73"/>
                    </a:lnTo>
                    <a:lnTo>
                      <a:pt x="44" y="96"/>
                    </a:lnTo>
                    <a:lnTo>
                      <a:pt x="41" y="125"/>
                    </a:lnTo>
                    <a:lnTo>
                      <a:pt x="40" y="162"/>
                    </a:lnTo>
                    <a:lnTo>
                      <a:pt x="41" y="190"/>
                    </a:lnTo>
                    <a:lnTo>
                      <a:pt x="43" y="215"/>
                    </a:lnTo>
                    <a:lnTo>
                      <a:pt x="46" y="236"/>
                    </a:lnTo>
                    <a:lnTo>
                      <a:pt x="51" y="253"/>
                    </a:lnTo>
                    <a:lnTo>
                      <a:pt x="57" y="265"/>
                    </a:lnTo>
                    <a:lnTo>
                      <a:pt x="71" y="279"/>
                    </a:lnTo>
                    <a:lnTo>
                      <a:pt x="86" y="288"/>
                    </a:lnTo>
                    <a:lnTo>
                      <a:pt x="103" y="290"/>
                    </a:lnTo>
                    <a:lnTo>
                      <a:pt x="120" y="288"/>
                    </a:lnTo>
                    <a:lnTo>
                      <a:pt x="135" y="279"/>
                    </a:lnTo>
                    <a:lnTo>
                      <a:pt x="148" y="265"/>
                    </a:lnTo>
                    <a:lnTo>
                      <a:pt x="155" y="253"/>
                    </a:lnTo>
                    <a:lnTo>
                      <a:pt x="160" y="236"/>
                    </a:lnTo>
                    <a:lnTo>
                      <a:pt x="163" y="215"/>
                    </a:lnTo>
                    <a:lnTo>
                      <a:pt x="166" y="190"/>
                    </a:lnTo>
                    <a:lnTo>
                      <a:pt x="167" y="162"/>
                    </a:lnTo>
                    <a:lnTo>
                      <a:pt x="166" y="132"/>
                    </a:lnTo>
                    <a:lnTo>
                      <a:pt x="163" y="108"/>
                    </a:lnTo>
                    <a:lnTo>
                      <a:pt x="160" y="87"/>
                    </a:lnTo>
                    <a:lnTo>
                      <a:pt x="155" y="71"/>
                    </a:lnTo>
                    <a:lnTo>
                      <a:pt x="148" y="58"/>
                    </a:lnTo>
                    <a:lnTo>
                      <a:pt x="135" y="44"/>
                    </a:lnTo>
                    <a:lnTo>
                      <a:pt x="119" y="35"/>
                    </a:lnTo>
                    <a:lnTo>
                      <a:pt x="103" y="32"/>
                    </a:lnTo>
                    <a:close/>
                    <a:moveTo>
                      <a:pt x="103" y="0"/>
                    </a:moveTo>
                    <a:lnTo>
                      <a:pt x="119" y="1"/>
                    </a:lnTo>
                    <a:lnTo>
                      <a:pt x="135" y="5"/>
                    </a:lnTo>
                    <a:lnTo>
                      <a:pt x="148" y="11"/>
                    </a:lnTo>
                    <a:lnTo>
                      <a:pt x="160" y="19"/>
                    </a:lnTo>
                    <a:lnTo>
                      <a:pt x="170" y="29"/>
                    </a:lnTo>
                    <a:lnTo>
                      <a:pt x="179" y="40"/>
                    </a:lnTo>
                    <a:lnTo>
                      <a:pt x="191" y="62"/>
                    </a:lnTo>
                    <a:lnTo>
                      <a:pt x="200" y="87"/>
                    </a:lnTo>
                    <a:lnTo>
                      <a:pt x="203" y="108"/>
                    </a:lnTo>
                    <a:lnTo>
                      <a:pt x="205" y="132"/>
                    </a:lnTo>
                    <a:lnTo>
                      <a:pt x="207" y="162"/>
                    </a:lnTo>
                    <a:lnTo>
                      <a:pt x="205" y="196"/>
                    </a:lnTo>
                    <a:lnTo>
                      <a:pt x="201" y="226"/>
                    </a:lnTo>
                    <a:lnTo>
                      <a:pt x="194" y="250"/>
                    </a:lnTo>
                    <a:lnTo>
                      <a:pt x="186" y="272"/>
                    </a:lnTo>
                    <a:lnTo>
                      <a:pt x="175" y="290"/>
                    </a:lnTo>
                    <a:lnTo>
                      <a:pt x="160" y="303"/>
                    </a:lnTo>
                    <a:lnTo>
                      <a:pt x="145" y="314"/>
                    </a:lnTo>
                    <a:lnTo>
                      <a:pt x="125" y="321"/>
                    </a:lnTo>
                    <a:lnTo>
                      <a:pt x="103" y="323"/>
                    </a:lnTo>
                    <a:lnTo>
                      <a:pt x="82" y="321"/>
                    </a:lnTo>
                    <a:lnTo>
                      <a:pt x="62" y="314"/>
                    </a:lnTo>
                    <a:lnTo>
                      <a:pt x="45" y="304"/>
                    </a:lnTo>
                    <a:lnTo>
                      <a:pt x="31" y="290"/>
                    </a:lnTo>
                    <a:lnTo>
                      <a:pt x="20" y="271"/>
                    </a:lnTo>
                    <a:lnTo>
                      <a:pt x="11" y="250"/>
                    </a:lnTo>
                    <a:lnTo>
                      <a:pt x="4" y="224"/>
                    </a:lnTo>
                    <a:lnTo>
                      <a:pt x="1" y="194"/>
                    </a:lnTo>
                    <a:lnTo>
                      <a:pt x="0" y="162"/>
                    </a:lnTo>
                    <a:lnTo>
                      <a:pt x="1" y="126"/>
                    </a:lnTo>
                    <a:lnTo>
                      <a:pt x="4" y="97"/>
                    </a:lnTo>
                    <a:lnTo>
                      <a:pt x="11" y="72"/>
                    </a:lnTo>
                    <a:lnTo>
                      <a:pt x="20" y="51"/>
                    </a:lnTo>
                    <a:lnTo>
                      <a:pt x="32" y="33"/>
                    </a:lnTo>
                    <a:lnTo>
                      <a:pt x="45" y="19"/>
                    </a:lnTo>
                    <a:lnTo>
                      <a:pt x="62" y="9"/>
                    </a:lnTo>
                    <a:lnTo>
                      <a:pt x="82" y="3"/>
                    </a:lnTo>
                    <a:lnTo>
                      <a:pt x="10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8" name="Freeform 187"/>
              <p:cNvSpPr>
                <a:spLocks/>
              </p:cNvSpPr>
              <p:nvPr/>
            </p:nvSpPr>
            <p:spPr bwMode="auto">
              <a:xfrm>
                <a:off x="-772" y="4144"/>
                <a:ext cx="19" cy="53"/>
              </a:xfrm>
              <a:custGeom>
                <a:avLst/>
                <a:gdLst>
                  <a:gd name="T0" fmla="*/ 91 w 116"/>
                  <a:gd name="T1" fmla="*/ 0 h 317"/>
                  <a:gd name="T2" fmla="*/ 116 w 116"/>
                  <a:gd name="T3" fmla="*/ 0 h 317"/>
                  <a:gd name="T4" fmla="*/ 116 w 116"/>
                  <a:gd name="T5" fmla="*/ 317 h 317"/>
                  <a:gd name="T6" fmla="*/ 78 w 116"/>
                  <a:gd name="T7" fmla="*/ 317 h 317"/>
                  <a:gd name="T8" fmla="*/ 78 w 116"/>
                  <a:gd name="T9" fmla="*/ 71 h 317"/>
                  <a:gd name="T10" fmla="*/ 61 w 116"/>
                  <a:gd name="T11" fmla="*/ 84 h 317"/>
                  <a:gd name="T12" fmla="*/ 41 w 116"/>
                  <a:gd name="T13" fmla="*/ 97 h 317"/>
                  <a:gd name="T14" fmla="*/ 19 w 116"/>
                  <a:gd name="T15" fmla="*/ 109 h 317"/>
                  <a:gd name="T16" fmla="*/ 0 w 116"/>
                  <a:gd name="T17" fmla="*/ 117 h 317"/>
                  <a:gd name="T18" fmla="*/ 0 w 116"/>
                  <a:gd name="T19" fmla="*/ 79 h 317"/>
                  <a:gd name="T20" fmla="*/ 30 w 116"/>
                  <a:gd name="T21" fmla="*/ 63 h 317"/>
                  <a:gd name="T22" fmla="*/ 57 w 116"/>
                  <a:gd name="T23" fmla="*/ 42 h 317"/>
                  <a:gd name="T24" fmla="*/ 78 w 116"/>
                  <a:gd name="T25" fmla="*/ 21 h 317"/>
                  <a:gd name="T26" fmla="*/ 91 w 116"/>
                  <a:gd name="T27" fmla="*/ 0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6" h="317">
                    <a:moveTo>
                      <a:pt x="91" y="0"/>
                    </a:moveTo>
                    <a:lnTo>
                      <a:pt x="116" y="0"/>
                    </a:lnTo>
                    <a:lnTo>
                      <a:pt x="116" y="317"/>
                    </a:lnTo>
                    <a:lnTo>
                      <a:pt x="78" y="317"/>
                    </a:lnTo>
                    <a:lnTo>
                      <a:pt x="78" y="71"/>
                    </a:lnTo>
                    <a:lnTo>
                      <a:pt x="61" y="84"/>
                    </a:lnTo>
                    <a:lnTo>
                      <a:pt x="41" y="97"/>
                    </a:lnTo>
                    <a:lnTo>
                      <a:pt x="19" y="109"/>
                    </a:lnTo>
                    <a:lnTo>
                      <a:pt x="0" y="117"/>
                    </a:lnTo>
                    <a:lnTo>
                      <a:pt x="0" y="79"/>
                    </a:lnTo>
                    <a:lnTo>
                      <a:pt x="30" y="63"/>
                    </a:lnTo>
                    <a:lnTo>
                      <a:pt x="57" y="42"/>
                    </a:lnTo>
                    <a:lnTo>
                      <a:pt x="78" y="21"/>
                    </a:lnTo>
                    <a:lnTo>
                      <a:pt x="91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9" name="Freeform 188"/>
              <p:cNvSpPr>
                <a:spLocks/>
              </p:cNvSpPr>
              <p:nvPr/>
            </p:nvSpPr>
            <p:spPr bwMode="auto">
              <a:xfrm>
                <a:off x="-737" y="4144"/>
                <a:ext cx="20" cy="53"/>
              </a:xfrm>
              <a:custGeom>
                <a:avLst/>
                <a:gdLst>
                  <a:gd name="T0" fmla="*/ 91 w 116"/>
                  <a:gd name="T1" fmla="*/ 0 h 317"/>
                  <a:gd name="T2" fmla="*/ 116 w 116"/>
                  <a:gd name="T3" fmla="*/ 0 h 317"/>
                  <a:gd name="T4" fmla="*/ 116 w 116"/>
                  <a:gd name="T5" fmla="*/ 317 h 317"/>
                  <a:gd name="T6" fmla="*/ 77 w 116"/>
                  <a:gd name="T7" fmla="*/ 317 h 317"/>
                  <a:gd name="T8" fmla="*/ 77 w 116"/>
                  <a:gd name="T9" fmla="*/ 71 h 317"/>
                  <a:gd name="T10" fmla="*/ 62 w 116"/>
                  <a:gd name="T11" fmla="*/ 84 h 317"/>
                  <a:gd name="T12" fmla="*/ 41 w 116"/>
                  <a:gd name="T13" fmla="*/ 97 h 317"/>
                  <a:gd name="T14" fmla="*/ 18 w 116"/>
                  <a:gd name="T15" fmla="*/ 109 h 317"/>
                  <a:gd name="T16" fmla="*/ 0 w 116"/>
                  <a:gd name="T17" fmla="*/ 117 h 317"/>
                  <a:gd name="T18" fmla="*/ 0 w 116"/>
                  <a:gd name="T19" fmla="*/ 79 h 317"/>
                  <a:gd name="T20" fmla="*/ 31 w 116"/>
                  <a:gd name="T21" fmla="*/ 63 h 317"/>
                  <a:gd name="T22" fmla="*/ 57 w 116"/>
                  <a:gd name="T23" fmla="*/ 42 h 317"/>
                  <a:gd name="T24" fmla="*/ 78 w 116"/>
                  <a:gd name="T25" fmla="*/ 21 h 317"/>
                  <a:gd name="T26" fmla="*/ 91 w 116"/>
                  <a:gd name="T27" fmla="*/ 0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6" h="317">
                    <a:moveTo>
                      <a:pt x="91" y="0"/>
                    </a:moveTo>
                    <a:lnTo>
                      <a:pt x="116" y="0"/>
                    </a:lnTo>
                    <a:lnTo>
                      <a:pt x="116" y="317"/>
                    </a:lnTo>
                    <a:lnTo>
                      <a:pt x="77" y="317"/>
                    </a:lnTo>
                    <a:lnTo>
                      <a:pt x="77" y="71"/>
                    </a:lnTo>
                    <a:lnTo>
                      <a:pt x="62" y="84"/>
                    </a:lnTo>
                    <a:lnTo>
                      <a:pt x="41" y="97"/>
                    </a:lnTo>
                    <a:lnTo>
                      <a:pt x="18" y="109"/>
                    </a:lnTo>
                    <a:lnTo>
                      <a:pt x="0" y="117"/>
                    </a:lnTo>
                    <a:lnTo>
                      <a:pt x="0" y="79"/>
                    </a:lnTo>
                    <a:lnTo>
                      <a:pt x="31" y="63"/>
                    </a:lnTo>
                    <a:lnTo>
                      <a:pt x="57" y="42"/>
                    </a:lnTo>
                    <a:lnTo>
                      <a:pt x="78" y="21"/>
                    </a:lnTo>
                    <a:lnTo>
                      <a:pt x="91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0" name="Freeform 189"/>
              <p:cNvSpPr>
                <a:spLocks noEditPoints="1"/>
              </p:cNvSpPr>
              <p:nvPr/>
            </p:nvSpPr>
            <p:spPr bwMode="auto">
              <a:xfrm>
                <a:off x="-701" y="4144"/>
                <a:ext cx="35" cy="54"/>
              </a:xfrm>
              <a:custGeom>
                <a:avLst/>
                <a:gdLst>
                  <a:gd name="T0" fmla="*/ 87 w 207"/>
                  <a:gd name="T1" fmla="*/ 35 h 323"/>
                  <a:gd name="T2" fmla="*/ 60 w 207"/>
                  <a:gd name="T3" fmla="*/ 55 h 323"/>
                  <a:gd name="T4" fmla="*/ 46 w 207"/>
                  <a:gd name="T5" fmla="*/ 96 h 323"/>
                  <a:gd name="T6" fmla="*/ 40 w 207"/>
                  <a:gd name="T7" fmla="*/ 162 h 323"/>
                  <a:gd name="T8" fmla="*/ 44 w 207"/>
                  <a:gd name="T9" fmla="*/ 215 h 323"/>
                  <a:gd name="T10" fmla="*/ 52 w 207"/>
                  <a:gd name="T11" fmla="*/ 253 h 323"/>
                  <a:gd name="T12" fmla="*/ 72 w 207"/>
                  <a:gd name="T13" fmla="*/ 279 h 323"/>
                  <a:gd name="T14" fmla="*/ 103 w 207"/>
                  <a:gd name="T15" fmla="*/ 290 h 323"/>
                  <a:gd name="T16" fmla="*/ 135 w 207"/>
                  <a:gd name="T17" fmla="*/ 279 h 323"/>
                  <a:gd name="T18" fmla="*/ 155 w 207"/>
                  <a:gd name="T19" fmla="*/ 253 h 323"/>
                  <a:gd name="T20" fmla="*/ 164 w 207"/>
                  <a:gd name="T21" fmla="*/ 215 h 323"/>
                  <a:gd name="T22" fmla="*/ 167 w 207"/>
                  <a:gd name="T23" fmla="*/ 162 h 323"/>
                  <a:gd name="T24" fmla="*/ 164 w 207"/>
                  <a:gd name="T25" fmla="*/ 108 h 323"/>
                  <a:gd name="T26" fmla="*/ 155 w 207"/>
                  <a:gd name="T27" fmla="*/ 71 h 323"/>
                  <a:gd name="T28" fmla="*/ 135 w 207"/>
                  <a:gd name="T29" fmla="*/ 44 h 323"/>
                  <a:gd name="T30" fmla="*/ 103 w 207"/>
                  <a:gd name="T31" fmla="*/ 32 h 323"/>
                  <a:gd name="T32" fmla="*/ 128 w 207"/>
                  <a:gd name="T33" fmla="*/ 4 h 323"/>
                  <a:gd name="T34" fmla="*/ 166 w 207"/>
                  <a:gd name="T35" fmla="*/ 23 h 323"/>
                  <a:gd name="T36" fmla="*/ 192 w 207"/>
                  <a:gd name="T37" fmla="*/ 62 h 323"/>
                  <a:gd name="T38" fmla="*/ 204 w 207"/>
                  <a:gd name="T39" fmla="*/ 108 h 323"/>
                  <a:gd name="T40" fmla="*/ 207 w 207"/>
                  <a:gd name="T41" fmla="*/ 162 h 323"/>
                  <a:gd name="T42" fmla="*/ 203 w 207"/>
                  <a:gd name="T43" fmla="*/ 226 h 323"/>
                  <a:gd name="T44" fmla="*/ 187 w 207"/>
                  <a:gd name="T45" fmla="*/ 272 h 323"/>
                  <a:gd name="T46" fmla="*/ 162 w 207"/>
                  <a:gd name="T47" fmla="*/ 303 h 323"/>
                  <a:gd name="T48" fmla="*/ 125 w 207"/>
                  <a:gd name="T49" fmla="*/ 321 h 323"/>
                  <a:gd name="T50" fmla="*/ 82 w 207"/>
                  <a:gd name="T51" fmla="*/ 321 h 323"/>
                  <a:gd name="T52" fmla="*/ 46 w 207"/>
                  <a:gd name="T53" fmla="*/ 304 h 323"/>
                  <a:gd name="T54" fmla="*/ 20 w 207"/>
                  <a:gd name="T55" fmla="*/ 272 h 323"/>
                  <a:gd name="T56" fmla="*/ 6 w 207"/>
                  <a:gd name="T57" fmla="*/ 224 h 323"/>
                  <a:gd name="T58" fmla="*/ 0 w 207"/>
                  <a:gd name="T59" fmla="*/ 162 h 323"/>
                  <a:gd name="T60" fmla="*/ 6 w 207"/>
                  <a:gd name="T61" fmla="*/ 97 h 323"/>
                  <a:gd name="T62" fmla="*/ 21 w 207"/>
                  <a:gd name="T63" fmla="*/ 51 h 323"/>
                  <a:gd name="T64" fmla="*/ 47 w 207"/>
                  <a:gd name="T65" fmla="*/ 19 h 323"/>
                  <a:gd name="T66" fmla="*/ 82 w 207"/>
                  <a:gd name="T67" fmla="*/ 3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7" h="323">
                    <a:moveTo>
                      <a:pt x="103" y="32"/>
                    </a:moveTo>
                    <a:lnTo>
                      <a:pt x="87" y="35"/>
                    </a:lnTo>
                    <a:lnTo>
                      <a:pt x="72" y="43"/>
                    </a:lnTo>
                    <a:lnTo>
                      <a:pt x="60" y="55"/>
                    </a:lnTo>
                    <a:lnTo>
                      <a:pt x="51" y="73"/>
                    </a:lnTo>
                    <a:lnTo>
                      <a:pt x="46" y="96"/>
                    </a:lnTo>
                    <a:lnTo>
                      <a:pt x="41" y="125"/>
                    </a:lnTo>
                    <a:lnTo>
                      <a:pt x="40" y="162"/>
                    </a:lnTo>
                    <a:lnTo>
                      <a:pt x="41" y="190"/>
                    </a:lnTo>
                    <a:lnTo>
                      <a:pt x="44" y="215"/>
                    </a:lnTo>
                    <a:lnTo>
                      <a:pt x="47" y="236"/>
                    </a:lnTo>
                    <a:lnTo>
                      <a:pt x="52" y="253"/>
                    </a:lnTo>
                    <a:lnTo>
                      <a:pt x="59" y="265"/>
                    </a:lnTo>
                    <a:lnTo>
                      <a:pt x="72" y="279"/>
                    </a:lnTo>
                    <a:lnTo>
                      <a:pt x="87" y="288"/>
                    </a:lnTo>
                    <a:lnTo>
                      <a:pt x="103" y="290"/>
                    </a:lnTo>
                    <a:lnTo>
                      <a:pt x="121" y="288"/>
                    </a:lnTo>
                    <a:lnTo>
                      <a:pt x="135" y="279"/>
                    </a:lnTo>
                    <a:lnTo>
                      <a:pt x="149" y="265"/>
                    </a:lnTo>
                    <a:lnTo>
                      <a:pt x="155" y="253"/>
                    </a:lnTo>
                    <a:lnTo>
                      <a:pt x="161" y="236"/>
                    </a:lnTo>
                    <a:lnTo>
                      <a:pt x="164" y="215"/>
                    </a:lnTo>
                    <a:lnTo>
                      <a:pt x="166" y="190"/>
                    </a:lnTo>
                    <a:lnTo>
                      <a:pt x="167" y="162"/>
                    </a:lnTo>
                    <a:lnTo>
                      <a:pt x="166" y="132"/>
                    </a:lnTo>
                    <a:lnTo>
                      <a:pt x="164" y="108"/>
                    </a:lnTo>
                    <a:lnTo>
                      <a:pt x="161" y="87"/>
                    </a:lnTo>
                    <a:lnTo>
                      <a:pt x="155" y="71"/>
                    </a:lnTo>
                    <a:lnTo>
                      <a:pt x="149" y="58"/>
                    </a:lnTo>
                    <a:lnTo>
                      <a:pt x="135" y="44"/>
                    </a:lnTo>
                    <a:lnTo>
                      <a:pt x="121" y="35"/>
                    </a:lnTo>
                    <a:lnTo>
                      <a:pt x="103" y="32"/>
                    </a:lnTo>
                    <a:close/>
                    <a:moveTo>
                      <a:pt x="103" y="0"/>
                    </a:moveTo>
                    <a:lnTo>
                      <a:pt x="128" y="4"/>
                    </a:lnTo>
                    <a:lnTo>
                      <a:pt x="149" y="11"/>
                    </a:lnTo>
                    <a:lnTo>
                      <a:pt x="166" y="23"/>
                    </a:lnTo>
                    <a:lnTo>
                      <a:pt x="181" y="40"/>
                    </a:lnTo>
                    <a:lnTo>
                      <a:pt x="192" y="62"/>
                    </a:lnTo>
                    <a:lnTo>
                      <a:pt x="201" y="87"/>
                    </a:lnTo>
                    <a:lnTo>
                      <a:pt x="204" y="108"/>
                    </a:lnTo>
                    <a:lnTo>
                      <a:pt x="206" y="133"/>
                    </a:lnTo>
                    <a:lnTo>
                      <a:pt x="207" y="162"/>
                    </a:lnTo>
                    <a:lnTo>
                      <a:pt x="206" y="196"/>
                    </a:lnTo>
                    <a:lnTo>
                      <a:pt x="203" y="226"/>
                    </a:lnTo>
                    <a:lnTo>
                      <a:pt x="196" y="251"/>
                    </a:lnTo>
                    <a:lnTo>
                      <a:pt x="187" y="272"/>
                    </a:lnTo>
                    <a:lnTo>
                      <a:pt x="175" y="290"/>
                    </a:lnTo>
                    <a:lnTo>
                      <a:pt x="162" y="303"/>
                    </a:lnTo>
                    <a:lnTo>
                      <a:pt x="145" y="314"/>
                    </a:lnTo>
                    <a:lnTo>
                      <a:pt x="125" y="321"/>
                    </a:lnTo>
                    <a:lnTo>
                      <a:pt x="103" y="323"/>
                    </a:lnTo>
                    <a:lnTo>
                      <a:pt x="82" y="321"/>
                    </a:lnTo>
                    <a:lnTo>
                      <a:pt x="62" y="314"/>
                    </a:lnTo>
                    <a:lnTo>
                      <a:pt x="46" y="304"/>
                    </a:lnTo>
                    <a:lnTo>
                      <a:pt x="31" y="290"/>
                    </a:lnTo>
                    <a:lnTo>
                      <a:pt x="20" y="272"/>
                    </a:lnTo>
                    <a:lnTo>
                      <a:pt x="11" y="250"/>
                    </a:lnTo>
                    <a:lnTo>
                      <a:pt x="6" y="224"/>
                    </a:lnTo>
                    <a:lnTo>
                      <a:pt x="2" y="194"/>
                    </a:lnTo>
                    <a:lnTo>
                      <a:pt x="0" y="162"/>
                    </a:lnTo>
                    <a:lnTo>
                      <a:pt x="2" y="126"/>
                    </a:lnTo>
                    <a:lnTo>
                      <a:pt x="6" y="97"/>
                    </a:lnTo>
                    <a:lnTo>
                      <a:pt x="11" y="72"/>
                    </a:lnTo>
                    <a:lnTo>
                      <a:pt x="21" y="51"/>
                    </a:lnTo>
                    <a:lnTo>
                      <a:pt x="32" y="33"/>
                    </a:lnTo>
                    <a:lnTo>
                      <a:pt x="47" y="19"/>
                    </a:lnTo>
                    <a:lnTo>
                      <a:pt x="62" y="9"/>
                    </a:lnTo>
                    <a:lnTo>
                      <a:pt x="82" y="3"/>
                    </a:lnTo>
                    <a:lnTo>
                      <a:pt x="10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1" name="Freeform 190"/>
              <p:cNvSpPr>
                <a:spLocks noEditPoints="1"/>
              </p:cNvSpPr>
              <p:nvPr/>
            </p:nvSpPr>
            <p:spPr bwMode="auto">
              <a:xfrm>
                <a:off x="-818" y="4232"/>
                <a:ext cx="34" cy="54"/>
              </a:xfrm>
              <a:custGeom>
                <a:avLst/>
                <a:gdLst>
                  <a:gd name="T0" fmla="*/ 86 w 207"/>
                  <a:gd name="T1" fmla="*/ 34 h 321"/>
                  <a:gd name="T2" fmla="*/ 60 w 207"/>
                  <a:gd name="T3" fmla="*/ 55 h 321"/>
                  <a:gd name="T4" fmla="*/ 44 w 207"/>
                  <a:gd name="T5" fmla="*/ 95 h 321"/>
                  <a:gd name="T6" fmla="*/ 40 w 207"/>
                  <a:gd name="T7" fmla="*/ 160 h 321"/>
                  <a:gd name="T8" fmla="*/ 43 w 207"/>
                  <a:gd name="T9" fmla="*/ 214 h 321"/>
                  <a:gd name="T10" fmla="*/ 51 w 207"/>
                  <a:gd name="T11" fmla="*/ 251 h 321"/>
                  <a:gd name="T12" fmla="*/ 71 w 207"/>
                  <a:gd name="T13" fmla="*/ 277 h 321"/>
                  <a:gd name="T14" fmla="*/ 103 w 207"/>
                  <a:gd name="T15" fmla="*/ 289 h 321"/>
                  <a:gd name="T16" fmla="*/ 135 w 207"/>
                  <a:gd name="T17" fmla="*/ 277 h 321"/>
                  <a:gd name="T18" fmla="*/ 156 w 207"/>
                  <a:gd name="T19" fmla="*/ 247 h 321"/>
                  <a:gd name="T20" fmla="*/ 166 w 207"/>
                  <a:gd name="T21" fmla="*/ 195 h 321"/>
                  <a:gd name="T22" fmla="*/ 166 w 207"/>
                  <a:gd name="T23" fmla="*/ 131 h 321"/>
                  <a:gd name="T24" fmla="*/ 160 w 207"/>
                  <a:gd name="T25" fmla="*/ 85 h 321"/>
                  <a:gd name="T26" fmla="*/ 148 w 207"/>
                  <a:gd name="T27" fmla="*/ 57 h 321"/>
                  <a:gd name="T28" fmla="*/ 119 w 207"/>
                  <a:gd name="T29" fmla="*/ 34 h 321"/>
                  <a:gd name="T30" fmla="*/ 103 w 207"/>
                  <a:gd name="T31" fmla="*/ 0 h 321"/>
                  <a:gd name="T32" fmla="*/ 135 w 207"/>
                  <a:gd name="T33" fmla="*/ 4 h 321"/>
                  <a:gd name="T34" fmla="*/ 166 w 207"/>
                  <a:gd name="T35" fmla="*/ 22 h 321"/>
                  <a:gd name="T36" fmla="*/ 191 w 207"/>
                  <a:gd name="T37" fmla="*/ 60 h 321"/>
                  <a:gd name="T38" fmla="*/ 203 w 207"/>
                  <a:gd name="T39" fmla="*/ 106 h 321"/>
                  <a:gd name="T40" fmla="*/ 207 w 207"/>
                  <a:gd name="T41" fmla="*/ 160 h 321"/>
                  <a:gd name="T42" fmla="*/ 201 w 207"/>
                  <a:gd name="T43" fmla="*/ 225 h 321"/>
                  <a:gd name="T44" fmla="*/ 186 w 207"/>
                  <a:gd name="T45" fmla="*/ 271 h 321"/>
                  <a:gd name="T46" fmla="*/ 160 w 207"/>
                  <a:gd name="T47" fmla="*/ 302 h 321"/>
                  <a:gd name="T48" fmla="*/ 125 w 207"/>
                  <a:gd name="T49" fmla="*/ 319 h 321"/>
                  <a:gd name="T50" fmla="*/ 82 w 207"/>
                  <a:gd name="T51" fmla="*/ 319 h 321"/>
                  <a:gd name="T52" fmla="*/ 45 w 207"/>
                  <a:gd name="T53" fmla="*/ 302 h 321"/>
                  <a:gd name="T54" fmla="*/ 20 w 207"/>
                  <a:gd name="T55" fmla="*/ 271 h 321"/>
                  <a:gd name="T56" fmla="*/ 4 w 207"/>
                  <a:gd name="T57" fmla="*/ 223 h 321"/>
                  <a:gd name="T58" fmla="*/ 0 w 207"/>
                  <a:gd name="T59" fmla="*/ 160 h 321"/>
                  <a:gd name="T60" fmla="*/ 4 w 207"/>
                  <a:gd name="T61" fmla="*/ 95 h 321"/>
                  <a:gd name="T62" fmla="*/ 20 w 207"/>
                  <a:gd name="T63" fmla="*/ 49 h 321"/>
                  <a:gd name="T64" fmla="*/ 45 w 207"/>
                  <a:gd name="T65" fmla="*/ 17 h 321"/>
                  <a:gd name="T66" fmla="*/ 82 w 207"/>
                  <a:gd name="T67" fmla="*/ 2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7" h="321">
                    <a:moveTo>
                      <a:pt x="103" y="32"/>
                    </a:moveTo>
                    <a:lnTo>
                      <a:pt x="86" y="34"/>
                    </a:lnTo>
                    <a:lnTo>
                      <a:pt x="72" y="42"/>
                    </a:lnTo>
                    <a:lnTo>
                      <a:pt x="60" y="55"/>
                    </a:lnTo>
                    <a:lnTo>
                      <a:pt x="51" y="71"/>
                    </a:lnTo>
                    <a:lnTo>
                      <a:pt x="44" y="95"/>
                    </a:lnTo>
                    <a:lnTo>
                      <a:pt x="41" y="125"/>
                    </a:lnTo>
                    <a:lnTo>
                      <a:pt x="40" y="160"/>
                    </a:lnTo>
                    <a:lnTo>
                      <a:pt x="41" y="190"/>
                    </a:lnTo>
                    <a:lnTo>
                      <a:pt x="43" y="214"/>
                    </a:lnTo>
                    <a:lnTo>
                      <a:pt x="46" y="234"/>
                    </a:lnTo>
                    <a:lnTo>
                      <a:pt x="51" y="251"/>
                    </a:lnTo>
                    <a:lnTo>
                      <a:pt x="57" y="263"/>
                    </a:lnTo>
                    <a:lnTo>
                      <a:pt x="71" y="277"/>
                    </a:lnTo>
                    <a:lnTo>
                      <a:pt x="86" y="286"/>
                    </a:lnTo>
                    <a:lnTo>
                      <a:pt x="103" y="289"/>
                    </a:lnTo>
                    <a:lnTo>
                      <a:pt x="120" y="286"/>
                    </a:lnTo>
                    <a:lnTo>
                      <a:pt x="135" y="277"/>
                    </a:lnTo>
                    <a:lnTo>
                      <a:pt x="148" y="263"/>
                    </a:lnTo>
                    <a:lnTo>
                      <a:pt x="156" y="247"/>
                    </a:lnTo>
                    <a:lnTo>
                      <a:pt x="161" y="225"/>
                    </a:lnTo>
                    <a:lnTo>
                      <a:pt x="166" y="195"/>
                    </a:lnTo>
                    <a:lnTo>
                      <a:pt x="167" y="160"/>
                    </a:lnTo>
                    <a:lnTo>
                      <a:pt x="166" y="131"/>
                    </a:lnTo>
                    <a:lnTo>
                      <a:pt x="163" y="106"/>
                    </a:lnTo>
                    <a:lnTo>
                      <a:pt x="160" y="85"/>
                    </a:lnTo>
                    <a:lnTo>
                      <a:pt x="155" y="69"/>
                    </a:lnTo>
                    <a:lnTo>
                      <a:pt x="148" y="57"/>
                    </a:lnTo>
                    <a:lnTo>
                      <a:pt x="135" y="43"/>
                    </a:lnTo>
                    <a:lnTo>
                      <a:pt x="119" y="34"/>
                    </a:lnTo>
                    <a:lnTo>
                      <a:pt x="103" y="32"/>
                    </a:lnTo>
                    <a:close/>
                    <a:moveTo>
                      <a:pt x="103" y="0"/>
                    </a:moveTo>
                    <a:lnTo>
                      <a:pt x="119" y="1"/>
                    </a:lnTo>
                    <a:lnTo>
                      <a:pt x="135" y="4"/>
                    </a:lnTo>
                    <a:lnTo>
                      <a:pt x="148" y="10"/>
                    </a:lnTo>
                    <a:lnTo>
                      <a:pt x="166" y="22"/>
                    </a:lnTo>
                    <a:lnTo>
                      <a:pt x="179" y="39"/>
                    </a:lnTo>
                    <a:lnTo>
                      <a:pt x="191" y="60"/>
                    </a:lnTo>
                    <a:lnTo>
                      <a:pt x="200" y="85"/>
                    </a:lnTo>
                    <a:lnTo>
                      <a:pt x="203" y="106"/>
                    </a:lnTo>
                    <a:lnTo>
                      <a:pt x="205" y="131"/>
                    </a:lnTo>
                    <a:lnTo>
                      <a:pt x="207" y="160"/>
                    </a:lnTo>
                    <a:lnTo>
                      <a:pt x="205" y="195"/>
                    </a:lnTo>
                    <a:lnTo>
                      <a:pt x="201" y="225"/>
                    </a:lnTo>
                    <a:lnTo>
                      <a:pt x="194" y="250"/>
                    </a:lnTo>
                    <a:lnTo>
                      <a:pt x="186" y="271"/>
                    </a:lnTo>
                    <a:lnTo>
                      <a:pt x="175" y="288"/>
                    </a:lnTo>
                    <a:lnTo>
                      <a:pt x="160" y="302"/>
                    </a:lnTo>
                    <a:lnTo>
                      <a:pt x="145" y="312"/>
                    </a:lnTo>
                    <a:lnTo>
                      <a:pt x="125" y="319"/>
                    </a:lnTo>
                    <a:lnTo>
                      <a:pt x="103" y="321"/>
                    </a:lnTo>
                    <a:lnTo>
                      <a:pt x="82" y="319"/>
                    </a:lnTo>
                    <a:lnTo>
                      <a:pt x="62" y="312"/>
                    </a:lnTo>
                    <a:lnTo>
                      <a:pt x="45" y="302"/>
                    </a:lnTo>
                    <a:lnTo>
                      <a:pt x="31" y="288"/>
                    </a:lnTo>
                    <a:lnTo>
                      <a:pt x="20" y="271"/>
                    </a:lnTo>
                    <a:lnTo>
                      <a:pt x="11" y="249"/>
                    </a:lnTo>
                    <a:lnTo>
                      <a:pt x="4" y="223"/>
                    </a:lnTo>
                    <a:lnTo>
                      <a:pt x="1" y="194"/>
                    </a:lnTo>
                    <a:lnTo>
                      <a:pt x="0" y="160"/>
                    </a:lnTo>
                    <a:lnTo>
                      <a:pt x="1" y="125"/>
                    </a:lnTo>
                    <a:lnTo>
                      <a:pt x="4" y="95"/>
                    </a:lnTo>
                    <a:lnTo>
                      <a:pt x="11" y="70"/>
                    </a:lnTo>
                    <a:lnTo>
                      <a:pt x="20" y="49"/>
                    </a:lnTo>
                    <a:lnTo>
                      <a:pt x="32" y="32"/>
                    </a:lnTo>
                    <a:lnTo>
                      <a:pt x="45" y="17"/>
                    </a:lnTo>
                    <a:lnTo>
                      <a:pt x="62" y="8"/>
                    </a:lnTo>
                    <a:lnTo>
                      <a:pt x="82" y="2"/>
                    </a:lnTo>
                    <a:lnTo>
                      <a:pt x="10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2" name="Freeform 191"/>
              <p:cNvSpPr>
                <a:spLocks noEditPoints="1"/>
              </p:cNvSpPr>
              <p:nvPr/>
            </p:nvSpPr>
            <p:spPr bwMode="auto">
              <a:xfrm>
                <a:off x="-777" y="4232"/>
                <a:ext cx="34" cy="54"/>
              </a:xfrm>
              <a:custGeom>
                <a:avLst/>
                <a:gdLst>
                  <a:gd name="T0" fmla="*/ 87 w 207"/>
                  <a:gd name="T1" fmla="*/ 34 h 321"/>
                  <a:gd name="T2" fmla="*/ 60 w 207"/>
                  <a:gd name="T3" fmla="*/ 55 h 321"/>
                  <a:gd name="T4" fmla="*/ 45 w 207"/>
                  <a:gd name="T5" fmla="*/ 95 h 321"/>
                  <a:gd name="T6" fmla="*/ 40 w 207"/>
                  <a:gd name="T7" fmla="*/ 160 h 321"/>
                  <a:gd name="T8" fmla="*/ 44 w 207"/>
                  <a:gd name="T9" fmla="*/ 214 h 321"/>
                  <a:gd name="T10" fmla="*/ 51 w 207"/>
                  <a:gd name="T11" fmla="*/ 251 h 321"/>
                  <a:gd name="T12" fmla="*/ 71 w 207"/>
                  <a:gd name="T13" fmla="*/ 277 h 321"/>
                  <a:gd name="T14" fmla="*/ 103 w 207"/>
                  <a:gd name="T15" fmla="*/ 289 h 321"/>
                  <a:gd name="T16" fmla="*/ 135 w 207"/>
                  <a:gd name="T17" fmla="*/ 277 h 321"/>
                  <a:gd name="T18" fmla="*/ 156 w 207"/>
                  <a:gd name="T19" fmla="*/ 247 h 321"/>
                  <a:gd name="T20" fmla="*/ 166 w 207"/>
                  <a:gd name="T21" fmla="*/ 195 h 321"/>
                  <a:gd name="T22" fmla="*/ 166 w 207"/>
                  <a:gd name="T23" fmla="*/ 131 h 321"/>
                  <a:gd name="T24" fmla="*/ 161 w 207"/>
                  <a:gd name="T25" fmla="*/ 85 h 321"/>
                  <a:gd name="T26" fmla="*/ 149 w 207"/>
                  <a:gd name="T27" fmla="*/ 57 h 321"/>
                  <a:gd name="T28" fmla="*/ 121 w 207"/>
                  <a:gd name="T29" fmla="*/ 34 h 321"/>
                  <a:gd name="T30" fmla="*/ 103 w 207"/>
                  <a:gd name="T31" fmla="*/ 0 h 321"/>
                  <a:gd name="T32" fmla="*/ 149 w 207"/>
                  <a:gd name="T33" fmla="*/ 10 h 321"/>
                  <a:gd name="T34" fmla="*/ 181 w 207"/>
                  <a:gd name="T35" fmla="*/ 39 h 321"/>
                  <a:gd name="T36" fmla="*/ 199 w 207"/>
                  <a:gd name="T37" fmla="*/ 85 h 321"/>
                  <a:gd name="T38" fmla="*/ 206 w 207"/>
                  <a:gd name="T39" fmla="*/ 131 h 321"/>
                  <a:gd name="T40" fmla="*/ 206 w 207"/>
                  <a:gd name="T41" fmla="*/ 195 h 321"/>
                  <a:gd name="T42" fmla="*/ 195 w 207"/>
                  <a:gd name="T43" fmla="*/ 250 h 321"/>
                  <a:gd name="T44" fmla="*/ 175 w 207"/>
                  <a:gd name="T45" fmla="*/ 288 h 321"/>
                  <a:gd name="T46" fmla="*/ 144 w 207"/>
                  <a:gd name="T47" fmla="*/ 312 h 321"/>
                  <a:gd name="T48" fmla="*/ 103 w 207"/>
                  <a:gd name="T49" fmla="*/ 321 h 321"/>
                  <a:gd name="T50" fmla="*/ 62 w 207"/>
                  <a:gd name="T51" fmla="*/ 312 h 321"/>
                  <a:gd name="T52" fmla="*/ 31 w 207"/>
                  <a:gd name="T53" fmla="*/ 288 h 321"/>
                  <a:gd name="T54" fmla="*/ 11 w 207"/>
                  <a:gd name="T55" fmla="*/ 249 h 321"/>
                  <a:gd name="T56" fmla="*/ 2 w 207"/>
                  <a:gd name="T57" fmla="*/ 194 h 321"/>
                  <a:gd name="T58" fmla="*/ 2 w 207"/>
                  <a:gd name="T59" fmla="*/ 125 h 321"/>
                  <a:gd name="T60" fmla="*/ 11 w 207"/>
                  <a:gd name="T61" fmla="*/ 70 h 321"/>
                  <a:gd name="T62" fmla="*/ 32 w 207"/>
                  <a:gd name="T63" fmla="*/ 32 h 321"/>
                  <a:gd name="T64" fmla="*/ 62 w 207"/>
                  <a:gd name="T65" fmla="*/ 8 h 321"/>
                  <a:gd name="T66" fmla="*/ 103 w 207"/>
                  <a:gd name="T67" fmla="*/ 0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7" h="321">
                    <a:moveTo>
                      <a:pt x="103" y="32"/>
                    </a:moveTo>
                    <a:lnTo>
                      <a:pt x="87" y="34"/>
                    </a:lnTo>
                    <a:lnTo>
                      <a:pt x="72" y="42"/>
                    </a:lnTo>
                    <a:lnTo>
                      <a:pt x="60" y="55"/>
                    </a:lnTo>
                    <a:lnTo>
                      <a:pt x="51" y="71"/>
                    </a:lnTo>
                    <a:lnTo>
                      <a:pt x="45" y="95"/>
                    </a:lnTo>
                    <a:lnTo>
                      <a:pt x="41" y="125"/>
                    </a:lnTo>
                    <a:lnTo>
                      <a:pt x="40" y="160"/>
                    </a:lnTo>
                    <a:lnTo>
                      <a:pt x="41" y="190"/>
                    </a:lnTo>
                    <a:lnTo>
                      <a:pt x="44" y="214"/>
                    </a:lnTo>
                    <a:lnTo>
                      <a:pt x="47" y="234"/>
                    </a:lnTo>
                    <a:lnTo>
                      <a:pt x="51" y="251"/>
                    </a:lnTo>
                    <a:lnTo>
                      <a:pt x="58" y="263"/>
                    </a:lnTo>
                    <a:lnTo>
                      <a:pt x="71" y="277"/>
                    </a:lnTo>
                    <a:lnTo>
                      <a:pt x="87" y="286"/>
                    </a:lnTo>
                    <a:lnTo>
                      <a:pt x="103" y="289"/>
                    </a:lnTo>
                    <a:lnTo>
                      <a:pt x="121" y="286"/>
                    </a:lnTo>
                    <a:lnTo>
                      <a:pt x="135" y="277"/>
                    </a:lnTo>
                    <a:lnTo>
                      <a:pt x="149" y="263"/>
                    </a:lnTo>
                    <a:lnTo>
                      <a:pt x="156" y="247"/>
                    </a:lnTo>
                    <a:lnTo>
                      <a:pt x="162" y="225"/>
                    </a:lnTo>
                    <a:lnTo>
                      <a:pt x="166" y="195"/>
                    </a:lnTo>
                    <a:lnTo>
                      <a:pt x="167" y="160"/>
                    </a:lnTo>
                    <a:lnTo>
                      <a:pt x="166" y="131"/>
                    </a:lnTo>
                    <a:lnTo>
                      <a:pt x="164" y="106"/>
                    </a:lnTo>
                    <a:lnTo>
                      <a:pt x="161" y="85"/>
                    </a:lnTo>
                    <a:lnTo>
                      <a:pt x="155" y="69"/>
                    </a:lnTo>
                    <a:lnTo>
                      <a:pt x="149" y="57"/>
                    </a:lnTo>
                    <a:lnTo>
                      <a:pt x="135" y="43"/>
                    </a:lnTo>
                    <a:lnTo>
                      <a:pt x="121" y="34"/>
                    </a:lnTo>
                    <a:lnTo>
                      <a:pt x="103" y="32"/>
                    </a:lnTo>
                    <a:close/>
                    <a:moveTo>
                      <a:pt x="103" y="0"/>
                    </a:moveTo>
                    <a:lnTo>
                      <a:pt x="128" y="2"/>
                    </a:lnTo>
                    <a:lnTo>
                      <a:pt x="149" y="10"/>
                    </a:lnTo>
                    <a:lnTo>
                      <a:pt x="166" y="22"/>
                    </a:lnTo>
                    <a:lnTo>
                      <a:pt x="181" y="39"/>
                    </a:lnTo>
                    <a:lnTo>
                      <a:pt x="192" y="60"/>
                    </a:lnTo>
                    <a:lnTo>
                      <a:pt x="199" y="85"/>
                    </a:lnTo>
                    <a:lnTo>
                      <a:pt x="204" y="106"/>
                    </a:lnTo>
                    <a:lnTo>
                      <a:pt x="206" y="131"/>
                    </a:lnTo>
                    <a:lnTo>
                      <a:pt x="207" y="160"/>
                    </a:lnTo>
                    <a:lnTo>
                      <a:pt x="206" y="195"/>
                    </a:lnTo>
                    <a:lnTo>
                      <a:pt x="202" y="225"/>
                    </a:lnTo>
                    <a:lnTo>
                      <a:pt x="195" y="250"/>
                    </a:lnTo>
                    <a:lnTo>
                      <a:pt x="186" y="271"/>
                    </a:lnTo>
                    <a:lnTo>
                      <a:pt x="175" y="288"/>
                    </a:lnTo>
                    <a:lnTo>
                      <a:pt x="161" y="302"/>
                    </a:lnTo>
                    <a:lnTo>
                      <a:pt x="144" y="312"/>
                    </a:lnTo>
                    <a:lnTo>
                      <a:pt x="125" y="319"/>
                    </a:lnTo>
                    <a:lnTo>
                      <a:pt x="103" y="321"/>
                    </a:lnTo>
                    <a:lnTo>
                      <a:pt x="81" y="319"/>
                    </a:lnTo>
                    <a:lnTo>
                      <a:pt x="62" y="312"/>
                    </a:lnTo>
                    <a:lnTo>
                      <a:pt x="46" y="302"/>
                    </a:lnTo>
                    <a:lnTo>
                      <a:pt x="31" y="288"/>
                    </a:lnTo>
                    <a:lnTo>
                      <a:pt x="20" y="271"/>
                    </a:lnTo>
                    <a:lnTo>
                      <a:pt x="11" y="249"/>
                    </a:lnTo>
                    <a:lnTo>
                      <a:pt x="5" y="223"/>
                    </a:lnTo>
                    <a:lnTo>
                      <a:pt x="2" y="194"/>
                    </a:lnTo>
                    <a:lnTo>
                      <a:pt x="0" y="160"/>
                    </a:lnTo>
                    <a:lnTo>
                      <a:pt x="2" y="125"/>
                    </a:lnTo>
                    <a:lnTo>
                      <a:pt x="5" y="95"/>
                    </a:lnTo>
                    <a:lnTo>
                      <a:pt x="11" y="70"/>
                    </a:lnTo>
                    <a:lnTo>
                      <a:pt x="20" y="49"/>
                    </a:lnTo>
                    <a:lnTo>
                      <a:pt x="32" y="32"/>
                    </a:lnTo>
                    <a:lnTo>
                      <a:pt x="46" y="17"/>
                    </a:lnTo>
                    <a:lnTo>
                      <a:pt x="62" y="8"/>
                    </a:lnTo>
                    <a:lnTo>
                      <a:pt x="82" y="2"/>
                    </a:lnTo>
                    <a:lnTo>
                      <a:pt x="10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3" name="Freeform 192"/>
              <p:cNvSpPr>
                <a:spLocks noEditPoints="1"/>
              </p:cNvSpPr>
              <p:nvPr/>
            </p:nvSpPr>
            <p:spPr bwMode="auto">
              <a:xfrm>
                <a:off x="-736" y="4232"/>
                <a:ext cx="34" cy="54"/>
              </a:xfrm>
              <a:custGeom>
                <a:avLst/>
                <a:gdLst>
                  <a:gd name="T0" fmla="*/ 86 w 207"/>
                  <a:gd name="T1" fmla="*/ 34 h 321"/>
                  <a:gd name="T2" fmla="*/ 60 w 207"/>
                  <a:gd name="T3" fmla="*/ 55 h 321"/>
                  <a:gd name="T4" fmla="*/ 48 w 207"/>
                  <a:gd name="T5" fmla="*/ 84 h 321"/>
                  <a:gd name="T6" fmla="*/ 41 w 207"/>
                  <a:gd name="T7" fmla="*/ 131 h 321"/>
                  <a:gd name="T8" fmla="*/ 41 w 207"/>
                  <a:gd name="T9" fmla="*/ 190 h 321"/>
                  <a:gd name="T10" fmla="*/ 46 w 207"/>
                  <a:gd name="T11" fmla="*/ 234 h 321"/>
                  <a:gd name="T12" fmla="*/ 57 w 207"/>
                  <a:gd name="T13" fmla="*/ 263 h 321"/>
                  <a:gd name="T14" fmla="*/ 86 w 207"/>
                  <a:gd name="T15" fmla="*/ 286 h 321"/>
                  <a:gd name="T16" fmla="*/ 121 w 207"/>
                  <a:gd name="T17" fmla="*/ 286 h 321"/>
                  <a:gd name="T18" fmla="*/ 148 w 207"/>
                  <a:gd name="T19" fmla="*/ 263 h 321"/>
                  <a:gd name="T20" fmla="*/ 161 w 207"/>
                  <a:gd name="T21" fmla="*/ 225 h 321"/>
                  <a:gd name="T22" fmla="*/ 167 w 207"/>
                  <a:gd name="T23" fmla="*/ 160 h 321"/>
                  <a:gd name="T24" fmla="*/ 163 w 207"/>
                  <a:gd name="T25" fmla="*/ 95 h 321"/>
                  <a:gd name="T26" fmla="*/ 148 w 207"/>
                  <a:gd name="T27" fmla="*/ 57 h 321"/>
                  <a:gd name="T28" fmla="*/ 121 w 207"/>
                  <a:gd name="T29" fmla="*/ 34 h 321"/>
                  <a:gd name="T30" fmla="*/ 103 w 207"/>
                  <a:gd name="T31" fmla="*/ 0 h 321"/>
                  <a:gd name="T32" fmla="*/ 148 w 207"/>
                  <a:gd name="T33" fmla="*/ 10 h 321"/>
                  <a:gd name="T34" fmla="*/ 179 w 207"/>
                  <a:gd name="T35" fmla="*/ 39 h 321"/>
                  <a:gd name="T36" fmla="*/ 199 w 207"/>
                  <a:gd name="T37" fmla="*/ 85 h 321"/>
                  <a:gd name="T38" fmla="*/ 206 w 207"/>
                  <a:gd name="T39" fmla="*/ 131 h 321"/>
                  <a:gd name="T40" fmla="*/ 206 w 207"/>
                  <a:gd name="T41" fmla="*/ 195 h 321"/>
                  <a:gd name="T42" fmla="*/ 195 w 207"/>
                  <a:gd name="T43" fmla="*/ 250 h 321"/>
                  <a:gd name="T44" fmla="*/ 175 w 207"/>
                  <a:gd name="T45" fmla="*/ 288 h 321"/>
                  <a:gd name="T46" fmla="*/ 144 w 207"/>
                  <a:gd name="T47" fmla="*/ 312 h 321"/>
                  <a:gd name="T48" fmla="*/ 103 w 207"/>
                  <a:gd name="T49" fmla="*/ 321 h 321"/>
                  <a:gd name="T50" fmla="*/ 62 w 207"/>
                  <a:gd name="T51" fmla="*/ 312 h 321"/>
                  <a:gd name="T52" fmla="*/ 31 w 207"/>
                  <a:gd name="T53" fmla="*/ 288 h 321"/>
                  <a:gd name="T54" fmla="*/ 11 w 207"/>
                  <a:gd name="T55" fmla="*/ 249 h 321"/>
                  <a:gd name="T56" fmla="*/ 1 w 207"/>
                  <a:gd name="T57" fmla="*/ 194 h 321"/>
                  <a:gd name="T58" fmla="*/ 1 w 207"/>
                  <a:gd name="T59" fmla="*/ 125 h 321"/>
                  <a:gd name="T60" fmla="*/ 11 w 207"/>
                  <a:gd name="T61" fmla="*/ 70 h 321"/>
                  <a:gd name="T62" fmla="*/ 32 w 207"/>
                  <a:gd name="T63" fmla="*/ 32 h 321"/>
                  <a:gd name="T64" fmla="*/ 62 w 207"/>
                  <a:gd name="T65" fmla="*/ 8 h 321"/>
                  <a:gd name="T66" fmla="*/ 103 w 207"/>
                  <a:gd name="T67" fmla="*/ 0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7" h="321">
                    <a:moveTo>
                      <a:pt x="103" y="32"/>
                    </a:moveTo>
                    <a:lnTo>
                      <a:pt x="86" y="34"/>
                    </a:lnTo>
                    <a:lnTo>
                      <a:pt x="72" y="42"/>
                    </a:lnTo>
                    <a:lnTo>
                      <a:pt x="60" y="55"/>
                    </a:lnTo>
                    <a:lnTo>
                      <a:pt x="53" y="68"/>
                    </a:lnTo>
                    <a:lnTo>
                      <a:pt x="48" y="84"/>
                    </a:lnTo>
                    <a:lnTo>
                      <a:pt x="43" y="106"/>
                    </a:lnTo>
                    <a:lnTo>
                      <a:pt x="41" y="131"/>
                    </a:lnTo>
                    <a:lnTo>
                      <a:pt x="40" y="160"/>
                    </a:lnTo>
                    <a:lnTo>
                      <a:pt x="41" y="190"/>
                    </a:lnTo>
                    <a:lnTo>
                      <a:pt x="43" y="214"/>
                    </a:lnTo>
                    <a:lnTo>
                      <a:pt x="46" y="234"/>
                    </a:lnTo>
                    <a:lnTo>
                      <a:pt x="51" y="251"/>
                    </a:lnTo>
                    <a:lnTo>
                      <a:pt x="57" y="263"/>
                    </a:lnTo>
                    <a:lnTo>
                      <a:pt x="71" y="277"/>
                    </a:lnTo>
                    <a:lnTo>
                      <a:pt x="86" y="286"/>
                    </a:lnTo>
                    <a:lnTo>
                      <a:pt x="103" y="289"/>
                    </a:lnTo>
                    <a:lnTo>
                      <a:pt x="121" y="286"/>
                    </a:lnTo>
                    <a:lnTo>
                      <a:pt x="135" y="277"/>
                    </a:lnTo>
                    <a:lnTo>
                      <a:pt x="148" y="263"/>
                    </a:lnTo>
                    <a:lnTo>
                      <a:pt x="156" y="247"/>
                    </a:lnTo>
                    <a:lnTo>
                      <a:pt x="161" y="225"/>
                    </a:lnTo>
                    <a:lnTo>
                      <a:pt x="166" y="195"/>
                    </a:lnTo>
                    <a:lnTo>
                      <a:pt x="167" y="160"/>
                    </a:lnTo>
                    <a:lnTo>
                      <a:pt x="166" y="125"/>
                    </a:lnTo>
                    <a:lnTo>
                      <a:pt x="163" y="95"/>
                    </a:lnTo>
                    <a:lnTo>
                      <a:pt x="156" y="73"/>
                    </a:lnTo>
                    <a:lnTo>
                      <a:pt x="148" y="57"/>
                    </a:lnTo>
                    <a:lnTo>
                      <a:pt x="135" y="43"/>
                    </a:lnTo>
                    <a:lnTo>
                      <a:pt x="121" y="34"/>
                    </a:lnTo>
                    <a:lnTo>
                      <a:pt x="103" y="32"/>
                    </a:lnTo>
                    <a:close/>
                    <a:moveTo>
                      <a:pt x="103" y="0"/>
                    </a:moveTo>
                    <a:lnTo>
                      <a:pt x="127" y="2"/>
                    </a:lnTo>
                    <a:lnTo>
                      <a:pt x="148" y="10"/>
                    </a:lnTo>
                    <a:lnTo>
                      <a:pt x="166" y="22"/>
                    </a:lnTo>
                    <a:lnTo>
                      <a:pt x="179" y="39"/>
                    </a:lnTo>
                    <a:lnTo>
                      <a:pt x="191" y="60"/>
                    </a:lnTo>
                    <a:lnTo>
                      <a:pt x="199" y="85"/>
                    </a:lnTo>
                    <a:lnTo>
                      <a:pt x="203" y="106"/>
                    </a:lnTo>
                    <a:lnTo>
                      <a:pt x="206" y="131"/>
                    </a:lnTo>
                    <a:lnTo>
                      <a:pt x="207" y="160"/>
                    </a:lnTo>
                    <a:lnTo>
                      <a:pt x="206" y="195"/>
                    </a:lnTo>
                    <a:lnTo>
                      <a:pt x="201" y="225"/>
                    </a:lnTo>
                    <a:lnTo>
                      <a:pt x="195" y="250"/>
                    </a:lnTo>
                    <a:lnTo>
                      <a:pt x="186" y="271"/>
                    </a:lnTo>
                    <a:lnTo>
                      <a:pt x="175" y="288"/>
                    </a:lnTo>
                    <a:lnTo>
                      <a:pt x="160" y="302"/>
                    </a:lnTo>
                    <a:lnTo>
                      <a:pt x="144" y="312"/>
                    </a:lnTo>
                    <a:lnTo>
                      <a:pt x="125" y="319"/>
                    </a:lnTo>
                    <a:lnTo>
                      <a:pt x="103" y="321"/>
                    </a:lnTo>
                    <a:lnTo>
                      <a:pt x="81" y="319"/>
                    </a:lnTo>
                    <a:lnTo>
                      <a:pt x="62" y="312"/>
                    </a:lnTo>
                    <a:lnTo>
                      <a:pt x="45" y="302"/>
                    </a:lnTo>
                    <a:lnTo>
                      <a:pt x="31" y="288"/>
                    </a:lnTo>
                    <a:lnTo>
                      <a:pt x="20" y="271"/>
                    </a:lnTo>
                    <a:lnTo>
                      <a:pt x="11" y="249"/>
                    </a:lnTo>
                    <a:lnTo>
                      <a:pt x="4" y="223"/>
                    </a:lnTo>
                    <a:lnTo>
                      <a:pt x="1" y="194"/>
                    </a:lnTo>
                    <a:lnTo>
                      <a:pt x="0" y="160"/>
                    </a:lnTo>
                    <a:lnTo>
                      <a:pt x="1" y="125"/>
                    </a:lnTo>
                    <a:lnTo>
                      <a:pt x="4" y="95"/>
                    </a:lnTo>
                    <a:lnTo>
                      <a:pt x="11" y="70"/>
                    </a:lnTo>
                    <a:lnTo>
                      <a:pt x="20" y="49"/>
                    </a:lnTo>
                    <a:lnTo>
                      <a:pt x="32" y="32"/>
                    </a:lnTo>
                    <a:lnTo>
                      <a:pt x="45" y="17"/>
                    </a:lnTo>
                    <a:lnTo>
                      <a:pt x="62" y="8"/>
                    </a:lnTo>
                    <a:lnTo>
                      <a:pt x="82" y="2"/>
                    </a:lnTo>
                    <a:lnTo>
                      <a:pt x="10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5" name="Freeform 193"/>
              <p:cNvSpPr>
                <a:spLocks/>
              </p:cNvSpPr>
              <p:nvPr/>
            </p:nvSpPr>
            <p:spPr bwMode="auto">
              <a:xfrm>
                <a:off x="-690" y="4232"/>
                <a:ext cx="19" cy="53"/>
              </a:xfrm>
              <a:custGeom>
                <a:avLst/>
                <a:gdLst>
                  <a:gd name="T0" fmla="*/ 92 w 117"/>
                  <a:gd name="T1" fmla="*/ 0 h 316"/>
                  <a:gd name="T2" fmla="*/ 117 w 117"/>
                  <a:gd name="T3" fmla="*/ 0 h 316"/>
                  <a:gd name="T4" fmla="*/ 117 w 117"/>
                  <a:gd name="T5" fmla="*/ 316 h 316"/>
                  <a:gd name="T6" fmla="*/ 78 w 117"/>
                  <a:gd name="T7" fmla="*/ 316 h 316"/>
                  <a:gd name="T8" fmla="*/ 78 w 117"/>
                  <a:gd name="T9" fmla="*/ 69 h 316"/>
                  <a:gd name="T10" fmla="*/ 62 w 117"/>
                  <a:gd name="T11" fmla="*/ 82 h 316"/>
                  <a:gd name="T12" fmla="*/ 41 w 117"/>
                  <a:gd name="T13" fmla="*/ 95 h 316"/>
                  <a:gd name="T14" fmla="*/ 19 w 117"/>
                  <a:gd name="T15" fmla="*/ 107 h 316"/>
                  <a:gd name="T16" fmla="*/ 0 w 117"/>
                  <a:gd name="T17" fmla="*/ 116 h 316"/>
                  <a:gd name="T18" fmla="*/ 0 w 117"/>
                  <a:gd name="T19" fmla="*/ 79 h 316"/>
                  <a:gd name="T20" fmla="*/ 30 w 117"/>
                  <a:gd name="T21" fmla="*/ 61 h 316"/>
                  <a:gd name="T22" fmla="*/ 57 w 117"/>
                  <a:gd name="T23" fmla="*/ 42 h 316"/>
                  <a:gd name="T24" fmla="*/ 78 w 117"/>
                  <a:gd name="T25" fmla="*/ 20 h 316"/>
                  <a:gd name="T26" fmla="*/ 92 w 117"/>
                  <a:gd name="T27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7" h="316">
                    <a:moveTo>
                      <a:pt x="92" y="0"/>
                    </a:moveTo>
                    <a:lnTo>
                      <a:pt x="117" y="0"/>
                    </a:lnTo>
                    <a:lnTo>
                      <a:pt x="117" y="316"/>
                    </a:lnTo>
                    <a:lnTo>
                      <a:pt x="78" y="316"/>
                    </a:lnTo>
                    <a:lnTo>
                      <a:pt x="78" y="69"/>
                    </a:lnTo>
                    <a:lnTo>
                      <a:pt x="62" y="82"/>
                    </a:lnTo>
                    <a:lnTo>
                      <a:pt x="41" y="95"/>
                    </a:lnTo>
                    <a:lnTo>
                      <a:pt x="19" y="107"/>
                    </a:lnTo>
                    <a:lnTo>
                      <a:pt x="0" y="116"/>
                    </a:lnTo>
                    <a:lnTo>
                      <a:pt x="0" y="79"/>
                    </a:lnTo>
                    <a:lnTo>
                      <a:pt x="30" y="61"/>
                    </a:lnTo>
                    <a:lnTo>
                      <a:pt x="57" y="42"/>
                    </a:lnTo>
                    <a:lnTo>
                      <a:pt x="78" y="20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6" name="Freeform 194"/>
              <p:cNvSpPr>
                <a:spLocks/>
              </p:cNvSpPr>
              <p:nvPr/>
            </p:nvSpPr>
            <p:spPr bwMode="auto">
              <a:xfrm>
                <a:off x="-645" y="4318"/>
                <a:ext cx="19" cy="52"/>
              </a:xfrm>
              <a:custGeom>
                <a:avLst/>
                <a:gdLst>
                  <a:gd name="T0" fmla="*/ 92 w 117"/>
                  <a:gd name="T1" fmla="*/ 0 h 316"/>
                  <a:gd name="T2" fmla="*/ 117 w 117"/>
                  <a:gd name="T3" fmla="*/ 0 h 316"/>
                  <a:gd name="T4" fmla="*/ 117 w 117"/>
                  <a:gd name="T5" fmla="*/ 316 h 316"/>
                  <a:gd name="T6" fmla="*/ 78 w 117"/>
                  <a:gd name="T7" fmla="*/ 316 h 316"/>
                  <a:gd name="T8" fmla="*/ 78 w 117"/>
                  <a:gd name="T9" fmla="*/ 70 h 316"/>
                  <a:gd name="T10" fmla="*/ 62 w 117"/>
                  <a:gd name="T11" fmla="*/ 83 h 316"/>
                  <a:gd name="T12" fmla="*/ 41 w 117"/>
                  <a:gd name="T13" fmla="*/ 96 h 316"/>
                  <a:gd name="T14" fmla="*/ 20 w 117"/>
                  <a:gd name="T15" fmla="*/ 107 h 316"/>
                  <a:gd name="T16" fmla="*/ 0 w 117"/>
                  <a:gd name="T17" fmla="*/ 116 h 316"/>
                  <a:gd name="T18" fmla="*/ 0 w 117"/>
                  <a:gd name="T19" fmla="*/ 79 h 316"/>
                  <a:gd name="T20" fmla="*/ 31 w 117"/>
                  <a:gd name="T21" fmla="*/ 62 h 316"/>
                  <a:gd name="T22" fmla="*/ 58 w 117"/>
                  <a:gd name="T23" fmla="*/ 42 h 316"/>
                  <a:gd name="T24" fmla="*/ 79 w 117"/>
                  <a:gd name="T25" fmla="*/ 21 h 316"/>
                  <a:gd name="T26" fmla="*/ 92 w 117"/>
                  <a:gd name="T27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7" h="316">
                    <a:moveTo>
                      <a:pt x="92" y="0"/>
                    </a:moveTo>
                    <a:lnTo>
                      <a:pt x="117" y="0"/>
                    </a:lnTo>
                    <a:lnTo>
                      <a:pt x="117" y="316"/>
                    </a:lnTo>
                    <a:lnTo>
                      <a:pt x="78" y="316"/>
                    </a:lnTo>
                    <a:lnTo>
                      <a:pt x="78" y="70"/>
                    </a:lnTo>
                    <a:lnTo>
                      <a:pt x="62" y="83"/>
                    </a:lnTo>
                    <a:lnTo>
                      <a:pt x="41" y="96"/>
                    </a:lnTo>
                    <a:lnTo>
                      <a:pt x="20" y="107"/>
                    </a:lnTo>
                    <a:lnTo>
                      <a:pt x="0" y="116"/>
                    </a:lnTo>
                    <a:lnTo>
                      <a:pt x="0" y="79"/>
                    </a:lnTo>
                    <a:lnTo>
                      <a:pt x="31" y="62"/>
                    </a:lnTo>
                    <a:lnTo>
                      <a:pt x="58" y="42"/>
                    </a:lnTo>
                    <a:lnTo>
                      <a:pt x="79" y="21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7" name="Freeform 195"/>
              <p:cNvSpPr>
                <a:spLocks noEditPoints="1"/>
              </p:cNvSpPr>
              <p:nvPr/>
            </p:nvSpPr>
            <p:spPr bwMode="auto">
              <a:xfrm>
                <a:off x="-818" y="4320"/>
                <a:ext cx="34" cy="54"/>
              </a:xfrm>
              <a:custGeom>
                <a:avLst/>
                <a:gdLst>
                  <a:gd name="T0" fmla="*/ 86 w 207"/>
                  <a:gd name="T1" fmla="*/ 34 h 321"/>
                  <a:gd name="T2" fmla="*/ 60 w 207"/>
                  <a:gd name="T3" fmla="*/ 55 h 321"/>
                  <a:gd name="T4" fmla="*/ 44 w 207"/>
                  <a:gd name="T5" fmla="*/ 96 h 321"/>
                  <a:gd name="T6" fmla="*/ 40 w 207"/>
                  <a:gd name="T7" fmla="*/ 160 h 321"/>
                  <a:gd name="T8" fmla="*/ 43 w 207"/>
                  <a:gd name="T9" fmla="*/ 214 h 321"/>
                  <a:gd name="T10" fmla="*/ 51 w 207"/>
                  <a:gd name="T11" fmla="*/ 251 h 321"/>
                  <a:gd name="T12" fmla="*/ 71 w 207"/>
                  <a:gd name="T13" fmla="*/ 279 h 321"/>
                  <a:gd name="T14" fmla="*/ 103 w 207"/>
                  <a:gd name="T15" fmla="*/ 290 h 321"/>
                  <a:gd name="T16" fmla="*/ 135 w 207"/>
                  <a:gd name="T17" fmla="*/ 279 h 321"/>
                  <a:gd name="T18" fmla="*/ 155 w 207"/>
                  <a:gd name="T19" fmla="*/ 251 h 321"/>
                  <a:gd name="T20" fmla="*/ 163 w 207"/>
                  <a:gd name="T21" fmla="*/ 214 h 321"/>
                  <a:gd name="T22" fmla="*/ 167 w 207"/>
                  <a:gd name="T23" fmla="*/ 160 h 321"/>
                  <a:gd name="T24" fmla="*/ 163 w 207"/>
                  <a:gd name="T25" fmla="*/ 107 h 321"/>
                  <a:gd name="T26" fmla="*/ 155 w 207"/>
                  <a:gd name="T27" fmla="*/ 69 h 321"/>
                  <a:gd name="T28" fmla="*/ 135 w 207"/>
                  <a:gd name="T29" fmla="*/ 43 h 321"/>
                  <a:gd name="T30" fmla="*/ 103 w 207"/>
                  <a:gd name="T31" fmla="*/ 32 h 321"/>
                  <a:gd name="T32" fmla="*/ 119 w 207"/>
                  <a:gd name="T33" fmla="*/ 1 h 321"/>
                  <a:gd name="T34" fmla="*/ 148 w 207"/>
                  <a:gd name="T35" fmla="*/ 10 h 321"/>
                  <a:gd name="T36" fmla="*/ 179 w 207"/>
                  <a:gd name="T37" fmla="*/ 40 h 321"/>
                  <a:gd name="T38" fmla="*/ 200 w 207"/>
                  <a:gd name="T39" fmla="*/ 86 h 321"/>
                  <a:gd name="T40" fmla="*/ 205 w 207"/>
                  <a:gd name="T41" fmla="*/ 132 h 321"/>
                  <a:gd name="T42" fmla="*/ 205 w 207"/>
                  <a:gd name="T43" fmla="*/ 195 h 321"/>
                  <a:gd name="T44" fmla="*/ 194 w 207"/>
                  <a:gd name="T45" fmla="*/ 250 h 321"/>
                  <a:gd name="T46" fmla="*/ 175 w 207"/>
                  <a:gd name="T47" fmla="*/ 289 h 321"/>
                  <a:gd name="T48" fmla="*/ 145 w 207"/>
                  <a:gd name="T49" fmla="*/ 313 h 321"/>
                  <a:gd name="T50" fmla="*/ 103 w 207"/>
                  <a:gd name="T51" fmla="*/ 321 h 321"/>
                  <a:gd name="T52" fmla="*/ 62 w 207"/>
                  <a:gd name="T53" fmla="*/ 313 h 321"/>
                  <a:gd name="T54" fmla="*/ 31 w 207"/>
                  <a:gd name="T55" fmla="*/ 289 h 321"/>
                  <a:gd name="T56" fmla="*/ 11 w 207"/>
                  <a:gd name="T57" fmla="*/ 249 h 321"/>
                  <a:gd name="T58" fmla="*/ 1 w 207"/>
                  <a:gd name="T59" fmla="*/ 194 h 321"/>
                  <a:gd name="T60" fmla="*/ 1 w 207"/>
                  <a:gd name="T61" fmla="*/ 126 h 321"/>
                  <a:gd name="T62" fmla="*/ 11 w 207"/>
                  <a:gd name="T63" fmla="*/ 70 h 321"/>
                  <a:gd name="T64" fmla="*/ 32 w 207"/>
                  <a:gd name="T65" fmla="*/ 32 h 321"/>
                  <a:gd name="T66" fmla="*/ 62 w 207"/>
                  <a:gd name="T67" fmla="*/ 8 h 321"/>
                  <a:gd name="T68" fmla="*/ 103 w 207"/>
                  <a:gd name="T69" fmla="*/ 0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7" h="321">
                    <a:moveTo>
                      <a:pt x="103" y="32"/>
                    </a:moveTo>
                    <a:lnTo>
                      <a:pt x="86" y="34"/>
                    </a:lnTo>
                    <a:lnTo>
                      <a:pt x="72" y="42"/>
                    </a:lnTo>
                    <a:lnTo>
                      <a:pt x="60" y="55"/>
                    </a:lnTo>
                    <a:lnTo>
                      <a:pt x="51" y="71"/>
                    </a:lnTo>
                    <a:lnTo>
                      <a:pt x="44" y="96"/>
                    </a:lnTo>
                    <a:lnTo>
                      <a:pt x="41" y="125"/>
                    </a:lnTo>
                    <a:lnTo>
                      <a:pt x="40" y="160"/>
                    </a:lnTo>
                    <a:lnTo>
                      <a:pt x="41" y="190"/>
                    </a:lnTo>
                    <a:lnTo>
                      <a:pt x="43" y="214"/>
                    </a:lnTo>
                    <a:lnTo>
                      <a:pt x="46" y="235"/>
                    </a:lnTo>
                    <a:lnTo>
                      <a:pt x="51" y="251"/>
                    </a:lnTo>
                    <a:lnTo>
                      <a:pt x="57" y="264"/>
                    </a:lnTo>
                    <a:lnTo>
                      <a:pt x="71" y="279"/>
                    </a:lnTo>
                    <a:lnTo>
                      <a:pt x="86" y="286"/>
                    </a:lnTo>
                    <a:lnTo>
                      <a:pt x="103" y="290"/>
                    </a:lnTo>
                    <a:lnTo>
                      <a:pt x="120" y="286"/>
                    </a:lnTo>
                    <a:lnTo>
                      <a:pt x="135" y="279"/>
                    </a:lnTo>
                    <a:lnTo>
                      <a:pt x="148" y="264"/>
                    </a:lnTo>
                    <a:lnTo>
                      <a:pt x="155" y="251"/>
                    </a:lnTo>
                    <a:lnTo>
                      <a:pt x="160" y="235"/>
                    </a:lnTo>
                    <a:lnTo>
                      <a:pt x="163" y="214"/>
                    </a:lnTo>
                    <a:lnTo>
                      <a:pt x="166" y="190"/>
                    </a:lnTo>
                    <a:lnTo>
                      <a:pt x="167" y="160"/>
                    </a:lnTo>
                    <a:lnTo>
                      <a:pt x="166" y="132"/>
                    </a:lnTo>
                    <a:lnTo>
                      <a:pt x="163" y="107"/>
                    </a:lnTo>
                    <a:lnTo>
                      <a:pt x="160" y="86"/>
                    </a:lnTo>
                    <a:lnTo>
                      <a:pt x="155" y="69"/>
                    </a:lnTo>
                    <a:lnTo>
                      <a:pt x="148" y="57"/>
                    </a:lnTo>
                    <a:lnTo>
                      <a:pt x="135" y="43"/>
                    </a:lnTo>
                    <a:lnTo>
                      <a:pt x="119" y="35"/>
                    </a:lnTo>
                    <a:lnTo>
                      <a:pt x="103" y="32"/>
                    </a:lnTo>
                    <a:close/>
                    <a:moveTo>
                      <a:pt x="103" y="0"/>
                    </a:moveTo>
                    <a:lnTo>
                      <a:pt x="119" y="1"/>
                    </a:lnTo>
                    <a:lnTo>
                      <a:pt x="135" y="5"/>
                    </a:lnTo>
                    <a:lnTo>
                      <a:pt x="148" y="10"/>
                    </a:lnTo>
                    <a:lnTo>
                      <a:pt x="166" y="22"/>
                    </a:lnTo>
                    <a:lnTo>
                      <a:pt x="179" y="40"/>
                    </a:lnTo>
                    <a:lnTo>
                      <a:pt x="191" y="60"/>
                    </a:lnTo>
                    <a:lnTo>
                      <a:pt x="200" y="86"/>
                    </a:lnTo>
                    <a:lnTo>
                      <a:pt x="203" y="107"/>
                    </a:lnTo>
                    <a:lnTo>
                      <a:pt x="205" y="132"/>
                    </a:lnTo>
                    <a:lnTo>
                      <a:pt x="207" y="160"/>
                    </a:lnTo>
                    <a:lnTo>
                      <a:pt x="205" y="195"/>
                    </a:lnTo>
                    <a:lnTo>
                      <a:pt x="201" y="225"/>
                    </a:lnTo>
                    <a:lnTo>
                      <a:pt x="194" y="250"/>
                    </a:lnTo>
                    <a:lnTo>
                      <a:pt x="186" y="271"/>
                    </a:lnTo>
                    <a:lnTo>
                      <a:pt x="175" y="289"/>
                    </a:lnTo>
                    <a:lnTo>
                      <a:pt x="160" y="303"/>
                    </a:lnTo>
                    <a:lnTo>
                      <a:pt x="145" y="313"/>
                    </a:lnTo>
                    <a:lnTo>
                      <a:pt x="125" y="319"/>
                    </a:lnTo>
                    <a:lnTo>
                      <a:pt x="103" y="321"/>
                    </a:lnTo>
                    <a:lnTo>
                      <a:pt x="82" y="319"/>
                    </a:lnTo>
                    <a:lnTo>
                      <a:pt x="62" y="313"/>
                    </a:lnTo>
                    <a:lnTo>
                      <a:pt x="45" y="303"/>
                    </a:lnTo>
                    <a:lnTo>
                      <a:pt x="31" y="289"/>
                    </a:lnTo>
                    <a:lnTo>
                      <a:pt x="20" y="271"/>
                    </a:lnTo>
                    <a:lnTo>
                      <a:pt x="11" y="249"/>
                    </a:lnTo>
                    <a:lnTo>
                      <a:pt x="4" y="224"/>
                    </a:lnTo>
                    <a:lnTo>
                      <a:pt x="1" y="194"/>
                    </a:lnTo>
                    <a:lnTo>
                      <a:pt x="0" y="160"/>
                    </a:lnTo>
                    <a:lnTo>
                      <a:pt x="1" y="126"/>
                    </a:lnTo>
                    <a:lnTo>
                      <a:pt x="4" y="96"/>
                    </a:lnTo>
                    <a:lnTo>
                      <a:pt x="11" y="70"/>
                    </a:lnTo>
                    <a:lnTo>
                      <a:pt x="20" y="50"/>
                    </a:lnTo>
                    <a:lnTo>
                      <a:pt x="32" y="32"/>
                    </a:lnTo>
                    <a:lnTo>
                      <a:pt x="45" y="19"/>
                    </a:lnTo>
                    <a:lnTo>
                      <a:pt x="62" y="8"/>
                    </a:lnTo>
                    <a:lnTo>
                      <a:pt x="82" y="2"/>
                    </a:lnTo>
                    <a:lnTo>
                      <a:pt x="10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8" name="Freeform 196"/>
              <p:cNvSpPr>
                <a:spLocks/>
              </p:cNvSpPr>
              <p:nvPr/>
            </p:nvSpPr>
            <p:spPr bwMode="auto">
              <a:xfrm>
                <a:off x="-772" y="4320"/>
                <a:ext cx="19" cy="53"/>
              </a:xfrm>
              <a:custGeom>
                <a:avLst/>
                <a:gdLst>
                  <a:gd name="T0" fmla="*/ 91 w 116"/>
                  <a:gd name="T1" fmla="*/ 0 h 316"/>
                  <a:gd name="T2" fmla="*/ 116 w 116"/>
                  <a:gd name="T3" fmla="*/ 0 h 316"/>
                  <a:gd name="T4" fmla="*/ 116 w 116"/>
                  <a:gd name="T5" fmla="*/ 316 h 316"/>
                  <a:gd name="T6" fmla="*/ 78 w 116"/>
                  <a:gd name="T7" fmla="*/ 316 h 316"/>
                  <a:gd name="T8" fmla="*/ 78 w 116"/>
                  <a:gd name="T9" fmla="*/ 70 h 316"/>
                  <a:gd name="T10" fmla="*/ 61 w 116"/>
                  <a:gd name="T11" fmla="*/ 84 h 316"/>
                  <a:gd name="T12" fmla="*/ 41 w 116"/>
                  <a:gd name="T13" fmla="*/ 97 h 316"/>
                  <a:gd name="T14" fmla="*/ 19 w 116"/>
                  <a:gd name="T15" fmla="*/ 108 h 316"/>
                  <a:gd name="T16" fmla="*/ 0 w 116"/>
                  <a:gd name="T17" fmla="*/ 116 h 316"/>
                  <a:gd name="T18" fmla="*/ 0 w 116"/>
                  <a:gd name="T19" fmla="*/ 79 h 316"/>
                  <a:gd name="T20" fmla="*/ 30 w 116"/>
                  <a:gd name="T21" fmla="*/ 62 h 316"/>
                  <a:gd name="T22" fmla="*/ 57 w 116"/>
                  <a:gd name="T23" fmla="*/ 42 h 316"/>
                  <a:gd name="T24" fmla="*/ 78 w 116"/>
                  <a:gd name="T25" fmla="*/ 21 h 316"/>
                  <a:gd name="T26" fmla="*/ 91 w 116"/>
                  <a:gd name="T27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6" h="316">
                    <a:moveTo>
                      <a:pt x="91" y="0"/>
                    </a:moveTo>
                    <a:lnTo>
                      <a:pt x="116" y="0"/>
                    </a:lnTo>
                    <a:lnTo>
                      <a:pt x="116" y="316"/>
                    </a:lnTo>
                    <a:lnTo>
                      <a:pt x="78" y="316"/>
                    </a:lnTo>
                    <a:lnTo>
                      <a:pt x="78" y="70"/>
                    </a:lnTo>
                    <a:lnTo>
                      <a:pt x="61" y="84"/>
                    </a:lnTo>
                    <a:lnTo>
                      <a:pt x="41" y="97"/>
                    </a:lnTo>
                    <a:lnTo>
                      <a:pt x="19" y="108"/>
                    </a:lnTo>
                    <a:lnTo>
                      <a:pt x="0" y="116"/>
                    </a:lnTo>
                    <a:lnTo>
                      <a:pt x="0" y="79"/>
                    </a:lnTo>
                    <a:lnTo>
                      <a:pt x="30" y="62"/>
                    </a:lnTo>
                    <a:lnTo>
                      <a:pt x="57" y="42"/>
                    </a:lnTo>
                    <a:lnTo>
                      <a:pt x="78" y="21"/>
                    </a:lnTo>
                    <a:lnTo>
                      <a:pt x="91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9" name="Freeform 197"/>
              <p:cNvSpPr>
                <a:spLocks/>
              </p:cNvSpPr>
              <p:nvPr/>
            </p:nvSpPr>
            <p:spPr bwMode="auto">
              <a:xfrm>
                <a:off x="-737" y="4320"/>
                <a:ext cx="20" cy="53"/>
              </a:xfrm>
              <a:custGeom>
                <a:avLst/>
                <a:gdLst>
                  <a:gd name="T0" fmla="*/ 91 w 117"/>
                  <a:gd name="T1" fmla="*/ 0 h 316"/>
                  <a:gd name="T2" fmla="*/ 117 w 117"/>
                  <a:gd name="T3" fmla="*/ 0 h 316"/>
                  <a:gd name="T4" fmla="*/ 117 w 117"/>
                  <a:gd name="T5" fmla="*/ 316 h 316"/>
                  <a:gd name="T6" fmla="*/ 77 w 117"/>
                  <a:gd name="T7" fmla="*/ 316 h 316"/>
                  <a:gd name="T8" fmla="*/ 77 w 117"/>
                  <a:gd name="T9" fmla="*/ 70 h 316"/>
                  <a:gd name="T10" fmla="*/ 62 w 117"/>
                  <a:gd name="T11" fmla="*/ 84 h 316"/>
                  <a:gd name="T12" fmla="*/ 41 w 117"/>
                  <a:gd name="T13" fmla="*/ 97 h 316"/>
                  <a:gd name="T14" fmla="*/ 18 w 117"/>
                  <a:gd name="T15" fmla="*/ 108 h 316"/>
                  <a:gd name="T16" fmla="*/ 0 w 117"/>
                  <a:gd name="T17" fmla="*/ 116 h 316"/>
                  <a:gd name="T18" fmla="*/ 0 w 117"/>
                  <a:gd name="T19" fmla="*/ 79 h 316"/>
                  <a:gd name="T20" fmla="*/ 31 w 117"/>
                  <a:gd name="T21" fmla="*/ 62 h 316"/>
                  <a:gd name="T22" fmla="*/ 57 w 117"/>
                  <a:gd name="T23" fmla="*/ 42 h 316"/>
                  <a:gd name="T24" fmla="*/ 78 w 117"/>
                  <a:gd name="T25" fmla="*/ 21 h 316"/>
                  <a:gd name="T26" fmla="*/ 91 w 117"/>
                  <a:gd name="T27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7" h="316">
                    <a:moveTo>
                      <a:pt x="91" y="0"/>
                    </a:moveTo>
                    <a:lnTo>
                      <a:pt x="117" y="0"/>
                    </a:lnTo>
                    <a:lnTo>
                      <a:pt x="117" y="316"/>
                    </a:lnTo>
                    <a:lnTo>
                      <a:pt x="77" y="316"/>
                    </a:lnTo>
                    <a:lnTo>
                      <a:pt x="77" y="70"/>
                    </a:lnTo>
                    <a:lnTo>
                      <a:pt x="62" y="84"/>
                    </a:lnTo>
                    <a:lnTo>
                      <a:pt x="41" y="97"/>
                    </a:lnTo>
                    <a:lnTo>
                      <a:pt x="18" y="108"/>
                    </a:lnTo>
                    <a:lnTo>
                      <a:pt x="0" y="116"/>
                    </a:lnTo>
                    <a:lnTo>
                      <a:pt x="0" y="79"/>
                    </a:lnTo>
                    <a:lnTo>
                      <a:pt x="31" y="62"/>
                    </a:lnTo>
                    <a:lnTo>
                      <a:pt x="57" y="42"/>
                    </a:lnTo>
                    <a:lnTo>
                      <a:pt x="78" y="21"/>
                    </a:lnTo>
                    <a:lnTo>
                      <a:pt x="91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0" name="Freeform 198"/>
              <p:cNvSpPr>
                <a:spLocks noEditPoints="1"/>
              </p:cNvSpPr>
              <p:nvPr/>
            </p:nvSpPr>
            <p:spPr bwMode="auto">
              <a:xfrm>
                <a:off x="-701" y="4320"/>
                <a:ext cx="35" cy="54"/>
              </a:xfrm>
              <a:custGeom>
                <a:avLst/>
                <a:gdLst>
                  <a:gd name="T0" fmla="*/ 87 w 207"/>
                  <a:gd name="T1" fmla="*/ 34 h 321"/>
                  <a:gd name="T2" fmla="*/ 60 w 207"/>
                  <a:gd name="T3" fmla="*/ 55 h 321"/>
                  <a:gd name="T4" fmla="*/ 46 w 207"/>
                  <a:gd name="T5" fmla="*/ 96 h 321"/>
                  <a:gd name="T6" fmla="*/ 40 w 207"/>
                  <a:gd name="T7" fmla="*/ 160 h 321"/>
                  <a:gd name="T8" fmla="*/ 44 w 207"/>
                  <a:gd name="T9" fmla="*/ 214 h 321"/>
                  <a:gd name="T10" fmla="*/ 52 w 207"/>
                  <a:gd name="T11" fmla="*/ 251 h 321"/>
                  <a:gd name="T12" fmla="*/ 72 w 207"/>
                  <a:gd name="T13" fmla="*/ 279 h 321"/>
                  <a:gd name="T14" fmla="*/ 103 w 207"/>
                  <a:gd name="T15" fmla="*/ 290 h 321"/>
                  <a:gd name="T16" fmla="*/ 135 w 207"/>
                  <a:gd name="T17" fmla="*/ 279 h 321"/>
                  <a:gd name="T18" fmla="*/ 155 w 207"/>
                  <a:gd name="T19" fmla="*/ 251 h 321"/>
                  <a:gd name="T20" fmla="*/ 164 w 207"/>
                  <a:gd name="T21" fmla="*/ 214 h 321"/>
                  <a:gd name="T22" fmla="*/ 167 w 207"/>
                  <a:gd name="T23" fmla="*/ 160 h 321"/>
                  <a:gd name="T24" fmla="*/ 164 w 207"/>
                  <a:gd name="T25" fmla="*/ 107 h 321"/>
                  <a:gd name="T26" fmla="*/ 155 w 207"/>
                  <a:gd name="T27" fmla="*/ 69 h 321"/>
                  <a:gd name="T28" fmla="*/ 135 w 207"/>
                  <a:gd name="T29" fmla="*/ 43 h 321"/>
                  <a:gd name="T30" fmla="*/ 103 w 207"/>
                  <a:gd name="T31" fmla="*/ 32 h 321"/>
                  <a:gd name="T32" fmla="*/ 128 w 207"/>
                  <a:gd name="T33" fmla="*/ 2 h 321"/>
                  <a:gd name="T34" fmla="*/ 161 w 207"/>
                  <a:gd name="T35" fmla="*/ 18 h 321"/>
                  <a:gd name="T36" fmla="*/ 181 w 207"/>
                  <a:gd name="T37" fmla="*/ 40 h 321"/>
                  <a:gd name="T38" fmla="*/ 201 w 207"/>
                  <a:gd name="T39" fmla="*/ 86 h 321"/>
                  <a:gd name="T40" fmla="*/ 206 w 207"/>
                  <a:gd name="T41" fmla="*/ 132 h 321"/>
                  <a:gd name="T42" fmla="*/ 206 w 207"/>
                  <a:gd name="T43" fmla="*/ 195 h 321"/>
                  <a:gd name="T44" fmla="*/ 196 w 207"/>
                  <a:gd name="T45" fmla="*/ 250 h 321"/>
                  <a:gd name="T46" fmla="*/ 175 w 207"/>
                  <a:gd name="T47" fmla="*/ 289 h 321"/>
                  <a:gd name="T48" fmla="*/ 145 w 207"/>
                  <a:gd name="T49" fmla="*/ 313 h 321"/>
                  <a:gd name="T50" fmla="*/ 103 w 207"/>
                  <a:gd name="T51" fmla="*/ 321 h 321"/>
                  <a:gd name="T52" fmla="*/ 62 w 207"/>
                  <a:gd name="T53" fmla="*/ 313 h 321"/>
                  <a:gd name="T54" fmla="*/ 31 w 207"/>
                  <a:gd name="T55" fmla="*/ 289 h 321"/>
                  <a:gd name="T56" fmla="*/ 11 w 207"/>
                  <a:gd name="T57" fmla="*/ 249 h 321"/>
                  <a:gd name="T58" fmla="*/ 2 w 207"/>
                  <a:gd name="T59" fmla="*/ 194 h 321"/>
                  <a:gd name="T60" fmla="*/ 2 w 207"/>
                  <a:gd name="T61" fmla="*/ 126 h 321"/>
                  <a:gd name="T62" fmla="*/ 11 w 207"/>
                  <a:gd name="T63" fmla="*/ 70 h 321"/>
                  <a:gd name="T64" fmla="*/ 32 w 207"/>
                  <a:gd name="T65" fmla="*/ 32 h 321"/>
                  <a:gd name="T66" fmla="*/ 62 w 207"/>
                  <a:gd name="T67" fmla="*/ 8 h 321"/>
                  <a:gd name="T68" fmla="*/ 103 w 207"/>
                  <a:gd name="T69" fmla="*/ 0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7" h="321">
                    <a:moveTo>
                      <a:pt x="103" y="32"/>
                    </a:moveTo>
                    <a:lnTo>
                      <a:pt x="87" y="34"/>
                    </a:lnTo>
                    <a:lnTo>
                      <a:pt x="72" y="42"/>
                    </a:lnTo>
                    <a:lnTo>
                      <a:pt x="60" y="55"/>
                    </a:lnTo>
                    <a:lnTo>
                      <a:pt x="51" y="71"/>
                    </a:lnTo>
                    <a:lnTo>
                      <a:pt x="46" y="96"/>
                    </a:lnTo>
                    <a:lnTo>
                      <a:pt x="41" y="125"/>
                    </a:lnTo>
                    <a:lnTo>
                      <a:pt x="40" y="160"/>
                    </a:lnTo>
                    <a:lnTo>
                      <a:pt x="41" y="190"/>
                    </a:lnTo>
                    <a:lnTo>
                      <a:pt x="44" y="214"/>
                    </a:lnTo>
                    <a:lnTo>
                      <a:pt x="47" y="235"/>
                    </a:lnTo>
                    <a:lnTo>
                      <a:pt x="52" y="251"/>
                    </a:lnTo>
                    <a:lnTo>
                      <a:pt x="59" y="264"/>
                    </a:lnTo>
                    <a:lnTo>
                      <a:pt x="72" y="279"/>
                    </a:lnTo>
                    <a:lnTo>
                      <a:pt x="87" y="286"/>
                    </a:lnTo>
                    <a:lnTo>
                      <a:pt x="103" y="290"/>
                    </a:lnTo>
                    <a:lnTo>
                      <a:pt x="121" y="286"/>
                    </a:lnTo>
                    <a:lnTo>
                      <a:pt x="135" y="279"/>
                    </a:lnTo>
                    <a:lnTo>
                      <a:pt x="149" y="264"/>
                    </a:lnTo>
                    <a:lnTo>
                      <a:pt x="155" y="251"/>
                    </a:lnTo>
                    <a:lnTo>
                      <a:pt x="161" y="235"/>
                    </a:lnTo>
                    <a:lnTo>
                      <a:pt x="164" y="214"/>
                    </a:lnTo>
                    <a:lnTo>
                      <a:pt x="166" y="190"/>
                    </a:lnTo>
                    <a:lnTo>
                      <a:pt x="167" y="160"/>
                    </a:lnTo>
                    <a:lnTo>
                      <a:pt x="166" y="132"/>
                    </a:lnTo>
                    <a:lnTo>
                      <a:pt x="164" y="107"/>
                    </a:lnTo>
                    <a:lnTo>
                      <a:pt x="161" y="86"/>
                    </a:lnTo>
                    <a:lnTo>
                      <a:pt x="155" y="69"/>
                    </a:lnTo>
                    <a:lnTo>
                      <a:pt x="149" y="57"/>
                    </a:lnTo>
                    <a:lnTo>
                      <a:pt x="135" y="43"/>
                    </a:lnTo>
                    <a:lnTo>
                      <a:pt x="121" y="35"/>
                    </a:lnTo>
                    <a:lnTo>
                      <a:pt x="103" y="32"/>
                    </a:lnTo>
                    <a:close/>
                    <a:moveTo>
                      <a:pt x="103" y="0"/>
                    </a:moveTo>
                    <a:lnTo>
                      <a:pt x="128" y="2"/>
                    </a:lnTo>
                    <a:lnTo>
                      <a:pt x="149" y="10"/>
                    </a:lnTo>
                    <a:lnTo>
                      <a:pt x="161" y="18"/>
                    </a:lnTo>
                    <a:lnTo>
                      <a:pt x="171" y="28"/>
                    </a:lnTo>
                    <a:lnTo>
                      <a:pt x="181" y="40"/>
                    </a:lnTo>
                    <a:lnTo>
                      <a:pt x="192" y="60"/>
                    </a:lnTo>
                    <a:lnTo>
                      <a:pt x="201" y="86"/>
                    </a:lnTo>
                    <a:lnTo>
                      <a:pt x="204" y="107"/>
                    </a:lnTo>
                    <a:lnTo>
                      <a:pt x="206" y="132"/>
                    </a:lnTo>
                    <a:lnTo>
                      <a:pt x="207" y="160"/>
                    </a:lnTo>
                    <a:lnTo>
                      <a:pt x="206" y="195"/>
                    </a:lnTo>
                    <a:lnTo>
                      <a:pt x="203" y="225"/>
                    </a:lnTo>
                    <a:lnTo>
                      <a:pt x="196" y="250"/>
                    </a:lnTo>
                    <a:lnTo>
                      <a:pt x="187" y="271"/>
                    </a:lnTo>
                    <a:lnTo>
                      <a:pt x="175" y="289"/>
                    </a:lnTo>
                    <a:lnTo>
                      <a:pt x="162" y="303"/>
                    </a:lnTo>
                    <a:lnTo>
                      <a:pt x="145" y="313"/>
                    </a:lnTo>
                    <a:lnTo>
                      <a:pt x="125" y="319"/>
                    </a:lnTo>
                    <a:lnTo>
                      <a:pt x="103" y="321"/>
                    </a:lnTo>
                    <a:lnTo>
                      <a:pt x="82" y="319"/>
                    </a:lnTo>
                    <a:lnTo>
                      <a:pt x="62" y="313"/>
                    </a:lnTo>
                    <a:lnTo>
                      <a:pt x="46" y="303"/>
                    </a:lnTo>
                    <a:lnTo>
                      <a:pt x="31" y="289"/>
                    </a:lnTo>
                    <a:lnTo>
                      <a:pt x="20" y="271"/>
                    </a:lnTo>
                    <a:lnTo>
                      <a:pt x="11" y="249"/>
                    </a:lnTo>
                    <a:lnTo>
                      <a:pt x="6" y="224"/>
                    </a:lnTo>
                    <a:lnTo>
                      <a:pt x="2" y="194"/>
                    </a:lnTo>
                    <a:lnTo>
                      <a:pt x="0" y="160"/>
                    </a:lnTo>
                    <a:lnTo>
                      <a:pt x="2" y="126"/>
                    </a:lnTo>
                    <a:lnTo>
                      <a:pt x="6" y="96"/>
                    </a:lnTo>
                    <a:lnTo>
                      <a:pt x="11" y="70"/>
                    </a:lnTo>
                    <a:lnTo>
                      <a:pt x="21" y="50"/>
                    </a:lnTo>
                    <a:lnTo>
                      <a:pt x="32" y="32"/>
                    </a:lnTo>
                    <a:lnTo>
                      <a:pt x="47" y="19"/>
                    </a:lnTo>
                    <a:lnTo>
                      <a:pt x="62" y="8"/>
                    </a:lnTo>
                    <a:lnTo>
                      <a:pt x="82" y="2"/>
                    </a:lnTo>
                    <a:lnTo>
                      <a:pt x="10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71" name="Rectangle 17"/>
          <p:cNvSpPr>
            <a:spLocks/>
          </p:cNvSpPr>
          <p:nvPr/>
        </p:nvSpPr>
        <p:spPr bwMode="auto">
          <a:xfrm>
            <a:off x="142450" y="1168357"/>
            <a:ext cx="79730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Имитационное моделирование</a:t>
            </a:r>
          </a:p>
        </p:txBody>
      </p:sp>
      <p:sp>
        <p:nvSpPr>
          <p:cNvPr id="73" name="Rectangle 17"/>
          <p:cNvSpPr>
            <a:spLocks/>
          </p:cNvSpPr>
          <p:nvPr/>
        </p:nvSpPr>
        <p:spPr bwMode="auto">
          <a:xfrm>
            <a:off x="142451" y="1553969"/>
            <a:ext cx="73896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Геопространственный анализ</a:t>
            </a:r>
          </a:p>
        </p:txBody>
      </p:sp>
      <p:sp>
        <p:nvSpPr>
          <p:cNvPr id="74" name="Rectangle 17"/>
          <p:cNvSpPr>
            <a:spLocks/>
          </p:cNvSpPr>
          <p:nvPr/>
        </p:nvSpPr>
        <p:spPr bwMode="auto">
          <a:xfrm>
            <a:off x="142451" y="2062691"/>
            <a:ext cx="7389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Разбивка на кластеры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147993" y="6208057"/>
            <a:ext cx="727877" cy="515892"/>
            <a:chOff x="147993" y="6208057"/>
            <a:chExt cx="727877" cy="515892"/>
          </a:xfrm>
        </p:grpSpPr>
        <p:sp>
          <p:nvSpPr>
            <p:cNvPr id="140" name="Rectangle 17"/>
            <p:cNvSpPr>
              <a:spLocks/>
            </p:cNvSpPr>
            <p:nvPr/>
          </p:nvSpPr>
          <p:spPr bwMode="auto">
            <a:xfrm>
              <a:off x="147993" y="6446950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Бизнес-партнеры</a:t>
              </a:r>
              <a:endParaRPr lang="ru-RU" sz="900" i="1" dirty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sp>
          <p:nvSpPr>
            <p:cNvPr id="141" name="Freeform 4831"/>
            <p:cNvSpPr>
              <a:spLocks noEditPoints="1"/>
            </p:cNvSpPr>
            <p:nvPr/>
          </p:nvSpPr>
          <p:spPr bwMode="auto">
            <a:xfrm>
              <a:off x="393188" y="6208057"/>
              <a:ext cx="273263" cy="147454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147993" y="5430652"/>
            <a:ext cx="727877" cy="652328"/>
            <a:chOff x="147993" y="5080087"/>
            <a:chExt cx="727877" cy="652328"/>
          </a:xfrm>
        </p:grpSpPr>
        <p:sp>
          <p:nvSpPr>
            <p:cNvPr id="143" name="Rectangle 17"/>
            <p:cNvSpPr>
              <a:spLocks/>
            </p:cNvSpPr>
            <p:nvPr/>
          </p:nvSpPr>
          <p:spPr bwMode="auto">
            <a:xfrm>
              <a:off x="147993" y="5178417"/>
              <a:ext cx="727877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Объекты инфраструктуры / карты</a:t>
              </a: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365905" y="5080087"/>
              <a:ext cx="233576" cy="214640"/>
              <a:chOff x="-1831145" y="1063685"/>
              <a:chExt cx="488634" cy="449020"/>
            </a:xfrm>
            <a:solidFill>
              <a:schemeClr val="bg1"/>
            </a:solidFill>
          </p:grpSpPr>
          <p:sp>
            <p:nvSpPr>
              <p:cNvPr id="145" name="Freeform 7"/>
              <p:cNvSpPr>
                <a:spLocks/>
              </p:cNvSpPr>
              <p:nvPr/>
            </p:nvSpPr>
            <p:spPr bwMode="auto">
              <a:xfrm>
                <a:off x="-1793165" y="1260323"/>
                <a:ext cx="210523" cy="127008"/>
              </a:xfrm>
              <a:custGeom>
                <a:avLst/>
                <a:gdLst>
                  <a:gd name="T0" fmla="*/ 396 w 2061"/>
                  <a:gd name="T1" fmla="*/ 0 h 1245"/>
                  <a:gd name="T2" fmla="*/ 1816 w 2061"/>
                  <a:gd name="T3" fmla="*/ 0 h 1245"/>
                  <a:gd name="T4" fmla="*/ 1869 w 2061"/>
                  <a:gd name="T5" fmla="*/ 137 h 1245"/>
                  <a:gd name="T6" fmla="*/ 1928 w 2061"/>
                  <a:gd name="T7" fmla="*/ 271 h 1245"/>
                  <a:gd name="T8" fmla="*/ 1993 w 2061"/>
                  <a:gd name="T9" fmla="*/ 402 h 1245"/>
                  <a:gd name="T10" fmla="*/ 2061 w 2061"/>
                  <a:gd name="T11" fmla="*/ 528 h 1245"/>
                  <a:gd name="T12" fmla="*/ 1912 w 2061"/>
                  <a:gd name="T13" fmla="*/ 1245 h 1245"/>
                  <a:gd name="T14" fmla="*/ 0 w 2061"/>
                  <a:gd name="T15" fmla="*/ 1037 h 1245"/>
                  <a:gd name="T16" fmla="*/ 272 w 2061"/>
                  <a:gd name="T17" fmla="*/ 93 h 1245"/>
                  <a:gd name="T18" fmla="*/ 284 w 2061"/>
                  <a:gd name="T19" fmla="*/ 67 h 1245"/>
                  <a:gd name="T20" fmla="*/ 299 w 2061"/>
                  <a:gd name="T21" fmla="*/ 45 h 1245"/>
                  <a:gd name="T22" fmla="*/ 319 w 2061"/>
                  <a:gd name="T23" fmla="*/ 26 h 1245"/>
                  <a:gd name="T24" fmla="*/ 342 w 2061"/>
                  <a:gd name="T25" fmla="*/ 13 h 1245"/>
                  <a:gd name="T26" fmla="*/ 368 w 2061"/>
                  <a:gd name="T27" fmla="*/ 5 h 1245"/>
                  <a:gd name="T28" fmla="*/ 396 w 2061"/>
                  <a:gd name="T29" fmla="*/ 0 h 1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61" h="1245">
                    <a:moveTo>
                      <a:pt x="396" y="0"/>
                    </a:moveTo>
                    <a:lnTo>
                      <a:pt x="1816" y="0"/>
                    </a:lnTo>
                    <a:lnTo>
                      <a:pt x="1869" y="137"/>
                    </a:lnTo>
                    <a:lnTo>
                      <a:pt x="1928" y="271"/>
                    </a:lnTo>
                    <a:lnTo>
                      <a:pt x="1993" y="402"/>
                    </a:lnTo>
                    <a:lnTo>
                      <a:pt x="2061" y="528"/>
                    </a:lnTo>
                    <a:lnTo>
                      <a:pt x="1912" y="1245"/>
                    </a:lnTo>
                    <a:lnTo>
                      <a:pt x="0" y="1037"/>
                    </a:lnTo>
                    <a:lnTo>
                      <a:pt x="272" y="93"/>
                    </a:lnTo>
                    <a:lnTo>
                      <a:pt x="284" y="67"/>
                    </a:lnTo>
                    <a:lnTo>
                      <a:pt x="299" y="45"/>
                    </a:lnTo>
                    <a:lnTo>
                      <a:pt x="319" y="26"/>
                    </a:lnTo>
                    <a:lnTo>
                      <a:pt x="342" y="13"/>
                    </a:lnTo>
                    <a:lnTo>
                      <a:pt x="368" y="5"/>
                    </a:lnTo>
                    <a:lnTo>
                      <a:pt x="3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6" name="Freeform 8"/>
              <p:cNvSpPr>
                <a:spLocks/>
              </p:cNvSpPr>
              <p:nvPr/>
            </p:nvSpPr>
            <p:spPr bwMode="auto">
              <a:xfrm>
                <a:off x="-1425618" y="1352209"/>
                <a:ext cx="58603" cy="60645"/>
              </a:xfrm>
              <a:custGeom>
                <a:avLst/>
                <a:gdLst>
                  <a:gd name="T0" fmla="*/ 403 w 575"/>
                  <a:gd name="T1" fmla="*/ 0 h 593"/>
                  <a:gd name="T2" fmla="*/ 575 w 575"/>
                  <a:gd name="T3" fmla="*/ 593 h 593"/>
                  <a:gd name="T4" fmla="*/ 0 w 575"/>
                  <a:gd name="T5" fmla="*/ 531 h 593"/>
                  <a:gd name="T6" fmla="*/ 63 w 575"/>
                  <a:gd name="T7" fmla="*/ 453 h 593"/>
                  <a:gd name="T8" fmla="*/ 128 w 575"/>
                  <a:gd name="T9" fmla="*/ 372 h 593"/>
                  <a:gd name="T10" fmla="*/ 197 w 575"/>
                  <a:gd name="T11" fmla="*/ 285 h 593"/>
                  <a:gd name="T12" fmla="*/ 265 w 575"/>
                  <a:gd name="T13" fmla="*/ 195 h 593"/>
                  <a:gd name="T14" fmla="*/ 335 w 575"/>
                  <a:gd name="T15" fmla="*/ 99 h 593"/>
                  <a:gd name="T16" fmla="*/ 403 w 575"/>
                  <a:gd name="T17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5" h="593">
                    <a:moveTo>
                      <a:pt x="403" y="0"/>
                    </a:moveTo>
                    <a:lnTo>
                      <a:pt x="575" y="593"/>
                    </a:lnTo>
                    <a:lnTo>
                      <a:pt x="0" y="531"/>
                    </a:lnTo>
                    <a:lnTo>
                      <a:pt x="63" y="453"/>
                    </a:lnTo>
                    <a:lnTo>
                      <a:pt x="128" y="372"/>
                    </a:lnTo>
                    <a:lnTo>
                      <a:pt x="197" y="285"/>
                    </a:lnTo>
                    <a:lnTo>
                      <a:pt x="265" y="195"/>
                    </a:lnTo>
                    <a:lnTo>
                      <a:pt x="335" y="99"/>
                    </a:lnTo>
                    <a:lnTo>
                      <a:pt x="4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7" name="Freeform 9"/>
              <p:cNvSpPr>
                <a:spLocks/>
              </p:cNvSpPr>
              <p:nvPr/>
            </p:nvSpPr>
            <p:spPr bwMode="auto">
              <a:xfrm>
                <a:off x="-1558956" y="1361602"/>
                <a:ext cx="31854" cy="33692"/>
              </a:xfrm>
              <a:custGeom>
                <a:avLst/>
                <a:gdLst>
                  <a:gd name="T0" fmla="*/ 63 w 311"/>
                  <a:gd name="T1" fmla="*/ 0 h 328"/>
                  <a:gd name="T2" fmla="*/ 67 w 311"/>
                  <a:gd name="T3" fmla="*/ 6 h 328"/>
                  <a:gd name="T4" fmla="*/ 150 w 311"/>
                  <a:gd name="T5" fmla="*/ 120 h 328"/>
                  <a:gd name="T6" fmla="*/ 231 w 311"/>
                  <a:gd name="T7" fmla="*/ 227 h 328"/>
                  <a:gd name="T8" fmla="*/ 311 w 311"/>
                  <a:gd name="T9" fmla="*/ 328 h 328"/>
                  <a:gd name="T10" fmla="*/ 0 w 311"/>
                  <a:gd name="T11" fmla="*/ 294 h 328"/>
                  <a:gd name="T12" fmla="*/ 63 w 311"/>
                  <a:gd name="T13" fmla="*/ 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1" h="328">
                    <a:moveTo>
                      <a:pt x="63" y="0"/>
                    </a:moveTo>
                    <a:lnTo>
                      <a:pt x="67" y="6"/>
                    </a:lnTo>
                    <a:lnTo>
                      <a:pt x="150" y="120"/>
                    </a:lnTo>
                    <a:lnTo>
                      <a:pt x="231" y="227"/>
                    </a:lnTo>
                    <a:lnTo>
                      <a:pt x="311" y="328"/>
                    </a:lnTo>
                    <a:lnTo>
                      <a:pt x="0" y="294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8" name="Freeform 10"/>
              <p:cNvSpPr>
                <a:spLocks/>
              </p:cNvSpPr>
              <p:nvPr/>
            </p:nvSpPr>
            <p:spPr bwMode="auto">
              <a:xfrm>
                <a:off x="-1831145" y="1404279"/>
                <a:ext cx="225021" cy="108426"/>
              </a:xfrm>
              <a:custGeom>
                <a:avLst/>
                <a:gdLst>
                  <a:gd name="T0" fmla="*/ 265 w 2204"/>
                  <a:gd name="T1" fmla="*/ 0 h 1062"/>
                  <a:gd name="T2" fmla="*/ 2204 w 2204"/>
                  <a:gd name="T3" fmla="*/ 213 h 1062"/>
                  <a:gd name="T4" fmla="*/ 2026 w 2204"/>
                  <a:gd name="T5" fmla="*/ 1062 h 1062"/>
                  <a:gd name="T6" fmla="*/ 128 w 2204"/>
                  <a:gd name="T7" fmla="*/ 1062 h 1062"/>
                  <a:gd name="T8" fmla="*/ 99 w 2204"/>
                  <a:gd name="T9" fmla="*/ 1059 h 1062"/>
                  <a:gd name="T10" fmla="*/ 71 w 2204"/>
                  <a:gd name="T11" fmla="*/ 1049 h 1062"/>
                  <a:gd name="T12" fmla="*/ 47 w 2204"/>
                  <a:gd name="T13" fmla="*/ 1033 h 1062"/>
                  <a:gd name="T14" fmla="*/ 26 w 2204"/>
                  <a:gd name="T15" fmla="*/ 1011 h 1062"/>
                  <a:gd name="T16" fmla="*/ 10 w 2204"/>
                  <a:gd name="T17" fmla="*/ 985 h 1062"/>
                  <a:gd name="T18" fmla="*/ 1 w 2204"/>
                  <a:gd name="T19" fmla="*/ 957 h 1062"/>
                  <a:gd name="T20" fmla="*/ 0 w 2204"/>
                  <a:gd name="T21" fmla="*/ 928 h 1062"/>
                  <a:gd name="T22" fmla="*/ 4 w 2204"/>
                  <a:gd name="T23" fmla="*/ 899 h 1062"/>
                  <a:gd name="T24" fmla="*/ 265 w 2204"/>
                  <a:gd name="T25" fmla="*/ 0 h 10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04" h="1062">
                    <a:moveTo>
                      <a:pt x="265" y="0"/>
                    </a:moveTo>
                    <a:lnTo>
                      <a:pt x="2204" y="213"/>
                    </a:lnTo>
                    <a:lnTo>
                      <a:pt x="2026" y="1062"/>
                    </a:lnTo>
                    <a:lnTo>
                      <a:pt x="128" y="1062"/>
                    </a:lnTo>
                    <a:lnTo>
                      <a:pt x="99" y="1059"/>
                    </a:lnTo>
                    <a:lnTo>
                      <a:pt x="71" y="1049"/>
                    </a:lnTo>
                    <a:lnTo>
                      <a:pt x="47" y="1033"/>
                    </a:lnTo>
                    <a:lnTo>
                      <a:pt x="26" y="1011"/>
                    </a:lnTo>
                    <a:lnTo>
                      <a:pt x="10" y="985"/>
                    </a:lnTo>
                    <a:lnTo>
                      <a:pt x="1" y="957"/>
                    </a:lnTo>
                    <a:lnTo>
                      <a:pt x="0" y="928"/>
                    </a:lnTo>
                    <a:lnTo>
                      <a:pt x="4" y="899"/>
                    </a:lnTo>
                    <a:lnTo>
                      <a:pt x="2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9" name="Freeform 11"/>
              <p:cNvSpPr>
                <a:spLocks/>
              </p:cNvSpPr>
              <p:nvPr/>
            </p:nvSpPr>
            <p:spPr bwMode="auto">
              <a:xfrm>
                <a:off x="-1584276" y="1430211"/>
                <a:ext cx="241765" cy="82494"/>
              </a:xfrm>
              <a:custGeom>
                <a:avLst/>
                <a:gdLst>
                  <a:gd name="T0" fmla="*/ 169 w 2368"/>
                  <a:gd name="T1" fmla="*/ 0 h 807"/>
                  <a:gd name="T2" fmla="*/ 2243 w 2368"/>
                  <a:gd name="T3" fmla="*/ 227 h 807"/>
                  <a:gd name="T4" fmla="*/ 2361 w 2368"/>
                  <a:gd name="T5" fmla="*/ 635 h 807"/>
                  <a:gd name="T6" fmla="*/ 2366 w 2368"/>
                  <a:gd name="T7" fmla="*/ 657 h 807"/>
                  <a:gd name="T8" fmla="*/ 2368 w 2368"/>
                  <a:gd name="T9" fmla="*/ 679 h 807"/>
                  <a:gd name="T10" fmla="*/ 2365 w 2368"/>
                  <a:gd name="T11" fmla="*/ 708 h 807"/>
                  <a:gd name="T12" fmla="*/ 2355 w 2368"/>
                  <a:gd name="T13" fmla="*/ 736 h 807"/>
                  <a:gd name="T14" fmla="*/ 2340 w 2368"/>
                  <a:gd name="T15" fmla="*/ 759 h 807"/>
                  <a:gd name="T16" fmla="*/ 2320 w 2368"/>
                  <a:gd name="T17" fmla="*/ 779 h 807"/>
                  <a:gd name="T18" fmla="*/ 2297 w 2368"/>
                  <a:gd name="T19" fmla="*/ 794 h 807"/>
                  <a:gd name="T20" fmla="*/ 2269 w 2368"/>
                  <a:gd name="T21" fmla="*/ 804 h 807"/>
                  <a:gd name="T22" fmla="*/ 2240 w 2368"/>
                  <a:gd name="T23" fmla="*/ 807 h 807"/>
                  <a:gd name="T24" fmla="*/ 0 w 2368"/>
                  <a:gd name="T25" fmla="*/ 807 h 807"/>
                  <a:gd name="T26" fmla="*/ 169 w 2368"/>
                  <a:gd name="T27" fmla="*/ 0 h 8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68" h="807">
                    <a:moveTo>
                      <a:pt x="169" y="0"/>
                    </a:moveTo>
                    <a:lnTo>
                      <a:pt x="2243" y="227"/>
                    </a:lnTo>
                    <a:lnTo>
                      <a:pt x="2361" y="635"/>
                    </a:lnTo>
                    <a:lnTo>
                      <a:pt x="2366" y="657"/>
                    </a:lnTo>
                    <a:lnTo>
                      <a:pt x="2368" y="679"/>
                    </a:lnTo>
                    <a:lnTo>
                      <a:pt x="2365" y="708"/>
                    </a:lnTo>
                    <a:lnTo>
                      <a:pt x="2355" y="736"/>
                    </a:lnTo>
                    <a:lnTo>
                      <a:pt x="2340" y="759"/>
                    </a:lnTo>
                    <a:lnTo>
                      <a:pt x="2320" y="779"/>
                    </a:lnTo>
                    <a:lnTo>
                      <a:pt x="2297" y="794"/>
                    </a:lnTo>
                    <a:lnTo>
                      <a:pt x="2269" y="804"/>
                    </a:lnTo>
                    <a:lnTo>
                      <a:pt x="2240" y="807"/>
                    </a:lnTo>
                    <a:lnTo>
                      <a:pt x="0" y="807"/>
                    </a:lnTo>
                    <a:lnTo>
                      <a:pt x="1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0" name="Freeform 12"/>
              <p:cNvSpPr>
                <a:spLocks noEditPoints="1"/>
              </p:cNvSpPr>
              <p:nvPr/>
            </p:nvSpPr>
            <p:spPr bwMode="auto">
              <a:xfrm>
                <a:off x="-1601224" y="1063685"/>
                <a:ext cx="258713" cy="361625"/>
              </a:xfrm>
              <a:custGeom>
                <a:avLst/>
                <a:gdLst>
                  <a:gd name="T0" fmla="*/ 1102 w 2535"/>
                  <a:gd name="T1" fmla="*/ 494 h 3540"/>
                  <a:gd name="T2" fmla="*/ 877 w 2535"/>
                  <a:gd name="T3" fmla="*/ 583 h 3540"/>
                  <a:gd name="T4" fmla="*/ 693 w 2535"/>
                  <a:gd name="T5" fmla="*/ 733 h 3540"/>
                  <a:gd name="T6" fmla="*/ 563 w 2535"/>
                  <a:gd name="T7" fmla="*/ 931 h 3540"/>
                  <a:gd name="T8" fmla="*/ 499 w 2535"/>
                  <a:gd name="T9" fmla="*/ 1166 h 3540"/>
                  <a:gd name="T10" fmla="*/ 512 w 2535"/>
                  <a:gd name="T11" fmla="*/ 1417 h 3540"/>
                  <a:gd name="T12" fmla="*/ 599 w 2535"/>
                  <a:gd name="T13" fmla="*/ 1641 h 3540"/>
                  <a:gd name="T14" fmla="*/ 749 w 2535"/>
                  <a:gd name="T15" fmla="*/ 1825 h 3540"/>
                  <a:gd name="T16" fmla="*/ 948 w 2535"/>
                  <a:gd name="T17" fmla="*/ 1956 h 3540"/>
                  <a:gd name="T18" fmla="*/ 1184 w 2535"/>
                  <a:gd name="T19" fmla="*/ 2020 h 3540"/>
                  <a:gd name="T20" fmla="*/ 1434 w 2535"/>
                  <a:gd name="T21" fmla="*/ 2007 h 3540"/>
                  <a:gd name="T22" fmla="*/ 1658 w 2535"/>
                  <a:gd name="T23" fmla="*/ 1920 h 3540"/>
                  <a:gd name="T24" fmla="*/ 1843 w 2535"/>
                  <a:gd name="T25" fmla="*/ 1769 h 3540"/>
                  <a:gd name="T26" fmla="*/ 1972 w 2535"/>
                  <a:gd name="T27" fmla="*/ 1571 h 3540"/>
                  <a:gd name="T28" fmla="*/ 2037 w 2535"/>
                  <a:gd name="T29" fmla="*/ 1335 h 3540"/>
                  <a:gd name="T30" fmla="*/ 2023 w 2535"/>
                  <a:gd name="T31" fmla="*/ 1085 h 3540"/>
                  <a:gd name="T32" fmla="*/ 1936 w 2535"/>
                  <a:gd name="T33" fmla="*/ 861 h 3540"/>
                  <a:gd name="T34" fmla="*/ 1786 w 2535"/>
                  <a:gd name="T35" fmla="*/ 676 h 3540"/>
                  <a:gd name="T36" fmla="*/ 1587 w 2535"/>
                  <a:gd name="T37" fmla="*/ 545 h 3540"/>
                  <a:gd name="T38" fmla="*/ 1351 w 2535"/>
                  <a:gd name="T39" fmla="*/ 481 h 3540"/>
                  <a:gd name="T40" fmla="*/ 1377 w 2535"/>
                  <a:gd name="T41" fmla="*/ 4 h 3540"/>
                  <a:gd name="T42" fmla="*/ 1687 w 2535"/>
                  <a:gd name="T43" fmla="*/ 71 h 3540"/>
                  <a:gd name="T44" fmla="*/ 1965 w 2535"/>
                  <a:gd name="T45" fmla="*/ 209 h 3540"/>
                  <a:gd name="T46" fmla="*/ 2199 w 2535"/>
                  <a:gd name="T47" fmla="*/ 409 h 3540"/>
                  <a:gd name="T48" fmla="*/ 2379 w 2535"/>
                  <a:gd name="T49" fmla="*/ 657 h 3540"/>
                  <a:gd name="T50" fmla="*/ 2494 w 2535"/>
                  <a:gd name="T51" fmla="*/ 948 h 3540"/>
                  <a:gd name="T52" fmla="*/ 2535 w 2535"/>
                  <a:gd name="T53" fmla="*/ 1267 h 3540"/>
                  <a:gd name="T54" fmla="*/ 2497 w 2535"/>
                  <a:gd name="T55" fmla="*/ 1594 h 3540"/>
                  <a:gd name="T56" fmla="*/ 2395 w 2535"/>
                  <a:gd name="T57" fmla="*/ 1924 h 3540"/>
                  <a:gd name="T58" fmla="*/ 2248 w 2535"/>
                  <a:gd name="T59" fmla="*/ 2246 h 3540"/>
                  <a:gd name="T60" fmla="*/ 2075 w 2535"/>
                  <a:gd name="T61" fmla="*/ 2545 h 3540"/>
                  <a:gd name="T62" fmla="*/ 1898 w 2535"/>
                  <a:gd name="T63" fmla="*/ 2812 h 3540"/>
                  <a:gd name="T64" fmla="*/ 1726 w 2535"/>
                  <a:gd name="T65" fmla="*/ 3041 h 3540"/>
                  <a:gd name="T66" fmla="*/ 1566 w 2535"/>
                  <a:gd name="T67" fmla="*/ 3241 h 3540"/>
                  <a:gd name="T68" fmla="*/ 1428 w 2535"/>
                  <a:gd name="T69" fmla="*/ 3401 h 3540"/>
                  <a:gd name="T70" fmla="*/ 1320 w 2535"/>
                  <a:gd name="T71" fmla="*/ 3517 h 3540"/>
                  <a:gd name="T72" fmla="*/ 1268 w 2535"/>
                  <a:gd name="T73" fmla="*/ 3540 h 3540"/>
                  <a:gd name="T74" fmla="*/ 1214 w 2535"/>
                  <a:gd name="T75" fmla="*/ 3517 h 3540"/>
                  <a:gd name="T76" fmla="*/ 1108 w 2535"/>
                  <a:gd name="T77" fmla="*/ 3401 h 3540"/>
                  <a:gd name="T78" fmla="*/ 968 w 2535"/>
                  <a:gd name="T79" fmla="*/ 3241 h 3540"/>
                  <a:gd name="T80" fmla="*/ 808 w 2535"/>
                  <a:gd name="T81" fmla="*/ 3043 h 3540"/>
                  <a:gd name="T82" fmla="*/ 638 w 2535"/>
                  <a:gd name="T83" fmla="*/ 2813 h 3540"/>
                  <a:gd name="T84" fmla="*/ 459 w 2535"/>
                  <a:gd name="T85" fmla="*/ 2547 h 3540"/>
                  <a:gd name="T86" fmla="*/ 288 w 2535"/>
                  <a:gd name="T87" fmla="*/ 2246 h 3540"/>
                  <a:gd name="T88" fmla="*/ 141 w 2535"/>
                  <a:gd name="T89" fmla="*/ 1924 h 3540"/>
                  <a:gd name="T90" fmla="*/ 37 w 2535"/>
                  <a:gd name="T91" fmla="*/ 1594 h 3540"/>
                  <a:gd name="T92" fmla="*/ 0 w 2535"/>
                  <a:gd name="T93" fmla="*/ 1267 h 3540"/>
                  <a:gd name="T94" fmla="*/ 40 w 2535"/>
                  <a:gd name="T95" fmla="*/ 948 h 3540"/>
                  <a:gd name="T96" fmla="*/ 155 w 2535"/>
                  <a:gd name="T97" fmla="*/ 657 h 3540"/>
                  <a:gd name="T98" fmla="*/ 336 w 2535"/>
                  <a:gd name="T99" fmla="*/ 409 h 3540"/>
                  <a:gd name="T100" fmla="*/ 570 w 2535"/>
                  <a:gd name="T101" fmla="*/ 209 h 3540"/>
                  <a:gd name="T102" fmla="*/ 848 w 2535"/>
                  <a:gd name="T103" fmla="*/ 71 h 3540"/>
                  <a:gd name="T104" fmla="*/ 1157 w 2535"/>
                  <a:gd name="T105" fmla="*/ 4 h 3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35" h="3540">
                    <a:moveTo>
                      <a:pt x="1268" y="477"/>
                    </a:moveTo>
                    <a:lnTo>
                      <a:pt x="1184" y="481"/>
                    </a:lnTo>
                    <a:lnTo>
                      <a:pt x="1102" y="494"/>
                    </a:lnTo>
                    <a:lnTo>
                      <a:pt x="1024" y="516"/>
                    </a:lnTo>
                    <a:lnTo>
                      <a:pt x="948" y="545"/>
                    </a:lnTo>
                    <a:lnTo>
                      <a:pt x="877" y="583"/>
                    </a:lnTo>
                    <a:lnTo>
                      <a:pt x="810" y="627"/>
                    </a:lnTo>
                    <a:lnTo>
                      <a:pt x="749" y="676"/>
                    </a:lnTo>
                    <a:lnTo>
                      <a:pt x="693" y="733"/>
                    </a:lnTo>
                    <a:lnTo>
                      <a:pt x="643" y="794"/>
                    </a:lnTo>
                    <a:lnTo>
                      <a:pt x="599" y="861"/>
                    </a:lnTo>
                    <a:lnTo>
                      <a:pt x="563" y="931"/>
                    </a:lnTo>
                    <a:lnTo>
                      <a:pt x="533" y="1006"/>
                    </a:lnTo>
                    <a:lnTo>
                      <a:pt x="512" y="1085"/>
                    </a:lnTo>
                    <a:lnTo>
                      <a:pt x="499" y="1166"/>
                    </a:lnTo>
                    <a:lnTo>
                      <a:pt x="493" y="1251"/>
                    </a:lnTo>
                    <a:lnTo>
                      <a:pt x="499" y="1335"/>
                    </a:lnTo>
                    <a:lnTo>
                      <a:pt x="512" y="1417"/>
                    </a:lnTo>
                    <a:lnTo>
                      <a:pt x="533" y="1495"/>
                    </a:lnTo>
                    <a:lnTo>
                      <a:pt x="563" y="1571"/>
                    </a:lnTo>
                    <a:lnTo>
                      <a:pt x="599" y="1641"/>
                    </a:lnTo>
                    <a:lnTo>
                      <a:pt x="643" y="1708"/>
                    </a:lnTo>
                    <a:lnTo>
                      <a:pt x="693" y="1769"/>
                    </a:lnTo>
                    <a:lnTo>
                      <a:pt x="749" y="1825"/>
                    </a:lnTo>
                    <a:lnTo>
                      <a:pt x="810" y="1875"/>
                    </a:lnTo>
                    <a:lnTo>
                      <a:pt x="877" y="1920"/>
                    </a:lnTo>
                    <a:lnTo>
                      <a:pt x="948" y="1956"/>
                    </a:lnTo>
                    <a:lnTo>
                      <a:pt x="1024" y="1985"/>
                    </a:lnTo>
                    <a:lnTo>
                      <a:pt x="1102" y="2007"/>
                    </a:lnTo>
                    <a:lnTo>
                      <a:pt x="1184" y="2020"/>
                    </a:lnTo>
                    <a:lnTo>
                      <a:pt x="1268" y="2025"/>
                    </a:lnTo>
                    <a:lnTo>
                      <a:pt x="1351" y="2020"/>
                    </a:lnTo>
                    <a:lnTo>
                      <a:pt x="1434" y="2007"/>
                    </a:lnTo>
                    <a:lnTo>
                      <a:pt x="1512" y="1985"/>
                    </a:lnTo>
                    <a:lnTo>
                      <a:pt x="1587" y="1956"/>
                    </a:lnTo>
                    <a:lnTo>
                      <a:pt x="1658" y="1920"/>
                    </a:lnTo>
                    <a:lnTo>
                      <a:pt x="1725" y="1875"/>
                    </a:lnTo>
                    <a:lnTo>
                      <a:pt x="1786" y="1825"/>
                    </a:lnTo>
                    <a:lnTo>
                      <a:pt x="1843" y="1769"/>
                    </a:lnTo>
                    <a:lnTo>
                      <a:pt x="1892" y="1708"/>
                    </a:lnTo>
                    <a:lnTo>
                      <a:pt x="1936" y="1641"/>
                    </a:lnTo>
                    <a:lnTo>
                      <a:pt x="1972" y="1571"/>
                    </a:lnTo>
                    <a:lnTo>
                      <a:pt x="2003" y="1495"/>
                    </a:lnTo>
                    <a:lnTo>
                      <a:pt x="2023" y="1417"/>
                    </a:lnTo>
                    <a:lnTo>
                      <a:pt x="2037" y="1335"/>
                    </a:lnTo>
                    <a:lnTo>
                      <a:pt x="2042" y="1251"/>
                    </a:lnTo>
                    <a:lnTo>
                      <a:pt x="2037" y="1166"/>
                    </a:lnTo>
                    <a:lnTo>
                      <a:pt x="2023" y="1085"/>
                    </a:lnTo>
                    <a:lnTo>
                      <a:pt x="2003" y="1006"/>
                    </a:lnTo>
                    <a:lnTo>
                      <a:pt x="1972" y="931"/>
                    </a:lnTo>
                    <a:lnTo>
                      <a:pt x="1936" y="861"/>
                    </a:lnTo>
                    <a:lnTo>
                      <a:pt x="1892" y="794"/>
                    </a:lnTo>
                    <a:lnTo>
                      <a:pt x="1843" y="733"/>
                    </a:lnTo>
                    <a:lnTo>
                      <a:pt x="1786" y="676"/>
                    </a:lnTo>
                    <a:lnTo>
                      <a:pt x="1725" y="627"/>
                    </a:lnTo>
                    <a:lnTo>
                      <a:pt x="1658" y="583"/>
                    </a:lnTo>
                    <a:lnTo>
                      <a:pt x="1587" y="545"/>
                    </a:lnTo>
                    <a:lnTo>
                      <a:pt x="1512" y="516"/>
                    </a:lnTo>
                    <a:lnTo>
                      <a:pt x="1434" y="494"/>
                    </a:lnTo>
                    <a:lnTo>
                      <a:pt x="1351" y="481"/>
                    </a:lnTo>
                    <a:lnTo>
                      <a:pt x="1268" y="477"/>
                    </a:lnTo>
                    <a:close/>
                    <a:moveTo>
                      <a:pt x="1268" y="0"/>
                    </a:moveTo>
                    <a:lnTo>
                      <a:pt x="1377" y="4"/>
                    </a:lnTo>
                    <a:lnTo>
                      <a:pt x="1483" y="17"/>
                    </a:lnTo>
                    <a:lnTo>
                      <a:pt x="1587" y="41"/>
                    </a:lnTo>
                    <a:lnTo>
                      <a:pt x="1687" y="71"/>
                    </a:lnTo>
                    <a:lnTo>
                      <a:pt x="1784" y="110"/>
                    </a:lnTo>
                    <a:lnTo>
                      <a:pt x="1877" y="156"/>
                    </a:lnTo>
                    <a:lnTo>
                      <a:pt x="1965" y="209"/>
                    </a:lnTo>
                    <a:lnTo>
                      <a:pt x="2049" y="269"/>
                    </a:lnTo>
                    <a:lnTo>
                      <a:pt x="2126" y="336"/>
                    </a:lnTo>
                    <a:lnTo>
                      <a:pt x="2199" y="409"/>
                    </a:lnTo>
                    <a:lnTo>
                      <a:pt x="2266" y="486"/>
                    </a:lnTo>
                    <a:lnTo>
                      <a:pt x="2325" y="570"/>
                    </a:lnTo>
                    <a:lnTo>
                      <a:pt x="2379" y="657"/>
                    </a:lnTo>
                    <a:lnTo>
                      <a:pt x="2424" y="750"/>
                    </a:lnTo>
                    <a:lnTo>
                      <a:pt x="2464" y="848"/>
                    </a:lnTo>
                    <a:lnTo>
                      <a:pt x="2494" y="948"/>
                    </a:lnTo>
                    <a:lnTo>
                      <a:pt x="2517" y="1052"/>
                    </a:lnTo>
                    <a:lnTo>
                      <a:pt x="2531" y="1158"/>
                    </a:lnTo>
                    <a:lnTo>
                      <a:pt x="2535" y="1267"/>
                    </a:lnTo>
                    <a:lnTo>
                      <a:pt x="2531" y="1376"/>
                    </a:lnTo>
                    <a:lnTo>
                      <a:pt x="2517" y="1485"/>
                    </a:lnTo>
                    <a:lnTo>
                      <a:pt x="2497" y="1594"/>
                    </a:lnTo>
                    <a:lnTo>
                      <a:pt x="2469" y="1705"/>
                    </a:lnTo>
                    <a:lnTo>
                      <a:pt x="2435" y="1815"/>
                    </a:lnTo>
                    <a:lnTo>
                      <a:pt x="2395" y="1924"/>
                    </a:lnTo>
                    <a:lnTo>
                      <a:pt x="2350" y="2033"/>
                    </a:lnTo>
                    <a:lnTo>
                      <a:pt x="2301" y="2140"/>
                    </a:lnTo>
                    <a:lnTo>
                      <a:pt x="2248" y="2246"/>
                    </a:lnTo>
                    <a:lnTo>
                      <a:pt x="2193" y="2349"/>
                    </a:lnTo>
                    <a:lnTo>
                      <a:pt x="2135" y="2448"/>
                    </a:lnTo>
                    <a:lnTo>
                      <a:pt x="2075" y="2545"/>
                    </a:lnTo>
                    <a:lnTo>
                      <a:pt x="2016" y="2638"/>
                    </a:lnTo>
                    <a:lnTo>
                      <a:pt x="1957" y="2727"/>
                    </a:lnTo>
                    <a:lnTo>
                      <a:pt x="1898" y="2812"/>
                    </a:lnTo>
                    <a:lnTo>
                      <a:pt x="1841" y="2892"/>
                    </a:lnTo>
                    <a:lnTo>
                      <a:pt x="1783" y="2969"/>
                    </a:lnTo>
                    <a:lnTo>
                      <a:pt x="1726" y="3041"/>
                    </a:lnTo>
                    <a:lnTo>
                      <a:pt x="1671" y="3111"/>
                    </a:lnTo>
                    <a:lnTo>
                      <a:pt x="1619" y="3178"/>
                    </a:lnTo>
                    <a:lnTo>
                      <a:pt x="1566" y="3241"/>
                    </a:lnTo>
                    <a:lnTo>
                      <a:pt x="1517" y="3297"/>
                    </a:lnTo>
                    <a:lnTo>
                      <a:pt x="1470" y="3351"/>
                    </a:lnTo>
                    <a:lnTo>
                      <a:pt x="1428" y="3401"/>
                    </a:lnTo>
                    <a:lnTo>
                      <a:pt x="1387" y="3444"/>
                    </a:lnTo>
                    <a:lnTo>
                      <a:pt x="1352" y="3484"/>
                    </a:lnTo>
                    <a:lnTo>
                      <a:pt x="1320" y="3517"/>
                    </a:lnTo>
                    <a:lnTo>
                      <a:pt x="1304" y="3530"/>
                    </a:lnTo>
                    <a:lnTo>
                      <a:pt x="1287" y="3537"/>
                    </a:lnTo>
                    <a:lnTo>
                      <a:pt x="1268" y="3540"/>
                    </a:lnTo>
                    <a:lnTo>
                      <a:pt x="1248" y="3537"/>
                    </a:lnTo>
                    <a:lnTo>
                      <a:pt x="1230" y="3530"/>
                    </a:lnTo>
                    <a:lnTo>
                      <a:pt x="1214" y="3517"/>
                    </a:lnTo>
                    <a:lnTo>
                      <a:pt x="1184" y="3484"/>
                    </a:lnTo>
                    <a:lnTo>
                      <a:pt x="1147" y="3444"/>
                    </a:lnTo>
                    <a:lnTo>
                      <a:pt x="1108" y="3401"/>
                    </a:lnTo>
                    <a:lnTo>
                      <a:pt x="1064" y="3353"/>
                    </a:lnTo>
                    <a:lnTo>
                      <a:pt x="1018" y="3299"/>
                    </a:lnTo>
                    <a:lnTo>
                      <a:pt x="968" y="3241"/>
                    </a:lnTo>
                    <a:lnTo>
                      <a:pt x="917" y="3178"/>
                    </a:lnTo>
                    <a:lnTo>
                      <a:pt x="864" y="3113"/>
                    </a:lnTo>
                    <a:lnTo>
                      <a:pt x="808" y="3043"/>
                    </a:lnTo>
                    <a:lnTo>
                      <a:pt x="752" y="2969"/>
                    </a:lnTo>
                    <a:lnTo>
                      <a:pt x="695" y="2893"/>
                    </a:lnTo>
                    <a:lnTo>
                      <a:pt x="638" y="2813"/>
                    </a:lnTo>
                    <a:lnTo>
                      <a:pt x="579" y="2729"/>
                    </a:lnTo>
                    <a:lnTo>
                      <a:pt x="519" y="2640"/>
                    </a:lnTo>
                    <a:lnTo>
                      <a:pt x="459" y="2547"/>
                    </a:lnTo>
                    <a:lnTo>
                      <a:pt x="401" y="2449"/>
                    </a:lnTo>
                    <a:lnTo>
                      <a:pt x="343" y="2349"/>
                    </a:lnTo>
                    <a:lnTo>
                      <a:pt x="288" y="2246"/>
                    </a:lnTo>
                    <a:lnTo>
                      <a:pt x="234" y="2141"/>
                    </a:lnTo>
                    <a:lnTo>
                      <a:pt x="186" y="2033"/>
                    </a:lnTo>
                    <a:lnTo>
                      <a:pt x="141" y="1924"/>
                    </a:lnTo>
                    <a:lnTo>
                      <a:pt x="100" y="1815"/>
                    </a:lnTo>
                    <a:lnTo>
                      <a:pt x="67" y="1705"/>
                    </a:lnTo>
                    <a:lnTo>
                      <a:pt x="37" y="1594"/>
                    </a:lnTo>
                    <a:lnTo>
                      <a:pt x="17" y="1485"/>
                    </a:lnTo>
                    <a:lnTo>
                      <a:pt x="4" y="1376"/>
                    </a:lnTo>
                    <a:lnTo>
                      <a:pt x="0" y="1267"/>
                    </a:lnTo>
                    <a:lnTo>
                      <a:pt x="4" y="1158"/>
                    </a:lnTo>
                    <a:lnTo>
                      <a:pt x="19" y="1052"/>
                    </a:lnTo>
                    <a:lnTo>
                      <a:pt x="40" y="948"/>
                    </a:lnTo>
                    <a:lnTo>
                      <a:pt x="71" y="848"/>
                    </a:lnTo>
                    <a:lnTo>
                      <a:pt x="110" y="750"/>
                    </a:lnTo>
                    <a:lnTo>
                      <a:pt x="155" y="657"/>
                    </a:lnTo>
                    <a:lnTo>
                      <a:pt x="209" y="570"/>
                    </a:lnTo>
                    <a:lnTo>
                      <a:pt x="269" y="486"/>
                    </a:lnTo>
                    <a:lnTo>
                      <a:pt x="336" y="409"/>
                    </a:lnTo>
                    <a:lnTo>
                      <a:pt x="408" y="336"/>
                    </a:lnTo>
                    <a:lnTo>
                      <a:pt x="487" y="269"/>
                    </a:lnTo>
                    <a:lnTo>
                      <a:pt x="570" y="209"/>
                    </a:lnTo>
                    <a:lnTo>
                      <a:pt x="659" y="156"/>
                    </a:lnTo>
                    <a:lnTo>
                      <a:pt x="750" y="110"/>
                    </a:lnTo>
                    <a:lnTo>
                      <a:pt x="848" y="71"/>
                    </a:lnTo>
                    <a:lnTo>
                      <a:pt x="948" y="41"/>
                    </a:lnTo>
                    <a:lnTo>
                      <a:pt x="1051" y="17"/>
                    </a:lnTo>
                    <a:lnTo>
                      <a:pt x="1157" y="4"/>
                    </a:lnTo>
                    <a:lnTo>
                      <a:pt x="12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51" name="Group 150"/>
          <p:cNvGrpSpPr/>
          <p:nvPr/>
        </p:nvGrpSpPr>
        <p:grpSpPr>
          <a:xfrm>
            <a:off x="148422" y="3742821"/>
            <a:ext cx="727019" cy="533587"/>
            <a:chOff x="148422" y="3578812"/>
            <a:chExt cx="727019" cy="533587"/>
          </a:xfrm>
        </p:grpSpPr>
        <p:sp>
          <p:nvSpPr>
            <p:cNvPr id="152" name="Rectangle 17"/>
            <p:cNvSpPr>
              <a:spLocks/>
            </p:cNvSpPr>
            <p:nvPr/>
          </p:nvSpPr>
          <p:spPr bwMode="auto">
            <a:xfrm>
              <a:off x="148422" y="3835400"/>
              <a:ext cx="7270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Социальные сети</a:t>
              </a:r>
            </a:p>
          </p:txBody>
        </p:sp>
        <p:grpSp>
          <p:nvGrpSpPr>
            <p:cNvPr id="153" name="Group 16"/>
            <p:cNvGrpSpPr>
              <a:grpSpLocks noChangeAspect="1"/>
            </p:cNvGrpSpPr>
            <p:nvPr/>
          </p:nvGrpSpPr>
          <p:grpSpPr bwMode="auto">
            <a:xfrm>
              <a:off x="389395" y="3578812"/>
              <a:ext cx="259829" cy="259829"/>
              <a:chOff x="-783" y="2303"/>
              <a:chExt cx="491" cy="491"/>
            </a:xfrm>
            <a:solidFill>
              <a:schemeClr val="bg1"/>
            </a:solidFill>
          </p:grpSpPr>
          <p:sp>
            <p:nvSpPr>
              <p:cNvPr id="154" name="Freeform 18"/>
              <p:cNvSpPr>
                <a:spLocks/>
              </p:cNvSpPr>
              <p:nvPr/>
            </p:nvSpPr>
            <p:spPr bwMode="auto">
              <a:xfrm>
                <a:off x="-415" y="2395"/>
                <a:ext cx="36" cy="29"/>
              </a:xfrm>
              <a:custGeom>
                <a:avLst/>
                <a:gdLst>
                  <a:gd name="T0" fmla="*/ 131 w 252"/>
                  <a:gd name="T1" fmla="*/ 0 h 201"/>
                  <a:gd name="T2" fmla="*/ 146 w 252"/>
                  <a:gd name="T3" fmla="*/ 2 h 201"/>
                  <a:gd name="T4" fmla="*/ 160 w 252"/>
                  <a:gd name="T5" fmla="*/ 5 h 201"/>
                  <a:gd name="T6" fmla="*/ 173 w 252"/>
                  <a:gd name="T7" fmla="*/ 9 h 201"/>
                  <a:gd name="T8" fmla="*/ 181 w 252"/>
                  <a:gd name="T9" fmla="*/ 10 h 201"/>
                  <a:gd name="T10" fmla="*/ 199 w 252"/>
                  <a:gd name="T11" fmla="*/ 22 h 201"/>
                  <a:gd name="T12" fmla="*/ 217 w 252"/>
                  <a:gd name="T13" fmla="*/ 35 h 201"/>
                  <a:gd name="T14" fmla="*/ 232 w 252"/>
                  <a:gd name="T15" fmla="*/ 48 h 201"/>
                  <a:gd name="T16" fmla="*/ 244 w 252"/>
                  <a:gd name="T17" fmla="*/ 63 h 201"/>
                  <a:gd name="T18" fmla="*/ 252 w 252"/>
                  <a:gd name="T19" fmla="*/ 80 h 201"/>
                  <a:gd name="T20" fmla="*/ 252 w 252"/>
                  <a:gd name="T21" fmla="*/ 101 h 201"/>
                  <a:gd name="T22" fmla="*/ 251 w 252"/>
                  <a:gd name="T23" fmla="*/ 120 h 201"/>
                  <a:gd name="T24" fmla="*/ 247 w 252"/>
                  <a:gd name="T25" fmla="*/ 137 h 201"/>
                  <a:gd name="T26" fmla="*/ 240 w 252"/>
                  <a:gd name="T27" fmla="*/ 153 h 201"/>
                  <a:gd name="T28" fmla="*/ 231 w 252"/>
                  <a:gd name="T29" fmla="*/ 167 h 201"/>
                  <a:gd name="T30" fmla="*/ 217 w 252"/>
                  <a:gd name="T31" fmla="*/ 179 h 201"/>
                  <a:gd name="T32" fmla="*/ 199 w 252"/>
                  <a:gd name="T33" fmla="*/ 188 h 201"/>
                  <a:gd name="T34" fmla="*/ 178 w 252"/>
                  <a:gd name="T35" fmla="*/ 195 h 201"/>
                  <a:gd name="T36" fmla="*/ 152 w 252"/>
                  <a:gd name="T37" fmla="*/ 199 h 201"/>
                  <a:gd name="T38" fmla="*/ 121 w 252"/>
                  <a:gd name="T39" fmla="*/ 201 h 201"/>
                  <a:gd name="T40" fmla="*/ 95 w 252"/>
                  <a:gd name="T41" fmla="*/ 199 h 201"/>
                  <a:gd name="T42" fmla="*/ 73 w 252"/>
                  <a:gd name="T43" fmla="*/ 192 h 201"/>
                  <a:gd name="T44" fmla="*/ 51 w 252"/>
                  <a:gd name="T45" fmla="*/ 182 h 201"/>
                  <a:gd name="T46" fmla="*/ 34 w 252"/>
                  <a:gd name="T47" fmla="*/ 169 h 201"/>
                  <a:gd name="T48" fmla="*/ 19 w 252"/>
                  <a:gd name="T49" fmla="*/ 154 h 201"/>
                  <a:gd name="T50" fmla="*/ 9 w 252"/>
                  <a:gd name="T51" fmla="*/ 137 h 201"/>
                  <a:gd name="T52" fmla="*/ 2 w 252"/>
                  <a:gd name="T53" fmla="*/ 119 h 201"/>
                  <a:gd name="T54" fmla="*/ 0 w 252"/>
                  <a:gd name="T55" fmla="*/ 101 h 201"/>
                  <a:gd name="T56" fmla="*/ 3 w 252"/>
                  <a:gd name="T57" fmla="*/ 79 h 201"/>
                  <a:gd name="T58" fmla="*/ 11 w 252"/>
                  <a:gd name="T59" fmla="*/ 60 h 201"/>
                  <a:gd name="T60" fmla="*/ 22 w 252"/>
                  <a:gd name="T61" fmla="*/ 43 h 201"/>
                  <a:gd name="T62" fmla="*/ 40 w 252"/>
                  <a:gd name="T63" fmla="*/ 28 h 201"/>
                  <a:gd name="T64" fmla="*/ 59 w 252"/>
                  <a:gd name="T65" fmla="*/ 16 h 201"/>
                  <a:gd name="T66" fmla="*/ 80 w 252"/>
                  <a:gd name="T67" fmla="*/ 7 h 201"/>
                  <a:gd name="T68" fmla="*/ 105 w 252"/>
                  <a:gd name="T69" fmla="*/ 2 h 201"/>
                  <a:gd name="T70" fmla="*/ 131 w 252"/>
                  <a:gd name="T71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52" h="201">
                    <a:moveTo>
                      <a:pt x="131" y="0"/>
                    </a:moveTo>
                    <a:lnTo>
                      <a:pt x="146" y="2"/>
                    </a:lnTo>
                    <a:lnTo>
                      <a:pt x="160" y="5"/>
                    </a:lnTo>
                    <a:lnTo>
                      <a:pt x="173" y="9"/>
                    </a:lnTo>
                    <a:lnTo>
                      <a:pt x="181" y="10"/>
                    </a:lnTo>
                    <a:lnTo>
                      <a:pt x="199" y="22"/>
                    </a:lnTo>
                    <a:lnTo>
                      <a:pt x="217" y="35"/>
                    </a:lnTo>
                    <a:lnTo>
                      <a:pt x="232" y="48"/>
                    </a:lnTo>
                    <a:lnTo>
                      <a:pt x="244" y="63"/>
                    </a:lnTo>
                    <a:lnTo>
                      <a:pt x="252" y="80"/>
                    </a:lnTo>
                    <a:lnTo>
                      <a:pt x="252" y="101"/>
                    </a:lnTo>
                    <a:lnTo>
                      <a:pt x="251" y="120"/>
                    </a:lnTo>
                    <a:lnTo>
                      <a:pt x="247" y="137"/>
                    </a:lnTo>
                    <a:lnTo>
                      <a:pt x="240" y="153"/>
                    </a:lnTo>
                    <a:lnTo>
                      <a:pt x="231" y="167"/>
                    </a:lnTo>
                    <a:lnTo>
                      <a:pt x="217" y="179"/>
                    </a:lnTo>
                    <a:lnTo>
                      <a:pt x="199" y="188"/>
                    </a:lnTo>
                    <a:lnTo>
                      <a:pt x="178" y="195"/>
                    </a:lnTo>
                    <a:lnTo>
                      <a:pt x="152" y="199"/>
                    </a:lnTo>
                    <a:lnTo>
                      <a:pt x="121" y="201"/>
                    </a:lnTo>
                    <a:lnTo>
                      <a:pt x="95" y="199"/>
                    </a:lnTo>
                    <a:lnTo>
                      <a:pt x="73" y="192"/>
                    </a:lnTo>
                    <a:lnTo>
                      <a:pt x="51" y="182"/>
                    </a:lnTo>
                    <a:lnTo>
                      <a:pt x="34" y="169"/>
                    </a:lnTo>
                    <a:lnTo>
                      <a:pt x="19" y="154"/>
                    </a:lnTo>
                    <a:lnTo>
                      <a:pt x="9" y="137"/>
                    </a:lnTo>
                    <a:lnTo>
                      <a:pt x="2" y="119"/>
                    </a:lnTo>
                    <a:lnTo>
                      <a:pt x="0" y="101"/>
                    </a:lnTo>
                    <a:lnTo>
                      <a:pt x="3" y="79"/>
                    </a:lnTo>
                    <a:lnTo>
                      <a:pt x="11" y="60"/>
                    </a:lnTo>
                    <a:lnTo>
                      <a:pt x="22" y="43"/>
                    </a:lnTo>
                    <a:lnTo>
                      <a:pt x="40" y="28"/>
                    </a:lnTo>
                    <a:lnTo>
                      <a:pt x="59" y="16"/>
                    </a:lnTo>
                    <a:lnTo>
                      <a:pt x="80" y="7"/>
                    </a:lnTo>
                    <a:lnTo>
                      <a:pt x="105" y="2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5" name="Freeform 19"/>
              <p:cNvSpPr>
                <a:spLocks/>
              </p:cNvSpPr>
              <p:nvPr/>
            </p:nvSpPr>
            <p:spPr bwMode="auto">
              <a:xfrm>
                <a:off x="-409" y="2347"/>
                <a:ext cx="25" cy="31"/>
              </a:xfrm>
              <a:custGeom>
                <a:avLst/>
                <a:gdLst>
                  <a:gd name="T0" fmla="*/ 73 w 175"/>
                  <a:gd name="T1" fmla="*/ 0 h 220"/>
                  <a:gd name="T2" fmla="*/ 94 w 175"/>
                  <a:gd name="T3" fmla="*/ 3 h 220"/>
                  <a:gd name="T4" fmla="*/ 113 w 175"/>
                  <a:gd name="T5" fmla="*/ 11 h 220"/>
                  <a:gd name="T6" fmla="*/ 130 w 175"/>
                  <a:gd name="T7" fmla="*/ 25 h 220"/>
                  <a:gd name="T8" fmla="*/ 145 w 175"/>
                  <a:gd name="T9" fmla="*/ 42 h 220"/>
                  <a:gd name="T10" fmla="*/ 158 w 175"/>
                  <a:gd name="T11" fmla="*/ 62 h 220"/>
                  <a:gd name="T12" fmla="*/ 168 w 175"/>
                  <a:gd name="T13" fmla="*/ 85 h 220"/>
                  <a:gd name="T14" fmla="*/ 173 w 175"/>
                  <a:gd name="T15" fmla="*/ 110 h 220"/>
                  <a:gd name="T16" fmla="*/ 175 w 175"/>
                  <a:gd name="T17" fmla="*/ 136 h 220"/>
                  <a:gd name="T18" fmla="*/ 171 w 175"/>
                  <a:gd name="T19" fmla="*/ 158 h 220"/>
                  <a:gd name="T20" fmla="*/ 163 w 175"/>
                  <a:gd name="T21" fmla="*/ 179 h 220"/>
                  <a:gd name="T22" fmla="*/ 151 w 175"/>
                  <a:gd name="T23" fmla="*/ 196 h 220"/>
                  <a:gd name="T24" fmla="*/ 137 w 175"/>
                  <a:gd name="T25" fmla="*/ 210 h 220"/>
                  <a:gd name="T26" fmla="*/ 121 w 175"/>
                  <a:gd name="T27" fmla="*/ 218 h 220"/>
                  <a:gd name="T28" fmla="*/ 104 w 175"/>
                  <a:gd name="T29" fmla="*/ 220 h 220"/>
                  <a:gd name="T30" fmla="*/ 82 w 175"/>
                  <a:gd name="T31" fmla="*/ 218 h 220"/>
                  <a:gd name="T32" fmla="*/ 63 w 175"/>
                  <a:gd name="T33" fmla="*/ 210 h 220"/>
                  <a:gd name="T34" fmla="*/ 46 w 175"/>
                  <a:gd name="T35" fmla="*/ 196 h 220"/>
                  <a:gd name="T36" fmla="*/ 31 w 175"/>
                  <a:gd name="T37" fmla="*/ 179 h 220"/>
                  <a:gd name="T38" fmla="*/ 18 w 175"/>
                  <a:gd name="T39" fmla="*/ 158 h 220"/>
                  <a:gd name="T40" fmla="*/ 9 w 175"/>
                  <a:gd name="T41" fmla="*/ 136 h 220"/>
                  <a:gd name="T42" fmla="*/ 3 w 175"/>
                  <a:gd name="T43" fmla="*/ 110 h 220"/>
                  <a:gd name="T44" fmla="*/ 0 w 175"/>
                  <a:gd name="T45" fmla="*/ 89 h 220"/>
                  <a:gd name="T46" fmla="*/ 2 w 175"/>
                  <a:gd name="T47" fmla="*/ 67 h 220"/>
                  <a:gd name="T48" fmla="*/ 7 w 175"/>
                  <a:gd name="T49" fmla="*/ 49 h 220"/>
                  <a:gd name="T50" fmla="*/ 14 w 175"/>
                  <a:gd name="T51" fmla="*/ 32 h 220"/>
                  <a:gd name="T52" fmla="*/ 26 w 175"/>
                  <a:gd name="T53" fmla="*/ 19 h 220"/>
                  <a:gd name="T54" fmla="*/ 39 w 175"/>
                  <a:gd name="T55" fmla="*/ 9 h 220"/>
                  <a:gd name="T56" fmla="*/ 55 w 175"/>
                  <a:gd name="T57" fmla="*/ 2 h 220"/>
                  <a:gd name="T58" fmla="*/ 73 w 175"/>
                  <a:gd name="T59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75" h="220">
                    <a:moveTo>
                      <a:pt x="73" y="0"/>
                    </a:moveTo>
                    <a:lnTo>
                      <a:pt x="94" y="3"/>
                    </a:lnTo>
                    <a:lnTo>
                      <a:pt x="113" y="11"/>
                    </a:lnTo>
                    <a:lnTo>
                      <a:pt x="130" y="25"/>
                    </a:lnTo>
                    <a:lnTo>
                      <a:pt x="145" y="42"/>
                    </a:lnTo>
                    <a:lnTo>
                      <a:pt x="158" y="62"/>
                    </a:lnTo>
                    <a:lnTo>
                      <a:pt x="168" y="85"/>
                    </a:lnTo>
                    <a:lnTo>
                      <a:pt x="173" y="110"/>
                    </a:lnTo>
                    <a:lnTo>
                      <a:pt x="175" y="136"/>
                    </a:lnTo>
                    <a:lnTo>
                      <a:pt x="171" y="158"/>
                    </a:lnTo>
                    <a:lnTo>
                      <a:pt x="163" y="179"/>
                    </a:lnTo>
                    <a:lnTo>
                      <a:pt x="151" y="196"/>
                    </a:lnTo>
                    <a:lnTo>
                      <a:pt x="137" y="210"/>
                    </a:lnTo>
                    <a:lnTo>
                      <a:pt x="121" y="218"/>
                    </a:lnTo>
                    <a:lnTo>
                      <a:pt x="104" y="220"/>
                    </a:lnTo>
                    <a:lnTo>
                      <a:pt x="82" y="218"/>
                    </a:lnTo>
                    <a:lnTo>
                      <a:pt x="63" y="210"/>
                    </a:lnTo>
                    <a:lnTo>
                      <a:pt x="46" y="196"/>
                    </a:lnTo>
                    <a:lnTo>
                      <a:pt x="31" y="179"/>
                    </a:lnTo>
                    <a:lnTo>
                      <a:pt x="18" y="158"/>
                    </a:lnTo>
                    <a:lnTo>
                      <a:pt x="9" y="136"/>
                    </a:lnTo>
                    <a:lnTo>
                      <a:pt x="3" y="110"/>
                    </a:lnTo>
                    <a:lnTo>
                      <a:pt x="0" y="89"/>
                    </a:lnTo>
                    <a:lnTo>
                      <a:pt x="2" y="67"/>
                    </a:lnTo>
                    <a:lnTo>
                      <a:pt x="7" y="49"/>
                    </a:lnTo>
                    <a:lnTo>
                      <a:pt x="14" y="32"/>
                    </a:lnTo>
                    <a:lnTo>
                      <a:pt x="26" y="19"/>
                    </a:lnTo>
                    <a:lnTo>
                      <a:pt x="39" y="9"/>
                    </a:lnTo>
                    <a:lnTo>
                      <a:pt x="55" y="2"/>
                    </a:lnTo>
                    <a:lnTo>
                      <a:pt x="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6" name="Freeform 20"/>
              <p:cNvSpPr>
                <a:spLocks noEditPoints="1"/>
              </p:cNvSpPr>
              <p:nvPr/>
            </p:nvSpPr>
            <p:spPr bwMode="auto">
              <a:xfrm>
                <a:off x="-461" y="2303"/>
                <a:ext cx="167" cy="167"/>
              </a:xfrm>
              <a:custGeom>
                <a:avLst/>
                <a:gdLst>
                  <a:gd name="T0" fmla="*/ 394 w 1169"/>
                  <a:gd name="T1" fmla="*/ 292 h 1165"/>
                  <a:gd name="T2" fmla="*/ 322 w 1169"/>
                  <a:gd name="T3" fmla="*/ 340 h 1165"/>
                  <a:gd name="T4" fmla="*/ 292 w 1169"/>
                  <a:gd name="T5" fmla="*/ 412 h 1165"/>
                  <a:gd name="T6" fmla="*/ 315 w 1169"/>
                  <a:gd name="T7" fmla="*/ 485 h 1165"/>
                  <a:gd name="T8" fmla="*/ 377 w 1169"/>
                  <a:gd name="T9" fmla="*/ 532 h 1165"/>
                  <a:gd name="T10" fmla="*/ 453 w 1169"/>
                  <a:gd name="T11" fmla="*/ 543 h 1165"/>
                  <a:gd name="T12" fmla="*/ 443 w 1169"/>
                  <a:gd name="T13" fmla="*/ 572 h 1165"/>
                  <a:gd name="T14" fmla="*/ 452 w 1169"/>
                  <a:gd name="T15" fmla="*/ 623 h 1165"/>
                  <a:gd name="T16" fmla="*/ 386 w 1169"/>
                  <a:gd name="T17" fmla="*/ 646 h 1165"/>
                  <a:gd name="T18" fmla="*/ 294 w 1169"/>
                  <a:gd name="T19" fmla="*/ 681 h 1165"/>
                  <a:gd name="T20" fmla="*/ 245 w 1169"/>
                  <a:gd name="T21" fmla="*/ 748 h 1165"/>
                  <a:gd name="T22" fmla="*/ 252 w 1169"/>
                  <a:gd name="T23" fmla="*/ 812 h 1165"/>
                  <a:gd name="T24" fmla="*/ 299 w 1169"/>
                  <a:gd name="T25" fmla="*/ 855 h 1165"/>
                  <a:gd name="T26" fmla="*/ 374 w 1169"/>
                  <a:gd name="T27" fmla="*/ 879 h 1165"/>
                  <a:gd name="T28" fmla="*/ 468 w 1169"/>
                  <a:gd name="T29" fmla="*/ 882 h 1165"/>
                  <a:gd name="T30" fmla="*/ 549 w 1169"/>
                  <a:gd name="T31" fmla="*/ 858 h 1165"/>
                  <a:gd name="T32" fmla="*/ 598 w 1169"/>
                  <a:gd name="T33" fmla="*/ 813 h 1165"/>
                  <a:gd name="T34" fmla="*/ 614 w 1169"/>
                  <a:gd name="T35" fmla="*/ 753 h 1165"/>
                  <a:gd name="T36" fmla="*/ 603 w 1169"/>
                  <a:gd name="T37" fmla="*/ 686 h 1165"/>
                  <a:gd name="T38" fmla="*/ 554 w 1169"/>
                  <a:gd name="T39" fmla="*/ 633 h 1165"/>
                  <a:gd name="T40" fmla="*/ 521 w 1169"/>
                  <a:gd name="T41" fmla="*/ 607 h 1165"/>
                  <a:gd name="T42" fmla="*/ 503 w 1169"/>
                  <a:gd name="T43" fmla="*/ 572 h 1165"/>
                  <a:gd name="T44" fmla="*/ 516 w 1169"/>
                  <a:gd name="T45" fmla="*/ 544 h 1165"/>
                  <a:gd name="T46" fmla="*/ 560 w 1169"/>
                  <a:gd name="T47" fmla="*/ 504 h 1165"/>
                  <a:gd name="T48" fmla="*/ 592 w 1169"/>
                  <a:gd name="T49" fmla="*/ 445 h 1165"/>
                  <a:gd name="T50" fmla="*/ 589 w 1169"/>
                  <a:gd name="T51" fmla="*/ 380 h 1165"/>
                  <a:gd name="T52" fmla="*/ 563 w 1169"/>
                  <a:gd name="T53" fmla="*/ 330 h 1165"/>
                  <a:gd name="T54" fmla="*/ 594 w 1169"/>
                  <a:gd name="T55" fmla="*/ 312 h 1165"/>
                  <a:gd name="T56" fmla="*/ 806 w 1169"/>
                  <a:gd name="T57" fmla="*/ 272 h 1165"/>
                  <a:gd name="T58" fmla="*/ 694 w 1169"/>
                  <a:gd name="T59" fmla="*/ 423 h 1165"/>
                  <a:gd name="T60" fmla="*/ 846 w 1169"/>
                  <a:gd name="T61" fmla="*/ 533 h 1165"/>
                  <a:gd name="T62" fmla="*/ 956 w 1169"/>
                  <a:gd name="T63" fmla="*/ 382 h 1165"/>
                  <a:gd name="T64" fmla="*/ 806 w 1169"/>
                  <a:gd name="T65" fmla="*/ 272 h 1165"/>
                  <a:gd name="T66" fmla="*/ 725 w 1169"/>
                  <a:gd name="T67" fmla="*/ 13 h 1165"/>
                  <a:gd name="T68" fmla="*/ 890 w 1169"/>
                  <a:gd name="T69" fmla="*/ 77 h 1165"/>
                  <a:gd name="T70" fmla="*/ 1024 w 1169"/>
                  <a:gd name="T71" fmla="*/ 185 h 1165"/>
                  <a:gd name="T72" fmla="*/ 1118 w 1169"/>
                  <a:gd name="T73" fmla="*/ 331 h 1165"/>
                  <a:gd name="T74" fmla="*/ 1166 w 1169"/>
                  <a:gd name="T75" fmla="*/ 502 h 1165"/>
                  <a:gd name="T76" fmla="*/ 1156 w 1169"/>
                  <a:gd name="T77" fmla="*/ 684 h 1165"/>
                  <a:gd name="T78" fmla="*/ 1092 w 1169"/>
                  <a:gd name="T79" fmla="*/ 847 h 1165"/>
                  <a:gd name="T80" fmla="*/ 983 w 1169"/>
                  <a:gd name="T81" fmla="*/ 980 h 1165"/>
                  <a:gd name="T82" fmla="*/ 837 w 1169"/>
                  <a:gd name="T83" fmla="*/ 1075 h 1165"/>
                  <a:gd name="T84" fmla="*/ 666 w 1169"/>
                  <a:gd name="T85" fmla="*/ 1122 h 1165"/>
                  <a:gd name="T86" fmla="*/ 495 w 1169"/>
                  <a:gd name="T87" fmla="*/ 1113 h 1165"/>
                  <a:gd name="T88" fmla="*/ 342 w 1169"/>
                  <a:gd name="T89" fmla="*/ 1055 h 1165"/>
                  <a:gd name="T90" fmla="*/ 80 w 1169"/>
                  <a:gd name="T91" fmla="*/ 1165 h 1165"/>
                  <a:gd name="T92" fmla="*/ 22 w 1169"/>
                  <a:gd name="T93" fmla="*/ 1107 h 1165"/>
                  <a:gd name="T94" fmla="*/ 143 w 1169"/>
                  <a:gd name="T95" fmla="*/ 879 h 1165"/>
                  <a:gd name="T96" fmla="*/ 75 w 1169"/>
                  <a:gd name="T97" fmla="*/ 757 h 1165"/>
                  <a:gd name="T98" fmla="*/ 43 w 1169"/>
                  <a:gd name="T99" fmla="*/ 614 h 1165"/>
                  <a:gd name="T100" fmla="*/ 53 w 1169"/>
                  <a:gd name="T101" fmla="*/ 442 h 1165"/>
                  <a:gd name="T102" fmla="*/ 117 w 1169"/>
                  <a:gd name="T103" fmla="*/ 278 h 1165"/>
                  <a:gd name="T104" fmla="*/ 226 w 1169"/>
                  <a:gd name="T105" fmla="*/ 145 h 1165"/>
                  <a:gd name="T106" fmla="*/ 371 w 1169"/>
                  <a:gd name="T107" fmla="*/ 51 h 1165"/>
                  <a:gd name="T108" fmla="*/ 543 w 1169"/>
                  <a:gd name="T109" fmla="*/ 4 h 1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69" h="1165">
                    <a:moveTo>
                      <a:pt x="453" y="282"/>
                    </a:moveTo>
                    <a:lnTo>
                      <a:pt x="423" y="285"/>
                    </a:lnTo>
                    <a:lnTo>
                      <a:pt x="394" y="292"/>
                    </a:lnTo>
                    <a:lnTo>
                      <a:pt x="367" y="304"/>
                    </a:lnTo>
                    <a:lnTo>
                      <a:pt x="342" y="320"/>
                    </a:lnTo>
                    <a:lnTo>
                      <a:pt x="322" y="340"/>
                    </a:lnTo>
                    <a:lnTo>
                      <a:pt x="306" y="362"/>
                    </a:lnTo>
                    <a:lnTo>
                      <a:pt x="296" y="386"/>
                    </a:lnTo>
                    <a:lnTo>
                      <a:pt x="292" y="412"/>
                    </a:lnTo>
                    <a:lnTo>
                      <a:pt x="295" y="438"/>
                    </a:lnTo>
                    <a:lnTo>
                      <a:pt x="302" y="462"/>
                    </a:lnTo>
                    <a:lnTo>
                      <a:pt x="315" y="485"/>
                    </a:lnTo>
                    <a:lnTo>
                      <a:pt x="333" y="504"/>
                    </a:lnTo>
                    <a:lnTo>
                      <a:pt x="353" y="520"/>
                    </a:lnTo>
                    <a:lnTo>
                      <a:pt x="377" y="532"/>
                    </a:lnTo>
                    <a:lnTo>
                      <a:pt x="403" y="540"/>
                    </a:lnTo>
                    <a:lnTo>
                      <a:pt x="433" y="543"/>
                    </a:lnTo>
                    <a:lnTo>
                      <a:pt x="453" y="543"/>
                    </a:lnTo>
                    <a:lnTo>
                      <a:pt x="446" y="553"/>
                    </a:lnTo>
                    <a:lnTo>
                      <a:pt x="443" y="563"/>
                    </a:lnTo>
                    <a:lnTo>
                      <a:pt x="443" y="572"/>
                    </a:lnTo>
                    <a:lnTo>
                      <a:pt x="444" y="588"/>
                    </a:lnTo>
                    <a:lnTo>
                      <a:pt x="448" y="605"/>
                    </a:lnTo>
                    <a:lnTo>
                      <a:pt x="452" y="623"/>
                    </a:lnTo>
                    <a:lnTo>
                      <a:pt x="453" y="643"/>
                    </a:lnTo>
                    <a:lnTo>
                      <a:pt x="423" y="643"/>
                    </a:lnTo>
                    <a:lnTo>
                      <a:pt x="386" y="646"/>
                    </a:lnTo>
                    <a:lnTo>
                      <a:pt x="352" y="654"/>
                    </a:lnTo>
                    <a:lnTo>
                      <a:pt x="321" y="665"/>
                    </a:lnTo>
                    <a:lnTo>
                      <a:pt x="294" y="681"/>
                    </a:lnTo>
                    <a:lnTo>
                      <a:pt x="272" y="702"/>
                    </a:lnTo>
                    <a:lnTo>
                      <a:pt x="255" y="723"/>
                    </a:lnTo>
                    <a:lnTo>
                      <a:pt x="245" y="748"/>
                    </a:lnTo>
                    <a:lnTo>
                      <a:pt x="241" y="773"/>
                    </a:lnTo>
                    <a:lnTo>
                      <a:pt x="245" y="794"/>
                    </a:lnTo>
                    <a:lnTo>
                      <a:pt x="252" y="812"/>
                    </a:lnTo>
                    <a:lnTo>
                      <a:pt x="264" y="828"/>
                    </a:lnTo>
                    <a:lnTo>
                      <a:pt x="280" y="843"/>
                    </a:lnTo>
                    <a:lnTo>
                      <a:pt x="299" y="855"/>
                    </a:lnTo>
                    <a:lnTo>
                      <a:pt x="322" y="865"/>
                    </a:lnTo>
                    <a:lnTo>
                      <a:pt x="348" y="873"/>
                    </a:lnTo>
                    <a:lnTo>
                      <a:pt x="374" y="879"/>
                    </a:lnTo>
                    <a:lnTo>
                      <a:pt x="403" y="882"/>
                    </a:lnTo>
                    <a:lnTo>
                      <a:pt x="433" y="884"/>
                    </a:lnTo>
                    <a:lnTo>
                      <a:pt x="468" y="882"/>
                    </a:lnTo>
                    <a:lnTo>
                      <a:pt x="498" y="877"/>
                    </a:lnTo>
                    <a:lnTo>
                      <a:pt x="526" y="869"/>
                    </a:lnTo>
                    <a:lnTo>
                      <a:pt x="549" y="858"/>
                    </a:lnTo>
                    <a:lnTo>
                      <a:pt x="569" y="845"/>
                    </a:lnTo>
                    <a:lnTo>
                      <a:pt x="585" y="830"/>
                    </a:lnTo>
                    <a:lnTo>
                      <a:pt x="598" y="813"/>
                    </a:lnTo>
                    <a:lnTo>
                      <a:pt x="607" y="794"/>
                    </a:lnTo>
                    <a:lnTo>
                      <a:pt x="613" y="775"/>
                    </a:lnTo>
                    <a:lnTo>
                      <a:pt x="614" y="753"/>
                    </a:lnTo>
                    <a:lnTo>
                      <a:pt x="613" y="730"/>
                    </a:lnTo>
                    <a:lnTo>
                      <a:pt x="610" y="706"/>
                    </a:lnTo>
                    <a:lnTo>
                      <a:pt x="603" y="686"/>
                    </a:lnTo>
                    <a:lnTo>
                      <a:pt x="591" y="667"/>
                    </a:lnTo>
                    <a:lnTo>
                      <a:pt x="575" y="649"/>
                    </a:lnTo>
                    <a:lnTo>
                      <a:pt x="554" y="633"/>
                    </a:lnTo>
                    <a:lnTo>
                      <a:pt x="543" y="626"/>
                    </a:lnTo>
                    <a:lnTo>
                      <a:pt x="532" y="617"/>
                    </a:lnTo>
                    <a:lnTo>
                      <a:pt x="521" y="607"/>
                    </a:lnTo>
                    <a:lnTo>
                      <a:pt x="512" y="595"/>
                    </a:lnTo>
                    <a:lnTo>
                      <a:pt x="505" y="583"/>
                    </a:lnTo>
                    <a:lnTo>
                      <a:pt x="503" y="572"/>
                    </a:lnTo>
                    <a:lnTo>
                      <a:pt x="504" y="562"/>
                    </a:lnTo>
                    <a:lnTo>
                      <a:pt x="509" y="552"/>
                    </a:lnTo>
                    <a:lnTo>
                      <a:pt x="516" y="544"/>
                    </a:lnTo>
                    <a:lnTo>
                      <a:pt x="528" y="534"/>
                    </a:lnTo>
                    <a:lnTo>
                      <a:pt x="544" y="522"/>
                    </a:lnTo>
                    <a:lnTo>
                      <a:pt x="560" y="504"/>
                    </a:lnTo>
                    <a:lnTo>
                      <a:pt x="574" y="486"/>
                    </a:lnTo>
                    <a:lnTo>
                      <a:pt x="585" y="467"/>
                    </a:lnTo>
                    <a:lnTo>
                      <a:pt x="592" y="445"/>
                    </a:lnTo>
                    <a:lnTo>
                      <a:pt x="594" y="423"/>
                    </a:lnTo>
                    <a:lnTo>
                      <a:pt x="593" y="401"/>
                    </a:lnTo>
                    <a:lnTo>
                      <a:pt x="589" y="380"/>
                    </a:lnTo>
                    <a:lnTo>
                      <a:pt x="583" y="361"/>
                    </a:lnTo>
                    <a:lnTo>
                      <a:pt x="574" y="344"/>
                    </a:lnTo>
                    <a:lnTo>
                      <a:pt x="563" y="330"/>
                    </a:lnTo>
                    <a:lnTo>
                      <a:pt x="549" y="318"/>
                    </a:lnTo>
                    <a:lnTo>
                      <a:pt x="533" y="312"/>
                    </a:lnTo>
                    <a:lnTo>
                      <a:pt x="594" y="312"/>
                    </a:lnTo>
                    <a:lnTo>
                      <a:pt x="634" y="282"/>
                    </a:lnTo>
                    <a:lnTo>
                      <a:pt x="453" y="282"/>
                    </a:lnTo>
                    <a:close/>
                    <a:moveTo>
                      <a:pt x="806" y="272"/>
                    </a:moveTo>
                    <a:lnTo>
                      <a:pt x="806" y="382"/>
                    </a:lnTo>
                    <a:lnTo>
                      <a:pt x="694" y="382"/>
                    </a:lnTo>
                    <a:lnTo>
                      <a:pt x="694" y="423"/>
                    </a:lnTo>
                    <a:lnTo>
                      <a:pt x="806" y="423"/>
                    </a:lnTo>
                    <a:lnTo>
                      <a:pt x="806" y="533"/>
                    </a:lnTo>
                    <a:lnTo>
                      <a:pt x="846" y="533"/>
                    </a:lnTo>
                    <a:lnTo>
                      <a:pt x="846" y="423"/>
                    </a:lnTo>
                    <a:lnTo>
                      <a:pt x="956" y="423"/>
                    </a:lnTo>
                    <a:lnTo>
                      <a:pt x="956" y="382"/>
                    </a:lnTo>
                    <a:lnTo>
                      <a:pt x="846" y="382"/>
                    </a:lnTo>
                    <a:lnTo>
                      <a:pt x="846" y="272"/>
                    </a:lnTo>
                    <a:lnTo>
                      <a:pt x="806" y="272"/>
                    </a:lnTo>
                    <a:close/>
                    <a:moveTo>
                      <a:pt x="604" y="0"/>
                    </a:moveTo>
                    <a:lnTo>
                      <a:pt x="666" y="4"/>
                    </a:lnTo>
                    <a:lnTo>
                      <a:pt x="725" y="13"/>
                    </a:lnTo>
                    <a:lnTo>
                      <a:pt x="783" y="29"/>
                    </a:lnTo>
                    <a:lnTo>
                      <a:pt x="837" y="51"/>
                    </a:lnTo>
                    <a:lnTo>
                      <a:pt x="890" y="77"/>
                    </a:lnTo>
                    <a:lnTo>
                      <a:pt x="938" y="110"/>
                    </a:lnTo>
                    <a:lnTo>
                      <a:pt x="983" y="145"/>
                    </a:lnTo>
                    <a:lnTo>
                      <a:pt x="1024" y="185"/>
                    </a:lnTo>
                    <a:lnTo>
                      <a:pt x="1060" y="230"/>
                    </a:lnTo>
                    <a:lnTo>
                      <a:pt x="1092" y="278"/>
                    </a:lnTo>
                    <a:lnTo>
                      <a:pt x="1118" y="331"/>
                    </a:lnTo>
                    <a:lnTo>
                      <a:pt x="1140" y="385"/>
                    </a:lnTo>
                    <a:lnTo>
                      <a:pt x="1156" y="442"/>
                    </a:lnTo>
                    <a:lnTo>
                      <a:pt x="1166" y="502"/>
                    </a:lnTo>
                    <a:lnTo>
                      <a:pt x="1169" y="563"/>
                    </a:lnTo>
                    <a:lnTo>
                      <a:pt x="1166" y="624"/>
                    </a:lnTo>
                    <a:lnTo>
                      <a:pt x="1156" y="684"/>
                    </a:lnTo>
                    <a:lnTo>
                      <a:pt x="1140" y="740"/>
                    </a:lnTo>
                    <a:lnTo>
                      <a:pt x="1118" y="795"/>
                    </a:lnTo>
                    <a:lnTo>
                      <a:pt x="1092" y="847"/>
                    </a:lnTo>
                    <a:lnTo>
                      <a:pt x="1060" y="895"/>
                    </a:lnTo>
                    <a:lnTo>
                      <a:pt x="1024" y="939"/>
                    </a:lnTo>
                    <a:lnTo>
                      <a:pt x="983" y="980"/>
                    </a:lnTo>
                    <a:lnTo>
                      <a:pt x="938" y="1016"/>
                    </a:lnTo>
                    <a:lnTo>
                      <a:pt x="890" y="1048"/>
                    </a:lnTo>
                    <a:lnTo>
                      <a:pt x="837" y="1075"/>
                    </a:lnTo>
                    <a:lnTo>
                      <a:pt x="783" y="1096"/>
                    </a:lnTo>
                    <a:lnTo>
                      <a:pt x="725" y="1111"/>
                    </a:lnTo>
                    <a:lnTo>
                      <a:pt x="666" y="1122"/>
                    </a:lnTo>
                    <a:lnTo>
                      <a:pt x="604" y="1125"/>
                    </a:lnTo>
                    <a:lnTo>
                      <a:pt x="548" y="1122"/>
                    </a:lnTo>
                    <a:lnTo>
                      <a:pt x="495" y="1113"/>
                    </a:lnTo>
                    <a:lnTo>
                      <a:pt x="442" y="1098"/>
                    </a:lnTo>
                    <a:lnTo>
                      <a:pt x="392" y="1079"/>
                    </a:lnTo>
                    <a:lnTo>
                      <a:pt x="342" y="1055"/>
                    </a:lnTo>
                    <a:lnTo>
                      <a:pt x="296" y="1027"/>
                    </a:lnTo>
                    <a:lnTo>
                      <a:pt x="251" y="994"/>
                    </a:lnTo>
                    <a:lnTo>
                      <a:pt x="80" y="1165"/>
                    </a:lnTo>
                    <a:lnTo>
                      <a:pt x="63" y="1148"/>
                    </a:lnTo>
                    <a:lnTo>
                      <a:pt x="44" y="1128"/>
                    </a:lnTo>
                    <a:lnTo>
                      <a:pt x="22" y="1107"/>
                    </a:lnTo>
                    <a:lnTo>
                      <a:pt x="0" y="1085"/>
                    </a:lnTo>
                    <a:lnTo>
                      <a:pt x="170" y="915"/>
                    </a:lnTo>
                    <a:lnTo>
                      <a:pt x="143" y="879"/>
                    </a:lnTo>
                    <a:lnTo>
                      <a:pt x="117" y="841"/>
                    </a:lnTo>
                    <a:lnTo>
                      <a:pt x="94" y="800"/>
                    </a:lnTo>
                    <a:lnTo>
                      <a:pt x="75" y="757"/>
                    </a:lnTo>
                    <a:lnTo>
                      <a:pt x="60" y="711"/>
                    </a:lnTo>
                    <a:lnTo>
                      <a:pt x="49" y="664"/>
                    </a:lnTo>
                    <a:lnTo>
                      <a:pt x="43" y="614"/>
                    </a:lnTo>
                    <a:lnTo>
                      <a:pt x="39" y="563"/>
                    </a:lnTo>
                    <a:lnTo>
                      <a:pt x="44" y="502"/>
                    </a:lnTo>
                    <a:lnTo>
                      <a:pt x="53" y="442"/>
                    </a:lnTo>
                    <a:lnTo>
                      <a:pt x="68" y="385"/>
                    </a:lnTo>
                    <a:lnTo>
                      <a:pt x="90" y="331"/>
                    </a:lnTo>
                    <a:lnTo>
                      <a:pt x="117" y="278"/>
                    </a:lnTo>
                    <a:lnTo>
                      <a:pt x="149" y="230"/>
                    </a:lnTo>
                    <a:lnTo>
                      <a:pt x="185" y="185"/>
                    </a:lnTo>
                    <a:lnTo>
                      <a:pt x="226" y="145"/>
                    </a:lnTo>
                    <a:lnTo>
                      <a:pt x="270" y="110"/>
                    </a:lnTo>
                    <a:lnTo>
                      <a:pt x="320" y="77"/>
                    </a:lnTo>
                    <a:lnTo>
                      <a:pt x="371" y="51"/>
                    </a:lnTo>
                    <a:lnTo>
                      <a:pt x="426" y="29"/>
                    </a:lnTo>
                    <a:lnTo>
                      <a:pt x="483" y="13"/>
                    </a:lnTo>
                    <a:lnTo>
                      <a:pt x="543" y="4"/>
                    </a:lnTo>
                    <a:lnTo>
                      <a:pt x="60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7" name="Freeform 21"/>
              <p:cNvSpPr>
                <a:spLocks noEditPoints="1"/>
              </p:cNvSpPr>
              <p:nvPr/>
            </p:nvSpPr>
            <p:spPr bwMode="auto">
              <a:xfrm>
                <a:off x="-459" y="2628"/>
                <a:ext cx="167" cy="164"/>
              </a:xfrm>
              <a:custGeom>
                <a:avLst/>
                <a:gdLst>
                  <a:gd name="T0" fmla="*/ 434 w 1170"/>
                  <a:gd name="T1" fmla="*/ 852 h 1154"/>
                  <a:gd name="T2" fmla="*/ 747 w 1170"/>
                  <a:gd name="T3" fmla="*/ 492 h 1154"/>
                  <a:gd name="T4" fmla="*/ 680 w 1170"/>
                  <a:gd name="T5" fmla="*/ 509 h 1154"/>
                  <a:gd name="T6" fmla="*/ 641 w 1170"/>
                  <a:gd name="T7" fmla="*/ 542 h 1154"/>
                  <a:gd name="T8" fmla="*/ 515 w 1170"/>
                  <a:gd name="T9" fmla="*/ 502 h 1154"/>
                  <a:gd name="T10" fmla="*/ 636 w 1170"/>
                  <a:gd name="T11" fmla="*/ 632 h 1154"/>
                  <a:gd name="T12" fmla="*/ 665 w 1170"/>
                  <a:gd name="T13" fmla="*/ 600 h 1154"/>
                  <a:gd name="T14" fmla="*/ 714 w 1170"/>
                  <a:gd name="T15" fmla="*/ 595 h 1154"/>
                  <a:gd name="T16" fmla="*/ 750 w 1170"/>
                  <a:gd name="T17" fmla="*/ 629 h 1154"/>
                  <a:gd name="T18" fmla="*/ 756 w 1170"/>
                  <a:gd name="T19" fmla="*/ 852 h 1154"/>
                  <a:gd name="T20" fmla="*/ 886 w 1170"/>
                  <a:gd name="T21" fmla="*/ 621 h 1154"/>
                  <a:gd name="T22" fmla="*/ 861 w 1170"/>
                  <a:gd name="T23" fmla="*/ 547 h 1154"/>
                  <a:gd name="T24" fmla="*/ 812 w 1170"/>
                  <a:gd name="T25" fmla="*/ 506 h 1154"/>
                  <a:gd name="T26" fmla="*/ 747 w 1170"/>
                  <a:gd name="T27" fmla="*/ 492 h 1154"/>
                  <a:gd name="T28" fmla="*/ 347 w 1170"/>
                  <a:gd name="T29" fmla="*/ 340 h 1154"/>
                  <a:gd name="T30" fmla="*/ 315 w 1170"/>
                  <a:gd name="T31" fmla="*/ 376 h 1154"/>
                  <a:gd name="T32" fmla="*/ 322 w 1170"/>
                  <a:gd name="T33" fmla="*/ 420 h 1154"/>
                  <a:gd name="T34" fmla="*/ 364 w 1170"/>
                  <a:gd name="T35" fmla="*/ 449 h 1154"/>
                  <a:gd name="T36" fmla="*/ 418 w 1170"/>
                  <a:gd name="T37" fmla="*/ 445 h 1154"/>
                  <a:gd name="T38" fmla="*/ 448 w 1170"/>
                  <a:gd name="T39" fmla="*/ 410 h 1154"/>
                  <a:gd name="T40" fmla="*/ 445 w 1170"/>
                  <a:gd name="T41" fmla="*/ 363 h 1154"/>
                  <a:gd name="T42" fmla="*/ 403 w 1170"/>
                  <a:gd name="T43" fmla="*/ 334 h 1154"/>
                  <a:gd name="T44" fmla="*/ 242 w 1170"/>
                  <a:gd name="T45" fmla="*/ 170 h 1154"/>
                  <a:gd name="T46" fmla="*/ 359 w 1170"/>
                  <a:gd name="T47" fmla="*/ 94 h 1154"/>
                  <a:gd name="T48" fmla="*/ 497 w 1170"/>
                  <a:gd name="T49" fmla="*/ 49 h 1154"/>
                  <a:gd name="T50" fmla="*/ 657 w 1170"/>
                  <a:gd name="T51" fmla="*/ 43 h 1154"/>
                  <a:gd name="T52" fmla="*/ 829 w 1170"/>
                  <a:gd name="T53" fmla="*/ 88 h 1154"/>
                  <a:gd name="T54" fmla="*/ 975 w 1170"/>
                  <a:gd name="T55" fmla="*/ 180 h 1154"/>
                  <a:gd name="T56" fmla="*/ 1086 w 1170"/>
                  <a:gd name="T57" fmla="*/ 310 h 1154"/>
                  <a:gd name="T58" fmla="*/ 1153 w 1170"/>
                  <a:gd name="T59" fmla="*/ 472 h 1154"/>
                  <a:gd name="T60" fmla="*/ 1166 w 1170"/>
                  <a:gd name="T61" fmla="*/ 653 h 1154"/>
                  <a:gd name="T62" fmla="*/ 1119 w 1170"/>
                  <a:gd name="T63" fmla="*/ 824 h 1154"/>
                  <a:gd name="T64" fmla="*/ 1025 w 1170"/>
                  <a:gd name="T65" fmla="*/ 969 h 1154"/>
                  <a:gd name="T66" fmla="*/ 890 w 1170"/>
                  <a:gd name="T67" fmla="*/ 1077 h 1154"/>
                  <a:gd name="T68" fmla="*/ 726 w 1170"/>
                  <a:gd name="T69" fmla="*/ 1141 h 1154"/>
                  <a:gd name="T70" fmla="*/ 544 w 1170"/>
                  <a:gd name="T71" fmla="*/ 1150 h 1154"/>
                  <a:gd name="T72" fmla="*/ 372 w 1170"/>
                  <a:gd name="T73" fmla="*/ 1103 h 1154"/>
                  <a:gd name="T74" fmla="*/ 227 w 1170"/>
                  <a:gd name="T75" fmla="*/ 1009 h 1154"/>
                  <a:gd name="T76" fmla="*/ 117 w 1170"/>
                  <a:gd name="T77" fmla="*/ 876 h 1154"/>
                  <a:gd name="T78" fmla="*/ 54 w 1170"/>
                  <a:gd name="T79" fmla="*/ 712 h 1154"/>
                  <a:gd name="T80" fmla="*/ 44 w 1170"/>
                  <a:gd name="T81" fmla="*/ 537 h 1154"/>
                  <a:gd name="T82" fmla="*/ 86 w 1170"/>
                  <a:gd name="T83" fmla="*/ 380 h 1154"/>
                  <a:gd name="T84" fmla="*/ 172 w 1170"/>
                  <a:gd name="T85" fmla="*/ 241 h 1154"/>
                  <a:gd name="T86" fmla="*/ 36 w 1170"/>
                  <a:gd name="T87" fmla="*/ 39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70" h="1154">
                    <a:moveTo>
                      <a:pt x="324" y="502"/>
                    </a:moveTo>
                    <a:lnTo>
                      <a:pt x="324" y="852"/>
                    </a:lnTo>
                    <a:lnTo>
                      <a:pt x="434" y="852"/>
                    </a:lnTo>
                    <a:lnTo>
                      <a:pt x="434" y="502"/>
                    </a:lnTo>
                    <a:lnTo>
                      <a:pt x="324" y="502"/>
                    </a:lnTo>
                    <a:close/>
                    <a:moveTo>
                      <a:pt x="747" y="492"/>
                    </a:moveTo>
                    <a:lnTo>
                      <a:pt x="722" y="494"/>
                    </a:lnTo>
                    <a:lnTo>
                      <a:pt x="699" y="500"/>
                    </a:lnTo>
                    <a:lnTo>
                      <a:pt x="680" y="509"/>
                    </a:lnTo>
                    <a:lnTo>
                      <a:pt x="664" y="520"/>
                    </a:lnTo>
                    <a:lnTo>
                      <a:pt x="651" y="531"/>
                    </a:lnTo>
                    <a:lnTo>
                      <a:pt x="641" y="542"/>
                    </a:lnTo>
                    <a:lnTo>
                      <a:pt x="636" y="552"/>
                    </a:lnTo>
                    <a:lnTo>
                      <a:pt x="636" y="502"/>
                    </a:lnTo>
                    <a:lnTo>
                      <a:pt x="515" y="502"/>
                    </a:lnTo>
                    <a:lnTo>
                      <a:pt x="515" y="853"/>
                    </a:lnTo>
                    <a:lnTo>
                      <a:pt x="636" y="853"/>
                    </a:lnTo>
                    <a:lnTo>
                      <a:pt x="636" y="632"/>
                    </a:lnTo>
                    <a:lnTo>
                      <a:pt x="642" y="620"/>
                    </a:lnTo>
                    <a:lnTo>
                      <a:pt x="652" y="609"/>
                    </a:lnTo>
                    <a:lnTo>
                      <a:pt x="665" y="600"/>
                    </a:lnTo>
                    <a:lnTo>
                      <a:pt x="679" y="595"/>
                    </a:lnTo>
                    <a:lnTo>
                      <a:pt x="696" y="592"/>
                    </a:lnTo>
                    <a:lnTo>
                      <a:pt x="714" y="595"/>
                    </a:lnTo>
                    <a:lnTo>
                      <a:pt x="729" y="602"/>
                    </a:lnTo>
                    <a:lnTo>
                      <a:pt x="741" y="613"/>
                    </a:lnTo>
                    <a:lnTo>
                      <a:pt x="750" y="629"/>
                    </a:lnTo>
                    <a:lnTo>
                      <a:pt x="755" y="649"/>
                    </a:lnTo>
                    <a:lnTo>
                      <a:pt x="756" y="673"/>
                    </a:lnTo>
                    <a:lnTo>
                      <a:pt x="756" y="852"/>
                    </a:lnTo>
                    <a:lnTo>
                      <a:pt x="887" y="852"/>
                    </a:lnTo>
                    <a:lnTo>
                      <a:pt x="887" y="652"/>
                    </a:lnTo>
                    <a:lnTo>
                      <a:pt x="886" y="621"/>
                    </a:lnTo>
                    <a:lnTo>
                      <a:pt x="881" y="593"/>
                    </a:lnTo>
                    <a:lnTo>
                      <a:pt x="872" y="569"/>
                    </a:lnTo>
                    <a:lnTo>
                      <a:pt x="861" y="547"/>
                    </a:lnTo>
                    <a:lnTo>
                      <a:pt x="847" y="530"/>
                    </a:lnTo>
                    <a:lnTo>
                      <a:pt x="830" y="516"/>
                    </a:lnTo>
                    <a:lnTo>
                      <a:pt x="812" y="506"/>
                    </a:lnTo>
                    <a:lnTo>
                      <a:pt x="792" y="497"/>
                    </a:lnTo>
                    <a:lnTo>
                      <a:pt x="770" y="493"/>
                    </a:lnTo>
                    <a:lnTo>
                      <a:pt x="747" y="492"/>
                    </a:lnTo>
                    <a:close/>
                    <a:moveTo>
                      <a:pt x="384" y="330"/>
                    </a:moveTo>
                    <a:lnTo>
                      <a:pt x="364" y="334"/>
                    </a:lnTo>
                    <a:lnTo>
                      <a:pt x="347" y="340"/>
                    </a:lnTo>
                    <a:lnTo>
                      <a:pt x="333" y="350"/>
                    </a:lnTo>
                    <a:lnTo>
                      <a:pt x="322" y="363"/>
                    </a:lnTo>
                    <a:lnTo>
                      <a:pt x="315" y="376"/>
                    </a:lnTo>
                    <a:lnTo>
                      <a:pt x="313" y="391"/>
                    </a:lnTo>
                    <a:lnTo>
                      <a:pt x="315" y="406"/>
                    </a:lnTo>
                    <a:lnTo>
                      <a:pt x="322" y="420"/>
                    </a:lnTo>
                    <a:lnTo>
                      <a:pt x="333" y="432"/>
                    </a:lnTo>
                    <a:lnTo>
                      <a:pt x="347" y="443"/>
                    </a:lnTo>
                    <a:lnTo>
                      <a:pt x="364" y="449"/>
                    </a:lnTo>
                    <a:lnTo>
                      <a:pt x="384" y="451"/>
                    </a:lnTo>
                    <a:lnTo>
                      <a:pt x="402" y="449"/>
                    </a:lnTo>
                    <a:lnTo>
                      <a:pt x="418" y="445"/>
                    </a:lnTo>
                    <a:lnTo>
                      <a:pt x="430" y="436"/>
                    </a:lnTo>
                    <a:lnTo>
                      <a:pt x="441" y="425"/>
                    </a:lnTo>
                    <a:lnTo>
                      <a:pt x="448" y="410"/>
                    </a:lnTo>
                    <a:lnTo>
                      <a:pt x="455" y="391"/>
                    </a:lnTo>
                    <a:lnTo>
                      <a:pt x="451" y="376"/>
                    </a:lnTo>
                    <a:lnTo>
                      <a:pt x="445" y="363"/>
                    </a:lnTo>
                    <a:lnTo>
                      <a:pt x="434" y="350"/>
                    </a:lnTo>
                    <a:lnTo>
                      <a:pt x="420" y="340"/>
                    </a:lnTo>
                    <a:lnTo>
                      <a:pt x="403" y="334"/>
                    </a:lnTo>
                    <a:lnTo>
                      <a:pt x="384" y="330"/>
                    </a:lnTo>
                    <a:close/>
                    <a:moveTo>
                      <a:pt x="71" y="0"/>
                    </a:moveTo>
                    <a:lnTo>
                      <a:pt x="242" y="170"/>
                    </a:lnTo>
                    <a:lnTo>
                      <a:pt x="278" y="141"/>
                    </a:lnTo>
                    <a:lnTo>
                      <a:pt x="317" y="116"/>
                    </a:lnTo>
                    <a:lnTo>
                      <a:pt x="359" y="94"/>
                    </a:lnTo>
                    <a:lnTo>
                      <a:pt x="404" y="75"/>
                    </a:lnTo>
                    <a:lnTo>
                      <a:pt x="450" y="60"/>
                    </a:lnTo>
                    <a:lnTo>
                      <a:pt x="497" y="49"/>
                    </a:lnTo>
                    <a:lnTo>
                      <a:pt x="546" y="42"/>
                    </a:lnTo>
                    <a:lnTo>
                      <a:pt x="595" y="40"/>
                    </a:lnTo>
                    <a:lnTo>
                      <a:pt x="657" y="43"/>
                    </a:lnTo>
                    <a:lnTo>
                      <a:pt x="716" y="52"/>
                    </a:lnTo>
                    <a:lnTo>
                      <a:pt x="774" y="67"/>
                    </a:lnTo>
                    <a:lnTo>
                      <a:pt x="829" y="88"/>
                    </a:lnTo>
                    <a:lnTo>
                      <a:pt x="881" y="113"/>
                    </a:lnTo>
                    <a:lnTo>
                      <a:pt x="929" y="144"/>
                    </a:lnTo>
                    <a:lnTo>
                      <a:pt x="975" y="180"/>
                    </a:lnTo>
                    <a:lnTo>
                      <a:pt x="1016" y="219"/>
                    </a:lnTo>
                    <a:lnTo>
                      <a:pt x="1054" y="263"/>
                    </a:lnTo>
                    <a:lnTo>
                      <a:pt x="1086" y="310"/>
                    </a:lnTo>
                    <a:lnTo>
                      <a:pt x="1114" y="361"/>
                    </a:lnTo>
                    <a:lnTo>
                      <a:pt x="1136" y="415"/>
                    </a:lnTo>
                    <a:lnTo>
                      <a:pt x="1153" y="472"/>
                    </a:lnTo>
                    <a:lnTo>
                      <a:pt x="1164" y="530"/>
                    </a:lnTo>
                    <a:lnTo>
                      <a:pt x="1170" y="591"/>
                    </a:lnTo>
                    <a:lnTo>
                      <a:pt x="1166" y="653"/>
                    </a:lnTo>
                    <a:lnTo>
                      <a:pt x="1157" y="712"/>
                    </a:lnTo>
                    <a:lnTo>
                      <a:pt x="1141" y="770"/>
                    </a:lnTo>
                    <a:lnTo>
                      <a:pt x="1119" y="824"/>
                    </a:lnTo>
                    <a:lnTo>
                      <a:pt x="1093" y="876"/>
                    </a:lnTo>
                    <a:lnTo>
                      <a:pt x="1061" y="924"/>
                    </a:lnTo>
                    <a:lnTo>
                      <a:pt x="1025" y="969"/>
                    </a:lnTo>
                    <a:lnTo>
                      <a:pt x="984" y="1009"/>
                    </a:lnTo>
                    <a:lnTo>
                      <a:pt x="939" y="1046"/>
                    </a:lnTo>
                    <a:lnTo>
                      <a:pt x="890" y="1077"/>
                    </a:lnTo>
                    <a:lnTo>
                      <a:pt x="839" y="1103"/>
                    </a:lnTo>
                    <a:lnTo>
                      <a:pt x="784" y="1125"/>
                    </a:lnTo>
                    <a:lnTo>
                      <a:pt x="726" y="1141"/>
                    </a:lnTo>
                    <a:lnTo>
                      <a:pt x="667" y="1150"/>
                    </a:lnTo>
                    <a:lnTo>
                      <a:pt x="605" y="1154"/>
                    </a:lnTo>
                    <a:lnTo>
                      <a:pt x="544" y="1150"/>
                    </a:lnTo>
                    <a:lnTo>
                      <a:pt x="485" y="1141"/>
                    </a:lnTo>
                    <a:lnTo>
                      <a:pt x="427" y="1125"/>
                    </a:lnTo>
                    <a:lnTo>
                      <a:pt x="372" y="1103"/>
                    </a:lnTo>
                    <a:lnTo>
                      <a:pt x="320" y="1077"/>
                    </a:lnTo>
                    <a:lnTo>
                      <a:pt x="272" y="1046"/>
                    </a:lnTo>
                    <a:lnTo>
                      <a:pt x="227" y="1009"/>
                    </a:lnTo>
                    <a:lnTo>
                      <a:pt x="186" y="969"/>
                    </a:lnTo>
                    <a:lnTo>
                      <a:pt x="150" y="924"/>
                    </a:lnTo>
                    <a:lnTo>
                      <a:pt x="117" y="876"/>
                    </a:lnTo>
                    <a:lnTo>
                      <a:pt x="92" y="824"/>
                    </a:lnTo>
                    <a:lnTo>
                      <a:pt x="70" y="770"/>
                    </a:lnTo>
                    <a:lnTo>
                      <a:pt x="54" y="712"/>
                    </a:lnTo>
                    <a:lnTo>
                      <a:pt x="44" y="653"/>
                    </a:lnTo>
                    <a:lnTo>
                      <a:pt x="41" y="591"/>
                    </a:lnTo>
                    <a:lnTo>
                      <a:pt x="44" y="537"/>
                    </a:lnTo>
                    <a:lnTo>
                      <a:pt x="53" y="482"/>
                    </a:lnTo>
                    <a:lnTo>
                      <a:pt x="67" y="430"/>
                    </a:lnTo>
                    <a:lnTo>
                      <a:pt x="86" y="380"/>
                    </a:lnTo>
                    <a:lnTo>
                      <a:pt x="111" y="332"/>
                    </a:lnTo>
                    <a:lnTo>
                      <a:pt x="139" y="284"/>
                    </a:lnTo>
                    <a:lnTo>
                      <a:pt x="172" y="241"/>
                    </a:lnTo>
                    <a:lnTo>
                      <a:pt x="0" y="70"/>
                    </a:lnTo>
                    <a:lnTo>
                      <a:pt x="18" y="55"/>
                    </a:lnTo>
                    <a:lnTo>
                      <a:pt x="36" y="39"/>
                    </a:lnTo>
                    <a:lnTo>
                      <a:pt x="54" y="20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8" name="Freeform 22"/>
              <p:cNvSpPr>
                <a:spLocks noEditPoints="1"/>
              </p:cNvSpPr>
              <p:nvPr/>
            </p:nvSpPr>
            <p:spPr bwMode="auto">
              <a:xfrm>
                <a:off x="-783" y="2628"/>
                <a:ext cx="167" cy="166"/>
              </a:xfrm>
              <a:custGeom>
                <a:avLst/>
                <a:gdLst>
                  <a:gd name="T0" fmla="*/ 636 w 1169"/>
                  <a:gd name="T1" fmla="*/ 391 h 1164"/>
                  <a:gd name="T2" fmla="*/ 578 w 1169"/>
                  <a:gd name="T3" fmla="*/ 439 h 1164"/>
                  <a:gd name="T4" fmla="*/ 554 w 1169"/>
                  <a:gd name="T5" fmla="*/ 511 h 1164"/>
                  <a:gd name="T6" fmla="*/ 476 w 1169"/>
                  <a:gd name="T7" fmla="*/ 533 h 1164"/>
                  <a:gd name="T8" fmla="*/ 372 w 1169"/>
                  <a:gd name="T9" fmla="*/ 488 h 1164"/>
                  <a:gd name="T10" fmla="*/ 293 w 1169"/>
                  <a:gd name="T11" fmla="*/ 411 h 1164"/>
                  <a:gd name="T12" fmla="*/ 273 w 1169"/>
                  <a:gd name="T13" fmla="*/ 472 h 1164"/>
                  <a:gd name="T14" fmla="*/ 298 w 1169"/>
                  <a:gd name="T15" fmla="*/ 539 h 1164"/>
                  <a:gd name="T16" fmla="*/ 312 w 1169"/>
                  <a:gd name="T17" fmla="*/ 569 h 1164"/>
                  <a:gd name="T18" fmla="*/ 275 w 1169"/>
                  <a:gd name="T19" fmla="*/ 576 h 1164"/>
                  <a:gd name="T20" fmla="*/ 308 w 1169"/>
                  <a:gd name="T21" fmla="*/ 639 h 1164"/>
                  <a:gd name="T22" fmla="*/ 374 w 1169"/>
                  <a:gd name="T23" fmla="*/ 673 h 1164"/>
                  <a:gd name="T24" fmla="*/ 352 w 1169"/>
                  <a:gd name="T25" fmla="*/ 717 h 1164"/>
                  <a:gd name="T26" fmla="*/ 419 w 1169"/>
                  <a:gd name="T27" fmla="*/ 759 h 1164"/>
                  <a:gd name="T28" fmla="*/ 382 w 1169"/>
                  <a:gd name="T29" fmla="*/ 793 h 1164"/>
                  <a:gd name="T30" fmla="*/ 282 w 1169"/>
                  <a:gd name="T31" fmla="*/ 813 h 1164"/>
                  <a:gd name="T32" fmla="*/ 308 w 1169"/>
                  <a:gd name="T33" fmla="*/ 846 h 1164"/>
                  <a:gd name="T34" fmla="*/ 409 w 1169"/>
                  <a:gd name="T35" fmla="*/ 871 h 1164"/>
                  <a:gd name="T36" fmla="*/ 531 w 1169"/>
                  <a:gd name="T37" fmla="*/ 863 h 1164"/>
                  <a:gd name="T38" fmla="*/ 641 w 1169"/>
                  <a:gd name="T39" fmla="*/ 817 h 1164"/>
                  <a:gd name="T40" fmla="*/ 724 w 1169"/>
                  <a:gd name="T41" fmla="*/ 742 h 1164"/>
                  <a:gd name="T42" fmla="*/ 779 w 1169"/>
                  <a:gd name="T43" fmla="*/ 648 h 1164"/>
                  <a:gd name="T44" fmla="*/ 805 w 1169"/>
                  <a:gd name="T45" fmla="*/ 545 h 1164"/>
                  <a:gd name="T46" fmla="*/ 806 w 1169"/>
                  <a:gd name="T47" fmla="*/ 502 h 1164"/>
                  <a:gd name="T48" fmla="*/ 827 w 1169"/>
                  <a:gd name="T49" fmla="*/ 488 h 1164"/>
                  <a:gd name="T50" fmla="*/ 851 w 1169"/>
                  <a:gd name="T51" fmla="*/ 448 h 1164"/>
                  <a:gd name="T52" fmla="*/ 797 w 1169"/>
                  <a:gd name="T53" fmla="*/ 461 h 1164"/>
                  <a:gd name="T54" fmla="*/ 847 w 1169"/>
                  <a:gd name="T55" fmla="*/ 412 h 1164"/>
                  <a:gd name="T56" fmla="*/ 806 w 1169"/>
                  <a:gd name="T57" fmla="*/ 411 h 1164"/>
                  <a:gd name="T58" fmla="*/ 747 w 1169"/>
                  <a:gd name="T59" fmla="*/ 398 h 1164"/>
                  <a:gd name="T60" fmla="*/ 686 w 1169"/>
                  <a:gd name="T61" fmla="*/ 381 h 1164"/>
                  <a:gd name="T62" fmla="*/ 1125 w 1169"/>
                  <a:gd name="T63" fmla="*/ 36 h 1164"/>
                  <a:gd name="T64" fmla="*/ 998 w 1169"/>
                  <a:gd name="T65" fmla="*/ 250 h 1164"/>
                  <a:gd name="T66" fmla="*/ 1075 w 1169"/>
                  <a:gd name="T67" fmla="*/ 367 h 1164"/>
                  <a:gd name="T68" fmla="*/ 1120 w 1169"/>
                  <a:gd name="T69" fmla="*/ 505 h 1164"/>
                  <a:gd name="T70" fmla="*/ 1125 w 1169"/>
                  <a:gd name="T71" fmla="*/ 663 h 1164"/>
                  <a:gd name="T72" fmla="*/ 1079 w 1169"/>
                  <a:gd name="T73" fmla="*/ 834 h 1164"/>
                  <a:gd name="T74" fmla="*/ 983 w 1169"/>
                  <a:gd name="T75" fmla="*/ 978 h 1164"/>
                  <a:gd name="T76" fmla="*/ 849 w 1169"/>
                  <a:gd name="T77" fmla="*/ 1087 h 1164"/>
                  <a:gd name="T78" fmla="*/ 686 w 1169"/>
                  <a:gd name="T79" fmla="*/ 1152 h 1164"/>
                  <a:gd name="T80" fmla="*/ 502 w 1169"/>
                  <a:gd name="T81" fmla="*/ 1161 h 1164"/>
                  <a:gd name="T82" fmla="*/ 331 w 1169"/>
                  <a:gd name="T83" fmla="*/ 1114 h 1164"/>
                  <a:gd name="T84" fmla="*/ 186 w 1169"/>
                  <a:gd name="T85" fmla="*/ 1019 h 1164"/>
                  <a:gd name="T86" fmla="*/ 77 w 1169"/>
                  <a:gd name="T87" fmla="*/ 886 h 1164"/>
                  <a:gd name="T88" fmla="*/ 13 w 1169"/>
                  <a:gd name="T89" fmla="*/ 723 h 1164"/>
                  <a:gd name="T90" fmla="*/ 3 w 1169"/>
                  <a:gd name="T91" fmla="*/ 541 h 1164"/>
                  <a:gd name="T92" fmla="*/ 50 w 1169"/>
                  <a:gd name="T93" fmla="*/ 370 h 1164"/>
                  <a:gd name="T94" fmla="*/ 145 w 1169"/>
                  <a:gd name="T95" fmla="*/ 226 h 1164"/>
                  <a:gd name="T96" fmla="*/ 279 w 1169"/>
                  <a:gd name="T97" fmla="*/ 117 h 1164"/>
                  <a:gd name="T98" fmla="*/ 443 w 1169"/>
                  <a:gd name="T99" fmla="*/ 52 h 1164"/>
                  <a:gd name="T100" fmla="*/ 620 w 1169"/>
                  <a:gd name="T101" fmla="*/ 43 h 1164"/>
                  <a:gd name="T102" fmla="*/ 777 w 1169"/>
                  <a:gd name="T103" fmla="*/ 86 h 1164"/>
                  <a:gd name="T104" fmla="*/ 917 w 1169"/>
                  <a:gd name="T105" fmla="*/ 170 h 1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69" h="1164">
                    <a:moveTo>
                      <a:pt x="686" y="381"/>
                    </a:moveTo>
                    <a:lnTo>
                      <a:pt x="659" y="384"/>
                    </a:lnTo>
                    <a:lnTo>
                      <a:pt x="636" y="391"/>
                    </a:lnTo>
                    <a:lnTo>
                      <a:pt x="613" y="404"/>
                    </a:lnTo>
                    <a:lnTo>
                      <a:pt x="594" y="420"/>
                    </a:lnTo>
                    <a:lnTo>
                      <a:pt x="578" y="439"/>
                    </a:lnTo>
                    <a:lnTo>
                      <a:pt x="565" y="462"/>
                    </a:lnTo>
                    <a:lnTo>
                      <a:pt x="557" y="485"/>
                    </a:lnTo>
                    <a:lnTo>
                      <a:pt x="554" y="511"/>
                    </a:lnTo>
                    <a:lnTo>
                      <a:pt x="554" y="541"/>
                    </a:lnTo>
                    <a:lnTo>
                      <a:pt x="514" y="539"/>
                    </a:lnTo>
                    <a:lnTo>
                      <a:pt x="476" y="533"/>
                    </a:lnTo>
                    <a:lnTo>
                      <a:pt x="439" y="522"/>
                    </a:lnTo>
                    <a:lnTo>
                      <a:pt x="405" y="507"/>
                    </a:lnTo>
                    <a:lnTo>
                      <a:pt x="372" y="488"/>
                    </a:lnTo>
                    <a:lnTo>
                      <a:pt x="343" y="465"/>
                    </a:lnTo>
                    <a:lnTo>
                      <a:pt x="317" y="439"/>
                    </a:lnTo>
                    <a:lnTo>
                      <a:pt x="293" y="411"/>
                    </a:lnTo>
                    <a:lnTo>
                      <a:pt x="282" y="431"/>
                    </a:lnTo>
                    <a:lnTo>
                      <a:pt x="276" y="451"/>
                    </a:lnTo>
                    <a:lnTo>
                      <a:pt x="273" y="472"/>
                    </a:lnTo>
                    <a:lnTo>
                      <a:pt x="276" y="495"/>
                    </a:lnTo>
                    <a:lnTo>
                      <a:pt x="284" y="519"/>
                    </a:lnTo>
                    <a:lnTo>
                      <a:pt x="298" y="539"/>
                    </a:lnTo>
                    <a:lnTo>
                      <a:pt x="314" y="557"/>
                    </a:lnTo>
                    <a:lnTo>
                      <a:pt x="333" y="572"/>
                    </a:lnTo>
                    <a:lnTo>
                      <a:pt x="312" y="569"/>
                    </a:lnTo>
                    <a:lnTo>
                      <a:pt x="292" y="561"/>
                    </a:lnTo>
                    <a:lnTo>
                      <a:pt x="273" y="552"/>
                    </a:lnTo>
                    <a:lnTo>
                      <a:pt x="275" y="576"/>
                    </a:lnTo>
                    <a:lnTo>
                      <a:pt x="281" y="600"/>
                    </a:lnTo>
                    <a:lnTo>
                      <a:pt x="293" y="621"/>
                    </a:lnTo>
                    <a:lnTo>
                      <a:pt x="308" y="639"/>
                    </a:lnTo>
                    <a:lnTo>
                      <a:pt x="326" y="654"/>
                    </a:lnTo>
                    <a:lnTo>
                      <a:pt x="349" y="665"/>
                    </a:lnTo>
                    <a:lnTo>
                      <a:pt x="374" y="673"/>
                    </a:lnTo>
                    <a:lnTo>
                      <a:pt x="323" y="673"/>
                    </a:lnTo>
                    <a:lnTo>
                      <a:pt x="335" y="696"/>
                    </a:lnTo>
                    <a:lnTo>
                      <a:pt x="352" y="717"/>
                    </a:lnTo>
                    <a:lnTo>
                      <a:pt x="371" y="736"/>
                    </a:lnTo>
                    <a:lnTo>
                      <a:pt x="394" y="750"/>
                    </a:lnTo>
                    <a:lnTo>
                      <a:pt x="419" y="759"/>
                    </a:lnTo>
                    <a:lnTo>
                      <a:pt x="443" y="762"/>
                    </a:lnTo>
                    <a:lnTo>
                      <a:pt x="413" y="779"/>
                    </a:lnTo>
                    <a:lnTo>
                      <a:pt x="382" y="793"/>
                    </a:lnTo>
                    <a:lnTo>
                      <a:pt x="351" y="804"/>
                    </a:lnTo>
                    <a:lnTo>
                      <a:pt x="318" y="810"/>
                    </a:lnTo>
                    <a:lnTo>
                      <a:pt x="282" y="813"/>
                    </a:lnTo>
                    <a:lnTo>
                      <a:pt x="252" y="813"/>
                    </a:lnTo>
                    <a:lnTo>
                      <a:pt x="279" y="831"/>
                    </a:lnTo>
                    <a:lnTo>
                      <a:pt x="308" y="846"/>
                    </a:lnTo>
                    <a:lnTo>
                      <a:pt x="340" y="858"/>
                    </a:lnTo>
                    <a:lnTo>
                      <a:pt x="374" y="866"/>
                    </a:lnTo>
                    <a:lnTo>
                      <a:pt x="409" y="871"/>
                    </a:lnTo>
                    <a:lnTo>
                      <a:pt x="443" y="872"/>
                    </a:lnTo>
                    <a:lnTo>
                      <a:pt x="488" y="870"/>
                    </a:lnTo>
                    <a:lnTo>
                      <a:pt x="531" y="863"/>
                    </a:lnTo>
                    <a:lnTo>
                      <a:pt x="570" y="852"/>
                    </a:lnTo>
                    <a:lnTo>
                      <a:pt x="607" y="836"/>
                    </a:lnTo>
                    <a:lnTo>
                      <a:pt x="641" y="817"/>
                    </a:lnTo>
                    <a:lnTo>
                      <a:pt x="671" y="794"/>
                    </a:lnTo>
                    <a:lnTo>
                      <a:pt x="699" y="770"/>
                    </a:lnTo>
                    <a:lnTo>
                      <a:pt x="724" y="742"/>
                    </a:lnTo>
                    <a:lnTo>
                      <a:pt x="745" y="712"/>
                    </a:lnTo>
                    <a:lnTo>
                      <a:pt x="764" y="681"/>
                    </a:lnTo>
                    <a:lnTo>
                      <a:pt x="779" y="648"/>
                    </a:lnTo>
                    <a:lnTo>
                      <a:pt x="791" y="615"/>
                    </a:lnTo>
                    <a:lnTo>
                      <a:pt x="800" y="581"/>
                    </a:lnTo>
                    <a:lnTo>
                      <a:pt x="805" y="545"/>
                    </a:lnTo>
                    <a:lnTo>
                      <a:pt x="806" y="511"/>
                    </a:lnTo>
                    <a:lnTo>
                      <a:pt x="806" y="503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27" y="488"/>
                    </a:lnTo>
                    <a:lnTo>
                      <a:pt x="847" y="468"/>
                    </a:lnTo>
                    <a:lnTo>
                      <a:pt x="866" y="441"/>
                    </a:lnTo>
                    <a:lnTo>
                      <a:pt x="851" y="448"/>
                    </a:lnTo>
                    <a:lnTo>
                      <a:pt x="835" y="454"/>
                    </a:lnTo>
                    <a:lnTo>
                      <a:pt x="817" y="460"/>
                    </a:lnTo>
                    <a:lnTo>
                      <a:pt x="797" y="461"/>
                    </a:lnTo>
                    <a:lnTo>
                      <a:pt x="817" y="446"/>
                    </a:lnTo>
                    <a:lnTo>
                      <a:pt x="834" y="430"/>
                    </a:lnTo>
                    <a:lnTo>
                      <a:pt x="847" y="412"/>
                    </a:lnTo>
                    <a:lnTo>
                      <a:pt x="857" y="391"/>
                    </a:lnTo>
                    <a:lnTo>
                      <a:pt x="834" y="401"/>
                    </a:lnTo>
                    <a:lnTo>
                      <a:pt x="806" y="411"/>
                    </a:lnTo>
                    <a:lnTo>
                      <a:pt x="776" y="421"/>
                    </a:lnTo>
                    <a:lnTo>
                      <a:pt x="763" y="410"/>
                    </a:lnTo>
                    <a:lnTo>
                      <a:pt x="747" y="398"/>
                    </a:lnTo>
                    <a:lnTo>
                      <a:pt x="729" y="389"/>
                    </a:lnTo>
                    <a:lnTo>
                      <a:pt x="709" y="383"/>
                    </a:lnTo>
                    <a:lnTo>
                      <a:pt x="686" y="381"/>
                    </a:lnTo>
                    <a:close/>
                    <a:moveTo>
                      <a:pt x="1089" y="0"/>
                    </a:moveTo>
                    <a:lnTo>
                      <a:pt x="1106" y="16"/>
                    </a:lnTo>
                    <a:lnTo>
                      <a:pt x="1125" y="36"/>
                    </a:lnTo>
                    <a:lnTo>
                      <a:pt x="1147" y="58"/>
                    </a:lnTo>
                    <a:lnTo>
                      <a:pt x="1169" y="80"/>
                    </a:lnTo>
                    <a:lnTo>
                      <a:pt x="998" y="250"/>
                    </a:lnTo>
                    <a:lnTo>
                      <a:pt x="1026" y="287"/>
                    </a:lnTo>
                    <a:lnTo>
                      <a:pt x="1052" y="325"/>
                    </a:lnTo>
                    <a:lnTo>
                      <a:pt x="1075" y="367"/>
                    </a:lnTo>
                    <a:lnTo>
                      <a:pt x="1094" y="412"/>
                    </a:lnTo>
                    <a:lnTo>
                      <a:pt x="1109" y="458"/>
                    </a:lnTo>
                    <a:lnTo>
                      <a:pt x="1120" y="505"/>
                    </a:lnTo>
                    <a:lnTo>
                      <a:pt x="1126" y="553"/>
                    </a:lnTo>
                    <a:lnTo>
                      <a:pt x="1128" y="602"/>
                    </a:lnTo>
                    <a:lnTo>
                      <a:pt x="1125" y="663"/>
                    </a:lnTo>
                    <a:lnTo>
                      <a:pt x="1115" y="723"/>
                    </a:lnTo>
                    <a:lnTo>
                      <a:pt x="1100" y="779"/>
                    </a:lnTo>
                    <a:lnTo>
                      <a:pt x="1079" y="834"/>
                    </a:lnTo>
                    <a:lnTo>
                      <a:pt x="1052" y="886"/>
                    </a:lnTo>
                    <a:lnTo>
                      <a:pt x="1020" y="934"/>
                    </a:lnTo>
                    <a:lnTo>
                      <a:pt x="983" y="978"/>
                    </a:lnTo>
                    <a:lnTo>
                      <a:pt x="943" y="1019"/>
                    </a:lnTo>
                    <a:lnTo>
                      <a:pt x="899" y="1055"/>
                    </a:lnTo>
                    <a:lnTo>
                      <a:pt x="849" y="1087"/>
                    </a:lnTo>
                    <a:lnTo>
                      <a:pt x="798" y="1114"/>
                    </a:lnTo>
                    <a:lnTo>
                      <a:pt x="743" y="1135"/>
                    </a:lnTo>
                    <a:lnTo>
                      <a:pt x="686" y="1152"/>
                    </a:lnTo>
                    <a:lnTo>
                      <a:pt x="626" y="1161"/>
                    </a:lnTo>
                    <a:lnTo>
                      <a:pt x="565" y="1164"/>
                    </a:lnTo>
                    <a:lnTo>
                      <a:pt x="502" y="1161"/>
                    </a:lnTo>
                    <a:lnTo>
                      <a:pt x="443" y="1152"/>
                    </a:lnTo>
                    <a:lnTo>
                      <a:pt x="385" y="1135"/>
                    </a:lnTo>
                    <a:lnTo>
                      <a:pt x="331" y="1114"/>
                    </a:lnTo>
                    <a:lnTo>
                      <a:pt x="279" y="1087"/>
                    </a:lnTo>
                    <a:lnTo>
                      <a:pt x="231" y="1055"/>
                    </a:lnTo>
                    <a:lnTo>
                      <a:pt x="186" y="1019"/>
                    </a:lnTo>
                    <a:lnTo>
                      <a:pt x="145" y="978"/>
                    </a:lnTo>
                    <a:lnTo>
                      <a:pt x="108" y="934"/>
                    </a:lnTo>
                    <a:lnTo>
                      <a:pt x="77" y="886"/>
                    </a:lnTo>
                    <a:lnTo>
                      <a:pt x="50" y="834"/>
                    </a:lnTo>
                    <a:lnTo>
                      <a:pt x="29" y="779"/>
                    </a:lnTo>
                    <a:lnTo>
                      <a:pt x="13" y="723"/>
                    </a:lnTo>
                    <a:lnTo>
                      <a:pt x="3" y="663"/>
                    </a:lnTo>
                    <a:lnTo>
                      <a:pt x="0" y="602"/>
                    </a:lnTo>
                    <a:lnTo>
                      <a:pt x="3" y="541"/>
                    </a:lnTo>
                    <a:lnTo>
                      <a:pt x="13" y="481"/>
                    </a:lnTo>
                    <a:lnTo>
                      <a:pt x="29" y="425"/>
                    </a:lnTo>
                    <a:lnTo>
                      <a:pt x="50" y="370"/>
                    </a:lnTo>
                    <a:lnTo>
                      <a:pt x="77" y="318"/>
                    </a:lnTo>
                    <a:lnTo>
                      <a:pt x="108" y="270"/>
                    </a:lnTo>
                    <a:lnTo>
                      <a:pt x="145" y="226"/>
                    </a:lnTo>
                    <a:lnTo>
                      <a:pt x="186" y="185"/>
                    </a:lnTo>
                    <a:lnTo>
                      <a:pt x="231" y="149"/>
                    </a:lnTo>
                    <a:lnTo>
                      <a:pt x="279" y="117"/>
                    </a:lnTo>
                    <a:lnTo>
                      <a:pt x="331" y="90"/>
                    </a:lnTo>
                    <a:lnTo>
                      <a:pt x="385" y="69"/>
                    </a:lnTo>
                    <a:lnTo>
                      <a:pt x="443" y="52"/>
                    </a:lnTo>
                    <a:lnTo>
                      <a:pt x="502" y="43"/>
                    </a:lnTo>
                    <a:lnTo>
                      <a:pt x="565" y="40"/>
                    </a:lnTo>
                    <a:lnTo>
                      <a:pt x="620" y="43"/>
                    </a:lnTo>
                    <a:lnTo>
                      <a:pt x="674" y="51"/>
                    </a:lnTo>
                    <a:lnTo>
                      <a:pt x="727" y="66"/>
                    </a:lnTo>
                    <a:lnTo>
                      <a:pt x="777" y="86"/>
                    </a:lnTo>
                    <a:lnTo>
                      <a:pt x="827" y="109"/>
                    </a:lnTo>
                    <a:lnTo>
                      <a:pt x="873" y="138"/>
                    </a:lnTo>
                    <a:lnTo>
                      <a:pt x="917" y="170"/>
                    </a:lnTo>
                    <a:lnTo>
                      <a:pt x="108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9" name="Freeform 23"/>
              <p:cNvSpPr>
                <a:spLocks noEditPoints="1"/>
              </p:cNvSpPr>
              <p:nvPr/>
            </p:nvSpPr>
            <p:spPr bwMode="auto">
              <a:xfrm>
                <a:off x="-783" y="2305"/>
                <a:ext cx="165" cy="165"/>
              </a:xfrm>
              <a:custGeom>
                <a:avLst/>
                <a:gdLst>
                  <a:gd name="T0" fmla="*/ 597 w 1159"/>
                  <a:gd name="T1" fmla="*/ 272 h 1154"/>
                  <a:gd name="T2" fmla="*/ 552 w 1159"/>
                  <a:gd name="T3" fmla="*/ 283 h 1154"/>
                  <a:gd name="T4" fmla="*/ 522 w 1159"/>
                  <a:gd name="T5" fmla="*/ 306 h 1154"/>
                  <a:gd name="T6" fmla="*/ 503 w 1159"/>
                  <a:gd name="T7" fmla="*/ 338 h 1154"/>
                  <a:gd name="T8" fmla="*/ 495 w 1159"/>
                  <a:gd name="T9" fmla="*/ 379 h 1154"/>
                  <a:gd name="T10" fmla="*/ 494 w 1159"/>
                  <a:gd name="T11" fmla="*/ 461 h 1154"/>
                  <a:gd name="T12" fmla="*/ 423 w 1159"/>
                  <a:gd name="T13" fmla="*/ 561 h 1154"/>
                  <a:gd name="T14" fmla="*/ 484 w 1159"/>
                  <a:gd name="T15" fmla="*/ 843 h 1154"/>
                  <a:gd name="T16" fmla="*/ 604 w 1159"/>
                  <a:gd name="T17" fmla="*/ 561 h 1154"/>
                  <a:gd name="T18" fmla="*/ 705 w 1159"/>
                  <a:gd name="T19" fmla="*/ 461 h 1154"/>
                  <a:gd name="T20" fmla="*/ 615 w 1159"/>
                  <a:gd name="T21" fmla="*/ 412 h 1154"/>
                  <a:gd name="T22" fmla="*/ 616 w 1159"/>
                  <a:gd name="T23" fmla="*/ 387 h 1154"/>
                  <a:gd name="T24" fmla="*/ 627 w 1159"/>
                  <a:gd name="T25" fmla="*/ 374 h 1154"/>
                  <a:gd name="T26" fmla="*/ 655 w 1159"/>
                  <a:gd name="T27" fmla="*/ 371 h 1154"/>
                  <a:gd name="T28" fmla="*/ 705 w 1159"/>
                  <a:gd name="T29" fmla="*/ 271 h 1154"/>
                  <a:gd name="T30" fmla="*/ 554 w 1159"/>
                  <a:gd name="T31" fmla="*/ 0 h 1154"/>
                  <a:gd name="T32" fmla="*/ 675 w 1159"/>
                  <a:gd name="T33" fmla="*/ 13 h 1154"/>
                  <a:gd name="T34" fmla="*/ 788 w 1159"/>
                  <a:gd name="T35" fmla="*/ 49 h 1154"/>
                  <a:gd name="T36" fmla="*/ 888 w 1159"/>
                  <a:gd name="T37" fmla="*/ 108 h 1154"/>
                  <a:gd name="T38" fmla="*/ 974 w 1159"/>
                  <a:gd name="T39" fmla="*/ 185 h 1154"/>
                  <a:gd name="T40" fmla="*/ 1041 w 1159"/>
                  <a:gd name="T41" fmla="*/ 278 h 1154"/>
                  <a:gd name="T42" fmla="*/ 1090 w 1159"/>
                  <a:gd name="T43" fmla="*/ 384 h 1154"/>
                  <a:gd name="T44" fmla="*/ 1115 w 1159"/>
                  <a:gd name="T45" fmla="*/ 501 h 1154"/>
                  <a:gd name="T46" fmla="*/ 1115 w 1159"/>
                  <a:gd name="T47" fmla="*/ 617 h 1154"/>
                  <a:gd name="T48" fmla="*/ 1093 w 1159"/>
                  <a:gd name="T49" fmla="*/ 723 h 1154"/>
                  <a:gd name="T50" fmla="*/ 1049 w 1159"/>
                  <a:gd name="T51" fmla="*/ 822 h 1154"/>
                  <a:gd name="T52" fmla="*/ 988 w 1159"/>
                  <a:gd name="T53" fmla="*/ 913 h 1154"/>
                  <a:gd name="T54" fmla="*/ 1142 w 1159"/>
                  <a:gd name="T55" fmla="*/ 1099 h 1154"/>
                  <a:gd name="T56" fmla="*/ 1106 w 1159"/>
                  <a:gd name="T57" fmla="*/ 1133 h 1154"/>
                  <a:gd name="T58" fmla="*/ 917 w 1159"/>
                  <a:gd name="T59" fmla="*/ 984 h 1154"/>
                  <a:gd name="T60" fmla="*/ 843 w 1159"/>
                  <a:gd name="T61" fmla="*/ 1037 h 1154"/>
                  <a:gd name="T62" fmla="*/ 756 w 1159"/>
                  <a:gd name="T63" fmla="*/ 1079 h 1154"/>
                  <a:gd name="T64" fmla="*/ 662 w 1159"/>
                  <a:gd name="T65" fmla="*/ 1105 h 1154"/>
                  <a:gd name="T66" fmla="*/ 565 w 1159"/>
                  <a:gd name="T67" fmla="*/ 1114 h 1154"/>
                  <a:gd name="T68" fmla="*/ 443 w 1159"/>
                  <a:gd name="T69" fmla="*/ 1101 h 1154"/>
                  <a:gd name="T70" fmla="*/ 331 w 1159"/>
                  <a:gd name="T71" fmla="*/ 1064 h 1154"/>
                  <a:gd name="T72" fmla="*/ 231 w 1159"/>
                  <a:gd name="T73" fmla="*/ 1006 h 1154"/>
                  <a:gd name="T74" fmla="*/ 145 w 1159"/>
                  <a:gd name="T75" fmla="*/ 930 h 1154"/>
                  <a:gd name="T76" fmla="*/ 77 w 1159"/>
                  <a:gd name="T77" fmla="*/ 838 h 1154"/>
                  <a:gd name="T78" fmla="*/ 29 w 1159"/>
                  <a:gd name="T79" fmla="*/ 735 h 1154"/>
                  <a:gd name="T80" fmla="*/ 3 w 1159"/>
                  <a:gd name="T81" fmla="*/ 621 h 1154"/>
                  <a:gd name="T82" fmla="*/ 3 w 1159"/>
                  <a:gd name="T83" fmla="*/ 505 h 1154"/>
                  <a:gd name="T84" fmla="*/ 25 w 1159"/>
                  <a:gd name="T85" fmla="*/ 395 h 1154"/>
                  <a:gd name="T86" fmla="*/ 65 w 1159"/>
                  <a:gd name="T87" fmla="*/ 294 h 1154"/>
                  <a:gd name="T88" fmla="*/ 124 w 1159"/>
                  <a:gd name="T89" fmla="*/ 204 h 1154"/>
                  <a:gd name="T90" fmla="*/ 200 w 1159"/>
                  <a:gd name="T91" fmla="*/ 128 h 1154"/>
                  <a:gd name="T92" fmla="*/ 288 w 1159"/>
                  <a:gd name="T93" fmla="*/ 68 h 1154"/>
                  <a:gd name="T94" fmla="*/ 387 w 1159"/>
                  <a:gd name="T95" fmla="*/ 25 h 1154"/>
                  <a:gd name="T96" fmla="*/ 497 w 1159"/>
                  <a:gd name="T97" fmla="*/ 2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59" h="1154">
                    <a:moveTo>
                      <a:pt x="625" y="271"/>
                    </a:moveTo>
                    <a:lnTo>
                      <a:pt x="597" y="272"/>
                    </a:lnTo>
                    <a:lnTo>
                      <a:pt x="572" y="277"/>
                    </a:lnTo>
                    <a:lnTo>
                      <a:pt x="552" y="283"/>
                    </a:lnTo>
                    <a:lnTo>
                      <a:pt x="536" y="293"/>
                    </a:lnTo>
                    <a:lnTo>
                      <a:pt x="522" y="306"/>
                    </a:lnTo>
                    <a:lnTo>
                      <a:pt x="511" y="321"/>
                    </a:lnTo>
                    <a:lnTo>
                      <a:pt x="503" y="338"/>
                    </a:lnTo>
                    <a:lnTo>
                      <a:pt x="498" y="357"/>
                    </a:lnTo>
                    <a:lnTo>
                      <a:pt x="495" y="379"/>
                    </a:lnTo>
                    <a:lnTo>
                      <a:pt x="494" y="401"/>
                    </a:lnTo>
                    <a:lnTo>
                      <a:pt x="494" y="461"/>
                    </a:lnTo>
                    <a:lnTo>
                      <a:pt x="423" y="461"/>
                    </a:lnTo>
                    <a:lnTo>
                      <a:pt x="423" y="561"/>
                    </a:lnTo>
                    <a:lnTo>
                      <a:pt x="484" y="561"/>
                    </a:lnTo>
                    <a:lnTo>
                      <a:pt x="484" y="843"/>
                    </a:lnTo>
                    <a:lnTo>
                      <a:pt x="604" y="843"/>
                    </a:lnTo>
                    <a:lnTo>
                      <a:pt x="604" y="561"/>
                    </a:lnTo>
                    <a:lnTo>
                      <a:pt x="696" y="561"/>
                    </a:lnTo>
                    <a:lnTo>
                      <a:pt x="705" y="461"/>
                    </a:lnTo>
                    <a:lnTo>
                      <a:pt x="615" y="461"/>
                    </a:lnTo>
                    <a:lnTo>
                      <a:pt x="615" y="412"/>
                    </a:lnTo>
                    <a:lnTo>
                      <a:pt x="615" y="398"/>
                    </a:lnTo>
                    <a:lnTo>
                      <a:pt x="616" y="387"/>
                    </a:lnTo>
                    <a:lnTo>
                      <a:pt x="619" y="380"/>
                    </a:lnTo>
                    <a:lnTo>
                      <a:pt x="627" y="374"/>
                    </a:lnTo>
                    <a:lnTo>
                      <a:pt x="638" y="372"/>
                    </a:lnTo>
                    <a:lnTo>
                      <a:pt x="655" y="371"/>
                    </a:lnTo>
                    <a:lnTo>
                      <a:pt x="705" y="371"/>
                    </a:lnTo>
                    <a:lnTo>
                      <a:pt x="705" y="271"/>
                    </a:lnTo>
                    <a:lnTo>
                      <a:pt x="625" y="271"/>
                    </a:lnTo>
                    <a:close/>
                    <a:moveTo>
                      <a:pt x="554" y="0"/>
                    </a:moveTo>
                    <a:lnTo>
                      <a:pt x="616" y="3"/>
                    </a:lnTo>
                    <a:lnTo>
                      <a:pt x="675" y="13"/>
                    </a:lnTo>
                    <a:lnTo>
                      <a:pt x="733" y="28"/>
                    </a:lnTo>
                    <a:lnTo>
                      <a:pt x="788" y="49"/>
                    </a:lnTo>
                    <a:lnTo>
                      <a:pt x="839" y="76"/>
                    </a:lnTo>
                    <a:lnTo>
                      <a:pt x="888" y="108"/>
                    </a:lnTo>
                    <a:lnTo>
                      <a:pt x="933" y="145"/>
                    </a:lnTo>
                    <a:lnTo>
                      <a:pt x="974" y="185"/>
                    </a:lnTo>
                    <a:lnTo>
                      <a:pt x="1010" y="230"/>
                    </a:lnTo>
                    <a:lnTo>
                      <a:pt x="1041" y="278"/>
                    </a:lnTo>
                    <a:lnTo>
                      <a:pt x="1068" y="329"/>
                    </a:lnTo>
                    <a:lnTo>
                      <a:pt x="1090" y="384"/>
                    </a:lnTo>
                    <a:lnTo>
                      <a:pt x="1106" y="441"/>
                    </a:lnTo>
                    <a:lnTo>
                      <a:pt x="1115" y="501"/>
                    </a:lnTo>
                    <a:lnTo>
                      <a:pt x="1119" y="561"/>
                    </a:lnTo>
                    <a:lnTo>
                      <a:pt x="1115" y="617"/>
                    </a:lnTo>
                    <a:lnTo>
                      <a:pt x="1107" y="670"/>
                    </a:lnTo>
                    <a:lnTo>
                      <a:pt x="1093" y="723"/>
                    </a:lnTo>
                    <a:lnTo>
                      <a:pt x="1074" y="774"/>
                    </a:lnTo>
                    <a:lnTo>
                      <a:pt x="1049" y="822"/>
                    </a:lnTo>
                    <a:lnTo>
                      <a:pt x="1021" y="869"/>
                    </a:lnTo>
                    <a:lnTo>
                      <a:pt x="988" y="913"/>
                    </a:lnTo>
                    <a:lnTo>
                      <a:pt x="1159" y="1084"/>
                    </a:lnTo>
                    <a:lnTo>
                      <a:pt x="1142" y="1099"/>
                    </a:lnTo>
                    <a:lnTo>
                      <a:pt x="1124" y="1115"/>
                    </a:lnTo>
                    <a:lnTo>
                      <a:pt x="1106" y="1133"/>
                    </a:lnTo>
                    <a:lnTo>
                      <a:pt x="1089" y="1154"/>
                    </a:lnTo>
                    <a:lnTo>
                      <a:pt x="917" y="984"/>
                    </a:lnTo>
                    <a:lnTo>
                      <a:pt x="881" y="1012"/>
                    </a:lnTo>
                    <a:lnTo>
                      <a:pt x="843" y="1037"/>
                    </a:lnTo>
                    <a:lnTo>
                      <a:pt x="801" y="1060"/>
                    </a:lnTo>
                    <a:lnTo>
                      <a:pt x="756" y="1079"/>
                    </a:lnTo>
                    <a:lnTo>
                      <a:pt x="710" y="1094"/>
                    </a:lnTo>
                    <a:lnTo>
                      <a:pt x="662" y="1105"/>
                    </a:lnTo>
                    <a:lnTo>
                      <a:pt x="614" y="1111"/>
                    </a:lnTo>
                    <a:lnTo>
                      <a:pt x="565" y="1114"/>
                    </a:lnTo>
                    <a:lnTo>
                      <a:pt x="502" y="1111"/>
                    </a:lnTo>
                    <a:lnTo>
                      <a:pt x="443" y="1101"/>
                    </a:lnTo>
                    <a:lnTo>
                      <a:pt x="385" y="1085"/>
                    </a:lnTo>
                    <a:lnTo>
                      <a:pt x="331" y="1064"/>
                    </a:lnTo>
                    <a:lnTo>
                      <a:pt x="279" y="1037"/>
                    </a:lnTo>
                    <a:lnTo>
                      <a:pt x="231" y="1006"/>
                    </a:lnTo>
                    <a:lnTo>
                      <a:pt x="186" y="970"/>
                    </a:lnTo>
                    <a:lnTo>
                      <a:pt x="145" y="930"/>
                    </a:lnTo>
                    <a:lnTo>
                      <a:pt x="108" y="886"/>
                    </a:lnTo>
                    <a:lnTo>
                      <a:pt x="77" y="838"/>
                    </a:lnTo>
                    <a:lnTo>
                      <a:pt x="50" y="788"/>
                    </a:lnTo>
                    <a:lnTo>
                      <a:pt x="29" y="735"/>
                    </a:lnTo>
                    <a:lnTo>
                      <a:pt x="13" y="679"/>
                    </a:lnTo>
                    <a:lnTo>
                      <a:pt x="3" y="621"/>
                    </a:lnTo>
                    <a:lnTo>
                      <a:pt x="0" y="561"/>
                    </a:lnTo>
                    <a:lnTo>
                      <a:pt x="3" y="505"/>
                    </a:lnTo>
                    <a:lnTo>
                      <a:pt x="11" y="448"/>
                    </a:lnTo>
                    <a:lnTo>
                      <a:pt x="25" y="395"/>
                    </a:lnTo>
                    <a:lnTo>
                      <a:pt x="43" y="342"/>
                    </a:lnTo>
                    <a:lnTo>
                      <a:pt x="65" y="294"/>
                    </a:lnTo>
                    <a:lnTo>
                      <a:pt x="93" y="247"/>
                    </a:lnTo>
                    <a:lnTo>
                      <a:pt x="124" y="204"/>
                    </a:lnTo>
                    <a:lnTo>
                      <a:pt x="160" y="164"/>
                    </a:lnTo>
                    <a:lnTo>
                      <a:pt x="200" y="128"/>
                    </a:lnTo>
                    <a:lnTo>
                      <a:pt x="241" y="95"/>
                    </a:lnTo>
                    <a:lnTo>
                      <a:pt x="288" y="68"/>
                    </a:lnTo>
                    <a:lnTo>
                      <a:pt x="336" y="44"/>
                    </a:lnTo>
                    <a:lnTo>
                      <a:pt x="387" y="25"/>
                    </a:lnTo>
                    <a:lnTo>
                      <a:pt x="441" y="11"/>
                    </a:lnTo>
                    <a:lnTo>
                      <a:pt x="497" y="2"/>
                    </a:lnTo>
                    <a:lnTo>
                      <a:pt x="5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0" name="Freeform 24"/>
              <p:cNvSpPr>
                <a:spLocks/>
              </p:cNvSpPr>
              <p:nvPr/>
            </p:nvSpPr>
            <p:spPr bwMode="auto">
              <a:xfrm>
                <a:off x="-618" y="2470"/>
                <a:ext cx="160" cy="159"/>
              </a:xfrm>
              <a:custGeom>
                <a:avLst/>
                <a:gdLst>
                  <a:gd name="T0" fmla="*/ 659 w 1119"/>
                  <a:gd name="T1" fmla="*/ 9 h 1114"/>
                  <a:gd name="T2" fmla="*/ 638 w 1119"/>
                  <a:gd name="T3" fmla="*/ 40 h 1114"/>
                  <a:gd name="T4" fmla="*/ 667 w 1119"/>
                  <a:gd name="T5" fmla="*/ 61 h 1114"/>
                  <a:gd name="T6" fmla="*/ 718 w 1119"/>
                  <a:gd name="T7" fmla="*/ 97 h 1114"/>
                  <a:gd name="T8" fmla="*/ 746 w 1119"/>
                  <a:gd name="T9" fmla="*/ 160 h 1114"/>
                  <a:gd name="T10" fmla="*/ 748 w 1119"/>
                  <a:gd name="T11" fmla="*/ 304 h 1114"/>
                  <a:gd name="T12" fmla="*/ 770 w 1119"/>
                  <a:gd name="T13" fmla="*/ 310 h 1114"/>
                  <a:gd name="T14" fmla="*/ 766 w 1119"/>
                  <a:gd name="T15" fmla="*/ 351 h 1114"/>
                  <a:gd name="T16" fmla="*/ 761 w 1119"/>
                  <a:gd name="T17" fmla="*/ 391 h 1114"/>
                  <a:gd name="T18" fmla="*/ 753 w 1119"/>
                  <a:gd name="T19" fmla="*/ 409 h 1114"/>
                  <a:gd name="T20" fmla="*/ 747 w 1119"/>
                  <a:gd name="T21" fmla="*/ 411 h 1114"/>
                  <a:gd name="T22" fmla="*/ 737 w 1119"/>
                  <a:gd name="T23" fmla="*/ 464 h 1114"/>
                  <a:gd name="T24" fmla="*/ 704 w 1119"/>
                  <a:gd name="T25" fmla="*/ 537 h 1114"/>
                  <a:gd name="T26" fmla="*/ 695 w 1119"/>
                  <a:gd name="T27" fmla="*/ 559 h 1114"/>
                  <a:gd name="T28" fmla="*/ 706 w 1119"/>
                  <a:gd name="T29" fmla="*/ 622 h 1114"/>
                  <a:gd name="T30" fmla="*/ 710 w 1119"/>
                  <a:gd name="T31" fmla="*/ 629 h 1114"/>
                  <a:gd name="T32" fmla="*/ 711 w 1119"/>
                  <a:gd name="T33" fmla="*/ 632 h 1114"/>
                  <a:gd name="T34" fmla="*/ 732 w 1119"/>
                  <a:gd name="T35" fmla="*/ 637 h 1114"/>
                  <a:gd name="T36" fmla="*/ 737 w 1119"/>
                  <a:gd name="T37" fmla="*/ 681 h 1114"/>
                  <a:gd name="T38" fmla="*/ 761 w 1119"/>
                  <a:gd name="T39" fmla="*/ 720 h 1114"/>
                  <a:gd name="T40" fmla="*/ 961 w 1119"/>
                  <a:gd name="T41" fmla="*/ 781 h 1114"/>
                  <a:gd name="T42" fmla="*/ 1059 w 1119"/>
                  <a:gd name="T43" fmla="*/ 820 h 1114"/>
                  <a:gd name="T44" fmla="*/ 1041 w 1119"/>
                  <a:gd name="T45" fmla="*/ 965 h 1114"/>
                  <a:gd name="T46" fmla="*/ 870 w 1119"/>
                  <a:gd name="T47" fmla="*/ 1032 h 1114"/>
                  <a:gd name="T48" fmla="*/ 671 w 1119"/>
                  <a:gd name="T49" fmla="*/ 1103 h 1114"/>
                  <a:gd name="T50" fmla="*/ 423 w 1119"/>
                  <a:gd name="T51" fmla="*/ 1090 h 1114"/>
                  <a:gd name="T52" fmla="*/ 271 w 1119"/>
                  <a:gd name="T53" fmla="*/ 1027 h 1114"/>
                  <a:gd name="T54" fmla="*/ 126 w 1119"/>
                  <a:gd name="T55" fmla="*/ 970 h 1114"/>
                  <a:gd name="T56" fmla="*/ 51 w 1119"/>
                  <a:gd name="T57" fmla="*/ 833 h 1114"/>
                  <a:gd name="T58" fmla="*/ 100 w 1119"/>
                  <a:gd name="T59" fmla="*/ 803 h 1114"/>
                  <a:gd name="T60" fmla="*/ 197 w 1119"/>
                  <a:gd name="T61" fmla="*/ 776 h 1114"/>
                  <a:gd name="T62" fmla="*/ 312 w 1119"/>
                  <a:gd name="T63" fmla="*/ 737 h 1114"/>
                  <a:gd name="T64" fmla="*/ 365 w 1119"/>
                  <a:gd name="T65" fmla="*/ 714 h 1114"/>
                  <a:gd name="T66" fmla="*/ 383 w 1119"/>
                  <a:gd name="T67" fmla="*/ 663 h 1114"/>
                  <a:gd name="T68" fmla="*/ 393 w 1119"/>
                  <a:gd name="T69" fmla="*/ 634 h 1114"/>
                  <a:gd name="T70" fmla="*/ 411 w 1119"/>
                  <a:gd name="T71" fmla="*/ 629 h 1114"/>
                  <a:gd name="T72" fmla="*/ 414 w 1119"/>
                  <a:gd name="T73" fmla="*/ 623 h 1114"/>
                  <a:gd name="T74" fmla="*/ 423 w 1119"/>
                  <a:gd name="T75" fmla="*/ 568 h 1114"/>
                  <a:gd name="T76" fmla="*/ 415 w 1119"/>
                  <a:gd name="T77" fmla="*/ 533 h 1114"/>
                  <a:gd name="T78" fmla="*/ 389 w 1119"/>
                  <a:gd name="T79" fmla="*/ 472 h 1114"/>
                  <a:gd name="T80" fmla="*/ 373 w 1119"/>
                  <a:gd name="T81" fmla="*/ 411 h 1114"/>
                  <a:gd name="T82" fmla="*/ 367 w 1119"/>
                  <a:gd name="T83" fmla="*/ 409 h 1114"/>
                  <a:gd name="T84" fmla="*/ 356 w 1119"/>
                  <a:gd name="T85" fmla="*/ 388 h 1114"/>
                  <a:gd name="T86" fmla="*/ 342 w 1119"/>
                  <a:gd name="T87" fmla="*/ 346 h 1114"/>
                  <a:gd name="T88" fmla="*/ 336 w 1119"/>
                  <a:gd name="T89" fmla="*/ 314 h 1114"/>
                  <a:gd name="T90" fmla="*/ 356 w 1119"/>
                  <a:gd name="T91" fmla="*/ 303 h 1114"/>
                  <a:gd name="T92" fmla="*/ 361 w 1119"/>
                  <a:gd name="T93" fmla="*/ 303 h 1114"/>
                  <a:gd name="T94" fmla="*/ 363 w 1119"/>
                  <a:gd name="T95" fmla="*/ 294 h 1114"/>
                  <a:gd name="T96" fmla="*/ 372 w 1119"/>
                  <a:gd name="T97" fmla="*/ 127 h 1114"/>
                  <a:gd name="T98" fmla="*/ 445 w 1119"/>
                  <a:gd name="T99" fmla="*/ 60 h 1114"/>
                  <a:gd name="T100" fmla="*/ 569 w 1119"/>
                  <a:gd name="T101" fmla="*/ 16 h 1114"/>
                  <a:gd name="T102" fmla="*/ 636 w 1119"/>
                  <a:gd name="T103" fmla="*/ 2 h 1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19" h="1114">
                    <a:moveTo>
                      <a:pt x="655" y="0"/>
                    </a:moveTo>
                    <a:lnTo>
                      <a:pt x="665" y="0"/>
                    </a:lnTo>
                    <a:lnTo>
                      <a:pt x="664" y="6"/>
                    </a:lnTo>
                    <a:lnTo>
                      <a:pt x="659" y="9"/>
                    </a:lnTo>
                    <a:lnTo>
                      <a:pt x="652" y="14"/>
                    </a:lnTo>
                    <a:lnTo>
                      <a:pt x="645" y="20"/>
                    </a:lnTo>
                    <a:lnTo>
                      <a:pt x="638" y="30"/>
                    </a:lnTo>
                    <a:lnTo>
                      <a:pt x="638" y="40"/>
                    </a:lnTo>
                    <a:lnTo>
                      <a:pt x="645" y="50"/>
                    </a:lnTo>
                    <a:lnTo>
                      <a:pt x="651" y="51"/>
                    </a:lnTo>
                    <a:lnTo>
                      <a:pt x="659" y="55"/>
                    </a:lnTo>
                    <a:lnTo>
                      <a:pt x="667" y="61"/>
                    </a:lnTo>
                    <a:lnTo>
                      <a:pt x="680" y="69"/>
                    </a:lnTo>
                    <a:lnTo>
                      <a:pt x="695" y="80"/>
                    </a:lnTo>
                    <a:lnTo>
                      <a:pt x="706" y="86"/>
                    </a:lnTo>
                    <a:lnTo>
                      <a:pt x="718" y="97"/>
                    </a:lnTo>
                    <a:lnTo>
                      <a:pt x="728" y="109"/>
                    </a:lnTo>
                    <a:lnTo>
                      <a:pt x="737" y="124"/>
                    </a:lnTo>
                    <a:lnTo>
                      <a:pt x="743" y="141"/>
                    </a:lnTo>
                    <a:lnTo>
                      <a:pt x="746" y="160"/>
                    </a:lnTo>
                    <a:lnTo>
                      <a:pt x="746" y="281"/>
                    </a:lnTo>
                    <a:lnTo>
                      <a:pt x="746" y="292"/>
                    </a:lnTo>
                    <a:lnTo>
                      <a:pt x="747" y="299"/>
                    </a:lnTo>
                    <a:lnTo>
                      <a:pt x="748" y="304"/>
                    </a:lnTo>
                    <a:lnTo>
                      <a:pt x="751" y="304"/>
                    </a:lnTo>
                    <a:lnTo>
                      <a:pt x="756" y="301"/>
                    </a:lnTo>
                    <a:lnTo>
                      <a:pt x="765" y="303"/>
                    </a:lnTo>
                    <a:lnTo>
                      <a:pt x="770" y="310"/>
                    </a:lnTo>
                    <a:lnTo>
                      <a:pt x="772" y="318"/>
                    </a:lnTo>
                    <a:lnTo>
                      <a:pt x="772" y="329"/>
                    </a:lnTo>
                    <a:lnTo>
                      <a:pt x="770" y="341"/>
                    </a:lnTo>
                    <a:lnTo>
                      <a:pt x="766" y="351"/>
                    </a:lnTo>
                    <a:lnTo>
                      <a:pt x="766" y="365"/>
                    </a:lnTo>
                    <a:lnTo>
                      <a:pt x="766" y="376"/>
                    </a:lnTo>
                    <a:lnTo>
                      <a:pt x="764" y="384"/>
                    </a:lnTo>
                    <a:lnTo>
                      <a:pt x="761" y="391"/>
                    </a:lnTo>
                    <a:lnTo>
                      <a:pt x="756" y="402"/>
                    </a:lnTo>
                    <a:lnTo>
                      <a:pt x="755" y="405"/>
                    </a:lnTo>
                    <a:lnTo>
                      <a:pt x="754" y="407"/>
                    </a:lnTo>
                    <a:lnTo>
                      <a:pt x="753" y="409"/>
                    </a:lnTo>
                    <a:lnTo>
                      <a:pt x="751" y="410"/>
                    </a:lnTo>
                    <a:lnTo>
                      <a:pt x="749" y="410"/>
                    </a:lnTo>
                    <a:lnTo>
                      <a:pt x="748" y="411"/>
                    </a:lnTo>
                    <a:lnTo>
                      <a:pt x="747" y="411"/>
                    </a:lnTo>
                    <a:lnTo>
                      <a:pt x="746" y="411"/>
                    </a:lnTo>
                    <a:lnTo>
                      <a:pt x="746" y="424"/>
                    </a:lnTo>
                    <a:lnTo>
                      <a:pt x="742" y="442"/>
                    </a:lnTo>
                    <a:lnTo>
                      <a:pt x="737" y="464"/>
                    </a:lnTo>
                    <a:lnTo>
                      <a:pt x="729" y="487"/>
                    </a:lnTo>
                    <a:lnTo>
                      <a:pt x="719" y="511"/>
                    </a:lnTo>
                    <a:lnTo>
                      <a:pt x="706" y="532"/>
                    </a:lnTo>
                    <a:lnTo>
                      <a:pt x="704" y="537"/>
                    </a:lnTo>
                    <a:lnTo>
                      <a:pt x="700" y="542"/>
                    </a:lnTo>
                    <a:lnTo>
                      <a:pt x="697" y="546"/>
                    </a:lnTo>
                    <a:lnTo>
                      <a:pt x="695" y="551"/>
                    </a:lnTo>
                    <a:lnTo>
                      <a:pt x="695" y="559"/>
                    </a:lnTo>
                    <a:lnTo>
                      <a:pt x="696" y="570"/>
                    </a:lnTo>
                    <a:lnTo>
                      <a:pt x="697" y="582"/>
                    </a:lnTo>
                    <a:lnTo>
                      <a:pt x="700" y="601"/>
                    </a:lnTo>
                    <a:lnTo>
                      <a:pt x="706" y="622"/>
                    </a:lnTo>
                    <a:lnTo>
                      <a:pt x="708" y="625"/>
                    </a:lnTo>
                    <a:lnTo>
                      <a:pt x="709" y="627"/>
                    </a:lnTo>
                    <a:lnTo>
                      <a:pt x="710" y="628"/>
                    </a:lnTo>
                    <a:lnTo>
                      <a:pt x="710" y="629"/>
                    </a:lnTo>
                    <a:lnTo>
                      <a:pt x="710" y="630"/>
                    </a:lnTo>
                    <a:lnTo>
                      <a:pt x="710" y="632"/>
                    </a:lnTo>
                    <a:lnTo>
                      <a:pt x="711" y="632"/>
                    </a:lnTo>
                    <a:lnTo>
                      <a:pt x="711" y="632"/>
                    </a:lnTo>
                    <a:lnTo>
                      <a:pt x="713" y="632"/>
                    </a:lnTo>
                    <a:lnTo>
                      <a:pt x="715" y="632"/>
                    </a:lnTo>
                    <a:lnTo>
                      <a:pt x="725" y="633"/>
                    </a:lnTo>
                    <a:lnTo>
                      <a:pt x="732" y="637"/>
                    </a:lnTo>
                    <a:lnTo>
                      <a:pt x="735" y="643"/>
                    </a:lnTo>
                    <a:lnTo>
                      <a:pt x="736" y="651"/>
                    </a:lnTo>
                    <a:lnTo>
                      <a:pt x="736" y="663"/>
                    </a:lnTo>
                    <a:lnTo>
                      <a:pt x="737" y="681"/>
                    </a:lnTo>
                    <a:lnTo>
                      <a:pt x="741" y="696"/>
                    </a:lnTo>
                    <a:lnTo>
                      <a:pt x="748" y="707"/>
                    </a:lnTo>
                    <a:lnTo>
                      <a:pt x="754" y="716"/>
                    </a:lnTo>
                    <a:lnTo>
                      <a:pt x="761" y="720"/>
                    </a:lnTo>
                    <a:lnTo>
                      <a:pt x="766" y="722"/>
                    </a:lnTo>
                    <a:lnTo>
                      <a:pt x="832" y="744"/>
                    </a:lnTo>
                    <a:lnTo>
                      <a:pt x="897" y="763"/>
                    </a:lnTo>
                    <a:lnTo>
                      <a:pt x="961" y="781"/>
                    </a:lnTo>
                    <a:lnTo>
                      <a:pt x="1028" y="803"/>
                    </a:lnTo>
                    <a:lnTo>
                      <a:pt x="1038" y="805"/>
                    </a:lnTo>
                    <a:lnTo>
                      <a:pt x="1048" y="810"/>
                    </a:lnTo>
                    <a:lnTo>
                      <a:pt x="1059" y="820"/>
                    </a:lnTo>
                    <a:lnTo>
                      <a:pt x="1069" y="833"/>
                    </a:lnTo>
                    <a:lnTo>
                      <a:pt x="1119" y="953"/>
                    </a:lnTo>
                    <a:lnTo>
                      <a:pt x="1079" y="957"/>
                    </a:lnTo>
                    <a:lnTo>
                      <a:pt x="1041" y="965"/>
                    </a:lnTo>
                    <a:lnTo>
                      <a:pt x="1000" y="978"/>
                    </a:lnTo>
                    <a:lnTo>
                      <a:pt x="958" y="994"/>
                    </a:lnTo>
                    <a:lnTo>
                      <a:pt x="915" y="1012"/>
                    </a:lnTo>
                    <a:lnTo>
                      <a:pt x="870" y="1032"/>
                    </a:lnTo>
                    <a:lnTo>
                      <a:pt x="824" y="1053"/>
                    </a:lnTo>
                    <a:lnTo>
                      <a:pt x="776" y="1072"/>
                    </a:lnTo>
                    <a:lnTo>
                      <a:pt x="724" y="1089"/>
                    </a:lnTo>
                    <a:lnTo>
                      <a:pt x="671" y="1103"/>
                    </a:lnTo>
                    <a:lnTo>
                      <a:pt x="615" y="1114"/>
                    </a:lnTo>
                    <a:lnTo>
                      <a:pt x="514" y="1114"/>
                    </a:lnTo>
                    <a:lnTo>
                      <a:pt x="467" y="1103"/>
                    </a:lnTo>
                    <a:lnTo>
                      <a:pt x="423" y="1090"/>
                    </a:lnTo>
                    <a:lnTo>
                      <a:pt x="383" y="1076"/>
                    </a:lnTo>
                    <a:lnTo>
                      <a:pt x="344" y="1060"/>
                    </a:lnTo>
                    <a:lnTo>
                      <a:pt x="307" y="1043"/>
                    </a:lnTo>
                    <a:lnTo>
                      <a:pt x="271" y="1027"/>
                    </a:lnTo>
                    <a:lnTo>
                      <a:pt x="236" y="1011"/>
                    </a:lnTo>
                    <a:lnTo>
                      <a:pt x="200" y="995"/>
                    </a:lnTo>
                    <a:lnTo>
                      <a:pt x="164" y="981"/>
                    </a:lnTo>
                    <a:lnTo>
                      <a:pt x="126" y="970"/>
                    </a:lnTo>
                    <a:lnTo>
                      <a:pt x="86" y="961"/>
                    </a:lnTo>
                    <a:lnTo>
                      <a:pt x="44" y="955"/>
                    </a:lnTo>
                    <a:lnTo>
                      <a:pt x="0" y="953"/>
                    </a:lnTo>
                    <a:lnTo>
                      <a:pt x="51" y="833"/>
                    </a:lnTo>
                    <a:lnTo>
                      <a:pt x="58" y="825"/>
                    </a:lnTo>
                    <a:lnTo>
                      <a:pt x="68" y="818"/>
                    </a:lnTo>
                    <a:lnTo>
                      <a:pt x="82" y="810"/>
                    </a:lnTo>
                    <a:lnTo>
                      <a:pt x="100" y="803"/>
                    </a:lnTo>
                    <a:lnTo>
                      <a:pt x="119" y="798"/>
                    </a:lnTo>
                    <a:lnTo>
                      <a:pt x="141" y="793"/>
                    </a:lnTo>
                    <a:lnTo>
                      <a:pt x="168" y="784"/>
                    </a:lnTo>
                    <a:lnTo>
                      <a:pt x="197" y="776"/>
                    </a:lnTo>
                    <a:lnTo>
                      <a:pt x="227" y="766"/>
                    </a:lnTo>
                    <a:lnTo>
                      <a:pt x="257" y="757"/>
                    </a:lnTo>
                    <a:lnTo>
                      <a:pt x="286" y="747"/>
                    </a:lnTo>
                    <a:lnTo>
                      <a:pt x="312" y="737"/>
                    </a:lnTo>
                    <a:lnTo>
                      <a:pt x="334" y="729"/>
                    </a:lnTo>
                    <a:lnTo>
                      <a:pt x="353" y="722"/>
                    </a:lnTo>
                    <a:lnTo>
                      <a:pt x="359" y="720"/>
                    </a:lnTo>
                    <a:lnTo>
                      <a:pt x="365" y="714"/>
                    </a:lnTo>
                    <a:lnTo>
                      <a:pt x="372" y="704"/>
                    </a:lnTo>
                    <a:lnTo>
                      <a:pt x="377" y="691"/>
                    </a:lnTo>
                    <a:lnTo>
                      <a:pt x="382" y="678"/>
                    </a:lnTo>
                    <a:lnTo>
                      <a:pt x="383" y="663"/>
                    </a:lnTo>
                    <a:lnTo>
                      <a:pt x="384" y="652"/>
                    </a:lnTo>
                    <a:lnTo>
                      <a:pt x="385" y="643"/>
                    </a:lnTo>
                    <a:lnTo>
                      <a:pt x="387" y="637"/>
                    </a:lnTo>
                    <a:lnTo>
                      <a:pt x="393" y="634"/>
                    </a:lnTo>
                    <a:lnTo>
                      <a:pt x="403" y="633"/>
                    </a:lnTo>
                    <a:lnTo>
                      <a:pt x="406" y="632"/>
                    </a:lnTo>
                    <a:lnTo>
                      <a:pt x="409" y="630"/>
                    </a:lnTo>
                    <a:lnTo>
                      <a:pt x="411" y="629"/>
                    </a:lnTo>
                    <a:lnTo>
                      <a:pt x="412" y="627"/>
                    </a:lnTo>
                    <a:lnTo>
                      <a:pt x="413" y="625"/>
                    </a:lnTo>
                    <a:lnTo>
                      <a:pt x="413" y="624"/>
                    </a:lnTo>
                    <a:lnTo>
                      <a:pt x="414" y="623"/>
                    </a:lnTo>
                    <a:lnTo>
                      <a:pt x="414" y="622"/>
                    </a:lnTo>
                    <a:lnTo>
                      <a:pt x="419" y="606"/>
                    </a:lnTo>
                    <a:lnTo>
                      <a:pt x="422" y="587"/>
                    </a:lnTo>
                    <a:lnTo>
                      <a:pt x="423" y="568"/>
                    </a:lnTo>
                    <a:lnTo>
                      <a:pt x="423" y="552"/>
                    </a:lnTo>
                    <a:lnTo>
                      <a:pt x="422" y="545"/>
                    </a:lnTo>
                    <a:lnTo>
                      <a:pt x="418" y="539"/>
                    </a:lnTo>
                    <a:lnTo>
                      <a:pt x="415" y="533"/>
                    </a:lnTo>
                    <a:lnTo>
                      <a:pt x="414" y="532"/>
                    </a:lnTo>
                    <a:lnTo>
                      <a:pt x="404" y="515"/>
                    </a:lnTo>
                    <a:lnTo>
                      <a:pt x="397" y="494"/>
                    </a:lnTo>
                    <a:lnTo>
                      <a:pt x="389" y="472"/>
                    </a:lnTo>
                    <a:lnTo>
                      <a:pt x="384" y="450"/>
                    </a:lnTo>
                    <a:lnTo>
                      <a:pt x="378" y="428"/>
                    </a:lnTo>
                    <a:lnTo>
                      <a:pt x="373" y="411"/>
                    </a:lnTo>
                    <a:lnTo>
                      <a:pt x="373" y="411"/>
                    </a:lnTo>
                    <a:lnTo>
                      <a:pt x="371" y="411"/>
                    </a:lnTo>
                    <a:lnTo>
                      <a:pt x="370" y="411"/>
                    </a:lnTo>
                    <a:lnTo>
                      <a:pt x="368" y="410"/>
                    </a:lnTo>
                    <a:lnTo>
                      <a:pt x="367" y="409"/>
                    </a:lnTo>
                    <a:lnTo>
                      <a:pt x="364" y="407"/>
                    </a:lnTo>
                    <a:lnTo>
                      <a:pt x="363" y="405"/>
                    </a:lnTo>
                    <a:lnTo>
                      <a:pt x="363" y="402"/>
                    </a:lnTo>
                    <a:lnTo>
                      <a:pt x="356" y="388"/>
                    </a:lnTo>
                    <a:lnTo>
                      <a:pt x="349" y="376"/>
                    </a:lnTo>
                    <a:lnTo>
                      <a:pt x="344" y="364"/>
                    </a:lnTo>
                    <a:lnTo>
                      <a:pt x="343" y="351"/>
                    </a:lnTo>
                    <a:lnTo>
                      <a:pt x="342" y="346"/>
                    </a:lnTo>
                    <a:lnTo>
                      <a:pt x="340" y="339"/>
                    </a:lnTo>
                    <a:lnTo>
                      <a:pt x="338" y="331"/>
                    </a:lnTo>
                    <a:lnTo>
                      <a:pt x="336" y="323"/>
                    </a:lnTo>
                    <a:lnTo>
                      <a:pt x="336" y="314"/>
                    </a:lnTo>
                    <a:lnTo>
                      <a:pt x="339" y="308"/>
                    </a:lnTo>
                    <a:lnTo>
                      <a:pt x="344" y="302"/>
                    </a:lnTo>
                    <a:lnTo>
                      <a:pt x="353" y="301"/>
                    </a:lnTo>
                    <a:lnTo>
                      <a:pt x="356" y="303"/>
                    </a:lnTo>
                    <a:lnTo>
                      <a:pt x="358" y="304"/>
                    </a:lnTo>
                    <a:lnTo>
                      <a:pt x="359" y="305"/>
                    </a:lnTo>
                    <a:lnTo>
                      <a:pt x="361" y="304"/>
                    </a:lnTo>
                    <a:lnTo>
                      <a:pt x="361" y="303"/>
                    </a:lnTo>
                    <a:lnTo>
                      <a:pt x="362" y="301"/>
                    </a:lnTo>
                    <a:lnTo>
                      <a:pt x="362" y="299"/>
                    </a:lnTo>
                    <a:lnTo>
                      <a:pt x="362" y="297"/>
                    </a:lnTo>
                    <a:lnTo>
                      <a:pt x="363" y="294"/>
                    </a:lnTo>
                    <a:lnTo>
                      <a:pt x="363" y="291"/>
                    </a:lnTo>
                    <a:lnTo>
                      <a:pt x="363" y="171"/>
                    </a:lnTo>
                    <a:lnTo>
                      <a:pt x="365" y="147"/>
                    </a:lnTo>
                    <a:lnTo>
                      <a:pt x="372" y="127"/>
                    </a:lnTo>
                    <a:lnTo>
                      <a:pt x="383" y="109"/>
                    </a:lnTo>
                    <a:lnTo>
                      <a:pt x="397" y="94"/>
                    </a:lnTo>
                    <a:lnTo>
                      <a:pt x="414" y="80"/>
                    </a:lnTo>
                    <a:lnTo>
                      <a:pt x="445" y="60"/>
                    </a:lnTo>
                    <a:lnTo>
                      <a:pt x="480" y="42"/>
                    </a:lnTo>
                    <a:lnTo>
                      <a:pt x="517" y="30"/>
                    </a:lnTo>
                    <a:lnTo>
                      <a:pt x="554" y="20"/>
                    </a:lnTo>
                    <a:lnTo>
                      <a:pt x="569" y="16"/>
                    </a:lnTo>
                    <a:lnTo>
                      <a:pt x="586" y="11"/>
                    </a:lnTo>
                    <a:lnTo>
                      <a:pt x="604" y="8"/>
                    </a:lnTo>
                    <a:lnTo>
                      <a:pt x="621" y="5"/>
                    </a:lnTo>
                    <a:lnTo>
                      <a:pt x="636" y="2"/>
                    </a:lnTo>
                    <a:lnTo>
                      <a:pt x="648" y="1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61" name="Group 160"/>
          <p:cNvGrpSpPr/>
          <p:nvPr/>
        </p:nvGrpSpPr>
        <p:grpSpPr>
          <a:xfrm>
            <a:off x="148422" y="4539985"/>
            <a:ext cx="727019" cy="557840"/>
            <a:chOff x="148422" y="3507122"/>
            <a:chExt cx="727019" cy="557840"/>
          </a:xfrm>
        </p:grpSpPr>
        <p:sp>
          <p:nvSpPr>
            <p:cNvPr id="162" name="Rectangle 17"/>
            <p:cNvSpPr>
              <a:spLocks/>
            </p:cNvSpPr>
            <p:nvPr/>
          </p:nvSpPr>
          <p:spPr bwMode="auto">
            <a:xfrm>
              <a:off x="148422" y="3787963"/>
              <a:ext cx="7270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Статистические бюро</a:t>
              </a:r>
              <a:endParaRPr lang="ru-RU" sz="900" i="1" dirty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grpSp>
          <p:nvGrpSpPr>
            <p:cNvPr id="163" name="Group 19"/>
            <p:cNvGrpSpPr>
              <a:grpSpLocks noChangeAspect="1"/>
            </p:cNvGrpSpPr>
            <p:nvPr/>
          </p:nvGrpSpPr>
          <p:grpSpPr bwMode="auto">
            <a:xfrm>
              <a:off x="383148" y="3507122"/>
              <a:ext cx="245626" cy="189402"/>
              <a:chOff x="-1698" y="1247"/>
              <a:chExt cx="2512" cy="1937"/>
            </a:xfrm>
            <a:solidFill>
              <a:schemeClr val="bg1"/>
            </a:solidFill>
          </p:grpSpPr>
          <p:sp>
            <p:nvSpPr>
              <p:cNvPr id="164" name="Freeform 21"/>
              <p:cNvSpPr>
                <a:spLocks/>
              </p:cNvSpPr>
              <p:nvPr/>
            </p:nvSpPr>
            <p:spPr bwMode="auto">
              <a:xfrm>
                <a:off x="-1698" y="1629"/>
                <a:ext cx="2512" cy="1555"/>
              </a:xfrm>
              <a:custGeom>
                <a:avLst/>
                <a:gdLst>
                  <a:gd name="T0" fmla="*/ 1567 w 5025"/>
                  <a:gd name="T1" fmla="*/ 0 h 3111"/>
                  <a:gd name="T2" fmla="*/ 687 w 5025"/>
                  <a:gd name="T3" fmla="*/ 329 h 3111"/>
                  <a:gd name="T4" fmla="*/ 4341 w 5025"/>
                  <a:gd name="T5" fmla="*/ 2522 h 3111"/>
                  <a:gd name="T6" fmla="*/ 4130 w 5025"/>
                  <a:gd name="T7" fmla="*/ 329 h 3111"/>
                  <a:gd name="T8" fmla="*/ 4479 w 5025"/>
                  <a:gd name="T9" fmla="*/ 0 h 3111"/>
                  <a:gd name="T10" fmla="*/ 4554 w 5025"/>
                  <a:gd name="T11" fmla="*/ 15 h 3111"/>
                  <a:gd name="T12" fmla="*/ 4614 w 5025"/>
                  <a:gd name="T13" fmla="*/ 55 h 3111"/>
                  <a:gd name="T14" fmla="*/ 4655 w 5025"/>
                  <a:gd name="T15" fmla="*/ 116 h 3111"/>
                  <a:gd name="T16" fmla="*/ 4670 w 5025"/>
                  <a:gd name="T17" fmla="*/ 189 h 3111"/>
                  <a:gd name="T18" fmla="*/ 4939 w 5025"/>
                  <a:gd name="T19" fmla="*/ 2651 h 3111"/>
                  <a:gd name="T20" fmla="*/ 4990 w 5025"/>
                  <a:gd name="T21" fmla="*/ 2668 h 3111"/>
                  <a:gd name="T22" fmla="*/ 5020 w 5025"/>
                  <a:gd name="T23" fmla="*/ 2711 h 3111"/>
                  <a:gd name="T24" fmla="*/ 5022 w 5025"/>
                  <a:gd name="T25" fmla="*/ 2793 h 3111"/>
                  <a:gd name="T26" fmla="*/ 4991 w 5025"/>
                  <a:gd name="T27" fmla="*/ 2894 h 3111"/>
                  <a:gd name="T28" fmla="*/ 4933 w 5025"/>
                  <a:gd name="T29" fmla="*/ 2983 h 3111"/>
                  <a:gd name="T30" fmla="*/ 4855 w 5025"/>
                  <a:gd name="T31" fmla="*/ 3050 h 3111"/>
                  <a:gd name="T32" fmla="*/ 4761 w 5025"/>
                  <a:gd name="T33" fmla="*/ 3094 h 3111"/>
                  <a:gd name="T34" fmla="*/ 4652 w 5025"/>
                  <a:gd name="T35" fmla="*/ 3111 h 3111"/>
                  <a:gd name="T36" fmla="*/ 3969 w 5025"/>
                  <a:gd name="T37" fmla="*/ 2949 h 3111"/>
                  <a:gd name="T38" fmla="*/ 3954 w 5025"/>
                  <a:gd name="T39" fmla="*/ 2897 h 3111"/>
                  <a:gd name="T40" fmla="*/ 3917 w 5025"/>
                  <a:gd name="T41" fmla="*/ 2859 h 3111"/>
                  <a:gd name="T42" fmla="*/ 3866 w 5025"/>
                  <a:gd name="T43" fmla="*/ 2845 h 3111"/>
                  <a:gd name="T44" fmla="*/ 3812 w 5025"/>
                  <a:gd name="T45" fmla="*/ 2859 h 3111"/>
                  <a:gd name="T46" fmla="*/ 3775 w 5025"/>
                  <a:gd name="T47" fmla="*/ 2897 h 3111"/>
                  <a:gd name="T48" fmla="*/ 3762 w 5025"/>
                  <a:gd name="T49" fmla="*/ 2949 h 3111"/>
                  <a:gd name="T50" fmla="*/ 3591 w 5025"/>
                  <a:gd name="T51" fmla="*/ 3111 h 3111"/>
                  <a:gd name="T52" fmla="*/ 3588 w 5025"/>
                  <a:gd name="T53" fmla="*/ 2922 h 3111"/>
                  <a:gd name="T54" fmla="*/ 3560 w 5025"/>
                  <a:gd name="T55" fmla="*/ 2876 h 3111"/>
                  <a:gd name="T56" fmla="*/ 3514 w 5025"/>
                  <a:gd name="T57" fmla="*/ 2850 h 3111"/>
                  <a:gd name="T58" fmla="*/ 3459 w 5025"/>
                  <a:gd name="T59" fmla="*/ 2850 h 3111"/>
                  <a:gd name="T60" fmla="*/ 3413 w 5025"/>
                  <a:gd name="T61" fmla="*/ 2876 h 3111"/>
                  <a:gd name="T62" fmla="*/ 3387 w 5025"/>
                  <a:gd name="T63" fmla="*/ 2922 h 3111"/>
                  <a:gd name="T64" fmla="*/ 3383 w 5025"/>
                  <a:gd name="T65" fmla="*/ 3111 h 3111"/>
                  <a:gd name="T66" fmla="*/ 318 w 5025"/>
                  <a:gd name="T67" fmla="*/ 3106 h 3111"/>
                  <a:gd name="T68" fmla="*/ 215 w 5025"/>
                  <a:gd name="T69" fmla="*/ 3076 h 3111"/>
                  <a:gd name="T70" fmla="*/ 128 w 5025"/>
                  <a:gd name="T71" fmla="*/ 3019 h 3111"/>
                  <a:gd name="T72" fmla="*/ 60 w 5025"/>
                  <a:gd name="T73" fmla="*/ 2940 h 3111"/>
                  <a:gd name="T74" fmla="*/ 15 w 5025"/>
                  <a:gd name="T75" fmla="*/ 2845 h 3111"/>
                  <a:gd name="T76" fmla="*/ 0 w 5025"/>
                  <a:gd name="T77" fmla="*/ 2738 h 3111"/>
                  <a:gd name="T78" fmla="*/ 17 w 5025"/>
                  <a:gd name="T79" fmla="*/ 2687 h 3111"/>
                  <a:gd name="T80" fmla="*/ 60 w 5025"/>
                  <a:gd name="T81" fmla="*/ 2656 h 3111"/>
                  <a:gd name="T82" fmla="*/ 357 w 5025"/>
                  <a:gd name="T83" fmla="*/ 2651 h 3111"/>
                  <a:gd name="T84" fmla="*/ 360 w 5025"/>
                  <a:gd name="T85" fmla="*/ 151 h 3111"/>
                  <a:gd name="T86" fmla="*/ 389 w 5025"/>
                  <a:gd name="T87" fmla="*/ 84 h 3111"/>
                  <a:gd name="T88" fmla="*/ 441 w 5025"/>
                  <a:gd name="T89" fmla="*/ 32 h 3111"/>
                  <a:gd name="T90" fmla="*/ 509 w 5025"/>
                  <a:gd name="T91" fmla="*/ 3 h 3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025" h="3111">
                    <a:moveTo>
                      <a:pt x="547" y="0"/>
                    </a:moveTo>
                    <a:lnTo>
                      <a:pt x="1567" y="0"/>
                    </a:lnTo>
                    <a:lnTo>
                      <a:pt x="1167" y="329"/>
                    </a:lnTo>
                    <a:lnTo>
                      <a:pt x="687" y="329"/>
                    </a:lnTo>
                    <a:lnTo>
                      <a:pt x="687" y="2522"/>
                    </a:lnTo>
                    <a:lnTo>
                      <a:pt x="4341" y="2522"/>
                    </a:lnTo>
                    <a:lnTo>
                      <a:pt x="4341" y="329"/>
                    </a:lnTo>
                    <a:lnTo>
                      <a:pt x="4130" y="329"/>
                    </a:lnTo>
                    <a:lnTo>
                      <a:pt x="4266" y="0"/>
                    </a:lnTo>
                    <a:lnTo>
                      <a:pt x="4479" y="0"/>
                    </a:lnTo>
                    <a:lnTo>
                      <a:pt x="4518" y="3"/>
                    </a:lnTo>
                    <a:lnTo>
                      <a:pt x="4554" y="15"/>
                    </a:lnTo>
                    <a:lnTo>
                      <a:pt x="4586" y="32"/>
                    </a:lnTo>
                    <a:lnTo>
                      <a:pt x="4614" y="55"/>
                    </a:lnTo>
                    <a:lnTo>
                      <a:pt x="4637" y="84"/>
                    </a:lnTo>
                    <a:lnTo>
                      <a:pt x="4655" y="116"/>
                    </a:lnTo>
                    <a:lnTo>
                      <a:pt x="4666" y="151"/>
                    </a:lnTo>
                    <a:lnTo>
                      <a:pt x="4670" y="189"/>
                    </a:lnTo>
                    <a:lnTo>
                      <a:pt x="4670" y="2651"/>
                    </a:lnTo>
                    <a:lnTo>
                      <a:pt x="4939" y="2651"/>
                    </a:lnTo>
                    <a:lnTo>
                      <a:pt x="4965" y="2656"/>
                    </a:lnTo>
                    <a:lnTo>
                      <a:pt x="4990" y="2668"/>
                    </a:lnTo>
                    <a:lnTo>
                      <a:pt x="5008" y="2687"/>
                    </a:lnTo>
                    <a:lnTo>
                      <a:pt x="5020" y="2711"/>
                    </a:lnTo>
                    <a:lnTo>
                      <a:pt x="5025" y="2738"/>
                    </a:lnTo>
                    <a:lnTo>
                      <a:pt x="5022" y="2793"/>
                    </a:lnTo>
                    <a:lnTo>
                      <a:pt x="5009" y="2845"/>
                    </a:lnTo>
                    <a:lnTo>
                      <a:pt x="4991" y="2894"/>
                    </a:lnTo>
                    <a:lnTo>
                      <a:pt x="4965" y="2940"/>
                    </a:lnTo>
                    <a:lnTo>
                      <a:pt x="4933" y="2983"/>
                    </a:lnTo>
                    <a:lnTo>
                      <a:pt x="4896" y="3019"/>
                    </a:lnTo>
                    <a:lnTo>
                      <a:pt x="4855" y="3050"/>
                    </a:lnTo>
                    <a:lnTo>
                      <a:pt x="4809" y="3076"/>
                    </a:lnTo>
                    <a:lnTo>
                      <a:pt x="4761" y="3094"/>
                    </a:lnTo>
                    <a:lnTo>
                      <a:pt x="4707" y="3106"/>
                    </a:lnTo>
                    <a:lnTo>
                      <a:pt x="4652" y="3111"/>
                    </a:lnTo>
                    <a:lnTo>
                      <a:pt x="3969" y="3111"/>
                    </a:lnTo>
                    <a:lnTo>
                      <a:pt x="3969" y="2949"/>
                    </a:lnTo>
                    <a:lnTo>
                      <a:pt x="3965" y="2922"/>
                    </a:lnTo>
                    <a:lnTo>
                      <a:pt x="3954" y="2897"/>
                    </a:lnTo>
                    <a:lnTo>
                      <a:pt x="3939" y="2876"/>
                    </a:lnTo>
                    <a:lnTo>
                      <a:pt x="3917" y="2859"/>
                    </a:lnTo>
                    <a:lnTo>
                      <a:pt x="3893" y="2850"/>
                    </a:lnTo>
                    <a:lnTo>
                      <a:pt x="3866" y="2845"/>
                    </a:lnTo>
                    <a:lnTo>
                      <a:pt x="3838" y="2850"/>
                    </a:lnTo>
                    <a:lnTo>
                      <a:pt x="3812" y="2859"/>
                    </a:lnTo>
                    <a:lnTo>
                      <a:pt x="3792" y="2876"/>
                    </a:lnTo>
                    <a:lnTo>
                      <a:pt x="3775" y="2897"/>
                    </a:lnTo>
                    <a:lnTo>
                      <a:pt x="3765" y="2922"/>
                    </a:lnTo>
                    <a:lnTo>
                      <a:pt x="3762" y="2949"/>
                    </a:lnTo>
                    <a:lnTo>
                      <a:pt x="3762" y="3111"/>
                    </a:lnTo>
                    <a:lnTo>
                      <a:pt x="3591" y="3111"/>
                    </a:lnTo>
                    <a:lnTo>
                      <a:pt x="3591" y="2949"/>
                    </a:lnTo>
                    <a:lnTo>
                      <a:pt x="3588" y="2922"/>
                    </a:lnTo>
                    <a:lnTo>
                      <a:pt x="3577" y="2897"/>
                    </a:lnTo>
                    <a:lnTo>
                      <a:pt x="3560" y="2876"/>
                    </a:lnTo>
                    <a:lnTo>
                      <a:pt x="3540" y="2859"/>
                    </a:lnTo>
                    <a:lnTo>
                      <a:pt x="3514" y="2850"/>
                    </a:lnTo>
                    <a:lnTo>
                      <a:pt x="3487" y="2845"/>
                    </a:lnTo>
                    <a:lnTo>
                      <a:pt x="3459" y="2850"/>
                    </a:lnTo>
                    <a:lnTo>
                      <a:pt x="3435" y="2859"/>
                    </a:lnTo>
                    <a:lnTo>
                      <a:pt x="3413" y="2876"/>
                    </a:lnTo>
                    <a:lnTo>
                      <a:pt x="3398" y="2897"/>
                    </a:lnTo>
                    <a:lnTo>
                      <a:pt x="3387" y="2922"/>
                    </a:lnTo>
                    <a:lnTo>
                      <a:pt x="3383" y="2949"/>
                    </a:lnTo>
                    <a:lnTo>
                      <a:pt x="3383" y="3111"/>
                    </a:lnTo>
                    <a:lnTo>
                      <a:pt x="373" y="3111"/>
                    </a:lnTo>
                    <a:lnTo>
                      <a:pt x="318" y="3106"/>
                    </a:lnTo>
                    <a:lnTo>
                      <a:pt x="266" y="3094"/>
                    </a:lnTo>
                    <a:lnTo>
                      <a:pt x="215" y="3076"/>
                    </a:lnTo>
                    <a:lnTo>
                      <a:pt x="170" y="3050"/>
                    </a:lnTo>
                    <a:lnTo>
                      <a:pt x="128" y="3019"/>
                    </a:lnTo>
                    <a:lnTo>
                      <a:pt x="92" y="2983"/>
                    </a:lnTo>
                    <a:lnTo>
                      <a:pt x="60" y="2940"/>
                    </a:lnTo>
                    <a:lnTo>
                      <a:pt x="35" y="2894"/>
                    </a:lnTo>
                    <a:lnTo>
                      <a:pt x="15" y="2845"/>
                    </a:lnTo>
                    <a:lnTo>
                      <a:pt x="5" y="2793"/>
                    </a:lnTo>
                    <a:lnTo>
                      <a:pt x="0" y="2738"/>
                    </a:lnTo>
                    <a:lnTo>
                      <a:pt x="5" y="2711"/>
                    </a:lnTo>
                    <a:lnTo>
                      <a:pt x="17" y="2687"/>
                    </a:lnTo>
                    <a:lnTo>
                      <a:pt x="35" y="2668"/>
                    </a:lnTo>
                    <a:lnTo>
                      <a:pt x="60" y="2656"/>
                    </a:lnTo>
                    <a:lnTo>
                      <a:pt x="87" y="2651"/>
                    </a:lnTo>
                    <a:lnTo>
                      <a:pt x="357" y="2651"/>
                    </a:lnTo>
                    <a:lnTo>
                      <a:pt x="357" y="189"/>
                    </a:lnTo>
                    <a:lnTo>
                      <a:pt x="360" y="151"/>
                    </a:lnTo>
                    <a:lnTo>
                      <a:pt x="373" y="116"/>
                    </a:lnTo>
                    <a:lnTo>
                      <a:pt x="389" y="84"/>
                    </a:lnTo>
                    <a:lnTo>
                      <a:pt x="412" y="55"/>
                    </a:lnTo>
                    <a:lnTo>
                      <a:pt x="441" y="32"/>
                    </a:lnTo>
                    <a:lnTo>
                      <a:pt x="473" y="15"/>
                    </a:lnTo>
                    <a:lnTo>
                      <a:pt x="509" y="3"/>
                    </a:lnTo>
                    <a:lnTo>
                      <a:pt x="54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5" name="Freeform 22"/>
              <p:cNvSpPr>
                <a:spLocks/>
              </p:cNvSpPr>
              <p:nvPr/>
            </p:nvSpPr>
            <p:spPr bwMode="auto">
              <a:xfrm>
                <a:off x="-1128" y="1247"/>
                <a:ext cx="1571" cy="825"/>
              </a:xfrm>
              <a:custGeom>
                <a:avLst/>
                <a:gdLst>
                  <a:gd name="T0" fmla="*/ 3101 w 3143"/>
                  <a:gd name="T1" fmla="*/ 0 h 1651"/>
                  <a:gd name="T2" fmla="*/ 3101 w 3143"/>
                  <a:gd name="T3" fmla="*/ 0 h 1651"/>
                  <a:gd name="T4" fmla="*/ 3113 w 3143"/>
                  <a:gd name="T5" fmla="*/ 2 h 1651"/>
                  <a:gd name="T6" fmla="*/ 3124 w 3143"/>
                  <a:gd name="T7" fmla="*/ 6 h 1651"/>
                  <a:gd name="T8" fmla="*/ 3134 w 3143"/>
                  <a:gd name="T9" fmla="*/ 15 h 1651"/>
                  <a:gd name="T10" fmla="*/ 3142 w 3143"/>
                  <a:gd name="T11" fmla="*/ 29 h 1651"/>
                  <a:gd name="T12" fmla="*/ 3143 w 3143"/>
                  <a:gd name="T13" fmla="*/ 44 h 1651"/>
                  <a:gd name="T14" fmla="*/ 3140 w 3143"/>
                  <a:gd name="T15" fmla="*/ 60 h 1651"/>
                  <a:gd name="T16" fmla="*/ 2752 w 3143"/>
                  <a:gd name="T17" fmla="*/ 1001 h 1651"/>
                  <a:gd name="T18" fmla="*/ 2745 w 3143"/>
                  <a:gd name="T19" fmla="*/ 1015 h 1651"/>
                  <a:gd name="T20" fmla="*/ 2733 w 3143"/>
                  <a:gd name="T21" fmla="*/ 1022 h 1651"/>
                  <a:gd name="T22" fmla="*/ 2719 w 3143"/>
                  <a:gd name="T23" fmla="*/ 1029 h 1651"/>
                  <a:gd name="T24" fmla="*/ 2713 w 3143"/>
                  <a:gd name="T25" fmla="*/ 1029 h 1651"/>
                  <a:gd name="T26" fmla="*/ 2701 w 3143"/>
                  <a:gd name="T27" fmla="*/ 1027 h 1651"/>
                  <a:gd name="T28" fmla="*/ 2688 w 3143"/>
                  <a:gd name="T29" fmla="*/ 1021 h 1651"/>
                  <a:gd name="T30" fmla="*/ 2679 w 3143"/>
                  <a:gd name="T31" fmla="*/ 1013 h 1651"/>
                  <a:gd name="T32" fmla="*/ 2484 w 3143"/>
                  <a:gd name="T33" fmla="*/ 775 h 1651"/>
                  <a:gd name="T34" fmla="*/ 1271 w 3143"/>
                  <a:gd name="T35" fmla="*/ 1596 h 1651"/>
                  <a:gd name="T36" fmla="*/ 1189 w 3143"/>
                  <a:gd name="T37" fmla="*/ 1651 h 1651"/>
                  <a:gd name="T38" fmla="*/ 1134 w 3143"/>
                  <a:gd name="T39" fmla="*/ 1584 h 1651"/>
                  <a:gd name="T40" fmla="*/ 677 w 3143"/>
                  <a:gd name="T41" fmla="*/ 1033 h 1651"/>
                  <a:gd name="T42" fmla="*/ 40 w 3143"/>
                  <a:gd name="T43" fmla="*/ 1492 h 1651"/>
                  <a:gd name="T44" fmla="*/ 37 w 3143"/>
                  <a:gd name="T45" fmla="*/ 1488 h 1651"/>
                  <a:gd name="T46" fmla="*/ 29 w 3143"/>
                  <a:gd name="T47" fmla="*/ 1480 h 1651"/>
                  <a:gd name="T48" fmla="*/ 20 w 3143"/>
                  <a:gd name="T49" fmla="*/ 1471 h 1651"/>
                  <a:gd name="T50" fmla="*/ 11 w 3143"/>
                  <a:gd name="T51" fmla="*/ 1460 h 1651"/>
                  <a:gd name="T52" fmla="*/ 5 w 3143"/>
                  <a:gd name="T53" fmla="*/ 1453 h 1651"/>
                  <a:gd name="T54" fmla="*/ 0 w 3143"/>
                  <a:gd name="T55" fmla="*/ 1448 h 1651"/>
                  <a:gd name="T56" fmla="*/ 652 w 3143"/>
                  <a:gd name="T57" fmla="*/ 911 h 1651"/>
                  <a:gd name="T58" fmla="*/ 689 w 3143"/>
                  <a:gd name="T59" fmla="*/ 879 h 1651"/>
                  <a:gd name="T60" fmla="*/ 729 w 3143"/>
                  <a:gd name="T61" fmla="*/ 917 h 1651"/>
                  <a:gd name="T62" fmla="*/ 1211 w 3143"/>
                  <a:gd name="T63" fmla="*/ 1379 h 1651"/>
                  <a:gd name="T64" fmla="*/ 2245 w 3143"/>
                  <a:gd name="T65" fmla="*/ 488 h 1651"/>
                  <a:gd name="T66" fmla="*/ 2067 w 3143"/>
                  <a:gd name="T67" fmla="*/ 273 h 1651"/>
                  <a:gd name="T68" fmla="*/ 2061 w 3143"/>
                  <a:gd name="T69" fmla="*/ 260 h 1651"/>
                  <a:gd name="T70" fmla="*/ 2058 w 3143"/>
                  <a:gd name="T71" fmla="*/ 246 h 1651"/>
                  <a:gd name="T72" fmla="*/ 2061 w 3143"/>
                  <a:gd name="T73" fmla="*/ 231 h 1651"/>
                  <a:gd name="T74" fmla="*/ 2067 w 3143"/>
                  <a:gd name="T75" fmla="*/ 218 h 1651"/>
                  <a:gd name="T76" fmla="*/ 2079 w 3143"/>
                  <a:gd name="T77" fmla="*/ 208 h 1651"/>
                  <a:gd name="T78" fmla="*/ 2093 w 3143"/>
                  <a:gd name="T79" fmla="*/ 203 h 1651"/>
                  <a:gd name="T80" fmla="*/ 3092 w 3143"/>
                  <a:gd name="T81" fmla="*/ 0 h 1651"/>
                  <a:gd name="T82" fmla="*/ 3101 w 3143"/>
                  <a:gd name="T83" fmla="*/ 0 h 1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143" h="1651">
                    <a:moveTo>
                      <a:pt x="3101" y="0"/>
                    </a:moveTo>
                    <a:lnTo>
                      <a:pt x="3101" y="0"/>
                    </a:lnTo>
                    <a:lnTo>
                      <a:pt x="3113" y="2"/>
                    </a:lnTo>
                    <a:lnTo>
                      <a:pt x="3124" y="6"/>
                    </a:lnTo>
                    <a:lnTo>
                      <a:pt x="3134" y="15"/>
                    </a:lnTo>
                    <a:lnTo>
                      <a:pt x="3142" y="29"/>
                    </a:lnTo>
                    <a:lnTo>
                      <a:pt x="3143" y="44"/>
                    </a:lnTo>
                    <a:lnTo>
                      <a:pt x="3140" y="60"/>
                    </a:lnTo>
                    <a:lnTo>
                      <a:pt x="2752" y="1001"/>
                    </a:lnTo>
                    <a:lnTo>
                      <a:pt x="2745" y="1015"/>
                    </a:lnTo>
                    <a:lnTo>
                      <a:pt x="2733" y="1022"/>
                    </a:lnTo>
                    <a:lnTo>
                      <a:pt x="2719" y="1029"/>
                    </a:lnTo>
                    <a:lnTo>
                      <a:pt x="2713" y="1029"/>
                    </a:lnTo>
                    <a:lnTo>
                      <a:pt x="2701" y="1027"/>
                    </a:lnTo>
                    <a:lnTo>
                      <a:pt x="2688" y="1021"/>
                    </a:lnTo>
                    <a:lnTo>
                      <a:pt x="2679" y="1013"/>
                    </a:lnTo>
                    <a:lnTo>
                      <a:pt x="2484" y="775"/>
                    </a:lnTo>
                    <a:lnTo>
                      <a:pt x="1271" y="1596"/>
                    </a:lnTo>
                    <a:lnTo>
                      <a:pt x="1189" y="1651"/>
                    </a:lnTo>
                    <a:lnTo>
                      <a:pt x="1134" y="1584"/>
                    </a:lnTo>
                    <a:lnTo>
                      <a:pt x="677" y="1033"/>
                    </a:lnTo>
                    <a:lnTo>
                      <a:pt x="40" y="1492"/>
                    </a:lnTo>
                    <a:lnTo>
                      <a:pt x="37" y="1488"/>
                    </a:lnTo>
                    <a:lnTo>
                      <a:pt x="29" y="1480"/>
                    </a:lnTo>
                    <a:lnTo>
                      <a:pt x="20" y="1471"/>
                    </a:lnTo>
                    <a:lnTo>
                      <a:pt x="11" y="1460"/>
                    </a:lnTo>
                    <a:lnTo>
                      <a:pt x="5" y="1453"/>
                    </a:lnTo>
                    <a:lnTo>
                      <a:pt x="0" y="1448"/>
                    </a:lnTo>
                    <a:lnTo>
                      <a:pt x="652" y="911"/>
                    </a:lnTo>
                    <a:lnTo>
                      <a:pt x="689" y="879"/>
                    </a:lnTo>
                    <a:lnTo>
                      <a:pt x="729" y="917"/>
                    </a:lnTo>
                    <a:lnTo>
                      <a:pt x="1211" y="1379"/>
                    </a:lnTo>
                    <a:lnTo>
                      <a:pt x="2245" y="488"/>
                    </a:lnTo>
                    <a:lnTo>
                      <a:pt x="2067" y="273"/>
                    </a:lnTo>
                    <a:lnTo>
                      <a:pt x="2061" y="260"/>
                    </a:lnTo>
                    <a:lnTo>
                      <a:pt x="2058" y="246"/>
                    </a:lnTo>
                    <a:lnTo>
                      <a:pt x="2061" y="231"/>
                    </a:lnTo>
                    <a:lnTo>
                      <a:pt x="2067" y="218"/>
                    </a:lnTo>
                    <a:lnTo>
                      <a:pt x="2079" y="208"/>
                    </a:lnTo>
                    <a:lnTo>
                      <a:pt x="2093" y="203"/>
                    </a:lnTo>
                    <a:lnTo>
                      <a:pt x="3092" y="0"/>
                    </a:lnTo>
                    <a:lnTo>
                      <a:pt x="310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6" name="Freeform 23"/>
              <p:cNvSpPr>
                <a:spLocks/>
              </p:cNvSpPr>
              <p:nvPr/>
            </p:nvSpPr>
            <p:spPr bwMode="auto">
              <a:xfrm>
                <a:off x="-394" y="2507"/>
                <a:ext cx="102" cy="270"/>
              </a:xfrm>
              <a:custGeom>
                <a:avLst/>
                <a:gdLst>
                  <a:gd name="T0" fmla="*/ 102 w 205"/>
                  <a:gd name="T1" fmla="*/ 0 h 540"/>
                  <a:gd name="T2" fmla="*/ 128 w 205"/>
                  <a:gd name="T3" fmla="*/ 3 h 540"/>
                  <a:gd name="T4" fmla="*/ 153 w 205"/>
                  <a:gd name="T5" fmla="*/ 14 h 540"/>
                  <a:gd name="T6" fmla="*/ 174 w 205"/>
                  <a:gd name="T7" fmla="*/ 29 h 540"/>
                  <a:gd name="T8" fmla="*/ 191 w 205"/>
                  <a:gd name="T9" fmla="*/ 50 h 540"/>
                  <a:gd name="T10" fmla="*/ 200 w 205"/>
                  <a:gd name="T11" fmla="*/ 75 h 540"/>
                  <a:gd name="T12" fmla="*/ 205 w 205"/>
                  <a:gd name="T13" fmla="*/ 102 h 540"/>
                  <a:gd name="T14" fmla="*/ 205 w 205"/>
                  <a:gd name="T15" fmla="*/ 438 h 540"/>
                  <a:gd name="T16" fmla="*/ 200 w 205"/>
                  <a:gd name="T17" fmla="*/ 465 h 540"/>
                  <a:gd name="T18" fmla="*/ 191 w 205"/>
                  <a:gd name="T19" fmla="*/ 490 h 540"/>
                  <a:gd name="T20" fmla="*/ 174 w 205"/>
                  <a:gd name="T21" fmla="*/ 511 h 540"/>
                  <a:gd name="T22" fmla="*/ 153 w 205"/>
                  <a:gd name="T23" fmla="*/ 526 h 540"/>
                  <a:gd name="T24" fmla="*/ 128 w 205"/>
                  <a:gd name="T25" fmla="*/ 537 h 540"/>
                  <a:gd name="T26" fmla="*/ 102 w 205"/>
                  <a:gd name="T27" fmla="*/ 540 h 540"/>
                  <a:gd name="T28" fmla="*/ 75 w 205"/>
                  <a:gd name="T29" fmla="*/ 537 h 540"/>
                  <a:gd name="T30" fmla="*/ 50 w 205"/>
                  <a:gd name="T31" fmla="*/ 526 h 540"/>
                  <a:gd name="T32" fmla="*/ 29 w 205"/>
                  <a:gd name="T33" fmla="*/ 511 h 540"/>
                  <a:gd name="T34" fmla="*/ 14 w 205"/>
                  <a:gd name="T35" fmla="*/ 490 h 540"/>
                  <a:gd name="T36" fmla="*/ 3 w 205"/>
                  <a:gd name="T37" fmla="*/ 465 h 540"/>
                  <a:gd name="T38" fmla="*/ 0 w 205"/>
                  <a:gd name="T39" fmla="*/ 438 h 540"/>
                  <a:gd name="T40" fmla="*/ 0 w 205"/>
                  <a:gd name="T41" fmla="*/ 102 h 540"/>
                  <a:gd name="T42" fmla="*/ 3 w 205"/>
                  <a:gd name="T43" fmla="*/ 75 h 540"/>
                  <a:gd name="T44" fmla="*/ 14 w 205"/>
                  <a:gd name="T45" fmla="*/ 50 h 540"/>
                  <a:gd name="T46" fmla="*/ 29 w 205"/>
                  <a:gd name="T47" fmla="*/ 29 h 540"/>
                  <a:gd name="T48" fmla="*/ 50 w 205"/>
                  <a:gd name="T49" fmla="*/ 14 h 540"/>
                  <a:gd name="T50" fmla="*/ 75 w 205"/>
                  <a:gd name="T51" fmla="*/ 3 h 540"/>
                  <a:gd name="T52" fmla="*/ 102 w 205"/>
                  <a:gd name="T53" fmla="*/ 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5" h="540">
                    <a:moveTo>
                      <a:pt x="102" y="0"/>
                    </a:moveTo>
                    <a:lnTo>
                      <a:pt x="128" y="3"/>
                    </a:lnTo>
                    <a:lnTo>
                      <a:pt x="153" y="14"/>
                    </a:lnTo>
                    <a:lnTo>
                      <a:pt x="174" y="29"/>
                    </a:lnTo>
                    <a:lnTo>
                      <a:pt x="191" y="50"/>
                    </a:lnTo>
                    <a:lnTo>
                      <a:pt x="200" y="75"/>
                    </a:lnTo>
                    <a:lnTo>
                      <a:pt x="205" y="102"/>
                    </a:lnTo>
                    <a:lnTo>
                      <a:pt x="205" y="438"/>
                    </a:lnTo>
                    <a:lnTo>
                      <a:pt x="200" y="465"/>
                    </a:lnTo>
                    <a:lnTo>
                      <a:pt x="191" y="490"/>
                    </a:lnTo>
                    <a:lnTo>
                      <a:pt x="174" y="511"/>
                    </a:lnTo>
                    <a:lnTo>
                      <a:pt x="153" y="526"/>
                    </a:lnTo>
                    <a:lnTo>
                      <a:pt x="128" y="537"/>
                    </a:lnTo>
                    <a:lnTo>
                      <a:pt x="102" y="540"/>
                    </a:lnTo>
                    <a:lnTo>
                      <a:pt x="75" y="537"/>
                    </a:lnTo>
                    <a:lnTo>
                      <a:pt x="50" y="526"/>
                    </a:lnTo>
                    <a:lnTo>
                      <a:pt x="29" y="511"/>
                    </a:lnTo>
                    <a:lnTo>
                      <a:pt x="14" y="490"/>
                    </a:lnTo>
                    <a:lnTo>
                      <a:pt x="3" y="465"/>
                    </a:lnTo>
                    <a:lnTo>
                      <a:pt x="0" y="438"/>
                    </a:lnTo>
                    <a:lnTo>
                      <a:pt x="0" y="102"/>
                    </a:lnTo>
                    <a:lnTo>
                      <a:pt x="3" y="75"/>
                    </a:lnTo>
                    <a:lnTo>
                      <a:pt x="14" y="50"/>
                    </a:lnTo>
                    <a:lnTo>
                      <a:pt x="29" y="29"/>
                    </a:lnTo>
                    <a:lnTo>
                      <a:pt x="50" y="14"/>
                    </a:lnTo>
                    <a:lnTo>
                      <a:pt x="75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7" name="Freeform 24"/>
              <p:cNvSpPr>
                <a:spLocks/>
              </p:cNvSpPr>
              <p:nvPr/>
            </p:nvSpPr>
            <p:spPr bwMode="auto">
              <a:xfrm>
                <a:off x="-587" y="2296"/>
                <a:ext cx="102" cy="481"/>
              </a:xfrm>
              <a:custGeom>
                <a:avLst/>
                <a:gdLst>
                  <a:gd name="T0" fmla="*/ 103 w 205"/>
                  <a:gd name="T1" fmla="*/ 0 h 963"/>
                  <a:gd name="T2" fmla="*/ 130 w 205"/>
                  <a:gd name="T3" fmla="*/ 3 h 963"/>
                  <a:gd name="T4" fmla="*/ 154 w 205"/>
                  <a:gd name="T5" fmla="*/ 14 h 963"/>
                  <a:gd name="T6" fmla="*/ 176 w 205"/>
                  <a:gd name="T7" fmla="*/ 31 h 963"/>
                  <a:gd name="T8" fmla="*/ 191 w 205"/>
                  <a:gd name="T9" fmla="*/ 51 h 963"/>
                  <a:gd name="T10" fmla="*/ 202 w 205"/>
                  <a:gd name="T11" fmla="*/ 75 h 963"/>
                  <a:gd name="T12" fmla="*/ 205 w 205"/>
                  <a:gd name="T13" fmla="*/ 102 h 963"/>
                  <a:gd name="T14" fmla="*/ 205 w 205"/>
                  <a:gd name="T15" fmla="*/ 861 h 963"/>
                  <a:gd name="T16" fmla="*/ 202 w 205"/>
                  <a:gd name="T17" fmla="*/ 888 h 963"/>
                  <a:gd name="T18" fmla="*/ 191 w 205"/>
                  <a:gd name="T19" fmla="*/ 913 h 963"/>
                  <a:gd name="T20" fmla="*/ 176 w 205"/>
                  <a:gd name="T21" fmla="*/ 934 h 963"/>
                  <a:gd name="T22" fmla="*/ 154 w 205"/>
                  <a:gd name="T23" fmla="*/ 949 h 963"/>
                  <a:gd name="T24" fmla="*/ 130 w 205"/>
                  <a:gd name="T25" fmla="*/ 960 h 963"/>
                  <a:gd name="T26" fmla="*/ 103 w 205"/>
                  <a:gd name="T27" fmla="*/ 963 h 963"/>
                  <a:gd name="T28" fmla="*/ 75 w 205"/>
                  <a:gd name="T29" fmla="*/ 960 h 963"/>
                  <a:gd name="T30" fmla="*/ 51 w 205"/>
                  <a:gd name="T31" fmla="*/ 949 h 963"/>
                  <a:gd name="T32" fmla="*/ 31 w 205"/>
                  <a:gd name="T33" fmla="*/ 934 h 963"/>
                  <a:gd name="T34" fmla="*/ 14 w 205"/>
                  <a:gd name="T35" fmla="*/ 913 h 963"/>
                  <a:gd name="T36" fmla="*/ 5 w 205"/>
                  <a:gd name="T37" fmla="*/ 888 h 963"/>
                  <a:gd name="T38" fmla="*/ 0 w 205"/>
                  <a:gd name="T39" fmla="*/ 861 h 963"/>
                  <a:gd name="T40" fmla="*/ 0 w 205"/>
                  <a:gd name="T41" fmla="*/ 102 h 963"/>
                  <a:gd name="T42" fmla="*/ 5 w 205"/>
                  <a:gd name="T43" fmla="*/ 75 h 963"/>
                  <a:gd name="T44" fmla="*/ 14 w 205"/>
                  <a:gd name="T45" fmla="*/ 51 h 963"/>
                  <a:gd name="T46" fmla="*/ 31 w 205"/>
                  <a:gd name="T47" fmla="*/ 31 h 963"/>
                  <a:gd name="T48" fmla="*/ 51 w 205"/>
                  <a:gd name="T49" fmla="*/ 14 h 963"/>
                  <a:gd name="T50" fmla="*/ 75 w 205"/>
                  <a:gd name="T51" fmla="*/ 3 h 963"/>
                  <a:gd name="T52" fmla="*/ 103 w 205"/>
                  <a:gd name="T53" fmla="*/ 0 h 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5" h="963">
                    <a:moveTo>
                      <a:pt x="103" y="0"/>
                    </a:moveTo>
                    <a:lnTo>
                      <a:pt x="130" y="3"/>
                    </a:lnTo>
                    <a:lnTo>
                      <a:pt x="154" y="14"/>
                    </a:lnTo>
                    <a:lnTo>
                      <a:pt x="176" y="31"/>
                    </a:lnTo>
                    <a:lnTo>
                      <a:pt x="191" y="51"/>
                    </a:lnTo>
                    <a:lnTo>
                      <a:pt x="202" y="75"/>
                    </a:lnTo>
                    <a:lnTo>
                      <a:pt x="205" y="102"/>
                    </a:lnTo>
                    <a:lnTo>
                      <a:pt x="205" y="861"/>
                    </a:lnTo>
                    <a:lnTo>
                      <a:pt x="202" y="888"/>
                    </a:lnTo>
                    <a:lnTo>
                      <a:pt x="191" y="913"/>
                    </a:lnTo>
                    <a:lnTo>
                      <a:pt x="176" y="934"/>
                    </a:lnTo>
                    <a:lnTo>
                      <a:pt x="154" y="949"/>
                    </a:lnTo>
                    <a:lnTo>
                      <a:pt x="130" y="960"/>
                    </a:lnTo>
                    <a:lnTo>
                      <a:pt x="103" y="963"/>
                    </a:lnTo>
                    <a:lnTo>
                      <a:pt x="75" y="960"/>
                    </a:lnTo>
                    <a:lnTo>
                      <a:pt x="51" y="949"/>
                    </a:lnTo>
                    <a:lnTo>
                      <a:pt x="31" y="934"/>
                    </a:lnTo>
                    <a:lnTo>
                      <a:pt x="14" y="913"/>
                    </a:lnTo>
                    <a:lnTo>
                      <a:pt x="5" y="888"/>
                    </a:lnTo>
                    <a:lnTo>
                      <a:pt x="0" y="861"/>
                    </a:lnTo>
                    <a:lnTo>
                      <a:pt x="0" y="102"/>
                    </a:lnTo>
                    <a:lnTo>
                      <a:pt x="5" y="75"/>
                    </a:lnTo>
                    <a:lnTo>
                      <a:pt x="14" y="51"/>
                    </a:lnTo>
                    <a:lnTo>
                      <a:pt x="31" y="31"/>
                    </a:lnTo>
                    <a:lnTo>
                      <a:pt x="51" y="14"/>
                    </a:lnTo>
                    <a:lnTo>
                      <a:pt x="75" y="3"/>
                    </a:lnTo>
                    <a:lnTo>
                      <a:pt x="1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8" name="Freeform 25"/>
              <p:cNvSpPr>
                <a:spLocks/>
              </p:cNvSpPr>
              <p:nvPr/>
            </p:nvSpPr>
            <p:spPr bwMode="auto">
              <a:xfrm>
                <a:off x="-779" y="2507"/>
                <a:ext cx="103" cy="270"/>
              </a:xfrm>
              <a:custGeom>
                <a:avLst/>
                <a:gdLst>
                  <a:gd name="T0" fmla="*/ 102 w 204"/>
                  <a:gd name="T1" fmla="*/ 0 h 540"/>
                  <a:gd name="T2" fmla="*/ 130 w 204"/>
                  <a:gd name="T3" fmla="*/ 3 h 540"/>
                  <a:gd name="T4" fmla="*/ 154 w 204"/>
                  <a:gd name="T5" fmla="*/ 14 h 540"/>
                  <a:gd name="T6" fmla="*/ 174 w 204"/>
                  <a:gd name="T7" fmla="*/ 29 h 540"/>
                  <a:gd name="T8" fmla="*/ 191 w 204"/>
                  <a:gd name="T9" fmla="*/ 50 h 540"/>
                  <a:gd name="T10" fmla="*/ 200 w 204"/>
                  <a:gd name="T11" fmla="*/ 75 h 540"/>
                  <a:gd name="T12" fmla="*/ 204 w 204"/>
                  <a:gd name="T13" fmla="*/ 102 h 540"/>
                  <a:gd name="T14" fmla="*/ 204 w 204"/>
                  <a:gd name="T15" fmla="*/ 438 h 540"/>
                  <a:gd name="T16" fmla="*/ 200 w 204"/>
                  <a:gd name="T17" fmla="*/ 465 h 540"/>
                  <a:gd name="T18" fmla="*/ 191 w 204"/>
                  <a:gd name="T19" fmla="*/ 490 h 540"/>
                  <a:gd name="T20" fmla="*/ 174 w 204"/>
                  <a:gd name="T21" fmla="*/ 511 h 540"/>
                  <a:gd name="T22" fmla="*/ 154 w 204"/>
                  <a:gd name="T23" fmla="*/ 526 h 540"/>
                  <a:gd name="T24" fmla="*/ 130 w 204"/>
                  <a:gd name="T25" fmla="*/ 537 h 540"/>
                  <a:gd name="T26" fmla="*/ 102 w 204"/>
                  <a:gd name="T27" fmla="*/ 540 h 540"/>
                  <a:gd name="T28" fmla="*/ 75 w 204"/>
                  <a:gd name="T29" fmla="*/ 537 h 540"/>
                  <a:gd name="T30" fmla="*/ 50 w 204"/>
                  <a:gd name="T31" fmla="*/ 526 h 540"/>
                  <a:gd name="T32" fmla="*/ 29 w 204"/>
                  <a:gd name="T33" fmla="*/ 511 h 540"/>
                  <a:gd name="T34" fmla="*/ 14 w 204"/>
                  <a:gd name="T35" fmla="*/ 490 h 540"/>
                  <a:gd name="T36" fmla="*/ 3 w 204"/>
                  <a:gd name="T37" fmla="*/ 465 h 540"/>
                  <a:gd name="T38" fmla="*/ 0 w 204"/>
                  <a:gd name="T39" fmla="*/ 438 h 540"/>
                  <a:gd name="T40" fmla="*/ 0 w 204"/>
                  <a:gd name="T41" fmla="*/ 102 h 540"/>
                  <a:gd name="T42" fmla="*/ 3 w 204"/>
                  <a:gd name="T43" fmla="*/ 75 h 540"/>
                  <a:gd name="T44" fmla="*/ 14 w 204"/>
                  <a:gd name="T45" fmla="*/ 50 h 540"/>
                  <a:gd name="T46" fmla="*/ 29 w 204"/>
                  <a:gd name="T47" fmla="*/ 29 h 540"/>
                  <a:gd name="T48" fmla="*/ 50 w 204"/>
                  <a:gd name="T49" fmla="*/ 14 h 540"/>
                  <a:gd name="T50" fmla="*/ 75 w 204"/>
                  <a:gd name="T51" fmla="*/ 3 h 540"/>
                  <a:gd name="T52" fmla="*/ 102 w 204"/>
                  <a:gd name="T53" fmla="*/ 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4" h="540">
                    <a:moveTo>
                      <a:pt x="102" y="0"/>
                    </a:moveTo>
                    <a:lnTo>
                      <a:pt x="130" y="3"/>
                    </a:lnTo>
                    <a:lnTo>
                      <a:pt x="154" y="14"/>
                    </a:lnTo>
                    <a:lnTo>
                      <a:pt x="174" y="29"/>
                    </a:lnTo>
                    <a:lnTo>
                      <a:pt x="191" y="50"/>
                    </a:lnTo>
                    <a:lnTo>
                      <a:pt x="200" y="75"/>
                    </a:lnTo>
                    <a:lnTo>
                      <a:pt x="204" y="102"/>
                    </a:lnTo>
                    <a:lnTo>
                      <a:pt x="204" y="438"/>
                    </a:lnTo>
                    <a:lnTo>
                      <a:pt x="200" y="465"/>
                    </a:lnTo>
                    <a:lnTo>
                      <a:pt x="191" y="490"/>
                    </a:lnTo>
                    <a:lnTo>
                      <a:pt x="174" y="511"/>
                    </a:lnTo>
                    <a:lnTo>
                      <a:pt x="154" y="526"/>
                    </a:lnTo>
                    <a:lnTo>
                      <a:pt x="130" y="537"/>
                    </a:lnTo>
                    <a:lnTo>
                      <a:pt x="102" y="540"/>
                    </a:lnTo>
                    <a:lnTo>
                      <a:pt x="75" y="537"/>
                    </a:lnTo>
                    <a:lnTo>
                      <a:pt x="50" y="526"/>
                    </a:lnTo>
                    <a:lnTo>
                      <a:pt x="29" y="511"/>
                    </a:lnTo>
                    <a:lnTo>
                      <a:pt x="14" y="490"/>
                    </a:lnTo>
                    <a:lnTo>
                      <a:pt x="3" y="465"/>
                    </a:lnTo>
                    <a:lnTo>
                      <a:pt x="0" y="438"/>
                    </a:lnTo>
                    <a:lnTo>
                      <a:pt x="0" y="102"/>
                    </a:lnTo>
                    <a:lnTo>
                      <a:pt x="3" y="75"/>
                    </a:lnTo>
                    <a:lnTo>
                      <a:pt x="14" y="50"/>
                    </a:lnTo>
                    <a:lnTo>
                      <a:pt x="29" y="29"/>
                    </a:lnTo>
                    <a:lnTo>
                      <a:pt x="50" y="14"/>
                    </a:lnTo>
                    <a:lnTo>
                      <a:pt x="75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9" name="Freeform 26"/>
              <p:cNvSpPr>
                <a:spLocks/>
              </p:cNvSpPr>
              <p:nvPr/>
            </p:nvSpPr>
            <p:spPr bwMode="auto">
              <a:xfrm>
                <a:off x="-971" y="2296"/>
                <a:ext cx="102" cy="481"/>
              </a:xfrm>
              <a:custGeom>
                <a:avLst/>
                <a:gdLst>
                  <a:gd name="T0" fmla="*/ 102 w 205"/>
                  <a:gd name="T1" fmla="*/ 0 h 963"/>
                  <a:gd name="T2" fmla="*/ 130 w 205"/>
                  <a:gd name="T3" fmla="*/ 3 h 963"/>
                  <a:gd name="T4" fmla="*/ 154 w 205"/>
                  <a:gd name="T5" fmla="*/ 14 h 963"/>
                  <a:gd name="T6" fmla="*/ 176 w 205"/>
                  <a:gd name="T7" fmla="*/ 31 h 963"/>
                  <a:gd name="T8" fmla="*/ 191 w 205"/>
                  <a:gd name="T9" fmla="*/ 51 h 963"/>
                  <a:gd name="T10" fmla="*/ 202 w 205"/>
                  <a:gd name="T11" fmla="*/ 75 h 963"/>
                  <a:gd name="T12" fmla="*/ 205 w 205"/>
                  <a:gd name="T13" fmla="*/ 102 h 963"/>
                  <a:gd name="T14" fmla="*/ 205 w 205"/>
                  <a:gd name="T15" fmla="*/ 861 h 963"/>
                  <a:gd name="T16" fmla="*/ 202 w 205"/>
                  <a:gd name="T17" fmla="*/ 888 h 963"/>
                  <a:gd name="T18" fmla="*/ 191 w 205"/>
                  <a:gd name="T19" fmla="*/ 913 h 963"/>
                  <a:gd name="T20" fmla="*/ 176 w 205"/>
                  <a:gd name="T21" fmla="*/ 934 h 963"/>
                  <a:gd name="T22" fmla="*/ 154 w 205"/>
                  <a:gd name="T23" fmla="*/ 949 h 963"/>
                  <a:gd name="T24" fmla="*/ 130 w 205"/>
                  <a:gd name="T25" fmla="*/ 960 h 963"/>
                  <a:gd name="T26" fmla="*/ 102 w 205"/>
                  <a:gd name="T27" fmla="*/ 963 h 963"/>
                  <a:gd name="T28" fmla="*/ 76 w 205"/>
                  <a:gd name="T29" fmla="*/ 960 h 963"/>
                  <a:gd name="T30" fmla="*/ 50 w 205"/>
                  <a:gd name="T31" fmla="*/ 949 h 963"/>
                  <a:gd name="T32" fmla="*/ 31 w 205"/>
                  <a:gd name="T33" fmla="*/ 934 h 963"/>
                  <a:gd name="T34" fmla="*/ 14 w 205"/>
                  <a:gd name="T35" fmla="*/ 913 h 963"/>
                  <a:gd name="T36" fmla="*/ 5 w 205"/>
                  <a:gd name="T37" fmla="*/ 888 h 963"/>
                  <a:gd name="T38" fmla="*/ 0 w 205"/>
                  <a:gd name="T39" fmla="*/ 861 h 963"/>
                  <a:gd name="T40" fmla="*/ 0 w 205"/>
                  <a:gd name="T41" fmla="*/ 102 h 963"/>
                  <a:gd name="T42" fmla="*/ 5 w 205"/>
                  <a:gd name="T43" fmla="*/ 75 h 963"/>
                  <a:gd name="T44" fmla="*/ 14 w 205"/>
                  <a:gd name="T45" fmla="*/ 51 h 963"/>
                  <a:gd name="T46" fmla="*/ 31 w 205"/>
                  <a:gd name="T47" fmla="*/ 31 h 963"/>
                  <a:gd name="T48" fmla="*/ 50 w 205"/>
                  <a:gd name="T49" fmla="*/ 14 h 963"/>
                  <a:gd name="T50" fmla="*/ 76 w 205"/>
                  <a:gd name="T51" fmla="*/ 3 h 963"/>
                  <a:gd name="T52" fmla="*/ 102 w 205"/>
                  <a:gd name="T53" fmla="*/ 0 h 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5" h="963">
                    <a:moveTo>
                      <a:pt x="102" y="0"/>
                    </a:moveTo>
                    <a:lnTo>
                      <a:pt x="130" y="3"/>
                    </a:lnTo>
                    <a:lnTo>
                      <a:pt x="154" y="14"/>
                    </a:lnTo>
                    <a:lnTo>
                      <a:pt x="176" y="31"/>
                    </a:lnTo>
                    <a:lnTo>
                      <a:pt x="191" y="51"/>
                    </a:lnTo>
                    <a:lnTo>
                      <a:pt x="202" y="75"/>
                    </a:lnTo>
                    <a:lnTo>
                      <a:pt x="205" y="102"/>
                    </a:lnTo>
                    <a:lnTo>
                      <a:pt x="205" y="861"/>
                    </a:lnTo>
                    <a:lnTo>
                      <a:pt x="202" y="888"/>
                    </a:lnTo>
                    <a:lnTo>
                      <a:pt x="191" y="913"/>
                    </a:lnTo>
                    <a:lnTo>
                      <a:pt x="176" y="934"/>
                    </a:lnTo>
                    <a:lnTo>
                      <a:pt x="154" y="949"/>
                    </a:lnTo>
                    <a:lnTo>
                      <a:pt x="130" y="960"/>
                    </a:lnTo>
                    <a:lnTo>
                      <a:pt x="102" y="963"/>
                    </a:lnTo>
                    <a:lnTo>
                      <a:pt x="76" y="960"/>
                    </a:lnTo>
                    <a:lnTo>
                      <a:pt x="50" y="949"/>
                    </a:lnTo>
                    <a:lnTo>
                      <a:pt x="31" y="934"/>
                    </a:lnTo>
                    <a:lnTo>
                      <a:pt x="14" y="913"/>
                    </a:lnTo>
                    <a:lnTo>
                      <a:pt x="5" y="888"/>
                    </a:lnTo>
                    <a:lnTo>
                      <a:pt x="0" y="861"/>
                    </a:lnTo>
                    <a:lnTo>
                      <a:pt x="0" y="102"/>
                    </a:lnTo>
                    <a:lnTo>
                      <a:pt x="5" y="75"/>
                    </a:lnTo>
                    <a:lnTo>
                      <a:pt x="14" y="51"/>
                    </a:lnTo>
                    <a:lnTo>
                      <a:pt x="31" y="31"/>
                    </a:lnTo>
                    <a:lnTo>
                      <a:pt x="50" y="14"/>
                    </a:lnTo>
                    <a:lnTo>
                      <a:pt x="76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0" name="Freeform 27"/>
              <p:cNvSpPr>
                <a:spLocks/>
              </p:cNvSpPr>
              <p:nvPr/>
            </p:nvSpPr>
            <p:spPr bwMode="auto">
              <a:xfrm>
                <a:off x="-1163" y="2161"/>
                <a:ext cx="103" cy="616"/>
              </a:xfrm>
              <a:custGeom>
                <a:avLst/>
                <a:gdLst>
                  <a:gd name="T0" fmla="*/ 102 w 204"/>
                  <a:gd name="T1" fmla="*/ 0 h 1231"/>
                  <a:gd name="T2" fmla="*/ 129 w 204"/>
                  <a:gd name="T3" fmla="*/ 3 h 1231"/>
                  <a:gd name="T4" fmla="*/ 154 w 204"/>
                  <a:gd name="T5" fmla="*/ 13 h 1231"/>
                  <a:gd name="T6" fmla="*/ 174 w 204"/>
                  <a:gd name="T7" fmla="*/ 30 h 1231"/>
                  <a:gd name="T8" fmla="*/ 191 w 204"/>
                  <a:gd name="T9" fmla="*/ 50 h 1231"/>
                  <a:gd name="T10" fmla="*/ 201 w 204"/>
                  <a:gd name="T11" fmla="*/ 74 h 1231"/>
                  <a:gd name="T12" fmla="*/ 204 w 204"/>
                  <a:gd name="T13" fmla="*/ 102 h 1231"/>
                  <a:gd name="T14" fmla="*/ 204 w 204"/>
                  <a:gd name="T15" fmla="*/ 1129 h 1231"/>
                  <a:gd name="T16" fmla="*/ 201 w 204"/>
                  <a:gd name="T17" fmla="*/ 1156 h 1231"/>
                  <a:gd name="T18" fmla="*/ 191 w 204"/>
                  <a:gd name="T19" fmla="*/ 1181 h 1231"/>
                  <a:gd name="T20" fmla="*/ 174 w 204"/>
                  <a:gd name="T21" fmla="*/ 1202 h 1231"/>
                  <a:gd name="T22" fmla="*/ 154 w 204"/>
                  <a:gd name="T23" fmla="*/ 1217 h 1231"/>
                  <a:gd name="T24" fmla="*/ 129 w 204"/>
                  <a:gd name="T25" fmla="*/ 1228 h 1231"/>
                  <a:gd name="T26" fmla="*/ 102 w 204"/>
                  <a:gd name="T27" fmla="*/ 1231 h 1231"/>
                  <a:gd name="T28" fmla="*/ 74 w 204"/>
                  <a:gd name="T29" fmla="*/ 1228 h 1231"/>
                  <a:gd name="T30" fmla="*/ 50 w 204"/>
                  <a:gd name="T31" fmla="*/ 1217 h 1231"/>
                  <a:gd name="T32" fmla="*/ 29 w 204"/>
                  <a:gd name="T33" fmla="*/ 1202 h 1231"/>
                  <a:gd name="T34" fmla="*/ 13 w 204"/>
                  <a:gd name="T35" fmla="*/ 1181 h 1231"/>
                  <a:gd name="T36" fmla="*/ 3 w 204"/>
                  <a:gd name="T37" fmla="*/ 1156 h 1231"/>
                  <a:gd name="T38" fmla="*/ 0 w 204"/>
                  <a:gd name="T39" fmla="*/ 1129 h 1231"/>
                  <a:gd name="T40" fmla="*/ 0 w 204"/>
                  <a:gd name="T41" fmla="*/ 102 h 1231"/>
                  <a:gd name="T42" fmla="*/ 3 w 204"/>
                  <a:gd name="T43" fmla="*/ 74 h 1231"/>
                  <a:gd name="T44" fmla="*/ 13 w 204"/>
                  <a:gd name="T45" fmla="*/ 51 h 1231"/>
                  <a:gd name="T46" fmla="*/ 29 w 204"/>
                  <a:gd name="T47" fmla="*/ 30 h 1231"/>
                  <a:gd name="T48" fmla="*/ 48 w 204"/>
                  <a:gd name="T49" fmla="*/ 15 h 1231"/>
                  <a:gd name="T50" fmla="*/ 74 w 204"/>
                  <a:gd name="T51" fmla="*/ 4 h 1231"/>
                  <a:gd name="T52" fmla="*/ 102 w 204"/>
                  <a:gd name="T53" fmla="*/ 0 h 1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4" h="1231">
                    <a:moveTo>
                      <a:pt x="102" y="0"/>
                    </a:moveTo>
                    <a:lnTo>
                      <a:pt x="129" y="3"/>
                    </a:lnTo>
                    <a:lnTo>
                      <a:pt x="154" y="13"/>
                    </a:lnTo>
                    <a:lnTo>
                      <a:pt x="174" y="30"/>
                    </a:lnTo>
                    <a:lnTo>
                      <a:pt x="191" y="50"/>
                    </a:lnTo>
                    <a:lnTo>
                      <a:pt x="201" y="74"/>
                    </a:lnTo>
                    <a:lnTo>
                      <a:pt x="204" y="102"/>
                    </a:lnTo>
                    <a:lnTo>
                      <a:pt x="204" y="1129"/>
                    </a:lnTo>
                    <a:lnTo>
                      <a:pt x="201" y="1156"/>
                    </a:lnTo>
                    <a:lnTo>
                      <a:pt x="191" y="1181"/>
                    </a:lnTo>
                    <a:lnTo>
                      <a:pt x="174" y="1202"/>
                    </a:lnTo>
                    <a:lnTo>
                      <a:pt x="154" y="1217"/>
                    </a:lnTo>
                    <a:lnTo>
                      <a:pt x="129" y="1228"/>
                    </a:lnTo>
                    <a:lnTo>
                      <a:pt x="102" y="1231"/>
                    </a:lnTo>
                    <a:lnTo>
                      <a:pt x="74" y="1228"/>
                    </a:lnTo>
                    <a:lnTo>
                      <a:pt x="50" y="1217"/>
                    </a:lnTo>
                    <a:lnTo>
                      <a:pt x="29" y="1202"/>
                    </a:lnTo>
                    <a:lnTo>
                      <a:pt x="13" y="1181"/>
                    </a:lnTo>
                    <a:lnTo>
                      <a:pt x="3" y="1156"/>
                    </a:lnTo>
                    <a:lnTo>
                      <a:pt x="0" y="1129"/>
                    </a:lnTo>
                    <a:lnTo>
                      <a:pt x="0" y="102"/>
                    </a:lnTo>
                    <a:lnTo>
                      <a:pt x="3" y="74"/>
                    </a:lnTo>
                    <a:lnTo>
                      <a:pt x="13" y="51"/>
                    </a:lnTo>
                    <a:lnTo>
                      <a:pt x="29" y="30"/>
                    </a:lnTo>
                    <a:lnTo>
                      <a:pt x="48" y="15"/>
                    </a:lnTo>
                    <a:lnTo>
                      <a:pt x="74" y="4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1" name="Freeform 28"/>
              <p:cNvSpPr>
                <a:spLocks/>
              </p:cNvSpPr>
              <p:nvPr/>
            </p:nvSpPr>
            <p:spPr bwMode="auto">
              <a:xfrm>
                <a:off x="21" y="2418"/>
                <a:ext cx="337" cy="103"/>
              </a:xfrm>
              <a:custGeom>
                <a:avLst/>
                <a:gdLst>
                  <a:gd name="T0" fmla="*/ 102 w 675"/>
                  <a:gd name="T1" fmla="*/ 0 h 204"/>
                  <a:gd name="T2" fmla="*/ 573 w 675"/>
                  <a:gd name="T3" fmla="*/ 0 h 204"/>
                  <a:gd name="T4" fmla="*/ 600 w 675"/>
                  <a:gd name="T5" fmla="*/ 3 h 204"/>
                  <a:gd name="T6" fmla="*/ 625 w 675"/>
                  <a:gd name="T7" fmla="*/ 14 h 204"/>
                  <a:gd name="T8" fmla="*/ 644 w 675"/>
                  <a:gd name="T9" fmla="*/ 29 h 204"/>
                  <a:gd name="T10" fmla="*/ 661 w 675"/>
                  <a:gd name="T11" fmla="*/ 50 h 204"/>
                  <a:gd name="T12" fmla="*/ 670 w 675"/>
                  <a:gd name="T13" fmla="*/ 75 h 204"/>
                  <a:gd name="T14" fmla="*/ 675 w 675"/>
                  <a:gd name="T15" fmla="*/ 102 h 204"/>
                  <a:gd name="T16" fmla="*/ 670 w 675"/>
                  <a:gd name="T17" fmla="*/ 128 h 204"/>
                  <a:gd name="T18" fmla="*/ 661 w 675"/>
                  <a:gd name="T19" fmla="*/ 152 h 204"/>
                  <a:gd name="T20" fmla="*/ 644 w 675"/>
                  <a:gd name="T21" fmla="*/ 174 h 204"/>
                  <a:gd name="T22" fmla="*/ 625 w 675"/>
                  <a:gd name="T23" fmla="*/ 191 h 204"/>
                  <a:gd name="T24" fmla="*/ 600 w 675"/>
                  <a:gd name="T25" fmla="*/ 200 h 204"/>
                  <a:gd name="T26" fmla="*/ 573 w 675"/>
                  <a:gd name="T27" fmla="*/ 204 h 204"/>
                  <a:gd name="T28" fmla="*/ 102 w 675"/>
                  <a:gd name="T29" fmla="*/ 204 h 204"/>
                  <a:gd name="T30" fmla="*/ 76 w 675"/>
                  <a:gd name="T31" fmla="*/ 200 h 204"/>
                  <a:gd name="T32" fmla="*/ 52 w 675"/>
                  <a:gd name="T33" fmla="*/ 191 h 204"/>
                  <a:gd name="T34" fmla="*/ 30 w 675"/>
                  <a:gd name="T35" fmla="*/ 174 h 204"/>
                  <a:gd name="T36" fmla="*/ 14 w 675"/>
                  <a:gd name="T37" fmla="*/ 152 h 204"/>
                  <a:gd name="T38" fmla="*/ 4 w 675"/>
                  <a:gd name="T39" fmla="*/ 128 h 204"/>
                  <a:gd name="T40" fmla="*/ 0 w 675"/>
                  <a:gd name="T41" fmla="*/ 102 h 204"/>
                  <a:gd name="T42" fmla="*/ 4 w 675"/>
                  <a:gd name="T43" fmla="*/ 75 h 204"/>
                  <a:gd name="T44" fmla="*/ 14 w 675"/>
                  <a:gd name="T45" fmla="*/ 50 h 204"/>
                  <a:gd name="T46" fmla="*/ 30 w 675"/>
                  <a:gd name="T47" fmla="*/ 29 h 204"/>
                  <a:gd name="T48" fmla="*/ 52 w 675"/>
                  <a:gd name="T49" fmla="*/ 14 h 204"/>
                  <a:gd name="T50" fmla="*/ 76 w 675"/>
                  <a:gd name="T51" fmla="*/ 3 h 204"/>
                  <a:gd name="T52" fmla="*/ 102 w 675"/>
                  <a:gd name="T53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75" h="204">
                    <a:moveTo>
                      <a:pt x="102" y="0"/>
                    </a:moveTo>
                    <a:lnTo>
                      <a:pt x="573" y="0"/>
                    </a:lnTo>
                    <a:lnTo>
                      <a:pt x="600" y="3"/>
                    </a:lnTo>
                    <a:lnTo>
                      <a:pt x="625" y="14"/>
                    </a:lnTo>
                    <a:lnTo>
                      <a:pt x="644" y="29"/>
                    </a:lnTo>
                    <a:lnTo>
                      <a:pt x="661" y="50"/>
                    </a:lnTo>
                    <a:lnTo>
                      <a:pt x="670" y="75"/>
                    </a:lnTo>
                    <a:lnTo>
                      <a:pt x="675" y="102"/>
                    </a:lnTo>
                    <a:lnTo>
                      <a:pt x="670" y="128"/>
                    </a:lnTo>
                    <a:lnTo>
                      <a:pt x="661" y="152"/>
                    </a:lnTo>
                    <a:lnTo>
                      <a:pt x="644" y="174"/>
                    </a:lnTo>
                    <a:lnTo>
                      <a:pt x="625" y="191"/>
                    </a:lnTo>
                    <a:lnTo>
                      <a:pt x="600" y="200"/>
                    </a:lnTo>
                    <a:lnTo>
                      <a:pt x="573" y="204"/>
                    </a:lnTo>
                    <a:lnTo>
                      <a:pt x="102" y="204"/>
                    </a:lnTo>
                    <a:lnTo>
                      <a:pt x="76" y="200"/>
                    </a:lnTo>
                    <a:lnTo>
                      <a:pt x="52" y="191"/>
                    </a:lnTo>
                    <a:lnTo>
                      <a:pt x="30" y="174"/>
                    </a:lnTo>
                    <a:lnTo>
                      <a:pt x="14" y="152"/>
                    </a:lnTo>
                    <a:lnTo>
                      <a:pt x="4" y="128"/>
                    </a:lnTo>
                    <a:lnTo>
                      <a:pt x="0" y="102"/>
                    </a:lnTo>
                    <a:lnTo>
                      <a:pt x="4" y="75"/>
                    </a:lnTo>
                    <a:lnTo>
                      <a:pt x="14" y="50"/>
                    </a:lnTo>
                    <a:lnTo>
                      <a:pt x="30" y="29"/>
                    </a:lnTo>
                    <a:lnTo>
                      <a:pt x="52" y="14"/>
                    </a:lnTo>
                    <a:lnTo>
                      <a:pt x="76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2" name="Freeform 29"/>
              <p:cNvSpPr>
                <a:spLocks/>
              </p:cNvSpPr>
              <p:nvPr/>
            </p:nvSpPr>
            <p:spPr bwMode="auto">
              <a:xfrm>
                <a:off x="21" y="2642"/>
                <a:ext cx="337" cy="102"/>
              </a:xfrm>
              <a:custGeom>
                <a:avLst/>
                <a:gdLst>
                  <a:gd name="T0" fmla="*/ 102 w 675"/>
                  <a:gd name="T1" fmla="*/ 0 h 204"/>
                  <a:gd name="T2" fmla="*/ 573 w 675"/>
                  <a:gd name="T3" fmla="*/ 0 h 204"/>
                  <a:gd name="T4" fmla="*/ 600 w 675"/>
                  <a:gd name="T5" fmla="*/ 3 h 204"/>
                  <a:gd name="T6" fmla="*/ 625 w 675"/>
                  <a:gd name="T7" fmla="*/ 14 h 204"/>
                  <a:gd name="T8" fmla="*/ 644 w 675"/>
                  <a:gd name="T9" fmla="*/ 30 h 204"/>
                  <a:gd name="T10" fmla="*/ 661 w 675"/>
                  <a:gd name="T11" fmla="*/ 50 h 204"/>
                  <a:gd name="T12" fmla="*/ 670 w 675"/>
                  <a:gd name="T13" fmla="*/ 75 h 204"/>
                  <a:gd name="T14" fmla="*/ 675 w 675"/>
                  <a:gd name="T15" fmla="*/ 102 h 204"/>
                  <a:gd name="T16" fmla="*/ 670 w 675"/>
                  <a:gd name="T17" fmla="*/ 130 h 204"/>
                  <a:gd name="T18" fmla="*/ 661 w 675"/>
                  <a:gd name="T19" fmla="*/ 154 h 204"/>
                  <a:gd name="T20" fmla="*/ 644 w 675"/>
                  <a:gd name="T21" fmla="*/ 174 h 204"/>
                  <a:gd name="T22" fmla="*/ 625 w 675"/>
                  <a:gd name="T23" fmla="*/ 191 h 204"/>
                  <a:gd name="T24" fmla="*/ 600 w 675"/>
                  <a:gd name="T25" fmla="*/ 201 h 204"/>
                  <a:gd name="T26" fmla="*/ 573 w 675"/>
                  <a:gd name="T27" fmla="*/ 204 h 204"/>
                  <a:gd name="T28" fmla="*/ 102 w 675"/>
                  <a:gd name="T29" fmla="*/ 204 h 204"/>
                  <a:gd name="T30" fmla="*/ 76 w 675"/>
                  <a:gd name="T31" fmla="*/ 201 h 204"/>
                  <a:gd name="T32" fmla="*/ 52 w 675"/>
                  <a:gd name="T33" fmla="*/ 191 h 204"/>
                  <a:gd name="T34" fmla="*/ 30 w 675"/>
                  <a:gd name="T35" fmla="*/ 174 h 204"/>
                  <a:gd name="T36" fmla="*/ 14 w 675"/>
                  <a:gd name="T37" fmla="*/ 154 h 204"/>
                  <a:gd name="T38" fmla="*/ 4 w 675"/>
                  <a:gd name="T39" fmla="*/ 130 h 204"/>
                  <a:gd name="T40" fmla="*/ 0 w 675"/>
                  <a:gd name="T41" fmla="*/ 102 h 204"/>
                  <a:gd name="T42" fmla="*/ 4 w 675"/>
                  <a:gd name="T43" fmla="*/ 75 h 204"/>
                  <a:gd name="T44" fmla="*/ 14 w 675"/>
                  <a:gd name="T45" fmla="*/ 50 h 204"/>
                  <a:gd name="T46" fmla="*/ 30 w 675"/>
                  <a:gd name="T47" fmla="*/ 30 h 204"/>
                  <a:gd name="T48" fmla="*/ 52 w 675"/>
                  <a:gd name="T49" fmla="*/ 14 h 204"/>
                  <a:gd name="T50" fmla="*/ 76 w 675"/>
                  <a:gd name="T51" fmla="*/ 3 h 204"/>
                  <a:gd name="T52" fmla="*/ 102 w 675"/>
                  <a:gd name="T53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75" h="204">
                    <a:moveTo>
                      <a:pt x="102" y="0"/>
                    </a:moveTo>
                    <a:lnTo>
                      <a:pt x="573" y="0"/>
                    </a:lnTo>
                    <a:lnTo>
                      <a:pt x="600" y="3"/>
                    </a:lnTo>
                    <a:lnTo>
                      <a:pt x="625" y="14"/>
                    </a:lnTo>
                    <a:lnTo>
                      <a:pt x="644" y="30"/>
                    </a:lnTo>
                    <a:lnTo>
                      <a:pt x="661" y="50"/>
                    </a:lnTo>
                    <a:lnTo>
                      <a:pt x="670" y="75"/>
                    </a:lnTo>
                    <a:lnTo>
                      <a:pt x="675" y="102"/>
                    </a:lnTo>
                    <a:lnTo>
                      <a:pt x="670" y="130"/>
                    </a:lnTo>
                    <a:lnTo>
                      <a:pt x="661" y="154"/>
                    </a:lnTo>
                    <a:lnTo>
                      <a:pt x="644" y="174"/>
                    </a:lnTo>
                    <a:lnTo>
                      <a:pt x="625" y="191"/>
                    </a:lnTo>
                    <a:lnTo>
                      <a:pt x="600" y="201"/>
                    </a:lnTo>
                    <a:lnTo>
                      <a:pt x="573" y="204"/>
                    </a:lnTo>
                    <a:lnTo>
                      <a:pt x="102" y="204"/>
                    </a:lnTo>
                    <a:lnTo>
                      <a:pt x="76" y="201"/>
                    </a:lnTo>
                    <a:lnTo>
                      <a:pt x="52" y="191"/>
                    </a:lnTo>
                    <a:lnTo>
                      <a:pt x="30" y="174"/>
                    </a:lnTo>
                    <a:lnTo>
                      <a:pt x="14" y="154"/>
                    </a:lnTo>
                    <a:lnTo>
                      <a:pt x="4" y="130"/>
                    </a:lnTo>
                    <a:lnTo>
                      <a:pt x="0" y="102"/>
                    </a:lnTo>
                    <a:lnTo>
                      <a:pt x="4" y="75"/>
                    </a:lnTo>
                    <a:lnTo>
                      <a:pt x="14" y="50"/>
                    </a:lnTo>
                    <a:lnTo>
                      <a:pt x="30" y="30"/>
                    </a:lnTo>
                    <a:lnTo>
                      <a:pt x="52" y="14"/>
                    </a:lnTo>
                    <a:lnTo>
                      <a:pt x="76" y="3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3411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0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1"/>
          <p:cNvSpPr txBox="1">
            <a:spLocks/>
          </p:cNvSpPr>
          <p:nvPr/>
        </p:nvSpPr>
        <p:spPr>
          <a:xfrm>
            <a:off x="457200" y="304800"/>
            <a:ext cx="8394699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800" dirty="0" smtClean="0">
                <a:solidFill>
                  <a:srgbClr val="FFFFFF"/>
                </a:solidFill>
              </a:rPr>
              <a:t>Межотраслевая аналитика</a:t>
            </a:r>
            <a:endParaRPr lang="ru-RU" sz="6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36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8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 bwMode="ltGray">
          <a:xfrm rot="16200000">
            <a:off x="-962306" y="959803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09721" y="743354"/>
            <a:ext cx="804420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Сверху-вниз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анализ временных ряд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расчет времени до следующей продаж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800" i="1" dirty="0" smtClean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0" name="Rectangle 17"/>
          <p:cNvSpPr>
            <a:spLocks/>
          </p:cNvSpPr>
          <p:nvPr/>
        </p:nvSpPr>
        <p:spPr bwMode="auto">
          <a:xfrm>
            <a:off x="213360" y="3248411"/>
            <a:ext cx="594359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Данные</a:t>
            </a:r>
            <a:endParaRPr lang="ru-RU" sz="1050" b="1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472894" y="1105688"/>
            <a:ext cx="510332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eaLnBrk="0" hangingPunct="0"/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Выявление </a:t>
            </a:r>
            <a:r>
              <a:rPr lang="ru-RU" i="1" dirty="0" smtClean="0">
                <a:solidFill>
                  <a:schemeClr val="bg1"/>
                </a:solidFill>
                <a:latin typeface="+mj-lt"/>
              </a:rPr>
              <a:t>ключевых событий,</a:t>
            </a:r>
            <a:r>
              <a:rPr lang="ru-RU" smtClean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влияющих на спрос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1472894" y="1523925"/>
            <a:ext cx="3345994" cy="1689031"/>
            <a:chOff x="1472894" y="1489403"/>
            <a:chExt cx="3345994" cy="1689031"/>
          </a:xfrm>
        </p:grpSpPr>
        <p:sp>
          <p:nvSpPr>
            <p:cNvPr id="25" name="Rectangle 24"/>
            <p:cNvSpPr/>
            <p:nvPr/>
          </p:nvSpPr>
          <p:spPr bwMode="ltGray">
            <a:xfrm>
              <a:off x="1472894" y="1489403"/>
              <a:ext cx="1087041" cy="864386"/>
            </a:xfrm>
            <a:prstGeom prst="rect">
              <a:avLst/>
            </a:prstGeom>
            <a:solidFill>
              <a:srgbClr val="A7A4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>
                <a:spcAft>
                  <a:spcPts val="100"/>
                </a:spcAft>
              </a:pPr>
              <a:r>
                <a:rPr lang="ru-RU" sz="800" b="1" dirty="0" smtClean="0">
                  <a:solidFill>
                    <a:schemeClr val="bg1"/>
                  </a:solidFill>
                  <a:latin typeface="+mj-lt"/>
                </a:rPr>
                <a:t>Показатели спроса</a:t>
              </a:r>
            </a:p>
            <a:p>
              <a:pPr marL="87313" indent="-87313">
                <a:spcAft>
                  <a:spcPts val="100"/>
                </a:spcAft>
                <a:buFont typeface="Arial" panose="020B0604020202020204" pitchFamily="34" charset="0"/>
                <a:buChar char="•"/>
              </a:pPr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Тенденции</a:t>
              </a:r>
            </a:p>
            <a:p>
              <a:pPr marL="87313" indent="-87313">
                <a:spcAft>
                  <a:spcPts val="100"/>
                </a:spcAft>
                <a:buFont typeface="Arial" panose="020B0604020202020204" pitchFamily="34" charset="0"/>
                <a:buChar char="•"/>
              </a:pPr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Сезонность</a:t>
              </a:r>
            </a:p>
            <a:p>
              <a:pPr marL="87313" indent="-87313">
                <a:spcAft>
                  <a:spcPts val="100"/>
                </a:spcAft>
                <a:buFont typeface="Arial" panose="020B0604020202020204" pitchFamily="34" charset="0"/>
                <a:buChar char="•"/>
              </a:pPr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Случайный характер</a:t>
              </a:r>
            </a:p>
          </p:txBody>
        </p:sp>
        <p:sp>
          <p:nvSpPr>
            <p:cNvPr id="26" name="Rectangle 25"/>
            <p:cNvSpPr/>
            <p:nvPr/>
          </p:nvSpPr>
          <p:spPr bwMode="ltGray">
            <a:xfrm>
              <a:off x="2602370" y="1489403"/>
              <a:ext cx="1087041" cy="864386"/>
            </a:xfrm>
            <a:prstGeom prst="rect">
              <a:avLst/>
            </a:prstGeom>
            <a:solidFill>
              <a:srgbClr val="A7A4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>
                <a:spcAft>
                  <a:spcPts val="100"/>
                </a:spcAft>
              </a:pPr>
              <a:r>
                <a:rPr lang="ru-RU" sz="800" b="1" dirty="0" smtClean="0">
                  <a:solidFill>
                    <a:schemeClr val="bg1"/>
                  </a:solidFill>
                  <a:latin typeface="+mj-lt"/>
                </a:rPr>
                <a:t>События</a:t>
              </a:r>
            </a:p>
            <a:p>
              <a:pPr marL="87313" indent="-87313">
                <a:spcAft>
                  <a:spcPts val="100"/>
                </a:spcAft>
                <a:buFont typeface="Arial" panose="020B0604020202020204" pitchFamily="34" charset="0"/>
                <a:buChar char="•"/>
              </a:pPr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Рекламные акции</a:t>
              </a:r>
            </a:p>
            <a:p>
              <a:pPr marL="87313" indent="-87313">
                <a:spcAft>
                  <a:spcPts val="100"/>
                </a:spcAft>
                <a:buFont typeface="Arial" panose="020B0604020202020204" pitchFamily="34" charset="0"/>
                <a:buChar char="•"/>
              </a:pPr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Фестивали</a:t>
              </a:r>
            </a:p>
            <a:p>
              <a:pPr marL="87313" indent="-87313">
                <a:spcAft>
                  <a:spcPts val="100"/>
                </a:spcAft>
                <a:buFont typeface="Arial" panose="020B0604020202020204" pitchFamily="34" charset="0"/>
                <a:buChar char="•"/>
              </a:pPr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Действия конкурентов</a:t>
              </a:r>
              <a:endParaRPr lang="ru-RU" sz="8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8" name="Rectangle 27"/>
            <p:cNvSpPr/>
            <p:nvPr/>
          </p:nvSpPr>
          <p:spPr bwMode="ltGray">
            <a:xfrm>
              <a:off x="2018134" y="2687862"/>
              <a:ext cx="2255512" cy="49057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900" b="1" i="1" dirty="0" smtClean="0">
                  <a:solidFill>
                    <a:schemeClr val="bg1"/>
                  </a:solidFill>
                  <a:latin typeface="+mj-lt"/>
                </a:rPr>
                <a:t>Прогнозный спрос</a:t>
              </a:r>
            </a:p>
          </p:txBody>
        </p:sp>
        <p:sp>
          <p:nvSpPr>
            <p:cNvPr id="29" name="Rectangle 28"/>
            <p:cNvSpPr/>
            <p:nvPr/>
          </p:nvSpPr>
          <p:spPr bwMode="ltGray">
            <a:xfrm>
              <a:off x="3731847" y="1489403"/>
              <a:ext cx="1087041" cy="864386"/>
            </a:xfrm>
            <a:prstGeom prst="rect">
              <a:avLst/>
            </a:prstGeom>
            <a:solidFill>
              <a:srgbClr val="A7A4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>
                <a:spcAft>
                  <a:spcPts val="100"/>
                </a:spcAft>
              </a:pPr>
              <a:r>
                <a:rPr lang="ru-RU" sz="800" b="1" dirty="0" smtClean="0">
                  <a:solidFill>
                    <a:schemeClr val="bg1"/>
                  </a:solidFill>
                  <a:latin typeface="+mj-lt"/>
                </a:rPr>
                <a:t>Нерегулярные переменные</a:t>
              </a:r>
            </a:p>
            <a:p>
              <a:pPr marL="87313" indent="-87313">
                <a:spcAft>
                  <a:spcPts val="100"/>
                </a:spcAft>
                <a:buFont typeface="Arial" panose="020B0604020202020204" pitchFamily="34" charset="0"/>
                <a:buChar char="•"/>
              </a:pPr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цена продукта</a:t>
              </a:r>
            </a:p>
            <a:p>
              <a:pPr marL="87313" indent="-87313">
                <a:spcAft>
                  <a:spcPts val="100"/>
                </a:spcAft>
                <a:buFont typeface="Arial" panose="020B0604020202020204" pitchFamily="34" charset="0"/>
                <a:buChar char="•"/>
              </a:pPr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доход, ВВП</a:t>
              </a:r>
            </a:p>
            <a:p>
              <a:pPr marL="87313" indent="-87313">
                <a:spcAft>
                  <a:spcPts val="100"/>
                </a:spcAft>
                <a:buFont typeface="Arial" panose="020B0604020202020204" pitchFamily="34" charset="0"/>
                <a:buChar char="•"/>
              </a:pPr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демография, правительство, политика</a:t>
              </a:r>
              <a:endParaRPr lang="ru-RU" sz="800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33" name="Elbow Connector 32"/>
            <p:cNvCxnSpPr>
              <a:stCxn id="25" idx="2"/>
              <a:endCxn id="28" idx="0"/>
            </p:cNvCxnSpPr>
            <p:nvPr/>
          </p:nvCxnSpPr>
          <p:spPr>
            <a:xfrm rot="16200000" flipH="1">
              <a:off x="2414116" y="1956087"/>
              <a:ext cx="334073" cy="1129475"/>
            </a:xfrm>
            <a:prstGeom prst="bentConnector3">
              <a:avLst/>
            </a:prstGeom>
            <a:ln w="19050">
              <a:solidFill>
                <a:schemeClr val="accent5">
                  <a:lumMod val="40000"/>
                  <a:lumOff val="6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2"/>
              <a:endCxn id="28" idx="0"/>
            </p:cNvCxnSpPr>
            <p:nvPr/>
          </p:nvCxnSpPr>
          <p:spPr>
            <a:xfrm rot="5400000">
              <a:off x="3543593" y="1956086"/>
              <a:ext cx="334073" cy="1129478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5">
                  <a:lumMod val="40000"/>
                  <a:lumOff val="6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Elbow Connector 32"/>
            <p:cNvCxnSpPr>
              <a:stCxn id="26" idx="2"/>
              <a:endCxn id="28" idx="0"/>
            </p:cNvCxnSpPr>
            <p:nvPr/>
          </p:nvCxnSpPr>
          <p:spPr>
            <a:xfrm flipH="1">
              <a:off x="3145890" y="2353789"/>
              <a:ext cx="1" cy="334073"/>
            </a:xfrm>
            <a:prstGeom prst="straightConnector1">
              <a:avLst/>
            </a:prstGeom>
            <a:ln w="19050">
              <a:solidFill>
                <a:schemeClr val="accent5">
                  <a:lumMod val="40000"/>
                  <a:lumOff val="6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5726532" y="1778371"/>
            <a:ext cx="2884069" cy="10002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eaLnBrk="0" hangingPunct="0"/>
            <a:r>
              <a:rPr lang="ru-RU" sz="1300" i="1" dirty="0" smtClean="0">
                <a:solidFill>
                  <a:schemeClr val="bg1"/>
                </a:solidFill>
                <a:latin typeface="+mj-lt"/>
              </a:rPr>
              <a:t>Группирование товарных позиций (SKU) / магазинов по кластерам на базе основных характеристик, таких как скорость продаж, волатильность продаж, маржа</a:t>
            </a:r>
            <a:endParaRPr lang="ru-RU" sz="13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442158" y="3532028"/>
            <a:ext cx="370232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eaLnBrk="0" hangingPunct="0"/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Оптимизация алгоритмов пополнения запасов при помощи масштабного моделирования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5645876" y="3011524"/>
            <a:ext cx="2964725" cy="2171498"/>
            <a:chOff x="5821951" y="3081331"/>
            <a:chExt cx="2964725" cy="2171498"/>
          </a:xfrm>
        </p:grpSpPr>
        <p:sp>
          <p:nvSpPr>
            <p:cNvPr id="90" name="Rectangle 89"/>
            <p:cNvSpPr/>
            <p:nvPr/>
          </p:nvSpPr>
          <p:spPr>
            <a:xfrm>
              <a:off x="6531337" y="3081331"/>
              <a:ext cx="1524758" cy="479023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dkEdge"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4">
                <a:hueOff val="0"/>
                <a:satOff val="0"/>
                <a:lumOff val="0"/>
                <a:alphaOff val="0"/>
              </a:schemeClr>
            </a:fillRef>
            <a:effectRef idx="1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8000" tIns="18000" rIns="18000" bIns="18000" numCol="1" spcCol="1270" anchor="ctr" anchorCtr="0">
              <a:noAutofit/>
            </a:bodyPr>
            <a:lstStyle/>
            <a:p>
              <a:pPr algn="ctr"/>
              <a:r>
                <a:rPr lang="ru-RU" sz="900" dirty="0" smtClean="0">
                  <a:solidFill>
                    <a:schemeClr val="bg1"/>
                  </a:solidFill>
                  <a:latin typeface="+mj-lt"/>
                </a:rPr>
                <a:t>Полный набор данных</a:t>
              </a:r>
            </a:p>
            <a:p>
              <a:pPr algn="ctr"/>
              <a:r>
                <a:rPr lang="ru-RU" sz="900" dirty="0" smtClean="0">
                  <a:solidFill>
                    <a:schemeClr val="bg1"/>
                  </a:solidFill>
                  <a:latin typeface="+mj-lt"/>
                </a:rPr>
                <a:t>~36,7 млн единиц (SKU-магазин-деталь) </a:t>
              </a:r>
              <a:endParaRPr lang="ru-RU" sz="9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6203426" y="3927568"/>
              <a:ext cx="698214" cy="479023"/>
            </a:xfrm>
            <a:prstGeom prst="rect">
              <a:avLst/>
            </a:prstGeom>
            <a:solidFill>
              <a:srgbClr val="A7A49B"/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dkEdge"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5">
                <a:hueOff val="0"/>
                <a:satOff val="0"/>
                <a:lumOff val="0"/>
                <a:alphaOff val="0"/>
              </a:schemeClr>
            </a:fillRef>
            <a:effectRef idx="1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8000" tIns="18000" rIns="18000" bIns="18000" numCol="1" spcCol="1270" anchor="ctr" anchorCtr="0">
              <a:noAutofit/>
            </a:bodyPr>
            <a:lstStyle/>
            <a:p>
              <a:pPr algn="ctr" defTabSz="177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Средний недельный объем продаж &lt; = 1 млн</a:t>
              </a:r>
              <a:endParaRPr lang="ru-RU" sz="8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5821951" y="4773806"/>
              <a:ext cx="709385" cy="479023"/>
            </a:xfrm>
            <a:prstGeom prst="rect">
              <a:avLst/>
            </a:prstGeom>
            <a:solidFill>
              <a:srgbClr val="8E8A81"/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dkEdge"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5">
                <a:hueOff val="0"/>
                <a:satOff val="0"/>
                <a:lumOff val="0"/>
                <a:alphaOff val="0"/>
              </a:schemeClr>
            </a:fillRef>
            <a:effectRef idx="1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8000" tIns="18000" rIns="18000" bIns="18000" numCol="1" spcCol="1270" anchor="ctr" anchorCtr="0">
              <a:noAutofit/>
            </a:bodyPr>
            <a:lstStyle/>
            <a:p>
              <a:pPr algn="ctr" defTabSz="177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dirty="0" smtClean="0">
                  <a:solidFill>
                    <a:schemeClr val="bg1"/>
                  </a:solidFill>
                  <a:latin typeface="+mj-lt"/>
                </a:rPr>
                <a:t>Цена &lt; = 100</a:t>
              </a:r>
            </a:p>
            <a:p>
              <a:pPr algn="ctr" defTabSz="177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b="1" i="1" dirty="0" smtClean="0">
                  <a:solidFill>
                    <a:schemeClr val="bg1"/>
                  </a:solidFill>
                  <a:latin typeface="+mj-lt"/>
                </a:rPr>
                <a:t>T=8</a:t>
              </a:r>
              <a:endParaRPr lang="ru-RU" sz="900" b="1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6573731" y="4773806"/>
              <a:ext cx="709385" cy="479023"/>
            </a:xfrm>
            <a:prstGeom prst="rect">
              <a:avLst/>
            </a:prstGeom>
            <a:solidFill>
              <a:srgbClr val="8E8A81"/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dkEdge"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5">
                <a:hueOff val="0"/>
                <a:satOff val="0"/>
                <a:lumOff val="0"/>
                <a:alphaOff val="0"/>
              </a:schemeClr>
            </a:fillRef>
            <a:effectRef idx="1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8000" tIns="18000" rIns="18000" bIns="18000" numCol="1" spcCol="1270" anchor="ctr" anchorCtr="0">
              <a:noAutofit/>
            </a:bodyPr>
            <a:lstStyle/>
            <a:p>
              <a:pPr algn="ctr" defTabSz="177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dirty="0" smtClean="0">
                  <a:solidFill>
                    <a:schemeClr val="bg1"/>
                  </a:solidFill>
                  <a:latin typeface="+mj-lt"/>
                </a:rPr>
                <a:t>Цена &gt; 100</a:t>
              </a:r>
            </a:p>
            <a:p>
              <a:pPr algn="ctr" defTabSz="177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b="1" i="1" dirty="0" smtClean="0">
                  <a:solidFill>
                    <a:schemeClr val="bg1"/>
                  </a:solidFill>
                  <a:latin typeface="+mj-lt"/>
                </a:rPr>
                <a:t>T=21</a:t>
              </a:r>
              <a:endParaRPr lang="ru-RU" sz="900" b="1" i="1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103" name="Elbow Connector 102"/>
            <p:cNvCxnSpPr>
              <a:stCxn id="100" idx="2"/>
              <a:endCxn id="101" idx="0"/>
            </p:cNvCxnSpPr>
            <p:nvPr/>
          </p:nvCxnSpPr>
          <p:spPr>
            <a:xfrm rot="5400000">
              <a:off x="6180982" y="4402254"/>
              <a:ext cx="367215" cy="375889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5">
                  <a:lumMod val="40000"/>
                  <a:lumOff val="60000"/>
                </a:schemeClr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Elbow Connector 103"/>
            <p:cNvCxnSpPr>
              <a:stCxn id="100" idx="2"/>
              <a:endCxn id="102" idx="0"/>
            </p:cNvCxnSpPr>
            <p:nvPr/>
          </p:nvCxnSpPr>
          <p:spPr>
            <a:xfrm rot="16200000" flipH="1">
              <a:off x="6556871" y="4402252"/>
              <a:ext cx="367215" cy="37589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5">
                  <a:lumMod val="40000"/>
                  <a:lumOff val="60000"/>
                </a:schemeClr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Rectangle 94"/>
            <p:cNvSpPr/>
            <p:nvPr/>
          </p:nvSpPr>
          <p:spPr>
            <a:xfrm>
              <a:off x="7740542" y="3927568"/>
              <a:ext cx="631103" cy="479023"/>
            </a:xfrm>
            <a:prstGeom prst="rect">
              <a:avLst/>
            </a:prstGeom>
            <a:solidFill>
              <a:srgbClr val="A7A49B"/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dkEdge"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5">
                <a:hueOff val="0"/>
                <a:satOff val="0"/>
                <a:lumOff val="0"/>
                <a:alphaOff val="0"/>
              </a:schemeClr>
            </a:fillRef>
            <a:effectRef idx="1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8000" tIns="18000" rIns="18000" bIns="18000" numCol="1" spcCol="1270" anchor="ctr" anchorCtr="0">
              <a:noAutofit/>
            </a:bodyPr>
            <a:lstStyle/>
            <a:p>
              <a:pPr algn="ctr" defTabSz="177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Средний недельный объем продаж &gt; 1 млн</a:t>
              </a:r>
              <a:endParaRPr lang="ru-RU" sz="8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7325511" y="4773806"/>
              <a:ext cx="709385" cy="479023"/>
            </a:xfrm>
            <a:prstGeom prst="rect">
              <a:avLst/>
            </a:prstGeom>
            <a:solidFill>
              <a:srgbClr val="8E8A81"/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dkEdge"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5">
                <a:hueOff val="0"/>
                <a:satOff val="0"/>
                <a:lumOff val="0"/>
                <a:alphaOff val="0"/>
              </a:schemeClr>
            </a:fillRef>
            <a:effectRef idx="1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8000" tIns="18000" rIns="18000" bIns="18000" numCol="1" spcCol="1270" anchor="ctr" anchorCtr="0">
              <a:noAutofit/>
            </a:bodyPr>
            <a:lstStyle/>
            <a:p>
              <a:pPr algn="ctr" defTabSz="177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dirty="0" smtClean="0">
                  <a:solidFill>
                    <a:schemeClr val="bg1"/>
                  </a:solidFill>
                  <a:latin typeface="+mj-lt"/>
                </a:rPr>
                <a:t>Цена &lt; = 100</a:t>
              </a:r>
            </a:p>
            <a:p>
              <a:pPr algn="ctr" defTabSz="177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b="1" i="1" dirty="0" smtClean="0">
                  <a:solidFill>
                    <a:schemeClr val="bg1"/>
                  </a:solidFill>
                  <a:latin typeface="+mj-lt"/>
                </a:rPr>
                <a:t>T=1</a:t>
              </a:r>
              <a:endParaRPr lang="ru-RU" sz="9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8077291" y="4773806"/>
              <a:ext cx="709385" cy="479023"/>
            </a:xfrm>
            <a:prstGeom prst="rect">
              <a:avLst/>
            </a:prstGeom>
            <a:solidFill>
              <a:srgbClr val="8E8A81"/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dkEdge"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5">
                <a:hueOff val="0"/>
                <a:satOff val="0"/>
                <a:lumOff val="0"/>
                <a:alphaOff val="0"/>
              </a:schemeClr>
            </a:fillRef>
            <a:effectRef idx="1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8000" tIns="18000" rIns="18000" bIns="18000" numCol="1" spcCol="1270" anchor="ctr" anchorCtr="0">
              <a:noAutofit/>
            </a:bodyPr>
            <a:lstStyle/>
            <a:p>
              <a:pPr algn="ctr" defTabSz="177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dirty="0" smtClean="0">
                  <a:solidFill>
                    <a:schemeClr val="bg1"/>
                  </a:solidFill>
                  <a:latin typeface="+mj-lt"/>
                </a:rPr>
                <a:t>Цена &gt; 100</a:t>
              </a:r>
              <a:endParaRPr lang="ru-RU" sz="900" i="1" dirty="0" smtClean="0">
                <a:solidFill>
                  <a:schemeClr val="bg1"/>
                </a:solidFill>
                <a:latin typeface="+mj-lt"/>
              </a:endParaRPr>
            </a:p>
            <a:p>
              <a:pPr algn="ctr" defTabSz="177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b="1" i="1" dirty="0" smtClean="0">
                  <a:solidFill>
                    <a:schemeClr val="bg1"/>
                  </a:solidFill>
                  <a:latin typeface="+mj-lt"/>
                </a:rPr>
                <a:t>T=8</a:t>
              </a:r>
              <a:endParaRPr lang="ru-RU" sz="900" b="1" i="1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98" name="Elbow Connector 97"/>
            <p:cNvCxnSpPr>
              <a:stCxn id="95" idx="2"/>
              <a:endCxn id="96" idx="0"/>
            </p:cNvCxnSpPr>
            <p:nvPr/>
          </p:nvCxnSpPr>
          <p:spPr>
            <a:xfrm rot="5400000">
              <a:off x="7684542" y="4402253"/>
              <a:ext cx="367215" cy="37589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5">
                  <a:lumMod val="40000"/>
                  <a:lumOff val="60000"/>
                </a:schemeClr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Elbow Connector 98"/>
            <p:cNvCxnSpPr>
              <a:stCxn id="95" idx="2"/>
              <a:endCxn id="97" idx="0"/>
            </p:cNvCxnSpPr>
            <p:nvPr/>
          </p:nvCxnSpPr>
          <p:spPr>
            <a:xfrm rot="16200000" flipH="1">
              <a:off x="8060432" y="4402253"/>
              <a:ext cx="367215" cy="37589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5">
                  <a:lumMod val="40000"/>
                  <a:lumOff val="60000"/>
                </a:schemeClr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Elbow Connector 92"/>
            <p:cNvCxnSpPr>
              <a:stCxn id="90" idx="2"/>
              <a:endCxn id="100" idx="0"/>
            </p:cNvCxnSpPr>
            <p:nvPr/>
          </p:nvCxnSpPr>
          <p:spPr>
            <a:xfrm rot="5400000">
              <a:off x="6739518" y="3373370"/>
              <a:ext cx="367214" cy="74118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5">
                  <a:lumMod val="40000"/>
                  <a:lumOff val="60000"/>
                </a:schemeClr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90" idx="2"/>
              <a:endCxn id="95" idx="0"/>
            </p:cNvCxnSpPr>
            <p:nvPr/>
          </p:nvCxnSpPr>
          <p:spPr>
            <a:xfrm rot="16200000" flipH="1">
              <a:off x="7491298" y="3362772"/>
              <a:ext cx="367214" cy="762378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5">
                  <a:lumMod val="40000"/>
                  <a:lumOff val="60000"/>
                </a:schemeClr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" name="Group 85"/>
          <p:cNvGrpSpPr/>
          <p:nvPr/>
        </p:nvGrpSpPr>
        <p:grpSpPr>
          <a:xfrm>
            <a:off x="1472895" y="4255626"/>
            <a:ext cx="3905555" cy="2107074"/>
            <a:chOff x="1472895" y="4255626"/>
            <a:chExt cx="3905555" cy="2107074"/>
          </a:xfrm>
        </p:grpSpPr>
        <p:sp>
          <p:nvSpPr>
            <p:cNvPr id="106" name="Rectangle 105"/>
            <p:cNvSpPr/>
            <p:nvPr/>
          </p:nvSpPr>
          <p:spPr bwMode="ltGray">
            <a:xfrm>
              <a:off x="1472895" y="4255626"/>
              <a:ext cx="3905555" cy="2107074"/>
            </a:xfrm>
            <a:prstGeom prst="rect">
              <a:avLst/>
            </a:prstGeom>
            <a:solidFill>
              <a:srgbClr val="8E8A8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58" name="Group 57"/>
            <p:cNvGrpSpPr/>
            <p:nvPr/>
          </p:nvGrpSpPr>
          <p:grpSpPr>
            <a:xfrm>
              <a:off x="2443090" y="4741435"/>
              <a:ext cx="2382566" cy="909021"/>
              <a:chOff x="2433565" y="4741435"/>
              <a:chExt cx="2382566" cy="909021"/>
            </a:xfrm>
          </p:grpSpPr>
          <p:sp>
            <p:nvSpPr>
              <p:cNvPr id="130" name="Line 5"/>
              <p:cNvSpPr>
                <a:spLocks noChangeShapeType="1"/>
              </p:cNvSpPr>
              <p:nvPr/>
            </p:nvSpPr>
            <p:spPr bwMode="auto">
              <a:xfrm>
                <a:off x="2438194" y="5258936"/>
                <a:ext cx="2377937" cy="0"/>
              </a:xfrm>
              <a:prstGeom prst="line">
                <a:avLst/>
              </a:prstGeom>
              <a:noFill/>
              <a:ln w="12700" cap="rnd">
                <a:solidFill>
                  <a:srgbClr val="A7A49B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en-US"/>
                </a:defPPr>
                <a:lvl1pPr algn="ctr" rtl="0" fontAlgn="base">
                  <a:spcBef>
                    <a:spcPct val="50000"/>
                  </a:spcBef>
                  <a:spcAft>
                    <a:spcPct val="0"/>
                  </a:spcAft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ctr" rtl="0" fontAlgn="base">
                  <a:spcBef>
                    <a:spcPct val="50000"/>
                  </a:spcBef>
                  <a:spcAft>
                    <a:spcPct val="0"/>
                  </a:spcAft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ctr" rtl="0" fontAlgn="base">
                  <a:spcBef>
                    <a:spcPct val="50000"/>
                  </a:spcBef>
                  <a:spcAft>
                    <a:spcPct val="0"/>
                  </a:spcAft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ctr" rtl="0" fontAlgn="base">
                  <a:spcBef>
                    <a:spcPct val="50000"/>
                  </a:spcBef>
                  <a:spcAft>
                    <a:spcPct val="0"/>
                  </a:spcAft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ctr" rtl="0" fontAlgn="base">
                  <a:spcBef>
                    <a:spcPct val="50000"/>
                  </a:spcBef>
                  <a:spcAft>
                    <a:spcPct val="0"/>
                  </a:spcAft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endParaRPr lang="en-US" sz="1200" b="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9" name="Line 21"/>
              <p:cNvSpPr>
                <a:spLocks noChangeShapeType="1"/>
              </p:cNvSpPr>
              <p:nvPr/>
            </p:nvSpPr>
            <p:spPr bwMode="auto">
              <a:xfrm>
                <a:off x="2438194" y="5650456"/>
                <a:ext cx="2377937" cy="0"/>
              </a:xfrm>
              <a:prstGeom prst="line">
                <a:avLst/>
              </a:prstGeom>
              <a:noFill/>
              <a:ln w="12700" cap="rnd">
                <a:solidFill>
                  <a:srgbClr val="A7A49B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en-US"/>
                </a:defPPr>
                <a:lvl1pPr algn="ctr" rtl="0" fontAlgn="base">
                  <a:spcBef>
                    <a:spcPct val="50000"/>
                  </a:spcBef>
                  <a:spcAft>
                    <a:spcPct val="0"/>
                  </a:spcAft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ctr" rtl="0" fontAlgn="base">
                  <a:spcBef>
                    <a:spcPct val="50000"/>
                  </a:spcBef>
                  <a:spcAft>
                    <a:spcPct val="0"/>
                  </a:spcAft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ctr" rtl="0" fontAlgn="base">
                  <a:spcBef>
                    <a:spcPct val="50000"/>
                  </a:spcBef>
                  <a:spcAft>
                    <a:spcPct val="0"/>
                  </a:spcAft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ctr" rtl="0" fontAlgn="base">
                  <a:spcBef>
                    <a:spcPct val="50000"/>
                  </a:spcBef>
                  <a:spcAft>
                    <a:spcPct val="0"/>
                  </a:spcAft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ctr" rtl="0" fontAlgn="base">
                  <a:spcBef>
                    <a:spcPct val="50000"/>
                  </a:spcBef>
                  <a:spcAft>
                    <a:spcPct val="0"/>
                  </a:spcAft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endParaRPr lang="en-US" sz="1200" b="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0" name="Line 5"/>
              <p:cNvSpPr>
                <a:spLocks noChangeShapeType="1"/>
              </p:cNvSpPr>
              <p:nvPr/>
            </p:nvSpPr>
            <p:spPr bwMode="auto">
              <a:xfrm>
                <a:off x="2433565" y="4741435"/>
                <a:ext cx="2377938" cy="0"/>
              </a:xfrm>
              <a:prstGeom prst="line">
                <a:avLst/>
              </a:prstGeom>
              <a:noFill/>
              <a:ln w="12700" cap="rnd">
                <a:solidFill>
                  <a:srgbClr val="A7A49B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en-US"/>
                </a:defPPr>
                <a:lvl1pPr algn="ctr" rtl="0" fontAlgn="base">
                  <a:spcBef>
                    <a:spcPct val="50000"/>
                  </a:spcBef>
                  <a:spcAft>
                    <a:spcPct val="0"/>
                  </a:spcAft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1pPr>
                <a:lvl2pPr marL="457200" algn="ctr" rtl="0" fontAlgn="base">
                  <a:spcBef>
                    <a:spcPct val="50000"/>
                  </a:spcBef>
                  <a:spcAft>
                    <a:spcPct val="0"/>
                  </a:spcAft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2pPr>
                <a:lvl3pPr marL="914400" algn="ctr" rtl="0" fontAlgn="base">
                  <a:spcBef>
                    <a:spcPct val="50000"/>
                  </a:spcBef>
                  <a:spcAft>
                    <a:spcPct val="0"/>
                  </a:spcAft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3pPr>
                <a:lvl4pPr marL="1371600" algn="ctr" rtl="0" fontAlgn="base">
                  <a:spcBef>
                    <a:spcPct val="50000"/>
                  </a:spcBef>
                  <a:spcAft>
                    <a:spcPct val="0"/>
                  </a:spcAft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4pPr>
                <a:lvl5pPr marL="1828800" algn="ctr" rtl="0" fontAlgn="base">
                  <a:spcBef>
                    <a:spcPct val="50000"/>
                  </a:spcBef>
                  <a:spcAft>
                    <a:spcPct val="0"/>
                  </a:spcAft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6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+mn-cs"/>
                  </a:defRPr>
                </a:lvl9pPr>
              </a:lstStyle>
              <a:p>
                <a:endParaRPr lang="en-US" sz="1200" b="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sp>
          <p:nvSpPr>
            <p:cNvPr id="128" name="Line 3"/>
            <p:cNvSpPr>
              <a:spLocks noChangeShapeType="1"/>
            </p:cNvSpPr>
            <p:nvPr/>
          </p:nvSpPr>
          <p:spPr bwMode="auto">
            <a:xfrm>
              <a:off x="2435368" y="4339657"/>
              <a:ext cx="0" cy="1565376"/>
            </a:xfrm>
            <a:prstGeom prst="line">
              <a:avLst/>
            </a:prstGeom>
            <a:noFill/>
            <a:ln w="9525">
              <a:solidFill>
                <a:srgbClr val="A7A49B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1200" b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9" name="Line 4"/>
            <p:cNvSpPr>
              <a:spLocks noChangeShapeType="1"/>
            </p:cNvSpPr>
            <p:nvPr/>
          </p:nvSpPr>
          <p:spPr bwMode="auto">
            <a:xfrm flipV="1">
              <a:off x="2419216" y="5886422"/>
              <a:ext cx="2636156" cy="0"/>
            </a:xfrm>
            <a:prstGeom prst="line">
              <a:avLst/>
            </a:prstGeom>
            <a:noFill/>
            <a:ln w="9525">
              <a:solidFill>
                <a:srgbClr val="A7A49B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1200" b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1" name="Line 7"/>
            <p:cNvSpPr>
              <a:spLocks noChangeShapeType="1"/>
            </p:cNvSpPr>
            <p:nvPr/>
          </p:nvSpPr>
          <p:spPr bwMode="auto">
            <a:xfrm flipV="1">
              <a:off x="3144351" y="4741359"/>
              <a:ext cx="0" cy="922792"/>
            </a:xfrm>
            <a:prstGeom prst="line">
              <a:avLst/>
            </a:prstGeom>
            <a:noFill/>
            <a:ln w="28575">
              <a:solidFill>
                <a:schemeClr val="accent5">
                  <a:lumMod val="40000"/>
                  <a:lumOff val="6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1200" b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2" name="Text Box 9"/>
            <p:cNvSpPr txBox="1">
              <a:spLocks noChangeArrowheads="1"/>
            </p:cNvSpPr>
            <p:nvPr/>
          </p:nvSpPr>
          <p:spPr bwMode="auto">
            <a:xfrm>
              <a:off x="1547173" y="5526505"/>
              <a:ext cx="797107" cy="915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85000"/>
                </a:lnSpc>
              </a:pPr>
              <a:r>
                <a:rPr lang="ru-RU" sz="700" b="0" i="1" dirty="0" smtClean="0">
                  <a:solidFill>
                    <a:schemeClr val="bg1"/>
                  </a:solidFill>
                  <a:latin typeface="+mj-lt"/>
                </a:rPr>
                <a:t>Резервный запас</a:t>
              </a:r>
              <a:endParaRPr lang="ru-RU" sz="700" b="0" i="1" dirty="0">
                <a:solidFill>
                  <a:schemeClr val="bg1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133" name="Text Box 10"/>
            <p:cNvSpPr txBox="1">
              <a:spLocks noChangeArrowheads="1"/>
            </p:cNvSpPr>
            <p:nvPr/>
          </p:nvSpPr>
          <p:spPr bwMode="auto">
            <a:xfrm>
              <a:off x="1543890" y="5161264"/>
              <a:ext cx="834162" cy="2746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85000"/>
                </a:lnSpc>
              </a:pPr>
              <a:r>
                <a:rPr lang="ru-RU" sz="700" b="0" i="1" dirty="0" smtClean="0">
                  <a:solidFill>
                    <a:schemeClr val="bg1"/>
                  </a:solidFill>
                  <a:latin typeface="+mj-lt"/>
                </a:rPr>
                <a:t>Уровень размещения заказов</a:t>
              </a:r>
              <a:endParaRPr lang="ru-RU" sz="700" b="0" dirty="0">
                <a:solidFill>
                  <a:schemeClr val="bg1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134" name="Line 11"/>
            <p:cNvSpPr>
              <a:spLocks noChangeShapeType="1"/>
            </p:cNvSpPr>
            <p:nvPr/>
          </p:nvSpPr>
          <p:spPr bwMode="auto">
            <a:xfrm flipV="1">
              <a:off x="3682149" y="5258934"/>
              <a:ext cx="0" cy="624717"/>
            </a:xfrm>
            <a:prstGeom prst="line">
              <a:avLst/>
            </a:prstGeom>
            <a:noFill/>
            <a:ln w="9525">
              <a:solidFill>
                <a:schemeClr val="accent5">
                  <a:lumMod val="40000"/>
                  <a:lumOff val="60000"/>
                </a:scheme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1200" b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5" name="Line 12"/>
            <p:cNvSpPr>
              <a:spLocks noChangeShapeType="1"/>
            </p:cNvSpPr>
            <p:nvPr/>
          </p:nvSpPr>
          <p:spPr bwMode="auto">
            <a:xfrm flipV="1">
              <a:off x="3957336" y="5371917"/>
              <a:ext cx="0" cy="505885"/>
            </a:xfrm>
            <a:prstGeom prst="line">
              <a:avLst/>
            </a:prstGeom>
            <a:noFill/>
            <a:ln w="9525">
              <a:solidFill>
                <a:schemeClr val="accent5">
                  <a:lumMod val="40000"/>
                  <a:lumOff val="60000"/>
                </a:scheme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1200" b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6" name="AutoShape 13"/>
            <p:cNvSpPr>
              <a:spLocks/>
            </p:cNvSpPr>
            <p:nvPr/>
          </p:nvSpPr>
          <p:spPr bwMode="auto">
            <a:xfrm rot="16200000" flipV="1">
              <a:off x="3767505" y="5796802"/>
              <a:ext cx="105146" cy="283082"/>
            </a:xfrm>
            <a:prstGeom prst="leftBrace">
              <a:avLst>
                <a:gd name="adj1" fmla="val 31749"/>
                <a:gd name="adj2" fmla="val 50000"/>
              </a:avLst>
            </a:prstGeom>
            <a:noFill/>
            <a:ln w="9525">
              <a:solidFill>
                <a:srgbClr val="66635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1200" b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7" name="Text Box 15"/>
            <p:cNvSpPr txBox="1">
              <a:spLocks noChangeArrowheads="1"/>
            </p:cNvSpPr>
            <p:nvPr/>
          </p:nvSpPr>
          <p:spPr bwMode="auto">
            <a:xfrm>
              <a:off x="4833523" y="5967604"/>
              <a:ext cx="267702" cy="915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ru-RU" sz="700" b="0" i="1" dirty="0" smtClean="0">
                  <a:solidFill>
                    <a:schemeClr val="bg1"/>
                  </a:solidFill>
                  <a:latin typeface="+mj-lt"/>
                </a:rPr>
                <a:t>Время</a:t>
              </a:r>
              <a:endParaRPr lang="ru-RU" sz="700" b="0" i="1" dirty="0">
                <a:solidFill>
                  <a:schemeClr val="bg1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138" name="Text Box 16"/>
            <p:cNvSpPr txBox="1">
              <a:spLocks noChangeArrowheads="1"/>
            </p:cNvSpPr>
            <p:nvPr/>
          </p:nvSpPr>
          <p:spPr bwMode="auto">
            <a:xfrm>
              <a:off x="1729170" y="4360683"/>
              <a:ext cx="620189" cy="183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85000"/>
                </a:lnSpc>
              </a:pPr>
              <a:r>
                <a:rPr lang="ru-RU" sz="700" b="0" i="1" dirty="0" smtClean="0">
                  <a:solidFill>
                    <a:schemeClr val="bg1"/>
                  </a:solidFill>
                  <a:latin typeface="+mj-lt"/>
                </a:rPr>
                <a:t>Уровень запасов</a:t>
              </a:r>
              <a:endParaRPr lang="ru-RU" sz="700" b="0" i="1" dirty="0">
                <a:solidFill>
                  <a:schemeClr val="bg1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140" name="Text Box 28"/>
            <p:cNvSpPr txBox="1">
              <a:spLocks noChangeArrowheads="1"/>
            </p:cNvSpPr>
            <p:nvPr/>
          </p:nvSpPr>
          <p:spPr bwMode="auto">
            <a:xfrm>
              <a:off x="1557113" y="5953840"/>
              <a:ext cx="1157280" cy="2746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ru-RU" sz="700" b="0" i="1" dirty="0" smtClean="0">
                  <a:solidFill>
                    <a:schemeClr val="bg1"/>
                  </a:solidFill>
                  <a:latin typeface="+mj-lt"/>
                </a:rPr>
                <a:t>Спрос в срок поставки – подлежит прогнозированию </a:t>
              </a:r>
            </a:p>
          </p:txBody>
        </p:sp>
        <p:cxnSp>
          <p:nvCxnSpPr>
            <p:cNvPr id="141" name="AutoShape 29"/>
            <p:cNvCxnSpPr>
              <a:cxnSpLocks noChangeShapeType="1"/>
              <a:stCxn id="140" idx="0"/>
            </p:cNvCxnSpPr>
            <p:nvPr/>
          </p:nvCxnSpPr>
          <p:spPr bwMode="auto">
            <a:xfrm flipV="1">
              <a:off x="2135753" y="5455086"/>
              <a:ext cx="657822" cy="498754"/>
            </a:xfrm>
            <a:prstGeom prst="straightConnector1">
              <a:avLst/>
            </a:prstGeom>
            <a:noFill/>
            <a:ln w="9525">
              <a:solidFill>
                <a:srgbClr val="66635A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2" name="Freeform 141"/>
            <p:cNvSpPr/>
            <p:nvPr/>
          </p:nvSpPr>
          <p:spPr bwMode="auto">
            <a:xfrm>
              <a:off x="2433450" y="4741090"/>
              <a:ext cx="720252" cy="909367"/>
            </a:xfrm>
            <a:custGeom>
              <a:avLst/>
              <a:gdLst>
                <a:gd name="connsiteX0" fmla="*/ 0 w 1368056"/>
                <a:gd name="connsiteY0" fmla="*/ 0 h 2115880"/>
                <a:gd name="connsiteX1" fmla="*/ 0 w 1368056"/>
                <a:gd name="connsiteY1" fmla="*/ 0 h 2115880"/>
                <a:gd name="connsiteX2" fmla="*/ 95693 w 1368056"/>
                <a:gd name="connsiteY2" fmla="*/ 21265 h 2115880"/>
                <a:gd name="connsiteX3" fmla="*/ 159489 w 1368056"/>
                <a:gd name="connsiteY3" fmla="*/ 42530 h 2115880"/>
                <a:gd name="connsiteX4" fmla="*/ 233917 w 1368056"/>
                <a:gd name="connsiteY4" fmla="*/ 63795 h 2115880"/>
                <a:gd name="connsiteX5" fmla="*/ 297712 w 1368056"/>
                <a:gd name="connsiteY5" fmla="*/ 85061 h 2115880"/>
                <a:gd name="connsiteX6" fmla="*/ 404038 w 1368056"/>
                <a:gd name="connsiteY6" fmla="*/ 106326 h 2115880"/>
                <a:gd name="connsiteX7" fmla="*/ 414670 w 1368056"/>
                <a:gd name="connsiteY7" fmla="*/ 159488 h 2115880"/>
                <a:gd name="connsiteX8" fmla="*/ 435935 w 1368056"/>
                <a:gd name="connsiteY8" fmla="*/ 180754 h 2115880"/>
                <a:gd name="connsiteX9" fmla="*/ 478466 w 1368056"/>
                <a:gd name="connsiteY9" fmla="*/ 244549 h 2115880"/>
                <a:gd name="connsiteX10" fmla="*/ 499731 w 1368056"/>
                <a:gd name="connsiteY10" fmla="*/ 308344 h 2115880"/>
                <a:gd name="connsiteX11" fmla="*/ 510363 w 1368056"/>
                <a:gd name="connsiteY11" fmla="*/ 350875 h 2115880"/>
                <a:gd name="connsiteX12" fmla="*/ 520996 w 1368056"/>
                <a:gd name="connsiteY12" fmla="*/ 382772 h 2115880"/>
                <a:gd name="connsiteX13" fmla="*/ 531628 w 1368056"/>
                <a:gd name="connsiteY13" fmla="*/ 552893 h 2115880"/>
                <a:gd name="connsiteX14" fmla="*/ 542261 w 1368056"/>
                <a:gd name="connsiteY14" fmla="*/ 606056 h 2115880"/>
                <a:gd name="connsiteX15" fmla="*/ 574159 w 1368056"/>
                <a:gd name="connsiteY15" fmla="*/ 627321 h 2115880"/>
                <a:gd name="connsiteX16" fmla="*/ 637954 w 1368056"/>
                <a:gd name="connsiteY16" fmla="*/ 648586 h 2115880"/>
                <a:gd name="connsiteX17" fmla="*/ 669852 w 1368056"/>
                <a:gd name="connsiteY17" fmla="*/ 659219 h 2115880"/>
                <a:gd name="connsiteX18" fmla="*/ 744279 w 1368056"/>
                <a:gd name="connsiteY18" fmla="*/ 669851 h 2115880"/>
                <a:gd name="connsiteX19" fmla="*/ 839972 w 1368056"/>
                <a:gd name="connsiteY19" fmla="*/ 712381 h 2115880"/>
                <a:gd name="connsiteX20" fmla="*/ 882503 w 1368056"/>
                <a:gd name="connsiteY20" fmla="*/ 808075 h 2115880"/>
                <a:gd name="connsiteX21" fmla="*/ 903768 w 1368056"/>
                <a:gd name="connsiteY21" fmla="*/ 882502 h 2115880"/>
                <a:gd name="connsiteX22" fmla="*/ 925033 w 1368056"/>
                <a:gd name="connsiteY22" fmla="*/ 1020726 h 2115880"/>
                <a:gd name="connsiteX23" fmla="*/ 946298 w 1368056"/>
                <a:gd name="connsiteY23" fmla="*/ 1137684 h 2115880"/>
                <a:gd name="connsiteX24" fmla="*/ 967563 w 1368056"/>
                <a:gd name="connsiteY24" fmla="*/ 1169581 h 2115880"/>
                <a:gd name="connsiteX25" fmla="*/ 999461 w 1368056"/>
                <a:gd name="connsiteY25" fmla="*/ 1180214 h 2115880"/>
                <a:gd name="connsiteX26" fmla="*/ 1041991 w 1368056"/>
                <a:gd name="connsiteY26" fmla="*/ 1254642 h 2115880"/>
                <a:gd name="connsiteX27" fmla="*/ 1063256 w 1368056"/>
                <a:gd name="connsiteY27" fmla="*/ 1318437 h 2115880"/>
                <a:gd name="connsiteX28" fmla="*/ 1073889 w 1368056"/>
                <a:gd name="connsiteY28" fmla="*/ 1350335 h 2115880"/>
                <a:gd name="connsiteX29" fmla="*/ 1095154 w 1368056"/>
                <a:gd name="connsiteY29" fmla="*/ 1424763 h 2115880"/>
                <a:gd name="connsiteX30" fmla="*/ 1116419 w 1368056"/>
                <a:gd name="connsiteY30" fmla="*/ 1456661 h 2115880"/>
                <a:gd name="connsiteX31" fmla="*/ 1127052 w 1368056"/>
                <a:gd name="connsiteY31" fmla="*/ 1488558 h 2115880"/>
                <a:gd name="connsiteX32" fmla="*/ 1148317 w 1368056"/>
                <a:gd name="connsiteY32" fmla="*/ 1541721 h 2115880"/>
                <a:gd name="connsiteX33" fmla="*/ 1169582 w 1368056"/>
                <a:gd name="connsiteY33" fmla="*/ 1573619 h 2115880"/>
                <a:gd name="connsiteX34" fmla="*/ 1180214 w 1368056"/>
                <a:gd name="connsiteY34" fmla="*/ 1616149 h 2115880"/>
                <a:gd name="connsiteX35" fmla="*/ 1212112 w 1368056"/>
                <a:gd name="connsiteY35" fmla="*/ 1711842 h 2115880"/>
                <a:gd name="connsiteX36" fmla="*/ 1254642 w 1368056"/>
                <a:gd name="connsiteY36" fmla="*/ 1839433 h 2115880"/>
                <a:gd name="connsiteX37" fmla="*/ 1265275 w 1368056"/>
                <a:gd name="connsiteY37" fmla="*/ 1881963 h 2115880"/>
                <a:gd name="connsiteX38" fmla="*/ 1286540 w 1368056"/>
                <a:gd name="connsiteY38" fmla="*/ 1945758 h 2115880"/>
                <a:gd name="connsiteX39" fmla="*/ 1318438 w 1368056"/>
                <a:gd name="connsiteY39" fmla="*/ 2041451 h 2115880"/>
                <a:gd name="connsiteX40" fmla="*/ 1360968 w 1368056"/>
                <a:gd name="connsiteY40" fmla="*/ 2105247 h 2115880"/>
                <a:gd name="connsiteX41" fmla="*/ 1329070 w 1368056"/>
                <a:gd name="connsiteY41" fmla="*/ 2083981 h 2115880"/>
                <a:gd name="connsiteX42" fmla="*/ 1339703 w 1368056"/>
                <a:gd name="connsiteY42" fmla="*/ 2105247 h 2115880"/>
                <a:gd name="connsiteX43" fmla="*/ 1339703 w 1368056"/>
                <a:gd name="connsiteY43" fmla="*/ 2105247 h 211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368056" h="2115880">
                  <a:moveTo>
                    <a:pt x="0" y="0"/>
                  </a:moveTo>
                  <a:lnTo>
                    <a:pt x="0" y="0"/>
                  </a:lnTo>
                  <a:cubicBezTo>
                    <a:pt x="31898" y="7088"/>
                    <a:pt x="64121" y="12846"/>
                    <a:pt x="95693" y="21265"/>
                  </a:cubicBezTo>
                  <a:cubicBezTo>
                    <a:pt x="117352" y="27041"/>
                    <a:pt x="137936" y="36372"/>
                    <a:pt x="159489" y="42530"/>
                  </a:cubicBezTo>
                  <a:cubicBezTo>
                    <a:pt x="184298" y="49618"/>
                    <a:pt x="209256" y="56207"/>
                    <a:pt x="233917" y="63795"/>
                  </a:cubicBezTo>
                  <a:cubicBezTo>
                    <a:pt x="255341" y="70387"/>
                    <a:pt x="275602" y="81376"/>
                    <a:pt x="297712" y="85061"/>
                  </a:cubicBezTo>
                  <a:cubicBezTo>
                    <a:pt x="375922" y="98095"/>
                    <a:pt x="340592" y="90464"/>
                    <a:pt x="404038" y="106326"/>
                  </a:cubicBezTo>
                  <a:cubicBezTo>
                    <a:pt x="407582" y="124047"/>
                    <a:pt x="407551" y="142878"/>
                    <a:pt x="414670" y="159488"/>
                  </a:cubicBezTo>
                  <a:cubicBezTo>
                    <a:pt x="418619" y="168702"/>
                    <a:pt x="430374" y="172413"/>
                    <a:pt x="435935" y="180754"/>
                  </a:cubicBezTo>
                  <a:cubicBezTo>
                    <a:pt x="487426" y="257992"/>
                    <a:pt x="429710" y="195796"/>
                    <a:pt x="478466" y="244549"/>
                  </a:cubicBezTo>
                  <a:lnTo>
                    <a:pt x="499731" y="308344"/>
                  </a:lnTo>
                  <a:cubicBezTo>
                    <a:pt x="504352" y="322207"/>
                    <a:pt x="506348" y="336824"/>
                    <a:pt x="510363" y="350875"/>
                  </a:cubicBezTo>
                  <a:cubicBezTo>
                    <a:pt x="513442" y="361651"/>
                    <a:pt x="517452" y="372140"/>
                    <a:pt x="520996" y="382772"/>
                  </a:cubicBezTo>
                  <a:cubicBezTo>
                    <a:pt x="524540" y="439479"/>
                    <a:pt x="526241" y="496331"/>
                    <a:pt x="531628" y="552893"/>
                  </a:cubicBezTo>
                  <a:cubicBezTo>
                    <a:pt x="533341" y="570884"/>
                    <a:pt x="533295" y="590365"/>
                    <a:pt x="542261" y="606056"/>
                  </a:cubicBezTo>
                  <a:cubicBezTo>
                    <a:pt x="548601" y="617151"/>
                    <a:pt x="562482" y="622131"/>
                    <a:pt x="574159" y="627321"/>
                  </a:cubicBezTo>
                  <a:cubicBezTo>
                    <a:pt x="594642" y="636425"/>
                    <a:pt x="616689" y="641498"/>
                    <a:pt x="637954" y="648586"/>
                  </a:cubicBezTo>
                  <a:cubicBezTo>
                    <a:pt x="648587" y="652130"/>
                    <a:pt x="658757" y="657634"/>
                    <a:pt x="669852" y="659219"/>
                  </a:cubicBezTo>
                  <a:lnTo>
                    <a:pt x="744279" y="669851"/>
                  </a:lnTo>
                  <a:cubicBezTo>
                    <a:pt x="820198" y="695157"/>
                    <a:pt x="789424" y="678682"/>
                    <a:pt x="839972" y="712381"/>
                  </a:cubicBezTo>
                  <a:cubicBezTo>
                    <a:pt x="865279" y="788300"/>
                    <a:pt x="848804" y="757526"/>
                    <a:pt x="882503" y="808075"/>
                  </a:cubicBezTo>
                  <a:cubicBezTo>
                    <a:pt x="890075" y="830793"/>
                    <a:pt x="900431" y="859143"/>
                    <a:pt x="903768" y="882502"/>
                  </a:cubicBezTo>
                  <a:cubicBezTo>
                    <a:pt x="924327" y="1026414"/>
                    <a:pt x="900363" y="946719"/>
                    <a:pt x="925033" y="1020726"/>
                  </a:cubicBezTo>
                  <a:cubicBezTo>
                    <a:pt x="927496" y="1037967"/>
                    <a:pt x="935557" y="1112621"/>
                    <a:pt x="946298" y="1137684"/>
                  </a:cubicBezTo>
                  <a:cubicBezTo>
                    <a:pt x="951332" y="1149429"/>
                    <a:pt x="957585" y="1161598"/>
                    <a:pt x="967563" y="1169581"/>
                  </a:cubicBezTo>
                  <a:cubicBezTo>
                    <a:pt x="976315" y="1176582"/>
                    <a:pt x="988828" y="1176670"/>
                    <a:pt x="999461" y="1180214"/>
                  </a:cubicBezTo>
                  <a:cubicBezTo>
                    <a:pt x="1018642" y="1208985"/>
                    <a:pt x="1028501" y="1220918"/>
                    <a:pt x="1041991" y="1254642"/>
                  </a:cubicBezTo>
                  <a:cubicBezTo>
                    <a:pt x="1050316" y="1275454"/>
                    <a:pt x="1056168" y="1297172"/>
                    <a:pt x="1063256" y="1318437"/>
                  </a:cubicBezTo>
                  <a:lnTo>
                    <a:pt x="1073889" y="1350335"/>
                  </a:lnTo>
                  <a:cubicBezTo>
                    <a:pt x="1080706" y="1370785"/>
                    <a:pt x="1084911" y="1404277"/>
                    <a:pt x="1095154" y="1424763"/>
                  </a:cubicBezTo>
                  <a:cubicBezTo>
                    <a:pt x="1100869" y="1436193"/>
                    <a:pt x="1110704" y="1445231"/>
                    <a:pt x="1116419" y="1456661"/>
                  </a:cubicBezTo>
                  <a:cubicBezTo>
                    <a:pt x="1121431" y="1466685"/>
                    <a:pt x="1123117" y="1478064"/>
                    <a:pt x="1127052" y="1488558"/>
                  </a:cubicBezTo>
                  <a:cubicBezTo>
                    <a:pt x="1133754" y="1506429"/>
                    <a:pt x="1139782" y="1524650"/>
                    <a:pt x="1148317" y="1541721"/>
                  </a:cubicBezTo>
                  <a:cubicBezTo>
                    <a:pt x="1154032" y="1553151"/>
                    <a:pt x="1162494" y="1562986"/>
                    <a:pt x="1169582" y="1573619"/>
                  </a:cubicBezTo>
                  <a:cubicBezTo>
                    <a:pt x="1173126" y="1587796"/>
                    <a:pt x="1176015" y="1602152"/>
                    <a:pt x="1180214" y="1616149"/>
                  </a:cubicBezTo>
                  <a:cubicBezTo>
                    <a:pt x="1180221" y="1616172"/>
                    <a:pt x="1206792" y="1695882"/>
                    <a:pt x="1212112" y="1711842"/>
                  </a:cubicBezTo>
                  <a:lnTo>
                    <a:pt x="1254642" y="1839433"/>
                  </a:lnTo>
                  <a:cubicBezTo>
                    <a:pt x="1259263" y="1853296"/>
                    <a:pt x="1261076" y="1867966"/>
                    <a:pt x="1265275" y="1881963"/>
                  </a:cubicBezTo>
                  <a:cubicBezTo>
                    <a:pt x="1271716" y="1903433"/>
                    <a:pt x="1279452" y="1924493"/>
                    <a:pt x="1286540" y="1945758"/>
                  </a:cubicBezTo>
                  <a:lnTo>
                    <a:pt x="1318438" y="2041451"/>
                  </a:lnTo>
                  <a:cubicBezTo>
                    <a:pt x="1326520" y="2065697"/>
                    <a:pt x="1346791" y="2083982"/>
                    <a:pt x="1360968" y="2105247"/>
                  </a:cubicBezTo>
                  <a:cubicBezTo>
                    <a:pt x="1368056" y="2115880"/>
                    <a:pt x="1341849" y="2083981"/>
                    <a:pt x="1329070" y="2083981"/>
                  </a:cubicBezTo>
                  <a:cubicBezTo>
                    <a:pt x="1321145" y="2083981"/>
                    <a:pt x="1336159" y="2098158"/>
                    <a:pt x="1339703" y="2105247"/>
                  </a:cubicBezTo>
                  <a:lnTo>
                    <a:pt x="1339703" y="2105247"/>
                  </a:lnTo>
                </a:path>
              </a:pathLst>
            </a:custGeom>
            <a:noFill/>
            <a:ln w="28575" cap="flat" cmpd="sng" algn="ctr">
              <a:solidFill>
                <a:schemeClr val="accent5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29" tIns="45714" rIns="91429" bIns="45714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</a:pPr>
              <a:endParaRPr lang="en-US" sz="1200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3" name="Text Box 28"/>
            <p:cNvSpPr txBox="1">
              <a:spLocks noChangeArrowheads="1"/>
            </p:cNvSpPr>
            <p:nvPr/>
          </p:nvSpPr>
          <p:spPr bwMode="auto">
            <a:xfrm>
              <a:off x="3337212" y="6186660"/>
              <a:ext cx="689875" cy="1279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36000" rIns="0" bIns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ru-RU" sz="700" b="0" i="1" dirty="0" smtClean="0">
                  <a:solidFill>
                    <a:schemeClr val="bg1"/>
                  </a:solidFill>
                  <a:latin typeface="+mj-lt"/>
                </a:rPr>
                <a:t>Срок поставки</a:t>
              </a:r>
              <a:endParaRPr lang="ru-RU" sz="700" b="0" i="1" dirty="0">
                <a:solidFill>
                  <a:schemeClr val="bg1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144" name="Left Brace 143"/>
            <p:cNvSpPr/>
            <p:nvPr/>
          </p:nvSpPr>
          <p:spPr bwMode="auto">
            <a:xfrm>
              <a:off x="2844959" y="5252828"/>
              <a:ext cx="91935" cy="404511"/>
            </a:xfrm>
            <a:prstGeom prst="leftBrace">
              <a:avLst>
                <a:gd name="adj1" fmla="val 37938"/>
                <a:gd name="adj2" fmla="val 50000"/>
              </a:avLst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29" tIns="45714" rIns="91429" bIns="45714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</a:pPr>
              <a:endParaRPr lang="en-US" sz="2400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5" name="AutoShape 26"/>
            <p:cNvSpPr>
              <a:spLocks/>
            </p:cNvSpPr>
            <p:nvPr/>
          </p:nvSpPr>
          <p:spPr bwMode="auto">
            <a:xfrm>
              <a:off x="4479707" y="4584779"/>
              <a:ext cx="147939" cy="902630"/>
            </a:xfrm>
            <a:prstGeom prst="rightBrace">
              <a:avLst>
                <a:gd name="adj1" fmla="val 47461"/>
                <a:gd name="adj2" fmla="val 50000"/>
              </a:avLst>
            </a:prstGeom>
            <a:noFill/>
            <a:ln w="9525">
              <a:solidFill>
                <a:srgbClr val="66635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1200" b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6" name="Text Box 27"/>
            <p:cNvSpPr txBox="1">
              <a:spLocks noChangeArrowheads="1"/>
            </p:cNvSpPr>
            <p:nvPr/>
          </p:nvSpPr>
          <p:spPr bwMode="auto">
            <a:xfrm>
              <a:off x="4692259" y="4904462"/>
              <a:ext cx="658849" cy="2746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85000"/>
                </a:lnSpc>
              </a:pPr>
              <a:r>
                <a:rPr lang="ru-RU" sz="700" b="0" i="1" dirty="0" smtClean="0">
                  <a:solidFill>
                    <a:schemeClr val="bg1"/>
                  </a:solidFill>
                  <a:latin typeface="+mj-lt"/>
                </a:rPr>
                <a:t>Экономичный размер заказа (EOQ)</a:t>
              </a:r>
              <a:endParaRPr lang="ru-RU" sz="700" b="0" i="1" dirty="0">
                <a:solidFill>
                  <a:schemeClr val="bg1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108" name="Freeform 107"/>
            <p:cNvSpPr/>
            <p:nvPr/>
          </p:nvSpPr>
          <p:spPr bwMode="ltGray">
            <a:xfrm>
              <a:off x="3144033" y="4758161"/>
              <a:ext cx="817587" cy="1062218"/>
            </a:xfrm>
            <a:custGeom>
              <a:avLst/>
              <a:gdLst>
                <a:gd name="connsiteX0" fmla="*/ 0 w 723900"/>
                <a:gd name="connsiteY0" fmla="*/ 0 h 825534"/>
                <a:gd name="connsiteX1" fmla="*/ 19050 w 723900"/>
                <a:gd name="connsiteY1" fmla="*/ 31750 h 825534"/>
                <a:gd name="connsiteX2" fmla="*/ 38100 w 723900"/>
                <a:gd name="connsiteY2" fmla="*/ 44450 h 825534"/>
                <a:gd name="connsiteX3" fmla="*/ 50800 w 723900"/>
                <a:gd name="connsiteY3" fmla="*/ 82550 h 825534"/>
                <a:gd name="connsiteX4" fmla="*/ 82550 w 723900"/>
                <a:gd name="connsiteY4" fmla="*/ 120650 h 825534"/>
                <a:gd name="connsiteX5" fmla="*/ 107950 w 723900"/>
                <a:gd name="connsiteY5" fmla="*/ 152400 h 825534"/>
                <a:gd name="connsiteX6" fmla="*/ 114300 w 723900"/>
                <a:gd name="connsiteY6" fmla="*/ 171450 h 825534"/>
                <a:gd name="connsiteX7" fmla="*/ 133350 w 723900"/>
                <a:gd name="connsiteY7" fmla="*/ 184150 h 825534"/>
                <a:gd name="connsiteX8" fmla="*/ 152400 w 723900"/>
                <a:gd name="connsiteY8" fmla="*/ 203200 h 825534"/>
                <a:gd name="connsiteX9" fmla="*/ 171450 w 723900"/>
                <a:gd name="connsiteY9" fmla="*/ 241300 h 825534"/>
                <a:gd name="connsiteX10" fmla="*/ 184150 w 723900"/>
                <a:gd name="connsiteY10" fmla="*/ 279400 h 825534"/>
                <a:gd name="connsiteX11" fmla="*/ 215900 w 723900"/>
                <a:gd name="connsiteY11" fmla="*/ 317500 h 825534"/>
                <a:gd name="connsiteX12" fmla="*/ 228600 w 723900"/>
                <a:gd name="connsiteY12" fmla="*/ 336550 h 825534"/>
                <a:gd name="connsiteX13" fmla="*/ 304800 w 723900"/>
                <a:gd name="connsiteY13" fmla="*/ 361950 h 825534"/>
                <a:gd name="connsiteX14" fmla="*/ 361950 w 723900"/>
                <a:gd name="connsiteY14" fmla="*/ 374650 h 825534"/>
                <a:gd name="connsiteX15" fmla="*/ 476250 w 723900"/>
                <a:gd name="connsiteY15" fmla="*/ 381000 h 825534"/>
                <a:gd name="connsiteX16" fmla="*/ 495300 w 723900"/>
                <a:gd name="connsiteY16" fmla="*/ 393700 h 825534"/>
                <a:gd name="connsiteX17" fmla="*/ 508000 w 723900"/>
                <a:gd name="connsiteY17" fmla="*/ 438150 h 825534"/>
                <a:gd name="connsiteX18" fmla="*/ 520700 w 723900"/>
                <a:gd name="connsiteY18" fmla="*/ 476250 h 825534"/>
                <a:gd name="connsiteX19" fmla="*/ 533400 w 723900"/>
                <a:gd name="connsiteY19" fmla="*/ 590550 h 825534"/>
                <a:gd name="connsiteX20" fmla="*/ 546100 w 723900"/>
                <a:gd name="connsiteY20" fmla="*/ 628650 h 825534"/>
                <a:gd name="connsiteX21" fmla="*/ 552450 w 723900"/>
                <a:gd name="connsiteY21" fmla="*/ 647700 h 825534"/>
                <a:gd name="connsiteX22" fmla="*/ 584200 w 723900"/>
                <a:gd name="connsiteY22" fmla="*/ 685800 h 825534"/>
                <a:gd name="connsiteX23" fmla="*/ 596900 w 723900"/>
                <a:gd name="connsiteY23" fmla="*/ 723900 h 825534"/>
                <a:gd name="connsiteX24" fmla="*/ 615950 w 723900"/>
                <a:gd name="connsiteY24" fmla="*/ 742950 h 825534"/>
                <a:gd name="connsiteX25" fmla="*/ 660400 w 723900"/>
                <a:gd name="connsiteY25" fmla="*/ 793750 h 825534"/>
                <a:gd name="connsiteX26" fmla="*/ 673100 w 723900"/>
                <a:gd name="connsiteY26" fmla="*/ 812800 h 825534"/>
                <a:gd name="connsiteX27" fmla="*/ 723900 w 723900"/>
                <a:gd name="connsiteY27" fmla="*/ 825500 h 825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23900" h="825534">
                  <a:moveTo>
                    <a:pt x="0" y="0"/>
                  </a:moveTo>
                  <a:cubicBezTo>
                    <a:pt x="6350" y="10583"/>
                    <a:pt x="11018" y="22379"/>
                    <a:pt x="19050" y="31750"/>
                  </a:cubicBezTo>
                  <a:cubicBezTo>
                    <a:pt x="24017" y="37544"/>
                    <a:pt x="34055" y="37978"/>
                    <a:pt x="38100" y="44450"/>
                  </a:cubicBezTo>
                  <a:cubicBezTo>
                    <a:pt x="45195" y="55802"/>
                    <a:pt x="43374" y="71411"/>
                    <a:pt x="50800" y="82550"/>
                  </a:cubicBezTo>
                  <a:cubicBezTo>
                    <a:pt x="68481" y="109072"/>
                    <a:pt x="58104" y="96204"/>
                    <a:pt x="82550" y="120650"/>
                  </a:cubicBezTo>
                  <a:cubicBezTo>
                    <a:pt x="98511" y="168533"/>
                    <a:pt x="75124" y="111368"/>
                    <a:pt x="107950" y="152400"/>
                  </a:cubicBezTo>
                  <a:cubicBezTo>
                    <a:pt x="112131" y="157627"/>
                    <a:pt x="110119" y="166223"/>
                    <a:pt x="114300" y="171450"/>
                  </a:cubicBezTo>
                  <a:cubicBezTo>
                    <a:pt x="119068" y="177409"/>
                    <a:pt x="127487" y="179264"/>
                    <a:pt x="133350" y="184150"/>
                  </a:cubicBezTo>
                  <a:cubicBezTo>
                    <a:pt x="140249" y="189899"/>
                    <a:pt x="146050" y="196850"/>
                    <a:pt x="152400" y="203200"/>
                  </a:cubicBezTo>
                  <a:cubicBezTo>
                    <a:pt x="175558" y="272675"/>
                    <a:pt x="138624" y="167442"/>
                    <a:pt x="171450" y="241300"/>
                  </a:cubicBezTo>
                  <a:cubicBezTo>
                    <a:pt x="176887" y="253533"/>
                    <a:pt x="176724" y="268261"/>
                    <a:pt x="184150" y="279400"/>
                  </a:cubicBezTo>
                  <a:cubicBezTo>
                    <a:pt x="215682" y="326698"/>
                    <a:pt x="175156" y="268607"/>
                    <a:pt x="215900" y="317500"/>
                  </a:cubicBezTo>
                  <a:cubicBezTo>
                    <a:pt x="220786" y="323363"/>
                    <a:pt x="223204" y="331154"/>
                    <a:pt x="228600" y="336550"/>
                  </a:cubicBezTo>
                  <a:cubicBezTo>
                    <a:pt x="249001" y="356951"/>
                    <a:pt x="278770" y="356744"/>
                    <a:pt x="304800" y="361950"/>
                  </a:cubicBezTo>
                  <a:cubicBezTo>
                    <a:pt x="323943" y="365779"/>
                    <a:pt x="342329" y="372944"/>
                    <a:pt x="361950" y="374650"/>
                  </a:cubicBezTo>
                  <a:cubicBezTo>
                    <a:pt x="399965" y="377956"/>
                    <a:pt x="438150" y="378883"/>
                    <a:pt x="476250" y="381000"/>
                  </a:cubicBezTo>
                  <a:cubicBezTo>
                    <a:pt x="482600" y="385233"/>
                    <a:pt x="490532" y="387741"/>
                    <a:pt x="495300" y="393700"/>
                  </a:cubicBezTo>
                  <a:cubicBezTo>
                    <a:pt x="498714" y="397968"/>
                    <a:pt x="507452" y="436325"/>
                    <a:pt x="508000" y="438150"/>
                  </a:cubicBezTo>
                  <a:cubicBezTo>
                    <a:pt x="511847" y="450972"/>
                    <a:pt x="520700" y="476250"/>
                    <a:pt x="520700" y="476250"/>
                  </a:cubicBezTo>
                  <a:cubicBezTo>
                    <a:pt x="523581" y="513704"/>
                    <a:pt x="523318" y="553582"/>
                    <a:pt x="533400" y="590550"/>
                  </a:cubicBezTo>
                  <a:cubicBezTo>
                    <a:pt x="536922" y="603465"/>
                    <a:pt x="541867" y="615950"/>
                    <a:pt x="546100" y="628650"/>
                  </a:cubicBezTo>
                  <a:cubicBezTo>
                    <a:pt x="548217" y="635000"/>
                    <a:pt x="547717" y="642967"/>
                    <a:pt x="552450" y="647700"/>
                  </a:cubicBezTo>
                  <a:cubicBezTo>
                    <a:pt x="564413" y="659663"/>
                    <a:pt x="577127" y="669887"/>
                    <a:pt x="584200" y="685800"/>
                  </a:cubicBezTo>
                  <a:cubicBezTo>
                    <a:pt x="589637" y="698033"/>
                    <a:pt x="592667" y="711200"/>
                    <a:pt x="596900" y="723900"/>
                  </a:cubicBezTo>
                  <a:cubicBezTo>
                    <a:pt x="599740" y="732419"/>
                    <a:pt x="610437" y="735861"/>
                    <a:pt x="615950" y="742950"/>
                  </a:cubicBezTo>
                  <a:cubicBezTo>
                    <a:pt x="655841" y="794238"/>
                    <a:pt x="623521" y="769164"/>
                    <a:pt x="660400" y="793750"/>
                  </a:cubicBezTo>
                  <a:cubicBezTo>
                    <a:pt x="664633" y="800100"/>
                    <a:pt x="666628" y="808755"/>
                    <a:pt x="673100" y="812800"/>
                  </a:cubicBezTo>
                  <a:cubicBezTo>
                    <a:pt x="695562" y="826839"/>
                    <a:pt x="704028" y="825500"/>
                    <a:pt x="723900" y="825500"/>
                  </a:cubicBezTo>
                </a:path>
              </a:pathLst>
            </a:custGeom>
            <a:noFill/>
            <a:ln w="28575" cap="flat" cmpd="sng" algn="ctr">
              <a:solidFill>
                <a:schemeClr val="accent5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29" tIns="45714" rIns="91429" bIns="45714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</a:pPr>
              <a:endParaRPr lang="en-US" sz="24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9" name="Line 7"/>
            <p:cNvSpPr>
              <a:spLocks noChangeShapeType="1"/>
            </p:cNvSpPr>
            <p:nvPr/>
          </p:nvSpPr>
          <p:spPr bwMode="auto">
            <a:xfrm flipV="1">
              <a:off x="3955452" y="4897591"/>
              <a:ext cx="0" cy="922788"/>
            </a:xfrm>
            <a:prstGeom prst="line">
              <a:avLst/>
            </a:prstGeom>
            <a:noFill/>
            <a:ln w="28575">
              <a:solidFill>
                <a:schemeClr val="accent5">
                  <a:lumMod val="40000"/>
                  <a:lumOff val="6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1200" b="0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110" name="Straight Connector 109"/>
            <p:cNvCxnSpPr/>
            <p:nvPr/>
          </p:nvCxnSpPr>
          <p:spPr>
            <a:xfrm flipV="1">
              <a:off x="3955452" y="4741088"/>
              <a:ext cx="0" cy="156503"/>
            </a:xfrm>
            <a:prstGeom prst="line">
              <a:avLst/>
            </a:prstGeom>
            <a:ln w="19050">
              <a:solidFill>
                <a:schemeClr val="accent5">
                  <a:lumMod val="60000"/>
                  <a:lumOff val="4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Freeform 110"/>
            <p:cNvSpPr/>
            <p:nvPr/>
          </p:nvSpPr>
          <p:spPr bwMode="ltGray">
            <a:xfrm>
              <a:off x="3955160" y="4912774"/>
              <a:ext cx="475115" cy="584712"/>
            </a:xfrm>
            <a:custGeom>
              <a:avLst/>
              <a:gdLst>
                <a:gd name="connsiteX0" fmla="*/ 0 w 433388"/>
                <a:gd name="connsiteY0" fmla="*/ 0 h 786475"/>
                <a:gd name="connsiteX1" fmla="*/ 23813 w 433388"/>
                <a:gd name="connsiteY1" fmla="*/ 4762 h 786475"/>
                <a:gd name="connsiteX2" fmla="*/ 66675 w 433388"/>
                <a:gd name="connsiteY2" fmla="*/ 38100 h 786475"/>
                <a:gd name="connsiteX3" fmla="*/ 80963 w 433388"/>
                <a:gd name="connsiteY3" fmla="*/ 42862 h 786475"/>
                <a:gd name="connsiteX4" fmla="*/ 90488 w 433388"/>
                <a:gd name="connsiteY4" fmla="*/ 57150 h 786475"/>
                <a:gd name="connsiteX5" fmla="*/ 119063 w 433388"/>
                <a:gd name="connsiteY5" fmla="*/ 76200 h 786475"/>
                <a:gd name="connsiteX6" fmla="*/ 133350 w 433388"/>
                <a:gd name="connsiteY6" fmla="*/ 119062 h 786475"/>
                <a:gd name="connsiteX7" fmla="*/ 138113 w 433388"/>
                <a:gd name="connsiteY7" fmla="*/ 133350 h 786475"/>
                <a:gd name="connsiteX8" fmla="*/ 147638 w 433388"/>
                <a:gd name="connsiteY8" fmla="*/ 185737 h 786475"/>
                <a:gd name="connsiteX9" fmla="*/ 152400 w 433388"/>
                <a:gd name="connsiteY9" fmla="*/ 204787 h 786475"/>
                <a:gd name="connsiteX10" fmla="*/ 157163 w 433388"/>
                <a:gd name="connsiteY10" fmla="*/ 285750 h 786475"/>
                <a:gd name="connsiteX11" fmla="*/ 161925 w 433388"/>
                <a:gd name="connsiteY11" fmla="*/ 319087 h 786475"/>
                <a:gd name="connsiteX12" fmla="*/ 166688 w 433388"/>
                <a:gd name="connsiteY12" fmla="*/ 357187 h 786475"/>
                <a:gd name="connsiteX13" fmla="*/ 176213 w 433388"/>
                <a:gd name="connsiteY13" fmla="*/ 404812 h 786475"/>
                <a:gd name="connsiteX14" fmla="*/ 185738 w 433388"/>
                <a:gd name="connsiteY14" fmla="*/ 447675 h 786475"/>
                <a:gd name="connsiteX15" fmla="*/ 195263 w 433388"/>
                <a:gd name="connsiteY15" fmla="*/ 557212 h 786475"/>
                <a:gd name="connsiteX16" fmla="*/ 200025 w 433388"/>
                <a:gd name="connsiteY16" fmla="*/ 571500 h 786475"/>
                <a:gd name="connsiteX17" fmla="*/ 214313 w 433388"/>
                <a:gd name="connsiteY17" fmla="*/ 619125 h 786475"/>
                <a:gd name="connsiteX18" fmla="*/ 223838 w 433388"/>
                <a:gd name="connsiteY18" fmla="*/ 647700 h 786475"/>
                <a:gd name="connsiteX19" fmla="*/ 233363 w 433388"/>
                <a:gd name="connsiteY19" fmla="*/ 661987 h 786475"/>
                <a:gd name="connsiteX20" fmla="*/ 257175 w 433388"/>
                <a:gd name="connsiteY20" fmla="*/ 704850 h 786475"/>
                <a:gd name="connsiteX21" fmla="*/ 271463 w 433388"/>
                <a:gd name="connsiteY21" fmla="*/ 714375 h 786475"/>
                <a:gd name="connsiteX22" fmla="*/ 300038 w 433388"/>
                <a:gd name="connsiteY22" fmla="*/ 757237 h 786475"/>
                <a:gd name="connsiteX23" fmla="*/ 314325 w 433388"/>
                <a:gd name="connsiteY23" fmla="*/ 762000 h 786475"/>
                <a:gd name="connsiteX24" fmla="*/ 357188 w 433388"/>
                <a:gd name="connsiteY24" fmla="*/ 781050 h 786475"/>
                <a:gd name="connsiteX25" fmla="*/ 433388 w 433388"/>
                <a:gd name="connsiteY25" fmla="*/ 785812 h 786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33388" h="786475">
                  <a:moveTo>
                    <a:pt x="0" y="0"/>
                  </a:moveTo>
                  <a:cubicBezTo>
                    <a:pt x="7938" y="1587"/>
                    <a:pt x="16444" y="1412"/>
                    <a:pt x="23813" y="4762"/>
                  </a:cubicBezTo>
                  <a:cubicBezTo>
                    <a:pt x="83600" y="31937"/>
                    <a:pt x="29227" y="13135"/>
                    <a:pt x="66675" y="38100"/>
                  </a:cubicBezTo>
                  <a:cubicBezTo>
                    <a:pt x="70852" y="40885"/>
                    <a:pt x="76200" y="41275"/>
                    <a:pt x="80963" y="42862"/>
                  </a:cubicBezTo>
                  <a:cubicBezTo>
                    <a:pt x="84138" y="47625"/>
                    <a:pt x="86180" y="53381"/>
                    <a:pt x="90488" y="57150"/>
                  </a:cubicBezTo>
                  <a:cubicBezTo>
                    <a:pt x="99103" y="64688"/>
                    <a:pt x="119063" y="76200"/>
                    <a:pt x="119063" y="76200"/>
                  </a:cubicBezTo>
                  <a:lnTo>
                    <a:pt x="133350" y="119062"/>
                  </a:lnTo>
                  <a:lnTo>
                    <a:pt x="138113" y="133350"/>
                  </a:lnTo>
                  <a:cubicBezTo>
                    <a:pt x="141563" y="154050"/>
                    <a:pt x="143196" y="165750"/>
                    <a:pt x="147638" y="185737"/>
                  </a:cubicBezTo>
                  <a:cubicBezTo>
                    <a:pt x="149058" y="192127"/>
                    <a:pt x="150813" y="198437"/>
                    <a:pt x="152400" y="204787"/>
                  </a:cubicBezTo>
                  <a:cubicBezTo>
                    <a:pt x="153988" y="231775"/>
                    <a:pt x="154918" y="258809"/>
                    <a:pt x="157163" y="285750"/>
                  </a:cubicBezTo>
                  <a:cubicBezTo>
                    <a:pt x="158095" y="296936"/>
                    <a:pt x="160441" y="307960"/>
                    <a:pt x="161925" y="319087"/>
                  </a:cubicBezTo>
                  <a:cubicBezTo>
                    <a:pt x="163617" y="331774"/>
                    <a:pt x="164584" y="344562"/>
                    <a:pt x="166688" y="357187"/>
                  </a:cubicBezTo>
                  <a:cubicBezTo>
                    <a:pt x="169350" y="373156"/>
                    <a:pt x="173552" y="388843"/>
                    <a:pt x="176213" y="404812"/>
                  </a:cubicBezTo>
                  <a:cubicBezTo>
                    <a:pt x="181800" y="438339"/>
                    <a:pt x="177921" y="424226"/>
                    <a:pt x="185738" y="447675"/>
                  </a:cubicBezTo>
                  <a:lnTo>
                    <a:pt x="195263" y="557212"/>
                  </a:lnTo>
                  <a:cubicBezTo>
                    <a:pt x="195698" y="562213"/>
                    <a:pt x="198646" y="566673"/>
                    <a:pt x="200025" y="571500"/>
                  </a:cubicBezTo>
                  <a:cubicBezTo>
                    <a:pt x="214416" y="621870"/>
                    <a:pt x="191685" y="551239"/>
                    <a:pt x="214313" y="619125"/>
                  </a:cubicBezTo>
                  <a:cubicBezTo>
                    <a:pt x="214314" y="619129"/>
                    <a:pt x="223836" y="647697"/>
                    <a:pt x="223838" y="647700"/>
                  </a:cubicBezTo>
                  <a:lnTo>
                    <a:pt x="233363" y="661987"/>
                  </a:lnTo>
                  <a:cubicBezTo>
                    <a:pt x="238325" y="676876"/>
                    <a:pt x="243137" y="695492"/>
                    <a:pt x="257175" y="704850"/>
                  </a:cubicBezTo>
                  <a:lnTo>
                    <a:pt x="271463" y="714375"/>
                  </a:lnTo>
                  <a:lnTo>
                    <a:pt x="300038" y="757237"/>
                  </a:lnTo>
                  <a:cubicBezTo>
                    <a:pt x="302823" y="761414"/>
                    <a:pt x="309835" y="759755"/>
                    <a:pt x="314325" y="762000"/>
                  </a:cubicBezTo>
                  <a:cubicBezTo>
                    <a:pt x="359601" y="784639"/>
                    <a:pt x="283481" y="756481"/>
                    <a:pt x="357188" y="781050"/>
                  </a:cubicBezTo>
                  <a:cubicBezTo>
                    <a:pt x="381332" y="789098"/>
                    <a:pt x="433388" y="785812"/>
                    <a:pt x="433388" y="785812"/>
                  </a:cubicBezTo>
                </a:path>
              </a:pathLst>
            </a:custGeom>
            <a:noFill/>
            <a:ln w="28575" cap="flat" cmpd="sng" algn="ctr">
              <a:solidFill>
                <a:schemeClr val="accent5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29" tIns="45714" rIns="91429" bIns="45714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</a:pPr>
              <a:endParaRPr lang="en-US" sz="24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2" name="Line 11"/>
            <p:cNvSpPr>
              <a:spLocks noChangeShapeType="1"/>
            </p:cNvSpPr>
            <p:nvPr/>
          </p:nvSpPr>
          <p:spPr bwMode="auto">
            <a:xfrm flipV="1">
              <a:off x="4153365" y="5253080"/>
              <a:ext cx="0" cy="624714"/>
            </a:xfrm>
            <a:prstGeom prst="line">
              <a:avLst/>
            </a:prstGeom>
            <a:noFill/>
            <a:ln w="9525">
              <a:solidFill>
                <a:schemeClr val="accent5">
                  <a:lumMod val="40000"/>
                  <a:lumOff val="60000"/>
                </a:scheme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1200" b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3" name="Line 12"/>
            <p:cNvSpPr>
              <a:spLocks noChangeShapeType="1"/>
            </p:cNvSpPr>
            <p:nvPr/>
          </p:nvSpPr>
          <p:spPr bwMode="auto">
            <a:xfrm flipV="1">
              <a:off x="4430275" y="5366063"/>
              <a:ext cx="0" cy="505882"/>
            </a:xfrm>
            <a:prstGeom prst="line">
              <a:avLst/>
            </a:prstGeom>
            <a:noFill/>
            <a:ln w="9525">
              <a:solidFill>
                <a:schemeClr val="accent5">
                  <a:lumMod val="40000"/>
                  <a:lumOff val="60000"/>
                </a:scheme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1200" b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5" name="Line 7"/>
            <p:cNvSpPr>
              <a:spLocks noChangeShapeType="1"/>
            </p:cNvSpPr>
            <p:nvPr/>
          </p:nvSpPr>
          <p:spPr bwMode="auto">
            <a:xfrm flipV="1">
              <a:off x="4430275" y="4574698"/>
              <a:ext cx="0" cy="922788"/>
            </a:xfrm>
            <a:prstGeom prst="line">
              <a:avLst/>
            </a:prstGeom>
            <a:noFill/>
            <a:ln w="28575">
              <a:solidFill>
                <a:schemeClr val="accent5">
                  <a:lumMod val="40000"/>
                  <a:lumOff val="6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1200" b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6" name="AutoShape 13"/>
            <p:cNvSpPr>
              <a:spLocks/>
            </p:cNvSpPr>
            <p:nvPr/>
          </p:nvSpPr>
          <p:spPr bwMode="auto">
            <a:xfrm rot="16200000" flipV="1">
              <a:off x="4236162" y="5796794"/>
              <a:ext cx="105146" cy="283082"/>
            </a:xfrm>
            <a:prstGeom prst="leftBrace">
              <a:avLst>
                <a:gd name="adj1" fmla="val 31749"/>
                <a:gd name="adj2" fmla="val 50000"/>
              </a:avLst>
            </a:prstGeom>
            <a:noFill/>
            <a:ln w="9525">
              <a:solidFill>
                <a:srgbClr val="66635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1200" b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7" name="Line 11"/>
            <p:cNvSpPr>
              <a:spLocks noChangeShapeType="1"/>
            </p:cNvSpPr>
            <p:nvPr/>
          </p:nvSpPr>
          <p:spPr bwMode="auto">
            <a:xfrm flipV="1">
              <a:off x="2890927" y="5087589"/>
              <a:ext cx="0" cy="801121"/>
            </a:xfrm>
            <a:prstGeom prst="line">
              <a:avLst/>
            </a:prstGeom>
            <a:noFill/>
            <a:ln w="9525">
              <a:solidFill>
                <a:schemeClr val="accent5">
                  <a:lumMod val="40000"/>
                  <a:lumOff val="60000"/>
                </a:scheme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1200" b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8" name="Line 12"/>
            <p:cNvSpPr>
              <a:spLocks noChangeShapeType="1"/>
            </p:cNvSpPr>
            <p:nvPr/>
          </p:nvSpPr>
          <p:spPr bwMode="auto">
            <a:xfrm flipV="1">
              <a:off x="3141441" y="5664150"/>
              <a:ext cx="0" cy="218709"/>
            </a:xfrm>
            <a:prstGeom prst="line">
              <a:avLst/>
            </a:prstGeom>
            <a:noFill/>
            <a:ln w="9525">
              <a:solidFill>
                <a:schemeClr val="accent5">
                  <a:lumMod val="40000"/>
                  <a:lumOff val="60000"/>
                </a:scheme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1200" b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9" name="AutoShape 13"/>
            <p:cNvSpPr>
              <a:spLocks/>
            </p:cNvSpPr>
            <p:nvPr/>
          </p:nvSpPr>
          <p:spPr bwMode="auto">
            <a:xfrm rot="16200000" flipV="1">
              <a:off x="2970115" y="5801860"/>
              <a:ext cx="105146" cy="283082"/>
            </a:xfrm>
            <a:prstGeom prst="leftBrace">
              <a:avLst>
                <a:gd name="adj1" fmla="val 31749"/>
                <a:gd name="adj2" fmla="val 50000"/>
              </a:avLst>
            </a:prstGeom>
            <a:noFill/>
            <a:ln w="9525">
              <a:solidFill>
                <a:srgbClr val="66635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1200" b="0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121" name="Straight Connector 120"/>
            <p:cNvCxnSpPr/>
            <p:nvPr/>
          </p:nvCxnSpPr>
          <p:spPr>
            <a:xfrm flipV="1">
              <a:off x="4407277" y="4562306"/>
              <a:ext cx="0" cy="168616"/>
            </a:xfrm>
            <a:prstGeom prst="line">
              <a:avLst/>
            </a:prstGeom>
            <a:ln w="19050">
              <a:solidFill>
                <a:schemeClr val="accent5">
                  <a:lumMod val="60000"/>
                  <a:lumOff val="4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Arrow Connector 121"/>
            <p:cNvCxnSpPr>
              <a:stCxn id="124" idx="3"/>
            </p:cNvCxnSpPr>
            <p:nvPr/>
          </p:nvCxnSpPr>
          <p:spPr>
            <a:xfrm>
              <a:off x="3842058" y="4560943"/>
              <a:ext cx="94598" cy="161812"/>
            </a:xfrm>
            <a:prstGeom prst="straightConnector1">
              <a:avLst/>
            </a:prstGeom>
            <a:ln w="9525">
              <a:solidFill>
                <a:srgbClr val="66635A"/>
              </a:solidFill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Arrow Connector 122"/>
            <p:cNvCxnSpPr>
              <a:stCxn id="124" idx="3"/>
            </p:cNvCxnSpPr>
            <p:nvPr/>
          </p:nvCxnSpPr>
          <p:spPr>
            <a:xfrm>
              <a:off x="3842058" y="4560943"/>
              <a:ext cx="511444" cy="62655"/>
            </a:xfrm>
            <a:prstGeom prst="straightConnector1">
              <a:avLst/>
            </a:prstGeom>
            <a:ln w="9525">
              <a:solidFill>
                <a:srgbClr val="66635A"/>
              </a:solidFill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4" name="Text Box 28"/>
            <p:cNvSpPr txBox="1">
              <a:spLocks noChangeArrowheads="1"/>
            </p:cNvSpPr>
            <p:nvPr/>
          </p:nvSpPr>
          <p:spPr bwMode="auto">
            <a:xfrm>
              <a:off x="2576552" y="4377816"/>
              <a:ext cx="1265506" cy="3662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50000"/>
                </a:spcBef>
                <a:spcAft>
                  <a:spcPct val="0"/>
                </a:spcAft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ru-RU" sz="700" b="0" i="1" dirty="0" smtClean="0">
                  <a:solidFill>
                    <a:schemeClr val="bg1"/>
                  </a:solidFill>
                  <a:latin typeface="+mj-lt"/>
                </a:rPr>
                <a:t>Минимизация последствий изменения спроса благодаря высокой эффективности прогнозирования</a:t>
              </a:r>
              <a:endParaRPr lang="ru-RU" sz="700" b="0" i="1" dirty="0">
                <a:solidFill>
                  <a:schemeClr val="bg1"/>
                </a:solidFill>
                <a:latin typeface="+mj-lt"/>
                <a:ea typeface="ＭＳ Ｐゴシック" pitchFamily="34" charset="-128"/>
              </a:endParaRPr>
            </a:p>
          </p:txBody>
        </p:sp>
        <p:cxnSp>
          <p:nvCxnSpPr>
            <p:cNvPr id="125" name="Straight Arrow Connector 124"/>
            <p:cNvCxnSpPr>
              <a:stCxn id="143" idx="0"/>
              <a:endCxn id="116" idx="1"/>
            </p:cNvCxnSpPr>
            <p:nvPr/>
          </p:nvCxnSpPr>
          <p:spPr>
            <a:xfrm rot="5400000" flipH="1" flipV="1">
              <a:off x="3887566" y="5785492"/>
              <a:ext cx="195752" cy="606585"/>
            </a:xfrm>
            <a:prstGeom prst="bentConnector3">
              <a:avLst>
                <a:gd name="adj1" fmla="val 32968"/>
              </a:avLst>
            </a:prstGeom>
            <a:ln w="9525">
              <a:solidFill>
                <a:srgbClr val="66635A"/>
              </a:solidFill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Arrow Connector 125"/>
            <p:cNvCxnSpPr>
              <a:stCxn id="143" idx="0"/>
              <a:endCxn id="136" idx="1"/>
            </p:cNvCxnSpPr>
            <p:nvPr/>
          </p:nvCxnSpPr>
          <p:spPr>
            <a:xfrm rot="5400000" flipH="1" flipV="1">
              <a:off x="3653242" y="6019824"/>
              <a:ext cx="195744" cy="137928"/>
            </a:xfrm>
            <a:prstGeom prst="bentConnector3">
              <a:avLst>
                <a:gd name="adj1" fmla="val 34591"/>
              </a:avLst>
            </a:prstGeom>
            <a:ln w="9525">
              <a:solidFill>
                <a:srgbClr val="66635A"/>
              </a:solidFill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Arrow Connector 126"/>
            <p:cNvCxnSpPr>
              <a:stCxn id="143" idx="0"/>
              <a:endCxn id="119" idx="1"/>
            </p:cNvCxnSpPr>
            <p:nvPr/>
          </p:nvCxnSpPr>
          <p:spPr>
            <a:xfrm rot="16200000" flipV="1">
              <a:off x="3257076" y="5761586"/>
              <a:ext cx="190686" cy="659462"/>
            </a:xfrm>
            <a:prstGeom prst="bentConnector3">
              <a:avLst>
                <a:gd name="adj1" fmla="val 33766"/>
              </a:avLst>
            </a:prstGeom>
            <a:ln w="9525">
              <a:solidFill>
                <a:srgbClr val="66635A"/>
              </a:solidFill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72895" y="429275"/>
            <a:ext cx="7137706" cy="672850"/>
          </a:xfrm>
        </p:spPr>
        <p:txBody>
          <a:bodyPr/>
          <a:lstStyle/>
          <a:p>
            <a:r>
              <a:rPr lang="ru-RU" dirty="0" smtClean="0"/>
              <a:t>Минимизация уровня запасов и сокращение упущенных продаж </a:t>
            </a:r>
            <a:r>
              <a:rPr dirty="0"/>
              <a:t/>
            </a:r>
            <a:br>
              <a:rPr dirty="0"/>
            </a:br>
            <a:endParaRPr lang="ru-RU" dirty="0"/>
          </a:p>
        </p:txBody>
      </p:sp>
      <p:sp>
        <p:nvSpPr>
          <p:cNvPr id="56" name="Freeform 55"/>
          <p:cNvSpPr/>
          <p:nvPr/>
        </p:nvSpPr>
        <p:spPr bwMode="ltGray">
          <a:xfrm>
            <a:off x="5029201" y="1990725"/>
            <a:ext cx="1044702" cy="1071159"/>
          </a:xfrm>
          <a:custGeom>
            <a:avLst/>
            <a:gdLst>
              <a:gd name="connsiteX0" fmla="*/ 0 w 904875"/>
              <a:gd name="connsiteY0" fmla="*/ 0 h 1219200"/>
              <a:gd name="connsiteX1" fmla="*/ 904875 w 904875"/>
              <a:gd name="connsiteY1" fmla="*/ 1219200 h 1219200"/>
              <a:gd name="connsiteX0" fmla="*/ 0 w 904875"/>
              <a:gd name="connsiteY0" fmla="*/ 0 h 1219200"/>
              <a:gd name="connsiteX1" fmla="*/ 904875 w 904875"/>
              <a:gd name="connsiteY1" fmla="*/ 1219200 h 1219200"/>
              <a:gd name="connsiteX0" fmla="*/ 0 w 942975"/>
              <a:gd name="connsiteY0" fmla="*/ 0 h 1352550"/>
              <a:gd name="connsiteX1" fmla="*/ 942975 w 942975"/>
              <a:gd name="connsiteY1" fmla="*/ 1352550 h 1352550"/>
              <a:gd name="connsiteX0" fmla="*/ 0 w 942975"/>
              <a:gd name="connsiteY0" fmla="*/ 0 h 1352550"/>
              <a:gd name="connsiteX1" fmla="*/ 942975 w 942975"/>
              <a:gd name="connsiteY1" fmla="*/ 1352550 h 1352550"/>
              <a:gd name="connsiteX0" fmla="*/ 0 w 971550"/>
              <a:gd name="connsiteY0" fmla="*/ 0 h 1352550"/>
              <a:gd name="connsiteX1" fmla="*/ 971550 w 971550"/>
              <a:gd name="connsiteY1" fmla="*/ 1352550 h 1352550"/>
              <a:gd name="connsiteX0" fmla="*/ 0 w 1044702"/>
              <a:gd name="connsiteY0" fmla="*/ 0 h 1069086"/>
              <a:gd name="connsiteX1" fmla="*/ 1044702 w 1044702"/>
              <a:gd name="connsiteY1" fmla="*/ 1069086 h 1069086"/>
              <a:gd name="connsiteX0" fmla="*/ 0 w 1044702"/>
              <a:gd name="connsiteY0" fmla="*/ 0 h 1071159"/>
              <a:gd name="connsiteX1" fmla="*/ 1044702 w 1044702"/>
              <a:gd name="connsiteY1" fmla="*/ 1069086 h 1071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4702" h="1071159">
                <a:moveTo>
                  <a:pt x="0" y="0"/>
                </a:moveTo>
                <a:cubicBezTo>
                  <a:pt x="520700" y="111125"/>
                  <a:pt x="234061" y="1122934"/>
                  <a:pt x="1044702" y="1069086"/>
                </a:cubicBezTo>
              </a:path>
            </a:pathLst>
          </a:custGeom>
          <a:noFill/>
          <a:ln w="38100" cap="rnd">
            <a:solidFill>
              <a:srgbClr val="A7A49B"/>
            </a:solidFill>
            <a:prstDash val="sysDot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1" name="Freeform 150"/>
          <p:cNvSpPr/>
          <p:nvPr/>
        </p:nvSpPr>
        <p:spPr bwMode="ltGray">
          <a:xfrm flipH="1">
            <a:off x="4951480" y="4134858"/>
            <a:ext cx="855345" cy="408574"/>
          </a:xfrm>
          <a:custGeom>
            <a:avLst/>
            <a:gdLst>
              <a:gd name="connsiteX0" fmla="*/ 0 w 904875"/>
              <a:gd name="connsiteY0" fmla="*/ 0 h 1219200"/>
              <a:gd name="connsiteX1" fmla="*/ 904875 w 904875"/>
              <a:gd name="connsiteY1" fmla="*/ 1219200 h 1219200"/>
              <a:gd name="connsiteX0" fmla="*/ 0 w 904875"/>
              <a:gd name="connsiteY0" fmla="*/ 0 h 1219200"/>
              <a:gd name="connsiteX1" fmla="*/ 904875 w 904875"/>
              <a:gd name="connsiteY1" fmla="*/ 1219200 h 1219200"/>
              <a:gd name="connsiteX0" fmla="*/ 0 w 942975"/>
              <a:gd name="connsiteY0" fmla="*/ 0 h 1352550"/>
              <a:gd name="connsiteX1" fmla="*/ 942975 w 942975"/>
              <a:gd name="connsiteY1" fmla="*/ 1352550 h 1352550"/>
              <a:gd name="connsiteX0" fmla="*/ 0 w 942975"/>
              <a:gd name="connsiteY0" fmla="*/ 0 h 1352550"/>
              <a:gd name="connsiteX1" fmla="*/ 942975 w 942975"/>
              <a:gd name="connsiteY1" fmla="*/ 1352550 h 1352550"/>
              <a:gd name="connsiteX0" fmla="*/ 0 w 971550"/>
              <a:gd name="connsiteY0" fmla="*/ 0 h 1352550"/>
              <a:gd name="connsiteX1" fmla="*/ 971550 w 971550"/>
              <a:gd name="connsiteY1" fmla="*/ 1352550 h 1352550"/>
              <a:gd name="connsiteX0" fmla="*/ 0 w 1038225"/>
              <a:gd name="connsiteY0" fmla="*/ 0 h 485775"/>
              <a:gd name="connsiteX1" fmla="*/ 1038225 w 1038225"/>
              <a:gd name="connsiteY1" fmla="*/ 485775 h 485775"/>
              <a:gd name="connsiteX0" fmla="*/ 0 w 1038225"/>
              <a:gd name="connsiteY0" fmla="*/ 0 h 489967"/>
              <a:gd name="connsiteX1" fmla="*/ 1038225 w 1038225"/>
              <a:gd name="connsiteY1" fmla="*/ 485775 h 489967"/>
              <a:gd name="connsiteX0" fmla="*/ 0 w 855345"/>
              <a:gd name="connsiteY0" fmla="*/ 0 h 408574"/>
              <a:gd name="connsiteX1" fmla="*/ 855345 w 855345"/>
              <a:gd name="connsiteY1" fmla="*/ 403479 h 408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55345" h="408574">
                <a:moveTo>
                  <a:pt x="0" y="0"/>
                </a:moveTo>
                <a:cubicBezTo>
                  <a:pt x="520700" y="111125"/>
                  <a:pt x="191770" y="454279"/>
                  <a:pt x="855345" y="403479"/>
                </a:cubicBezTo>
              </a:path>
            </a:pathLst>
          </a:custGeom>
          <a:noFill/>
          <a:ln w="38100" cap="rnd">
            <a:solidFill>
              <a:srgbClr val="A7A49B"/>
            </a:solidFill>
            <a:prstDash val="sysDot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645876" y="5366063"/>
            <a:ext cx="3193324" cy="4729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Это типовой расчет времени до следующей продажи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2" name="Rectangle 17"/>
          <p:cNvSpPr>
            <a:spLocks/>
          </p:cNvSpPr>
          <p:nvPr/>
        </p:nvSpPr>
        <p:spPr bwMode="auto">
          <a:xfrm>
            <a:off x="142451" y="2020599"/>
            <a:ext cx="73896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Обработка в режиме реального времени</a:t>
            </a:r>
          </a:p>
        </p:txBody>
      </p:sp>
      <p:sp>
        <p:nvSpPr>
          <p:cNvPr id="107" name="Rectangle 17"/>
          <p:cNvSpPr>
            <a:spLocks/>
          </p:cNvSpPr>
          <p:nvPr/>
        </p:nvSpPr>
        <p:spPr bwMode="auto">
          <a:xfrm>
            <a:off x="142451" y="2489930"/>
            <a:ext cx="7389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Машинное обучение</a:t>
            </a:r>
          </a:p>
        </p:txBody>
      </p:sp>
      <p:grpSp>
        <p:nvGrpSpPr>
          <p:cNvPr id="163" name="Group 162"/>
          <p:cNvGrpSpPr/>
          <p:nvPr/>
        </p:nvGrpSpPr>
        <p:grpSpPr>
          <a:xfrm>
            <a:off x="148422" y="3693080"/>
            <a:ext cx="727019" cy="718294"/>
            <a:chOff x="148422" y="3478099"/>
            <a:chExt cx="727019" cy="718294"/>
          </a:xfrm>
        </p:grpSpPr>
        <p:sp>
          <p:nvSpPr>
            <p:cNvPr id="164" name="Rectangle 17"/>
            <p:cNvSpPr>
              <a:spLocks/>
            </p:cNvSpPr>
            <p:nvPr/>
          </p:nvSpPr>
          <p:spPr bwMode="auto">
            <a:xfrm>
              <a:off x="148422" y="3703950"/>
              <a:ext cx="727019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Веб-ресурсы, продукт, датчики, приложения</a:t>
              </a:r>
              <a:endParaRPr lang="ru-RU" sz="800" i="1" dirty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grpSp>
          <p:nvGrpSpPr>
            <p:cNvPr id="165" name="Group 157"/>
            <p:cNvGrpSpPr>
              <a:grpSpLocks noChangeAspect="1"/>
            </p:cNvGrpSpPr>
            <p:nvPr/>
          </p:nvGrpSpPr>
          <p:grpSpPr bwMode="auto">
            <a:xfrm>
              <a:off x="384568" y="3478099"/>
              <a:ext cx="254721" cy="240654"/>
              <a:chOff x="3815" y="1810"/>
              <a:chExt cx="2354" cy="2224"/>
            </a:xfrm>
            <a:solidFill>
              <a:schemeClr val="bg1"/>
            </a:solidFill>
          </p:grpSpPr>
          <p:sp>
            <p:nvSpPr>
              <p:cNvPr id="166" name="Freeform 159"/>
              <p:cNvSpPr>
                <a:spLocks noEditPoints="1"/>
              </p:cNvSpPr>
              <p:nvPr/>
            </p:nvSpPr>
            <p:spPr bwMode="auto">
              <a:xfrm>
                <a:off x="3815" y="1810"/>
                <a:ext cx="2021" cy="1982"/>
              </a:xfrm>
              <a:custGeom>
                <a:avLst/>
                <a:gdLst>
                  <a:gd name="T0" fmla="*/ 3423 w 4043"/>
                  <a:gd name="T1" fmla="*/ 409 h 3965"/>
                  <a:gd name="T2" fmla="*/ 3363 w 4043"/>
                  <a:gd name="T3" fmla="*/ 435 h 3965"/>
                  <a:gd name="T4" fmla="*/ 3317 w 4043"/>
                  <a:gd name="T5" fmla="*/ 481 h 3965"/>
                  <a:gd name="T6" fmla="*/ 3291 w 4043"/>
                  <a:gd name="T7" fmla="*/ 542 h 3965"/>
                  <a:gd name="T8" fmla="*/ 3291 w 4043"/>
                  <a:gd name="T9" fmla="*/ 611 h 3965"/>
                  <a:gd name="T10" fmla="*/ 3317 w 4043"/>
                  <a:gd name="T11" fmla="*/ 671 h 3965"/>
                  <a:gd name="T12" fmla="*/ 3363 w 4043"/>
                  <a:gd name="T13" fmla="*/ 716 h 3965"/>
                  <a:gd name="T14" fmla="*/ 3423 w 4043"/>
                  <a:gd name="T15" fmla="*/ 742 h 3965"/>
                  <a:gd name="T16" fmla="*/ 3491 w 4043"/>
                  <a:gd name="T17" fmla="*/ 742 h 3965"/>
                  <a:gd name="T18" fmla="*/ 3553 w 4043"/>
                  <a:gd name="T19" fmla="*/ 716 h 3965"/>
                  <a:gd name="T20" fmla="*/ 3598 w 4043"/>
                  <a:gd name="T21" fmla="*/ 671 h 3965"/>
                  <a:gd name="T22" fmla="*/ 3624 w 4043"/>
                  <a:gd name="T23" fmla="*/ 611 h 3965"/>
                  <a:gd name="T24" fmla="*/ 3624 w 4043"/>
                  <a:gd name="T25" fmla="*/ 542 h 3965"/>
                  <a:gd name="T26" fmla="*/ 3598 w 4043"/>
                  <a:gd name="T27" fmla="*/ 481 h 3965"/>
                  <a:gd name="T28" fmla="*/ 3553 w 4043"/>
                  <a:gd name="T29" fmla="*/ 435 h 3965"/>
                  <a:gd name="T30" fmla="*/ 3491 w 4043"/>
                  <a:gd name="T31" fmla="*/ 409 h 3965"/>
                  <a:gd name="T32" fmla="*/ 2924 w 4043"/>
                  <a:gd name="T33" fmla="*/ 406 h 3965"/>
                  <a:gd name="T34" fmla="*/ 2858 w 4043"/>
                  <a:gd name="T35" fmla="*/ 419 h 3965"/>
                  <a:gd name="T36" fmla="*/ 2804 w 4043"/>
                  <a:gd name="T37" fmla="*/ 456 h 3965"/>
                  <a:gd name="T38" fmla="*/ 2768 w 4043"/>
                  <a:gd name="T39" fmla="*/ 511 h 3965"/>
                  <a:gd name="T40" fmla="*/ 2755 w 4043"/>
                  <a:gd name="T41" fmla="*/ 576 h 3965"/>
                  <a:gd name="T42" fmla="*/ 2768 w 4043"/>
                  <a:gd name="T43" fmla="*/ 642 h 3965"/>
                  <a:gd name="T44" fmla="*/ 2804 w 4043"/>
                  <a:gd name="T45" fmla="*/ 696 h 3965"/>
                  <a:gd name="T46" fmla="*/ 2858 w 4043"/>
                  <a:gd name="T47" fmla="*/ 732 h 3965"/>
                  <a:gd name="T48" fmla="*/ 2924 w 4043"/>
                  <a:gd name="T49" fmla="*/ 746 h 3965"/>
                  <a:gd name="T50" fmla="*/ 2991 w 4043"/>
                  <a:gd name="T51" fmla="*/ 732 h 3965"/>
                  <a:gd name="T52" fmla="*/ 3045 w 4043"/>
                  <a:gd name="T53" fmla="*/ 696 h 3965"/>
                  <a:gd name="T54" fmla="*/ 3081 w 4043"/>
                  <a:gd name="T55" fmla="*/ 642 h 3965"/>
                  <a:gd name="T56" fmla="*/ 3094 w 4043"/>
                  <a:gd name="T57" fmla="*/ 576 h 3965"/>
                  <a:gd name="T58" fmla="*/ 3081 w 4043"/>
                  <a:gd name="T59" fmla="*/ 511 h 3965"/>
                  <a:gd name="T60" fmla="*/ 3045 w 4043"/>
                  <a:gd name="T61" fmla="*/ 456 h 3965"/>
                  <a:gd name="T62" fmla="*/ 2991 w 4043"/>
                  <a:gd name="T63" fmla="*/ 419 h 3965"/>
                  <a:gd name="T64" fmla="*/ 2924 w 4043"/>
                  <a:gd name="T65" fmla="*/ 406 h 3965"/>
                  <a:gd name="T66" fmla="*/ 3924 w 4043"/>
                  <a:gd name="T67" fmla="*/ 0 h 3965"/>
                  <a:gd name="T68" fmla="*/ 3984 w 4043"/>
                  <a:gd name="T69" fmla="*/ 18 h 3965"/>
                  <a:gd name="T70" fmla="*/ 4027 w 4043"/>
                  <a:gd name="T71" fmla="*/ 60 h 3965"/>
                  <a:gd name="T72" fmla="*/ 4043 w 4043"/>
                  <a:gd name="T73" fmla="*/ 120 h 3965"/>
                  <a:gd name="T74" fmla="*/ 4026 w 4043"/>
                  <a:gd name="T75" fmla="*/ 1778 h 3965"/>
                  <a:gd name="T76" fmla="*/ 3943 w 4043"/>
                  <a:gd name="T77" fmla="*/ 1795 h 3965"/>
                  <a:gd name="T78" fmla="*/ 3874 w 4043"/>
                  <a:gd name="T79" fmla="*/ 1841 h 3965"/>
                  <a:gd name="T80" fmla="*/ 3809 w 4043"/>
                  <a:gd name="T81" fmla="*/ 1868 h 3965"/>
                  <a:gd name="T82" fmla="*/ 3744 w 4043"/>
                  <a:gd name="T83" fmla="*/ 1878 h 3965"/>
                  <a:gd name="T84" fmla="*/ 3686 w 4043"/>
                  <a:gd name="T85" fmla="*/ 1908 h 3965"/>
                  <a:gd name="T86" fmla="*/ 357 w 4043"/>
                  <a:gd name="T87" fmla="*/ 1095 h 3965"/>
                  <a:gd name="T88" fmla="*/ 2587 w 4043"/>
                  <a:gd name="T89" fmla="*/ 3608 h 3965"/>
                  <a:gd name="T90" fmla="*/ 2585 w 4043"/>
                  <a:gd name="T91" fmla="*/ 3839 h 3965"/>
                  <a:gd name="T92" fmla="*/ 2602 w 4043"/>
                  <a:gd name="T93" fmla="*/ 3926 h 3965"/>
                  <a:gd name="T94" fmla="*/ 119 w 4043"/>
                  <a:gd name="T95" fmla="*/ 3965 h 3965"/>
                  <a:gd name="T96" fmla="*/ 59 w 4043"/>
                  <a:gd name="T97" fmla="*/ 3949 h 3965"/>
                  <a:gd name="T98" fmla="*/ 16 w 4043"/>
                  <a:gd name="T99" fmla="*/ 3906 h 3965"/>
                  <a:gd name="T100" fmla="*/ 0 w 4043"/>
                  <a:gd name="T101" fmla="*/ 3846 h 3965"/>
                  <a:gd name="T102" fmla="*/ 4 w 4043"/>
                  <a:gd name="T103" fmla="*/ 88 h 3965"/>
                  <a:gd name="T104" fmla="*/ 34 w 4043"/>
                  <a:gd name="T105" fmla="*/ 36 h 3965"/>
                  <a:gd name="T106" fmla="*/ 87 w 4043"/>
                  <a:gd name="T107" fmla="*/ 5 h 3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43" h="3965">
                    <a:moveTo>
                      <a:pt x="3457" y="406"/>
                    </a:moveTo>
                    <a:lnTo>
                      <a:pt x="3423" y="409"/>
                    </a:lnTo>
                    <a:lnTo>
                      <a:pt x="3391" y="419"/>
                    </a:lnTo>
                    <a:lnTo>
                      <a:pt x="3363" y="435"/>
                    </a:lnTo>
                    <a:lnTo>
                      <a:pt x="3337" y="456"/>
                    </a:lnTo>
                    <a:lnTo>
                      <a:pt x="3317" y="481"/>
                    </a:lnTo>
                    <a:lnTo>
                      <a:pt x="3301" y="511"/>
                    </a:lnTo>
                    <a:lnTo>
                      <a:pt x="3291" y="542"/>
                    </a:lnTo>
                    <a:lnTo>
                      <a:pt x="3287" y="576"/>
                    </a:lnTo>
                    <a:lnTo>
                      <a:pt x="3291" y="611"/>
                    </a:lnTo>
                    <a:lnTo>
                      <a:pt x="3301" y="642"/>
                    </a:lnTo>
                    <a:lnTo>
                      <a:pt x="3317" y="671"/>
                    </a:lnTo>
                    <a:lnTo>
                      <a:pt x="3337" y="696"/>
                    </a:lnTo>
                    <a:lnTo>
                      <a:pt x="3363" y="716"/>
                    </a:lnTo>
                    <a:lnTo>
                      <a:pt x="3391" y="732"/>
                    </a:lnTo>
                    <a:lnTo>
                      <a:pt x="3423" y="742"/>
                    </a:lnTo>
                    <a:lnTo>
                      <a:pt x="3457" y="746"/>
                    </a:lnTo>
                    <a:lnTo>
                      <a:pt x="3491" y="742"/>
                    </a:lnTo>
                    <a:lnTo>
                      <a:pt x="3524" y="732"/>
                    </a:lnTo>
                    <a:lnTo>
                      <a:pt x="3553" y="716"/>
                    </a:lnTo>
                    <a:lnTo>
                      <a:pt x="3577" y="696"/>
                    </a:lnTo>
                    <a:lnTo>
                      <a:pt x="3598" y="671"/>
                    </a:lnTo>
                    <a:lnTo>
                      <a:pt x="3614" y="642"/>
                    </a:lnTo>
                    <a:lnTo>
                      <a:pt x="3624" y="611"/>
                    </a:lnTo>
                    <a:lnTo>
                      <a:pt x="3627" y="576"/>
                    </a:lnTo>
                    <a:lnTo>
                      <a:pt x="3624" y="542"/>
                    </a:lnTo>
                    <a:lnTo>
                      <a:pt x="3614" y="511"/>
                    </a:lnTo>
                    <a:lnTo>
                      <a:pt x="3598" y="481"/>
                    </a:lnTo>
                    <a:lnTo>
                      <a:pt x="3577" y="456"/>
                    </a:lnTo>
                    <a:lnTo>
                      <a:pt x="3553" y="435"/>
                    </a:lnTo>
                    <a:lnTo>
                      <a:pt x="3524" y="419"/>
                    </a:lnTo>
                    <a:lnTo>
                      <a:pt x="3491" y="409"/>
                    </a:lnTo>
                    <a:lnTo>
                      <a:pt x="3457" y="406"/>
                    </a:lnTo>
                    <a:close/>
                    <a:moveTo>
                      <a:pt x="2924" y="406"/>
                    </a:moveTo>
                    <a:lnTo>
                      <a:pt x="2890" y="409"/>
                    </a:lnTo>
                    <a:lnTo>
                      <a:pt x="2858" y="419"/>
                    </a:lnTo>
                    <a:lnTo>
                      <a:pt x="2830" y="435"/>
                    </a:lnTo>
                    <a:lnTo>
                      <a:pt x="2804" y="456"/>
                    </a:lnTo>
                    <a:lnTo>
                      <a:pt x="2784" y="481"/>
                    </a:lnTo>
                    <a:lnTo>
                      <a:pt x="2768" y="511"/>
                    </a:lnTo>
                    <a:lnTo>
                      <a:pt x="2758" y="542"/>
                    </a:lnTo>
                    <a:lnTo>
                      <a:pt x="2755" y="576"/>
                    </a:lnTo>
                    <a:lnTo>
                      <a:pt x="2758" y="611"/>
                    </a:lnTo>
                    <a:lnTo>
                      <a:pt x="2768" y="642"/>
                    </a:lnTo>
                    <a:lnTo>
                      <a:pt x="2784" y="671"/>
                    </a:lnTo>
                    <a:lnTo>
                      <a:pt x="2804" y="696"/>
                    </a:lnTo>
                    <a:lnTo>
                      <a:pt x="2830" y="716"/>
                    </a:lnTo>
                    <a:lnTo>
                      <a:pt x="2858" y="732"/>
                    </a:lnTo>
                    <a:lnTo>
                      <a:pt x="2890" y="742"/>
                    </a:lnTo>
                    <a:lnTo>
                      <a:pt x="2924" y="746"/>
                    </a:lnTo>
                    <a:lnTo>
                      <a:pt x="2958" y="742"/>
                    </a:lnTo>
                    <a:lnTo>
                      <a:pt x="2991" y="732"/>
                    </a:lnTo>
                    <a:lnTo>
                      <a:pt x="3020" y="716"/>
                    </a:lnTo>
                    <a:lnTo>
                      <a:pt x="3045" y="696"/>
                    </a:lnTo>
                    <a:lnTo>
                      <a:pt x="3065" y="671"/>
                    </a:lnTo>
                    <a:lnTo>
                      <a:pt x="3081" y="642"/>
                    </a:lnTo>
                    <a:lnTo>
                      <a:pt x="3091" y="611"/>
                    </a:lnTo>
                    <a:lnTo>
                      <a:pt x="3094" y="576"/>
                    </a:lnTo>
                    <a:lnTo>
                      <a:pt x="3091" y="542"/>
                    </a:lnTo>
                    <a:lnTo>
                      <a:pt x="3081" y="511"/>
                    </a:lnTo>
                    <a:lnTo>
                      <a:pt x="3065" y="481"/>
                    </a:lnTo>
                    <a:lnTo>
                      <a:pt x="3045" y="456"/>
                    </a:lnTo>
                    <a:lnTo>
                      <a:pt x="3020" y="435"/>
                    </a:lnTo>
                    <a:lnTo>
                      <a:pt x="2991" y="419"/>
                    </a:lnTo>
                    <a:lnTo>
                      <a:pt x="2958" y="409"/>
                    </a:lnTo>
                    <a:lnTo>
                      <a:pt x="2924" y="406"/>
                    </a:lnTo>
                    <a:close/>
                    <a:moveTo>
                      <a:pt x="119" y="0"/>
                    </a:moveTo>
                    <a:lnTo>
                      <a:pt x="3924" y="0"/>
                    </a:lnTo>
                    <a:lnTo>
                      <a:pt x="3956" y="5"/>
                    </a:lnTo>
                    <a:lnTo>
                      <a:pt x="3984" y="18"/>
                    </a:lnTo>
                    <a:lnTo>
                      <a:pt x="4009" y="36"/>
                    </a:lnTo>
                    <a:lnTo>
                      <a:pt x="4027" y="60"/>
                    </a:lnTo>
                    <a:lnTo>
                      <a:pt x="4039" y="88"/>
                    </a:lnTo>
                    <a:lnTo>
                      <a:pt x="4043" y="120"/>
                    </a:lnTo>
                    <a:lnTo>
                      <a:pt x="4043" y="1778"/>
                    </a:lnTo>
                    <a:lnTo>
                      <a:pt x="4026" y="1778"/>
                    </a:lnTo>
                    <a:lnTo>
                      <a:pt x="3983" y="1783"/>
                    </a:lnTo>
                    <a:lnTo>
                      <a:pt x="3943" y="1795"/>
                    </a:lnTo>
                    <a:lnTo>
                      <a:pt x="3907" y="1815"/>
                    </a:lnTo>
                    <a:lnTo>
                      <a:pt x="3874" y="1841"/>
                    </a:lnTo>
                    <a:lnTo>
                      <a:pt x="3849" y="1873"/>
                    </a:lnTo>
                    <a:lnTo>
                      <a:pt x="3809" y="1868"/>
                    </a:lnTo>
                    <a:lnTo>
                      <a:pt x="3776" y="1871"/>
                    </a:lnTo>
                    <a:lnTo>
                      <a:pt x="3744" y="1878"/>
                    </a:lnTo>
                    <a:lnTo>
                      <a:pt x="3713" y="1891"/>
                    </a:lnTo>
                    <a:lnTo>
                      <a:pt x="3686" y="1908"/>
                    </a:lnTo>
                    <a:lnTo>
                      <a:pt x="3686" y="1095"/>
                    </a:lnTo>
                    <a:lnTo>
                      <a:pt x="357" y="1095"/>
                    </a:lnTo>
                    <a:lnTo>
                      <a:pt x="357" y="3608"/>
                    </a:lnTo>
                    <a:lnTo>
                      <a:pt x="2587" y="3608"/>
                    </a:lnTo>
                    <a:lnTo>
                      <a:pt x="2585" y="3640"/>
                    </a:lnTo>
                    <a:lnTo>
                      <a:pt x="2585" y="3839"/>
                    </a:lnTo>
                    <a:lnTo>
                      <a:pt x="2590" y="3885"/>
                    </a:lnTo>
                    <a:lnTo>
                      <a:pt x="2602" y="3926"/>
                    </a:lnTo>
                    <a:lnTo>
                      <a:pt x="2622" y="3965"/>
                    </a:lnTo>
                    <a:lnTo>
                      <a:pt x="119" y="3965"/>
                    </a:lnTo>
                    <a:lnTo>
                      <a:pt x="87" y="3961"/>
                    </a:lnTo>
                    <a:lnTo>
                      <a:pt x="59" y="3949"/>
                    </a:lnTo>
                    <a:lnTo>
                      <a:pt x="34" y="3931"/>
                    </a:lnTo>
                    <a:lnTo>
                      <a:pt x="16" y="3906"/>
                    </a:lnTo>
                    <a:lnTo>
                      <a:pt x="4" y="3878"/>
                    </a:lnTo>
                    <a:lnTo>
                      <a:pt x="0" y="3846"/>
                    </a:lnTo>
                    <a:lnTo>
                      <a:pt x="0" y="120"/>
                    </a:lnTo>
                    <a:lnTo>
                      <a:pt x="4" y="88"/>
                    </a:lnTo>
                    <a:lnTo>
                      <a:pt x="16" y="60"/>
                    </a:lnTo>
                    <a:lnTo>
                      <a:pt x="34" y="36"/>
                    </a:lnTo>
                    <a:lnTo>
                      <a:pt x="59" y="18"/>
                    </a:lnTo>
                    <a:lnTo>
                      <a:pt x="87" y="5"/>
                    </a:lnTo>
                    <a:lnTo>
                      <a:pt x="1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7" name="Freeform 160"/>
              <p:cNvSpPr>
                <a:spLocks noEditPoints="1"/>
              </p:cNvSpPr>
              <p:nvPr/>
            </p:nvSpPr>
            <p:spPr bwMode="auto">
              <a:xfrm>
                <a:off x="4491" y="2507"/>
                <a:ext cx="895" cy="895"/>
              </a:xfrm>
              <a:custGeom>
                <a:avLst/>
                <a:gdLst>
                  <a:gd name="T0" fmla="*/ 727 w 1791"/>
                  <a:gd name="T1" fmla="*/ 498 h 1790"/>
                  <a:gd name="T2" fmla="*/ 554 w 1791"/>
                  <a:gd name="T3" fmla="*/ 632 h 1790"/>
                  <a:gd name="T4" fmla="*/ 469 w 1791"/>
                  <a:gd name="T5" fmla="*/ 836 h 1790"/>
                  <a:gd name="T6" fmla="*/ 499 w 1791"/>
                  <a:gd name="T7" fmla="*/ 1062 h 1790"/>
                  <a:gd name="T8" fmla="*/ 632 w 1791"/>
                  <a:gd name="T9" fmla="*/ 1236 h 1790"/>
                  <a:gd name="T10" fmla="*/ 837 w 1791"/>
                  <a:gd name="T11" fmla="*/ 1322 h 1790"/>
                  <a:gd name="T12" fmla="*/ 1063 w 1791"/>
                  <a:gd name="T13" fmla="*/ 1292 h 1790"/>
                  <a:gd name="T14" fmla="*/ 1236 w 1791"/>
                  <a:gd name="T15" fmla="*/ 1158 h 1790"/>
                  <a:gd name="T16" fmla="*/ 1323 w 1791"/>
                  <a:gd name="T17" fmla="*/ 953 h 1790"/>
                  <a:gd name="T18" fmla="*/ 1293 w 1791"/>
                  <a:gd name="T19" fmla="*/ 728 h 1790"/>
                  <a:gd name="T20" fmla="*/ 1159 w 1791"/>
                  <a:gd name="T21" fmla="*/ 553 h 1790"/>
                  <a:gd name="T22" fmla="*/ 955 w 1791"/>
                  <a:gd name="T23" fmla="*/ 468 h 1790"/>
                  <a:gd name="T24" fmla="*/ 1052 w 1791"/>
                  <a:gd name="T25" fmla="*/ 3 h 1790"/>
                  <a:gd name="T26" fmla="*/ 1139 w 1791"/>
                  <a:gd name="T27" fmla="*/ 73 h 1790"/>
                  <a:gd name="T28" fmla="*/ 1192 w 1791"/>
                  <a:gd name="T29" fmla="*/ 180 h 1790"/>
                  <a:gd name="T30" fmla="*/ 1303 w 1791"/>
                  <a:gd name="T31" fmla="*/ 142 h 1790"/>
                  <a:gd name="T32" fmla="*/ 1416 w 1791"/>
                  <a:gd name="T33" fmla="*/ 155 h 1790"/>
                  <a:gd name="T34" fmla="*/ 1649 w 1791"/>
                  <a:gd name="T35" fmla="*/ 402 h 1790"/>
                  <a:gd name="T36" fmla="*/ 1636 w 1791"/>
                  <a:gd name="T37" fmla="*/ 513 h 1790"/>
                  <a:gd name="T38" fmla="*/ 1625 w 1791"/>
                  <a:gd name="T39" fmla="*/ 638 h 1790"/>
                  <a:gd name="T40" fmla="*/ 1741 w 1791"/>
                  <a:gd name="T41" fmla="*/ 666 h 1790"/>
                  <a:gd name="T42" fmla="*/ 1791 w 1791"/>
                  <a:gd name="T43" fmla="*/ 769 h 1790"/>
                  <a:gd name="T44" fmla="*/ 1762 w 1791"/>
                  <a:gd name="T45" fmla="*/ 1104 h 1790"/>
                  <a:gd name="T46" fmla="*/ 1659 w 1791"/>
                  <a:gd name="T47" fmla="*/ 1152 h 1790"/>
                  <a:gd name="T48" fmla="*/ 1618 w 1791"/>
                  <a:gd name="T49" fmla="*/ 1252 h 1790"/>
                  <a:gd name="T50" fmla="*/ 1655 w 1791"/>
                  <a:gd name="T51" fmla="*/ 1361 h 1790"/>
                  <a:gd name="T52" fmla="*/ 1439 w 1791"/>
                  <a:gd name="T53" fmla="*/ 1617 h 1790"/>
                  <a:gd name="T54" fmla="*/ 1332 w 1791"/>
                  <a:gd name="T55" fmla="*/ 1655 h 1790"/>
                  <a:gd name="T56" fmla="*/ 1229 w 1791"/>
                  <a:gd name="T57" fmla="*/ 1592 h 1790"/>
                  <a:gd name="T58" fmla="*/ 1149 w 1791"/>
                  <a:gd name="T59" fmla="*/ 1688 h 1790"/>
                  <a:gd name="T60" fmla="*/ 1079 w 1791"/>
                  <a:gd name="T61" fmla="*/ 1777 h 1790"/>
                  <a:gd name="T62" fmla="*/ 740 w 1791"/>
                  <a:gd name="T63" fmla="*/ 1787 h 1790"/>
                  <a:gd name="T64" fmla="*/ 652 w 1791"/>
                  <a:gd name="T65" fmla="*/ 1717 h 1790"/>
                  <a:gd name="T66" fmla="*/ 600 w 1791"/>
                  <a:gd name="T67" fmla="*/ 1609 h 1790"/>
                  <a:gd name="T68" fmla="*/ 487 w 1791"/>
                  <a:gd name="T69" fmla="*/ 1648 h 1790"/>
                  <a:gd name="T70" fmla="*/ 374 w 1791"/>
                  <a:gd name="T71" fmla="*/ 1635 h 1790"/>
                  <a:gd name="T72" fmla="*/ 141 w 1791"/>
                  <a:gd name="T73" fmla="*/ 1389 h 1790"/>
                  <a:gd name="T74" fmla="*/ 154 w 1791"/>
                  <a:gd name="T75" fmla="*/ 1276 h 1790"/>
                  <a:gd name="T76" fmla="*/ 167 w 1791"/>
                  <a:gd name="T77" fmla="*/ 1152 h 1790"/>
                  <a:gd name="T78" fmla="*/ 50 w 1791"/>
                  <a:gd name="T79" fmla="*/ 1124 h 1790"/>
                  <a:gd name="T80" fmla="*/ 0 w 1791"/>
                  <a:gd name="T81" fmla="*/ 1021 h 1790"/>
                  <a:gd name="T82" fmla="*/ 29 w 1791"/>
                  <a:gd name="T83" fmla="*/ 686 h 1790"/>
                  <a:gd name="T84" fmla="*/ 133 w 1791"/>
                  <a:gd name="T85" fmla="*/ 638 h 1790"/>
                  <a:gd name="T86" fmla="*/ 174 w 1791"/>
                  <a:gd name="T87" fmla="*/ 538 h 1790"/>
                  <a:gd name="T88" fmla="*/ 136 w 1791"/>
                  <a:gd name="T89" fmla="*/ 429 h 1790"/>
                  <a:gd name="T90" fmla="*/ 351 w 1791"/>
                  <a:gd name="T91" fmla="*/ 173 h 1790"/>
                  <a:gd name="T92" fmla="*/ 459 w 1791"/>
                  <a:gd name="T93" fmla="*/ 135 h 1790"/>
                  <a:gd name="T94" fmla="*/ 562 w 1791"/>
                  <a:gd name="T95" fmla="*/ 197 h 1790"/>
                  <a:gd name="T96" fmla="*/ 642 w 1791"/>
                  <a:gd name="T97" fmla="*/ 102 h 1790"/>
                  <a:gd name="T98" fmla="*/ 712 w 1791"/>
                  <a:gd name="T99" fmla="*/ 13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91" h="1790">
                    <a:moveTo>
                      <a:pt x="896" y="463"/>
                    </a:moveTo>
                    <a:lnTo>
                      <a:pt x="837" y="468"/>
                    </a:lnTo>
                    <a:lnTo>
                      <a:pt x="780" y="479"/>
                    </a:lnTo>
                    <a:lnTo>
                      <a:pt x="727" y="498"/>
                    </a:lnTo>
                    <a:lnTo>
                      <a:pt x="677" y="523"/>
                    </a:lnTo>
                    <a:lnTo>
                      <a:pt x="632" y="553"/>
                    </a:lnTo>
                    <a:lnTo>
                      <a:pt x="590" y="590"/>
                    </a:lnTo>
                    <a:lnTo>
                      <a:pt x="554" y="632"/>
                    </a:lnTo>
                    <a:lnTo>
                      <a:pt x="523" y="678"/>
                    </a:lnTo>
                    <a:lnTo>
                      <a:pt x="499" y="728"/>
                    </a:lnTo>
                    <a:lnTo>
                      <a:pt x="480" y="781"/>
                    </a:lnTo>
                    <a:lnTo>
                      <a:pt x="469" y="836"/>
                    </a:lnTo>
                    <a:lnTo>
                      <a:pt x="464" y="895"/>
                    </a:lnTo>
                    <a:lnTo>
                      <a:pt x="469" y="953"/>
                    </a:lnTo>
                    <a:lnTo>
                      <a:pt x="480" y="1009"/>
                    </a:lnTo>
                    <a:lnTo>
                      <a:pt x="499" y="1062"/>
                    </a:lnTo>
                    <a:lnTo>
                      <a:pt x="523" y="1112"/>
                    </a:lnTo>
                    <a:lnTo>
                      <a:pt x="554" y="1158"/>
                    </a:lnTo>
                    <a:lnTo>
                      <a:pt x="590" y="1199"/>
                    </a:lnTo>
                    <a:lnTo>
                      <a:pt x="632" y="1236"/>
                    </a:lnTo>
                    <a:lnTo>
                      <a:pt x="677" y="1268"/>
                    </a:lnTo>
                    <a:lnTo>
                      <a:pt x="727" y="1292"/>
                    </a:lnTo>
                    <a:lnTo>
                      <a:pt x="780" y="1311"/>
                    </a:lnTo>
                    <a:lnTo>
                      <a:pt x="837" y="1322"/>
                    </a:lnTo>
                    <a:lnTo>
                      <a:pt x="896" y="1326"/>
                    </a:lnTo>
                    <a:lnTo>
                      <a:pt x="955" y="1322"/>
                    </a:lnTo>
                    <a:lnTo>
                      <a:pt x="1010" y="1311"/>
                    </a:lnTo>
                    <a:lnTo>
                      <a:pt x="1063" y="1292"/>
                    </a:lnTo>
                    <a:lnTo>
                      <a:pt x="1113" y="1268"/>
                    </a:lnTo>
                    <a:lnTo>
                      <a:pt x="1159" y="1236"/>
                    </a:lnTo>
                    <a:lnTo>
                      <a:pt x="1200" y="1199"/>
                    </a:lnTo>
                    <a:lnTo>
                      <a:pt x="1236" y="1158"/>
                    </a:lnTo>
                    <a:lnTo>
                      <a:pt x="1268" y="1112"/>
                    </a:lnTo>
                    <a:lnTo>
                      <a:pt x="1293" y="1062"/>
                    </a:lnTo>
                    <a:lnTo>
                      <a:pt x="1310" y="1009"/>
                    </a:lnTo>
                    <a:lnTo>
                      <a:pt x="1323" y="953"/>
                    </a:lnTo>
                    <a:lnTo>
                      <a:pt x="1326" y="895"/>
                    </a:lnTo>
                    <a:lnTo>
                      <a:pt x="1323" y="836"/>
                    </a:lnTo>
                    <a:lnTo>
                      <a:pt x="1310" y="781"/>
                    </a:lnTo>
                    <a:lnTo>
                      <a:pt x="1293" y="728"/>
                    </a:lnTo>
                    <a:lnTo>
                      <a:pt x="1268" y="678"/>
                    </a:lnTo>
                    <a:lnTo>
                      <a:pt x="1236" y="632"/>
                    </a:lnTo>
                    <a:lnTo>
                      <a:pt x="1200" y="590"/>
                    </a:lnTo>
                    <a:lnTo>
                      <a:pt x="1159" y="553"/>
                    </a:lnTo>
                    <a:lnTo>
                      <a:pt x="1113" y="523"/>
                    </a:lnTo>
                    <a:lnTo>
                      <a:pt x="1063" y="498"/>
                    </a:lnTo>
                    <a:lnTo>
                      <a:pt x="1010" y="479"/>
                    </a:lnTo>
                    <a:lnTo>
                      <a:pt x="955" y="468"/>
                    </a:lnTo>
                    <a:lnTo>
                      <a:pt x="896" y="463"/>
                    </a:lnTo>
                    <a:close/>
                    <a:moveTo>
                      <a:pt x="770" y="0"/>
                    </a:moveTo>
                    <a:lnTo>
                      <a:pt x="1020" y="0"/>
                    </a:lnTo>
                    <a:lnTo>
                      <a:pt x="1052" y="3"/>
                    </a:lnTo>
                    <a:lnTo>
                      <a:pt x="1079" y="13"/>
                    </a:lnTo>
                    <a:lnTo>
                      <a:pt x="1103" y="29"/>
                    </a:lnTo>
                    <a:lnTo>
                      <a:pt x="1125" y="49"/>
                    </a:lnTo>
                    <a:lnTo>
                      <a:pt x="1139" y="73"/>
                    </a:lnTo>
                    <a:lnTo>
                      <a:pt x="1149" y="102"/>
                    </a:lnTo>
                    <a:lnTo>
                      <a:pt x="1153" y="132"/>
                    </a:lnTo>
                    <a:lnTo>
                      <a:pt x="1153" y="166"/>
                    </a:lnTo>
                    <a:lnTo>
                      <a:pt x="1192" y="180"/>
                    </a:lnTo>
                    <a:lnTo>
                      <a:pt x="1229" y="197"/>
                    </a:lnTo>
                    <a:lnTo>
                      <a:pt x="1253" y="173"/>
                    </a:lnTo>
                    <a:lnTo>
                      <a:pt x="1276" y="155"/>
                    </a:lnTo>
                    <a:lnTo>
                      <a:pt x="1303" y="142"/>
                    </a:lnTo>
                    <a:lnTo>
                      <a:pt x="1332" y="135"/>
                    </a:lnTo>
                    <a:lnTo>
                      <a:pt x="1360" y="135"/>
                    </a:lnTo>
                    <a:lnTo>
                      <a:pt x="1389" y="142"/>
                    </a:lnTo>
                    <a:lnTo>
                      <a:pt x="1416" y="155"/>
                    </a:lnTo>
                    <a:lnTo>
                      <a:pt x="1439" y="173"/>
                    </a:lnTo>
                    <a:lnTo>
                      <a:pt x="1618" y="350"/>
                    </a:lnTo>
                    <a:lnTo>
                      <a:pt x="1636" y="375"/>
                    </a:lnTo>
                    <a:lnTo>
                      <a:pt x="1649" y="402"/>
                    </a:lnTo>
                    <a:lnTo>
                      <a:pt x="1655" y="429"/>
                    </a:lnTo>
                    <a:lnTo>
                      <a:pt x="1655" y="459"/>
                    </a:lnTo>
                    <a:lnTo>
                      <a:pt x="1649" y="488"/>
                    </a:lnTo>
                    <a:lnTo>
                      <a:pt x="1636" y="513"/>
                    </a:lnTo>
                    <a:lnTo>
                      <a:pt x="1618" y="538"/>
                    </a:lnTo>
                    <a:lnTo>
                      <a:pt x="1593" y="562"/>
                    </a:lnTo>
                    <a:lnTo>
                      <a:pt x="1609" y="599"/>
                    </a:lnTo>
                    <a:lnTo>
                      <a:pt x="1625" y="638"/>
                    </a:lnTo>
                    <a:lnTo>
                      <a:pt x="1659" y="638"/>
                    </a:lnTo>
                    <a:lnTo>
                      <a:pt x="1689" y="640"/>
                    </a:lnTo>
                    <a:lnTo>
                      <a:pt x="1716" y="651"/>
                    </a:lnTo>
                    <a:lnTo>
                      <a:pt x="1741" y="666"/>
                    </a:lnTo>
                    <a:lnTo>
                      <a:pt x="1762" y="686"/>
                    </a:lnTo>
                    <a:lnTo>
                      <a:pt x="1778" y="712"/>
                    </a:lnTo>
                    <a:lnTo>
                      <a:pt x="1788" y="739"/>
                    </a:lnTo>
                    <a:lnTo>
                      <a:pt x="1791" y="769"/>
                    </a:lnTo>
                    <a:lnTo>
                      <a:pt x="1791" y="1021"/>
                    </a:lnTo>
                    <a:lnTo>
                      <a:pt x="1788" y="1051"/>
                    </a:lnTo>
                    <a:lnTo>
                      <a:pt x="1778" y="1079"/>
                    </a:lnTo>
                    <a:lnTo>
                      <a:pt x="1762" y="1104"/>
                    </a:lnTo>
                    <a:lnTo>
                      <a:pt x="1741" y="1124"/>
                    </a:lnTo>
                    <a:lnTo>
                      <a:pt x="1716" y="1139"/>
                    </a:lnTo>
                    <a:lnTo>
                      <a:pt x="1689" y="1149"/>
                    </a:lnTo>
                    <a:lnTo>
                      <a:pt x="1659" y="1152"/>
                    </a:lnTo>
                    <a:lnTo>
                      <a:pt x="1625" y="1152"/>
                    </a:lnTo>
                    <a:lnTo>
                      <a:pt x="1609" y="1191"/>
                    </a:lnTo>
                    <a:lnTo>
                      <a:pt x="1593" y="1228"/>
                    </a:lnTo>
                    <a:lnTo>
                      <a:pt x="1618" y="1252"/>
                    </a:lnTo>
                    <a:lnTo>
                      <a:pt x="1636" y="1276"/>
                    </a:lnTo>
                    <a:lnTo>
                      <a:pt x="1649" y="1304"/>
                    </a:lnTo>
                    <a:lnTo>
                      <a:pt x="1655" y="1331"/>
                    </a:lnTo>
                    <a:lnTo>
                      <a:pt x="1655" y="1361"/>
                    </a:lnTo>
                    <a:lnTo>
                      <a:pt x="1649" y="1389"/>
                    </a:lnTo>
                    <a:lnTo>
                      <a:pt x="1636" y="1415"/>
                    </a:lnTo>
                    <a:lnTo>
                      <a:pt x="1618" y="1439"/>
                    </a:lnTo>
                    <a:lnTo>
                      <a:pt x="1439" y="1617"/>
                    </a:lnTo>
                    <a:lnTo>
                      <a:pt x="1416" y="1635"/>
                    </a:lnTo>
                    <a:lnTo>
                      <a:pt x="1389" y="1648"/>
                    </a:lnTo>
                    <a:lnTo>
                      <a:pt x="1360" y="1655"/>
                    </a:lnTo>
                    <a:lnTo>
                      <a:pt x="1332" y="1655"/>
                    </a:lnTo>
                    <a:lnTo>
                      <a:pt x="1303" y="1648"/>
                    </a:lnTo>
                    <a:lnTo>
                      <a:pt x="1276" y="1635"/>
                    </a:lnTo>
                    <a:lnTo>
                      <a:pt x="1253" y="1617"/>
                    </a:lnTo>
                    <a:lnTo>
                      <a:pt x="1229" y="1592"/>
                    </a:lnTo>
                    <a:lnTo>
                      <a:pt x="1192" y="1609"/>
                    </a:lnTo>
                    <a:lnTo>
                      <a:pt x="1153" y="1624"/>
                    </a:lnTo>
                    <a:lnTo>
                      <a:pt x="1153" y="1658"/>
                    </a:lnTo>
                    <a:lnTo>
                      <a:pt x="1149" y="1688"/>
                    </a:lnTo>
                    <a:lnTo>
                      <a:pt x="1139" y="1717"/>
                    </a:lnTo>
                    <a:lnTo>
                      <a:pt x="1125" y="1741"/>
                    </a:lnTo>
                    <a:lnTo>
                      <a:pt x="1103" y="1761"/>
                    </a:lnTo>
                    <a:lnTo>
                      <a:pt x="1079" y="1777"/>
                    </a:lnTo>
                    <a:lnTo>
                      <a:pt x="1052" y="1787"/>
                    </a:lnTo>
                    <a:lnTo>
                      <a:pt x="1020" y="1790"/>
                    </a:lnTo>
                    <a:lnTo>
                      <a:pt x="770" y="1790"/>
                    </a:lnTo>
                    <a:lnTo>
                      <a:pt x="740" y="1787"/>
                    </a:lnTo>
                    <a:lnTo>
                      <a:pt x="712" y="1777"/>
                    </a:lnTo>
                    <a:lnTo>
                      <a:pt x="687" y="1761"/>
                    </a:lnTo>
                    <a:lnTo>
                      <a:pt x="667" y="1741"/>
                    </a:lnTo>
                    <a:lnTo>
                      <a:pt x="652" y="1717"/>
                    </a:lnTo>
                    <a:lnTo>
                      <a:pt x="642" y="1688"/>
                    </a:lnTo>
                    <a:lnTo>
                      <a:pt x="637" y="1658"/>
                    </a:lnTo>
                    <a:lnTo>
                      <a:pt x="637" y="1624"/>
                    </a:lnTo>
                    <a:lnTo>
                      <a:pt x="600" y="1609"/>
                    </a:lnTo>
                    <a:lnTo>
                      <a:pt x="562" y="1592"/>
                    </a:lnTo>
                    <a:lnTo>
                      <a:pt x="537" y="1617"/>
                    </a:lnTo>
                    <a:lnTo>
                      <a:pt x="514" y="1635"/>
                    </a:lnTo>
                    <a:lnTo>
                      <a:pt x="487" y="1648"/>
                    </a:lnTo>
                    <a:lnTo>
                      <a:pt x="459" y="1655"/>
                    </a:lnTo>
                    <a:lnTo>
                      <a:pt x="430" y="1655"/>
                    </a:lnTo>
                    <a:lnTo>
                      <a:pt x="401" y="1648"/>
                    </a:lnTo>
                    <a:lnTo>
                      <a:pt x="374" y="1635"/>
                    </a:lnTo>
                    <a:lnTo>
                      <a:pt x="351" y="1617"/>
                    </a:lnTo>
                    <a:lnTo>
                      <a:pt x="174" y="1439"/>
                    </a:lnTo>
                    <a:lnTo>
                      <a:pt x="154" y="1415"/>
                    </a:lnTo>
                    <a:lnTo>
                      <a:pt x="141" y="1389"/>
                    </a:lnTo>
                    <a:lnTo>
                      <a:pt x="136" y="1361"/>
                    </a:lnTo>
                    <a:lnTo>
                      <a:pt x="136" y="1331"/>
                    </a:lnTo>
                    <a:lnTo>
                      <a:pt x="141" y="1304"/>
                    </a:lnTo>
                    <a:lnTo>
                      <a:pt x="154" y="1276"/>
                    </a:lnTo>
                    <a:lnTo>
                      <a:pt x="174" y="1252"/>
                    </a:lnTo>
                    <a:lnTo>
                      <a:pt x="199" y="1228"/>
                    </a:lnTo>
                    <a:lnTo>
                      <a:pt x="181" y="1191"/>
                    </a:lnTo>
                    <a:lnTo>
                      <a:pt x="167" y="1152"/>
                    </a:lnTo>
                    <a:lnTo>
                      <a:pt x="133" y="1152"/>
                    </a:lnTo>
                    <a:lnTo>
                      <a:pt x="101" y="1149"/>
                    </a:lnTo>
                    <a:lnTo>
                      <a:pt x="74" y="1139"/>
                    </a:lnTo>
                    <a:lnTo>
                      <a:pt x="50" y="1124"/>
                    </a:lnTo>
                    <a:lnTo>
                      <a:pt x="29" y="1104"/>
                    </a:lnTo>
                    <a:lnTo>
                      <a:pt x="14" y="1079"/>
                    </a:lnTo>
                    <a:lnTo>
                      <a:pt x="4" y="1051"/>
                    </a:lnTo>
                    <a:lnTo>
                      <a:pt x="0" y="1021"/>
                    </a:lnTo>
                    <a:lnTo>
                      <a:pt x="0" y="769"/>
                    </a:lnTo>
                    <a:lnTo>
                      <a:pt x="4" y="739"/>
                    </a:lnTo>
                    <a:lnTo>
                      <a:pt x="14" y="712"/>
                    </a:lnTo>
                    <a:lnTo>
                      <a:pt x="29" y="686"/>
                    </a:lnTo>
                    <a:lnTo>
                      <a:pt x="50" y="666"/>
                    </a:lnTo>
                    <a:lnTo>
                      <a:pt x="74" y="651"/>
                    </a:lnTo>
                    <a:lnTo>
                      <a:pt x="101" y="640"/>
                    </a:lnTo>
                    <a:lnTo>
                      <a:pt x="133" y="638"/>
                    </a:lnTo>
                    <a:lnTo>
                      <a:pt x="167" y="638"/>
                    </a:lnTo>
                    <a:lnTo>
                      <a:pt x="181" y="599"/>
                    </a:lnTo>
                    <a:lnTo>
                      <a:pt x="199" y="562"/>
                    </a:lnTo>
                    <a:lnTo>
                      <a:pt x="174" y="538"/>
                    </a:lnTo>
                    <a:lnTo>
                      <a:pt x="154" y="513"/>
                    </a:lnTo>
                    <a:lnTo>
                      <a:pt x="141" y="488"/>
                    </a:lnTo>
                    <a:lnTo>
                      <a:pt x="136" y="459"/>
                    </a:lnTo>
                    <a:lnTo>
                      <a:pt x="136" y="429"/>
                    </a:lnTo>
                    <a:lnTo>
                      <a:pt x="141" y="402"/>
                    </a:lnTo>
                    <a:lnTo>
                      <a:pt x="154" y="375"/>
                    </a:lnTo>
                    <a:lnTo>
                      <a:pt x="174" y="350"/>
                    </a:lnTo>
                    <a:lnTo>
                      <a:pt x="351" y="173"/>
                    </a:lnTo>
                    <a:lnTo>
                      <a:pt x="376" y="155"/>
                    </a:lnTo>
                    <a:lnTo>
                      <a:pt x="401" y="142"/>
                    </a:lnTo>
                    <a:lnTo>
                      <a:pt x="430" y="135"/>
                    </a:lnTo>
                    <a:lnTo>
                      <a:pt x="459" y="135"/>
                    </a:lnTo>
                    <a:lnTo>
                      <a:pt x="487" y="142"/>
                    </a:lnTo>
                    <a:lnTo>
                      <a:pt x="514" y="155"/>
                    </a:lnTo>
                    <a:lnTo>
                      <a:pt x="537" y="173"/>
                    </a:lnTo>
                    <a:lnTo>
                      <a:pt x="562" y="197"/>
                    </a:lnTo>
                    <a:lnTo>
                      <a:pt x="600" y="180"/>
                    </a:lnTo>
                    <a:lnTo>
                      <a:pt x="637" y="166"/>
                    </a:lnTo>
                    <a:lnTo>
                      <a:pt x="637" y="132"/>
                    </a:lnTo>
                    <a:lnTo>
                      <a:pt x="642" y="102"/>
                    </a:lnTo>
                    <a:lnTo>
                      <a:pt x="652" y="73"/>
                    </a:lnTo>
                    <a:lnTo>
                      <a:pt x="667" y="49"/>
                    </a:lnTo>
                    <a:lnTo>
                      <a:pt x="687" y="29"/>
                    </a:lnTo>
                    <a:lnTo>
                      <a:pt x="712" y="13"/>
                    </a:lnTo>
                    <a:lnTo>
                      <a:pt x="740" y="3"/>
                    </a:lnTo>
                    <a:lnTo>
                      <a:pt x="7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8" name="Freeform 161"/>
              <p:cNvSpPr>
                <a:spLocks noEditPoints="1"/>
              </p:cNvSpPr>
              <p:nvPr/>
            </p:nvSpPr>
            <p:spPr bwMode="auto">
              <a:xfrm>
                <a:off x="5171" y="3325"/>
                <a:ext cx="710" cy="709"/>
              </a:xfrm>
              <a:custGeom>
                <a:avLst/>
                <a:gdLst>
                  <a:gd name="T0" fmla="*/ 602 w 1421"/>
                  <a:gd name="T1" fmla="*/ 385 h 1419"/>
                  <a:gd name="T2" fmla="*/ 469 w 1421"/>
                  <a:gd name="T3" fmla="*/ 467 h 1419"/>
                  <a:gd name="T4" fmla="*/ 386 w 1421"/>
                  <a:gd name="T5" fmla="*/ 602 h 1419"/>
                  <a:gd name="T6" fmla="*/ 373 w 1421"/>
                  <a:gd name="T7" fmla="*/ 765 h 1419"/>
                  <a:gd name="T8" fmla="*/ 435 w 1421"/>
                  <a:gd name="T9" fmla="*/ 912 h 1419"/>
                  <a:gd name="T10" fmla="*/ 553 w 1421"/>
                  <a:gd name="T11" fmla="*/ 1013 h 1419"/>
                  <a:gd name="T12" fmla="*/ 711 w 1421"/>
                  <a:gd name="T13" fmla="*/ 1051 h 1419"/>
                  <a:gd name="T14" fmla="*/ 868 w 1421"/>
                  <a:gd name="T15" fmla="*/ 1013 h 1419"/>
                  <a:gd name="T16" fmla="*/ 986 w 1421"/>
                  <a:gd name="T17" fmla="*/ 912 h 1419"/>
                  <a:gd name="T18" fmla="*/ 1048 w 1421"/>
                  <a:gd name="T19" fmla="*/ 765 h 1419"/>
                  <a:gd name="T20" fmla="*/ 1035 w 1421"/>
                  <a:gd name="T21" fmla="*/ 602 h 1419"/>
                  <a:gd name="T22" fmla="*/ 952 w 1421"/>
                  <a:gd name="T23" fmla="*/ 467 h 1419"/>
                  <a:gd name="T24" fmla="*/ 819 w 1421"/>
                  <a:gd name="T25" fmla="*/ 385 h 1419"/>
                  <a:gd name="T26" fmla="*/ 611 w 1421"/>
                  <a:gd name="T27" fmla="*/ 0 h 1419"/>
                  <a:gd name="T28" fmla="*/ 864 w 1421"/>
                  <a:gd name="T29" fmla="*/ 14 h 1419"/>
                  <a:gd name="T30" fmla="*/ 911 w 1421"/>
                  <a:gd name="T31" fmla="*/ 76 h 1419"/>
                  <a:gd name="T32" fmla="*/ 975 w 1421"/>
                  <a:gd name="T33" fmla="*/ 156 h 1419"/>
                  <a:gd name="T34" fmla="*/ 1032 w 1421"/>
                  <a:gd name="T35" fmla="*/ 113 h 1419"/>
                  <a:gd name="T36" fmla="*/ 1085 w 1421"/>
                  <a:gd name="T37" fmla="*/ 107 h 1419"/>
                  <a:gd name="T38" fmla="*/ 1142 w 1421"/>
                  <a:gd name="T39" fmla="*/ 137 h 1419"/>
                  <a:gd name="T40" fmla="*/ 1311 w 1421"/>
                  <a:gd name="T41" fmla="*/ 326 h 1419"/>
                  <a:gd name="T42" fmla="*/ 1299 w 1421"/>
                  <a:gd name="T43" fmla="*/ 403 h 1419"/>
                  <a:gd name="T44" fmla="*/ 1288 w 1421"/>
                  <a:gd name="T45" fmla="*/ 505 h 1419"/>
                  <a:gd name="T46" fmla="*/ 1368 w 1421"/>
                  <a:gd name="T47" fmla="*/ 519 h 1419"/>
                  <a:gd name="T48" fmla="*/ 1417 w 1421"/>
                  <a:gd name="T49" fmla="*/ 582 h 1419"/>
                  <a:gd name="T50" fmla="*/ 1417 w 1421"/>
                  <a:gd name="T51" fmla="*/ 836 h 1419"/>
                  <a:gd name="T52" fmla="*/ 1368 w 1421"/>
                  <a:gd name="T53" fmla="*/ 899 h 1419"/>
                  <a:gd name="T54" fmla="*/ 1288 w 1421"/>
                  <a:gd name="T55" fmla="*/ 913 h 1419"/>
                  <a:gd name="T56" fmla="*/ 1299 w 1421"/>
                  <a:gd name="T57" fmla="*/ 1015 h 1419"/>
                  <a:gd name="T58" fmla="*/ 1311 w 1421"/>
                  <a:gd name="T59" fmla="*/ 1093 h 1419"/>
                  <a:gd name="T60" fmla="*/ 1142 w 1421"/>
                  <a:gd name="T61" fmla="*/ 1282 h 1419"/>
                  <a:gd name="T62" fmla="*/ 1068 w 1421"/>
                  <a:gd name="T63" fmla="*/ 1312 h 1419"/>
                  <a:gd name="T64" fmla="*/ 994 w 1421"/>
                  <a:gd name="T65" fmla="*/ 1282 h 1419"/>
                  <a:gd name="T66" fmla="*/ 915 w 1421"/>
                  <a:gd name="T67" fmla="*/ 1315 h 1419"/>
                  <a:gd name="T68" fmla="*/ 884 w 1421"/>
                  <a:gd name="T69" fmla="*/ 1388 h 1419"/>
                  <a:gd name="T70" fmla="*/ 811 w 1421"/>
                  <a:gd name="T71" fmla="*/ 1419 h 1419"/>
                  <a:gd name="T72" fmla="*/ 558 w 1421"/>
                  <a:gd name="T73" fmla="*/ 1405 h 1419"/>
                  <a:gd name="T74" fmla="*/ 511 w 1421"/>
                  <a:gd name="T75" fmla="*/ 1342 h 1419"/>
                  <a:gd name="T76" fmla="*/ 446 w 1421"/>
                  <a:gd name="T77" fmla="*/ 1262 h 1419"/>
                  <a:gd name="T78" fmla="*/ 379 w 1421"/>
                  <a:gd name="T79" fmla="*/ 1309 h 1419"/>
                  <a:gd name="T80" fmla="*/ 302 w 1421"/>
                  <a:gd name="T81" fmla="*/ 1299 h 1419"/>
                  <a:gd name="T82" fmla="*/ 122 w 1421"/>
                  <a:gd name="T83" fmla="*/ 1119 h 1419"/>
                  <a:gd name="T84" fmla="*/ 110 w 1421"/>
                  <a:gd name="T85" fmla="*/ 1041 h 1419"/>
                  <a:gd name="T86" fmla="*/ 158 w 1421"/>
                  <a:gd name="T87" fmla="*/ 973 h 1419"/>
                  <a:gd name="T88" fmla="*/ 78 w 1421"/>
                  <a:gd name="T89" fmla="*/ 911 h 1419"/>
                  <a:gd name="T90" fmla="*/ 15 w 1421"/>
                  <a:gd name="T91" fmla="*/ 862 h 1419"/>
                  <a:gd name="T92" fmla="*/ 0 w 1421"/>
                  <a:gd name="T93" fmla="*/ 610 h 1419"/>
                  <a:gd name="T94" fmla="*/ 32 w 1421"/>
                  <a:gd name="T95" fmla="*/ 536 h 1419"/>
                  <a:gd name="T96" fmla="*/ 106 w 1421"/>
                  <a:gd name="T97" fmla="*/ 505 h 1419"/>
                  <a:gd name="T98" fmla="*/ 139 w 1421"/>
                  <a:gd name="T99" fmla="*/ 426 h 1419"/>
                  <a:gd name="T100" fmla="*/ 108 w 1421"/>
                  <a:gd name="T101" fmla="*/ 352 h 1419"/>
                  <a:gd name="T102" fmla="*/ 139 w 1421"/>
                  <a:gd name="T103" fmla="*/ 277 h 1419"/>
                  <a:gd name="T104" fmla="*/ 326 w 1421"/>
                  <a:gd name="T105" fmla="*/ 110 h 1419"/>
                  <a:gd name="T106" fmla="*/ 405 w 1421"/>
                  <a:gd name="T107" fmla="*/ 120 h 1419"/>
                  <a:gd name="T108" fmla="*/ 506 w 1421"/>
                  <a:gd name="T109" fmla="*/ 132 h 1419"/>
                  <a:gd name="T110" fmla="*/ 521 w 1421"/>
                  <a:gd name="T111" fmla="*/ 52 h 1419"/>
                  <a:gd name="T112" fmla="*/ 583 w 1421"/>
                  <a:gd name="T113" fmla="*/ 3 h 1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21" h="1419">
                    <a:moveTo>
                      <a:pt x="711" y="367"/>
                    </a:moveTo>
                    <a:lnTo>
                      <a:pt x="655" y="372"/>
                    </a:lnTo>
                    <a:lnTo>
                      <a:pt x="602" y="385"/>
                    </a:lnTo>
                    <a:lnTo>
                      <a:pt x="553" y="406"/>
                    </a:lnTo>
                    <a:lnTo>
                      <a:pt x="509" y="433"/>
                    </a:lnTo>
                    <a:lnTo>
                      <a:pt x="469" y="467"/>
                    </a:lnTo>
                    <a:lnTo>
                      <a:pt x="435" y="508"/>
                    </a:lnTo>
                    <a:lnTo>
                      <a:pt x="406" y="552"/>
                    </a:lnTo>
                    <a:lnTo>
                      <a:pt x="386" y="602"/>
                    </a:lnTo>
                    <a:lnTo>
                      <a:pt x="373" y="653"/>
                    </a:lnTo>
                    <a:lnTo>
                      <a:pt x="369" y="709"/>
                    </a:lnTo>
                    <a:lnTo>
                      <a:pt x="373" y="765"/>
                    </a:lnTo>
                    <a:lnTo>
                      <a:pt x="386" y="818"/>
                    </a:lnTo>
                    <a:lnTo>
                      <a:pt x="406" y="866"/>
                    </a:lnTo>
                    <a:lnTo>
                      <a:pt x="435" y="912"/>
                    </a:lnTo>
                    <a:lnTo>
                      <a:pt x="469" y="951"/>
                    </a:lnTo>
                    <a:lnTo>
                      <a:pt x="509" y="985"/>
                    </a:lnTo>
                    <a:lnTo>
                      <a:pt x="553" y="1013"/>
                    </a:lnTo>
                    <a:lnTo>
                      <a:pt x="602" y="1033"/>
                    </a:lnTo>
                    <a:lnTo>
                      <a:pt x="655" y="1046"/>
                    </a:lnTo>
                    <a:lnTo>
                      <a:pt x="711" y="1051"/>
                    </a:lnTo>
                    <a:lnTo>
                      <a:pt x="766" y="1046"/>
                    </a:lnTo>
                    <a:lnTo>
                      <a:pt x="819" y="1033"/>
                    </a:lnTo>
                    <a:lnTo>
                      <a:pt x="868" y="1013"/>
                    </a:lnTo>
                    <a:lnTo>
                      <a:pt x="912" y="985"/>
                    </a:lnTo>
                    <a:lnTo>
                      <a:pt x="952" y="951"/>
                    </a:lnTo>
                    <a:lnTo>
                      <a:pt x="986" y="912"/>
                    </a:lnTo>
                    <a:lnTo>
                      <a:pt x="1014" y="866"/>
                    </a:lnTo>
                    <a:lnTo>
                      <a:pt x="1035" y="818"/>
                    </a:lnTo>
                    <a:lnTo>
                      <a:pt x="1048" y="765"/>
                    </a:lnTo>
                    <a:lnTo>
                      <a:pt x="1052" y="709"/>
                    </a:lnTo>
                    <a:lnTo>
                      <a:pt x="1048" y="653"/>
                    </a:lnTo>
                    <a:lnTo>
                      <a:pt x="1035" y="602"/>
                    </a:lnTo>
                    <a:lnTo>
                      <a:pt x="1014" y="552"/>
                    </a:lnTo>
                    <a:lnTo>
                      <a:pt x="986" y="508"/>
                    </a:lnTo>
                    <a:lnTo>
                      <a:pt x="952" y="467"/>
                    </a:lnTo>
                    <a:lnTo>
                      <a:pt x="912" y="433"/>
                    </a:lnTo>
                    <a:lnTo>
                      <a:pt x="868" y="406"/>
                    </a:lnTo>
                    <a:lnTo>
                      <a:pt x="819" y="385"/>
                    </a:lnTo>
                    <a:lnTo>
                      <a:pt x="766" y="372"/>
                    </a:lnTo>
                    <a:lnTo>
                      <a:pt x="711" y="367"/>
                    </a:lnTo>
                    <a:close/>
                    <a:moveTo>
                      <a:pt x="611" y="0"/>
                    </a:moveTo>
                    <a:lnTo>
                      <a:pt x="811" y="0"/>
                    </a:lnTo>
                    <a:lnTo>
                      <a:pt x="838" y="3"/>
                    </a:lnTo>
                    <a:lnTo>
                      <a:pt x="864" y="14"/>
                    </a:lnTo>
                    <a:lnTo>
                      <a:pt x="884" y="30"/>
                    </a:lnTo>
                    <a:lnTo>
                      <a:pt x="901" y="52"/>
                    </a:lnTo>
                    <a:lnTo>
                      <a:pt x="911" y="76"/>
                    </a:lnTo>
                    <a:lnTo>
                      <a:pt x="915" y="104"/>
                    </a:lnTo>
                    <a:lnTo>
                      <a:pt x="915" y="132"/>
                    </a:lnTo>
                    <a:lnTo>
                      <a:pt x="975" y="156"/>
                    </a:lnTo>
                    <a:lnTo>
                      <a:pt x="994" y="137"/>
                    </a:lnTo>
                    <a:lnTo>
                      <a:pt x="1014" y="122"/>
                    </a:lnTo>
                    <a:lnTo>
                      <a:pt x="1032" y="113"/>
                    </a:lnTo>
                    <a:lnTo>
                      <a:pt x="1052" y="107"/>
                    </a:lnTo>
                    <a:lnTo>
                      <a:pt x="1069" y="107"/>
                    </a:lnTo>
                    <a:lnTo>
                      <a:pt x="1085" y="107"/>
                    </a:lnTo>
                    <a:lnTo>
                      <a:pt x="1095" y="110"/>
                    </a:lnTo>
                    <a:lnTo>
                      <a:pt x="1121" y="120"/>
                    </a:lnTo>
                    <a:lnTo>
                      <a:pt x="1142" y="137"/>
                    </a:lnTo>
                    <a:lnTo>
                      <a:pt x="1282" y="277"/>
                    </a:lnTo>
                    <a:lnTo>
                      <a:pt x="1299" y="300"/>
                    </a:lnTo>
                    <a:lnTo>
                      <a:pt x="1311" y="326"/>
                    </a:lnTo>
                    <a:lnTo>
                      <a:pt x="1314" y="352"/>
                    </a:lnTo>
                    <a:lnTo>
                      <a:pt x="1311" y="379"/>
                    </a:lnTo>
                    <a:lnTo>
                      <a:pt x="1299" y="403"/>
                    </a:lnTo>
                    <a:lnTo>
                      <a:pt x="1282" y="426"/>
                    </a:lnTo>
                    <a:lnTo>
                      <a:pt x="1264" y="445"/>
                    </a:lnTo>
                    <a:lnTo>
                      <a:pt x="1288" y="505"/>
                    </a:lnTo>
                    <a:lnTo>
                      <a:pt x="1315" y="505"/>
                    </a:lnTo>
                    <a:lnTo>
                      <a:pt x="1344" y="509"/>
                    </a:lnTo>
                    <a:lnTo>
                      <a:pt x="1368" y="519"/>
                    </a:lnTo>
                    <a:lnTo>
                      <a:pt x="1389" y="536"/>
                    </a:lnTo>
                    <a:lnTo>
                      <a:pt x="1407" y="558"/>
                    </a:lnTo>
                    <a:lnTo>
                      <a:pt x="1417" y="582"/>
                    </a:lnTo>
                    <a:lnTo>
                      <a:pt x="1421" y="610"/>
                    </a:lnTo>
                    <a:lnTo>
                      <a:pt x="1421" y="809"/>
                    </a:lnTo>
                    <a:lnTo>
                      <a:pt x="1417" y="836"/>
                    </a:lnTo>
                    <a:lnTo>
                      <a:pt x="1407" y="862"/>
                    </a:lnTo>
                    <a:lnTo>
                      <a:pt x="1389" y="883"/>
                    </a:lnTo>
                    <a:lnTo>
                      <a:pt x="1368" y="899"/>
                    </a:lnTo>
                    <a:lnTo>
                      <a:pt x="1344" y="911"/>
                    </a:lnTo>
                    <a:lnTo>
                      <a:pt x="1315" y="913"/>
                    </a:lnTo>
                    <a:lnTo>
                      <a:pt x="1288" y="913"/>
                    </a:lnTo>
                    <a:lnTo>
                      <a:pt x="1264" y="973"/>
                    </a:lnTo>
                    <a:lnTo>
                      <a:pt x="1282" y="993"/>
                    </a:lnTo>
                    <a:lnTo>
                      <a:pt x="1299" y="1015"/>
                    </a:lnTo>
                    <a:lnTo>
                      <a:pt x="1311" y="1041"/>
                    </a:lnTo>
                    <a:lnTo>
                      <a:pt x="1314" y="1066"/>
                    </a:lnTo>
                    <a:lnTo>
                      <a:pt x="1311" y="1093"/>
                    </a:lnTo>
                    <a:lnTo>
                      <a:pt x="1299" y="1119"/>
                    </a:lnTo>
                    <a:lnTo>
                      <a:pt x="1282" y="1141"/>
                    </a:lnTo>
                    <a:lnTo>
                      <a:pt x="1142" y="1282"/>
                    </a:lnTo>
                    <a:lnTo>
                      <a:pt x="1119" y="1299"/>
                    </a:lnTo>
                    <a:lnTo>
                      <a:pt x="1095" y="1309"/>
                    </a:lnTo>
                    <a:lnTo>
                      <a:pt x="1068" y="1312"/>
                    </a:lnTo>
                    <a:lnTo>
                      <a:pt x="1042" y="1309"/>
                    </a:lnTo>
                    <a:lnTo>
                      <a:pt x="1016" y="1299"/>
                    </a:lnTo>
                    <a:lnTo>
                      <a:pt x="994" y="1282"/>
                    </a:lnTo>
                    <a:lnTo>
                      <a:pt x="975" y="1262"/>
                    </a:lnTo>
                    <a:lnTo>
                      <a:pt x="915" y="1288"/>
                    </a:lnTo>
                    <a:lnTo>
                      <a:pt x="915" y="1315"/>
                    </a:lnTo>
                    <a:lnTo>
                      <a:pt x="911" y="1342"/>
                    </a:lnTo>
                    <a:lnTo>
                      <a:pt x="901" y="1368"/>
                    </a:lnTo>
                    <a:lnTo>
                      <a:pt x="884" y="1388"/>
                    </a:lnTo>
                    <a:lnTo>
                      <a:pt x="864" y="1405"/>
                    </a:lnTo>
                    <a:lnTo>
                      <a:pt x="838" y="1415"/>
                    </a:lnTo>
                    <a:lnTo>
                      <a:pt x="811" y="1419"/>
                    </a:lnTo>
                    <a:lnTo>
                      <a:pt x="611" y="1419"/>
                    </a:lnTo>
                    <a:lnTo>
                      <a:pt x="583" y="1415"/>
                    </a:lnTo>
                    <a:lnTo>
                      <a:pt x="558" y="1405"/>
                    </a:lnTo>
                    <a:lnTo>
                      <a:pt x="538" y="1388"/>
                    </a:lnTo>
                    <a:lnTo>
                      <a:pt x="521" y="1368"/>
                    </a:lnTo>
                    <a:lnTo>
                      <a:pt x="511" y="1342"/>
                    </a:lnTo>
                    <a:lnTo>
                      <a:pt x="506" y="1315"/>
                    </a:lnTo>
                    <a:lnTo>
                      <a:pt x="506" y="1288"/>
                    </a:lnTo>
                    <a:lnTo>
                      <a:pt x="446" y="1262"/>
                    </a:lnTo>
                    <a:lnTo>
                      <a:pt x="428" y="1282"/>
                    </a:lnTo>
                    <a:lnTo>
                      <a:pt x="405" y="1299"/>
                    </a:lnTo>
                    <a:lnTo>
                      <a:pt x="379" y="1309"/>
                    </a:lnTo>
                    <a:lnTo>
                      <a:pt x="353" y="1312"/>
                    </a:lnTo>
                    <a:lnTo>
                      <a:pt x="326" y="1309"/>
                    </a:lnTo>
                    <a:lnTo>
                      <a:pt x="302" y="1299"/>
                    </a:lnTo>
                    <a:lnTo>
                      <a:pt x="279" y="1282"/>
                    </a:lnTo>
                    <a:lnTo>
                      <a:pt x="139" y="1141"/>
                    </a:lnTo>
                    <a:lnTo>
                      <a:pt x="122" y="1119"/>
                    </a:lnTo>
                    <a:lnTo>
                      <a:pt x="110" y="1093"/>
                    </a:lnTo>
                    <a:lnTo>
                      <a:pt x="108" y="1066"/>
                    </a:lnTo>
                    <a:lnTo>
                      <a:pt x="110" y="1041"/>
                    </a:lnTo>
                    <a:lnTo>
                      <a:pt x="122" y="1015"/>
                    </a:lnTo>
                    <a:lnTo>
                      <a:pt x="139" y="993"/>
                    </a:lnTo>
                    <a:lnTo>
                      <a:pt x="158" y="973"/>
                    </a:lnTo>
                    <a:lnTo>
                      <a:pt x="133" y="913"/>
                    </a:lnTo>
                    <a:lnTo>
                      <a:pt x="106" y="913"/>
                    </a:lnTo>
                    <a:lnTo>
                      <a:pt x="78" y="911"/>
                    </a:lnTo>
                    <a:lnTo>
                      <a:pt x="53" y="899"/>
                    </a:lnTo>
                    <a:lnTo>
                      <a:pt x="32" y="883"/>
                    </a:lnTo>
                    <a:lnTo>
                      <a:pt x="15" y="862"/>
                    </a:lnTo>
                    <a:lnTo>
                      <a:pt x="5" y="836"/>
                    </a:lnTo>
                    <a:lnTo>
                      <a:pt x="0" y="809"/>
                    </a:lnTo>
                    <a:lnTo>
                      <a:pt x="0" y="610"/>
                    </a:lnTo>
                    <a:lnTo>
                      <a:pt x="5" y="582"/>
                    </a:lnTo>
                    <a:lnTo>
                      <a:pt x="15" y="558"/>
                    </a:lnTo>
                    <a:lnTo>
                      <a:pt x="32" y="536"/>
                    </a:lnTo>
                    <a:lnTo>
                      <a:pt x="53" y="519"/>
                    </a:lnTo>
                    <a:lnTo>
                      <a:pt x="78" y="509"/>
                    </a:lnTo>
                    <a:lnTo>
                      <a:pt x="106" y="505"/>
                    </a:lnTo>
                    <a:lnTo>
                      <a:pt x="133" y="505"/>
                    </a:lnTo>
                    <a:lnTo>
                      <a:pt x="158" y="445"/>
                    </a:lnTo>
                    <a:lnTo>
                      <a:pt x="139" y="426"/>
                    </a:lnTo>
                    <a:lnTo>
                      <a:pt x="122" y="403"/>
                    </a:lnTo>
                    <a:lnTo>
                      <a:pt x="110" y="379"/>
                    </a:lnTo>
                    <a:lnTo>
                      <a:pt x="108" y="352"/>
                    </a:lnTo>
                    <a:lnTo>
                      <a:pt x="110" y="326"/>
                    </a:lnTo>
                    <a:lnTo>
                      <a:pt x="122" y="300"/>
                    </a:lnTo>
                    <a:lnTo>
                      <a:pt x="139" y="277"/>
                    </a:lnTo>
                    <a:lnTo>
                      <a:pt x="279" y="137"/>
                    </a:lnTo>
                    <a:lnTo>
                      <a:pt x="302" y="120"/>
                    </a:lnTo>
                    <a:lnTo>
                      <a:pt x="326" y="110"/>
                    </a:lnTo>
                    <a:lnTo>
                      <a:pt x="353" y="106"/>
                    </a:lnTo>
                    <a:lnTo>
                      <a:pt x="379" y="110"/>
                    </a:lnTo>
                    <a:lnTo>
                      <a:pt x="405" y="120"/>
                    </a:lnTo>
                    <a:lnTo>
                      <a:pt x="428" y="137"/>
                    </a:lnTo>
                    <a:lnTo>
                      <a:pt x="446" y="156"/>
                    </a:lnTo>
                    <a:lnTo>
                      <a:pt x="506" y="132"/>
                    </a:lnTo>
                    <a:lnTo>
                      <a:pt x="506" y="104"/>
                    </a:lnTo>
                    <a:lnTo>
                      <a:pt x="511" y="76"/>
                    </a:lnTo>
                    <a:lnTo>
                      <a:pt x="521" y="52"/>
                    </a:lnTo>
                    <a:lnTo>
                      <a:pt x="538" y="30"/>
                    </a:lnTo>
                    <a:lnTo>
                      <a:pt x="558" y="14"/>
                    </a:lnTo>
                    <a:lnTo>
                      <a:pt x="583" y="3"/>
                    </a:lnTo>
                    <a:lnTo>
                      <a:pt x="6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9" name="Freeform 162"/>
              <p:cNvSpPr>
                <a:spLocks noEditPoints="1"/>
              </p:cNvSpPr>
              <p:nvPr/>
            </p:nvSpPr>
            <p:spPr bwMode="auto">
              <a:xfrm>
                <a:off x="5571" y="2763"/>
                <a:ext cx="598" cy="598"/>
              </a:xfrm>
              <a:custGeom>
                <a:avLst/>
                <a:gdLst>
                  <a:gd name="T0" fmla="*/ 506 w 1194"/>
                  <a:gd name="T1" fmla="*/ 324 h 1196"/>
                  <a:gd name="T2" fmla="*/ 393 w 1194"/>
                  <a:gd name="T3" fmla="*/ 394 h 1196"/>
                  <a:gd name="T4" fmla="*/ 324 w 1194"/>
                  <a:gd name="T5" fmla="*/ 507 h 1196"/>
                  <a:gd name="T6" fmla="*/ 313 w 1194"/>
                  <a:gd name="T7" fmla="*/ 644 h 1196"/>
                  <a:gd name="T8" fmla="*/ 364 w 1194"/>
                  <a:gd name="T9" fmla="*/ 767 h 1196"/>
                  <a:gd name="T10" fmla="*/ 464 w 1194"/>
                  <a:gd name="T11" fmla="*/ 853 h 1196"/>
                  <a:gd name="T12" fmla="*/ 597 w 1194"/>
                  <a:gd name="T13" fmla="*/ 886 h 1196"/>
                  <a:gd name="T14" fmla="*/ 729 w 1194"/>
                  <a:gd name="T15" fmla="*/ 853 h 1196"/>
                  <a:gd name="T16" fmla="*/ 829 w 1194"/>
                  <a:gd name="T17" fmla="*/ 767 h 1196"/>
                  <a:gd name="T18" fmla="*/ 881 w 1194"/>
                  <a:gd name="T19" fmla="*/ 644 h 1196"/>
                  <a:gd name="T20" fmla="*/ 870 w 1194"/>
                  <a:gd name="T21" fmla="*/ 507 h 1196"/>
                  <a:gd name="T22" fmla="*/ 800 w 1194"/>
                  <a:gd name="T23" fmla="*/ 394 h 1196"/>
                  <a:gd name="T24" fmla="*/ 689 w 1194"/>
                  <a:gd name="T25" fmla="*/ 324 h 1196"/>
                  <a:gd name="T26" fmla="*/ 513 w 1194"/>
                  <a:gd name="T27" fmla="*/ 0 h 1196"/>
                  <a:gd name="T28" fmla="*/ 726 w 1194"/>
                  <a:gd name="T29" fmla="*/ 11 h 1196"/>
                  <a:gd name="T30" fmla="*/ 766 w 1194"/>
                  <a:gd name="T31" fmla="*/ 64 h 1196"/>
                  <a:gd name="T32" fmla="*/ 820 w 1194"/>
                  <a:gd name="T33" fmla="*/ 131 h 1196"/>
                  <a:gd name="T34" fmla="*/ 876 w 1194"/>
                  <a:gd name="T35" fmla="*/ 93 h 1196"/>
                  <a:gd name="T36" fmla="*/ 941 w 1194"/>
                  <a:gd name="T37" fmla="*/ 101 h 1196"/>
                  <a:gd name="T38" fmla="*/ 1093 w 1194"/>
                  <a:gd name="T39" fmla="*/ 253 h 1196"/>
                  <a:gd name="T40" fmla="*/ 1102 w 1194"/>
                  <a:gd name="T41" fmla="*/ 319 h 1196"/>
                  <a:gd name="T42" fmla="*/ 1063 w 1194"/>
                  <a:gd name="T43" fmla="*/ 376 h 1196"/>
                  <a:gd name="T44" fmla="*/ 1130 w 1194"/>
                  <a:gd name="T45" fmla="*/ 429 h 1196"/>
                  <a:gd name="T46" fmla="*/ 1183 w 1194"/>
                  <a:gd name="T47" fmla="*/ 469 h 1196"/>
                  <a:gd name="T48" fmla="*/ 1194 w 1194"/>
                  <a:gd name="T49" fmla="*/ 682 h 1196"/>
                  <a:gd name="T50" fmla="*/ 1169 w 1194"/>
                  <a:gd name="T51" fmla="*/ 743 h 1196"/>
                  <a:gd name="T52" fmla="*/ 1106 w 1194"/>
                  <a:gd name="T53" fmla="*/ 770 h 1196"/>
                  <a:gd name="T54" fmla="*/ 1079 w 1194"/>
                  <a:gd name="T55" fmla="*/ 836 h 1196"/>
                  <a:gd name="T56" fmla="*/ 1104 w 1194"/>
                  <a:gd name="T57" fmla="*/ 899 h 1196"/>
                  <a:gd name="T58" fmla="*/ 1079 w 1194"/>
                  <a:gd name="T59" fmla="*/ 962 h 1196"/>
                  <a:gd name="T60" fmla="*/ 920 w 1194"/>
                  <a:gd name="T61" fmla="*/ 1103 h 1196"/>
                  <a:gd name="T62" fmla="*/ 854 w 1194"/>
                  <a:gd name="T63" fmla="*/ 1095 h 1196"/>
                  <a:gd name="T64" fmla="*/ 769 w 1194"/>
                  <a:gd name="T65" fmla="*/ 1085 h 1196"/>
                  <a:gd name="T66" fmla="*/ 757 w 1194"/>
                  <a:gd name="T67" fmla="*/ 1152 h 1196"/>
                  <a:gd name="T68" fmla="*/ 704 w 1194"/>
                  <a:gd name="T69" fmla="*/ 1192 h 1196"/>
                  <a:gd name="T70" fmla="*/ 490 w 1194"/>
                  <a:gd name="T71" fmla="*/ 1192 h 1196"/>
                  <a:gd name="T72" fmla="*/ 437 w 1194"/>
                  <a:gd name="T73" fmla="*/ 1152 h 1196"/>
                  <a:gd name="T74" fmla="*/ 426 w 1194"/>
                  <a:gd name="T75" fmla="*/ 1085 h 1196"/>
                  <a:gd name="T76" fmla="*/ 340 w 1194"/>
                  <a:gd name="T77" fmla="*/ 1095 h 1196"/>
                  <a:gd name="T78" fmla="*/ 274 w 1194"/>
                  <a:gd name="T79" fmla="*/ 1103 h 1196"/>
                  <a:gd name="T80" fmla="*/ 115 w 1194"/>
                  <a:gd name="T81" fmla="*/ 962 h 1196"/>
                  <a:gd name="T82" fmla="*/ 90 w 1194"/>
                  <a:gd name="T83" fmla="*/ 899 h 1196"/>
                  <a:gd name="T84" fmla="*/ 115 w 1194"/>
                  <a:gd name="T85" fmla="*/ 836 h 1196"/>
                  <a:gd name="T86" fmla="*/ 87 w 1194"/>
                  <a:gd name="T87" fmla="*/ 770 h 1196"/>
                  <a:gd name="T88" fmla="*/ 25 w 1194"/>
                  <a:gd name="T89" fmla="*/ 743 h 1196"/>
                  <a:gd name="T90" fmla="*/ 0 w 1194"/>
                  <a:gd name="T91" fmla="*/ 682 h 1196"/>
                  <a:gd name="T92" fmla="*/ 11 w 1194"/>
                  <a:gd name="T93" fmla="*/ 469 h 1196"/>
                  <a:gd name="T94" fmla="*/ 64 w 1194"/>
                  <a:gd name="T95" fmla="*/ 429 h 1196"/>
                  <a:gd name="T96" fmla="*/ 131 w 1194"/>
                  <a:gd name="T97" fmla="*/ 376 h 1196"/>
                  <a:gd name="T98" fmla="*/ 93 w 1194"/>
                  <a:gd name="T99" fmla="*/ 319 h 1196"/>
                  <a:gd name="T100" fmla="*/ 101 w 1194"/>
                  <a:gd name="T101" fmla="*/ 253 h 1196"/>
                  <a:gd name="T102" fmla="*/ 253 w 1194"/>
                  <a:gd name="T103" fmla="*/ 101 h 1196"/>
                  <a:gd name="T104" fmla="*/ 318 w 1194"/>
                  <a:gd name="T105" fmla="*/ 93 h 1196"/>
                  <a:gd name="T106" fmla="*/ 374 w 1194"/>
                  <a:gd name="T107" fmla="*/ 131 h 1196"/>
                  <a:gd name="T108" fmla="*/ 428 w 1194"/>
                  <a:gd name="T109" fmla="*/ 64 h 1196"/>
                  <a:gd name="T110" fmla="*/ 468 w 1194"/>
                  <a:gd name="T111" fmla="*/ 11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94" h="1196">
                    <a:moveTo>
                      <a:pt x="597" y="310"/>
                    </a:moveTo>
                    <a:lnTo>
                      <a:pt x="550" y="313"/>
                    </a:lnTo>
                    <a:lnTo>
                      <a:pt x="506" y="324"/>
                    </a:lnTo>
                    <a:lnTo>
                      <a:pt x="464" y="341"/>
                    </a:lnTo>
                    <a:lnTo>
                      <a:pt x="427" y="366"/>
                    </a:lnTo>
                    <a:lnTo>
                      <a:pt x="393" y="394"/>
                    </a:lnTo>
                    <a:lnTo>
                      <a:pt x="364" y="427"/>
                    </a:lnTo>
                    <a:lnTo>
                      <a:pt x="341" y="466"/>
                    </a:lnTo>
                    <a:lnTo>
                      <a:pt x="324" y="507"/>
                    </a:lnTo>
                    <a:lnTo>
                      <a:pt x="313" y="552"/>
                    </a:lnTo>
                    <a:lnTo>
                      <a:pt x="308" y="597"/>
                    </a:lnTo>
                    <a:lnTo>
                      <a:pt x="313" y="644"/>
                    </a:lnTo>
                    <a:lnTo>
                      <a:pt x="324" y="689"/>
                    </a:lnTo>
                    <a:lnTo>
                      <a:pt x="341" y="730"/>
                    </a:lnTo>
                    <a:lnTo>
                      <a:pt x="364" y="767"/>
                    </a:lnTo>
                    <a:lnTo>
                      <a:pt x="393" y="802"/>
                    </a:lnTo>
                    <a:lnTo>
                      <a:pt x="427" y="830"/>
                    </a:lnTo>
                    <a:lnTo>
                      <a:pt x="464" y="853"/>
                    </a:lnTo>
                    <a:lnTo>
                      <a:pt x="506" y="870"/>
                    </a:lnTo>
                    <a:lnTo>
                      <a:pt x="550" y="882"/>
                    </a:lnTo>
                    <a:lnTo>
                      <a:pt x="597" y="886"/>
                    </a:lnTo>
                    <a:lnTo>
                      <a:pt x="644" y="882"/>
                    </a:lnTo>
                    <a:lnTo>
                      <a:pt x="689" y="870"/>
                    </a:lnTo>
                    <a:lnTo>
                      <a:pt x="729" y="853"/>
                    </a:lnTo>
                    <a:lnTo>
                      <a:pt x="767" y="830"/>
                    </a:lnTo>
                    <a:lnTo>
                      <a:pt x="800" y="802"/>
                    </a:lnTo>
                    <a:lnTo>
                      <a:pt x="829" y="767"/>
                    </a:lnTo>
                    <a:lnTo>
                      <a:pt x="853" y="730"/>
                    </a:lnTo>
                    <a:lnTo>
                      <a:pt x="870" y="689"/>
                    </a:lnTo>
                    <a:lnTo>
                      <a:pt x="881" y="644"/>
                    </a:lnTo>
                    <a:lnTo>
                      <a:pt x="884" y="597"/>
                    </a:lnTo>
                    <a:lnTo>
                      <a:pt x="881" y="552"/>
                    </a:lnTo>
                    <a:lnTo>
                      <a:pt x="870" y="507"/>
                    </a:lnTo>
                    <a:lnTo>
                      <a:pt x="853" y="466"/>
                    </a:lnTo>
                    <a:lnTo>
                      <a:pt x="829" y="427"/>
                    </a:lnTo>
                    <a:lnTo>
                      <a:pt x="800" y="394"/>
                    </a:lnTo>
                    <a:lnTo>
                      <a:pt x="767" y="366"/>
                    </a:lnTo>
                    <a:lnTo>
                      <a:pt x="729" y="341"/>
                    </a:lnTo>
                    <a:lnTo>
                      <a:pt x="689" y="324"/>
                    </a:lnTo>
                    <a:lnTo>
                      <a:pt x="644" y="313"/>
                    </a:lnTo>
                    <a:lnTo>
                      <a:pt x="597" y="310"/>
                    </a:lnTo>
                    <a:close/>
                    <a:moveTo>
                      <a:pt x="513" y="0"/>
                    </a:moveTo>
                    <a:lnTo>
                      <a:pt x="681" y="0"/>
                    </a:lnTo>
                    <a:lnTo>
                      <a:pt x="704" y="3"/>
                    </a:lnTo>
                    <a:lnTo>
                      <a:pt x="726" y="11"/>
                    </a:lnTo>
                    <a:lnTo>
                      <a:pt x="743" y="26"/>
                    </a:lnTo>
                    <a:lnTo>
                      <a:pt x="757" y="43"/>
                    </a:lnTo>
                    <a:lnTo>
                      <a:pt x="766" y="64"/>
                    </a:lnTo>
                    <a:lnTo>
                      <a:pt x="769" y="88"/>
                    </a:lnTo>
                    <a:lnTo>
                      <a:pt x="769" y="111"/>
                    </a:lnTo>
                    <a:lnTo>
                      <a:pt x="820" y="131"/>
                    </a:lnTo>
                    <a:lnTo>
                      <a:pt x="836" y="116"/>
                    </a:lnTo>
                    <a:lnTo>
                      <a:pt x="854" y="101"/>
                    </a:lnTo>
                    <a:lnTo>
                      <a:pt x="876" y="93"/>
                    </a:lnTo>
                    <a:lnTo>
                      <a:pt x="899" y="90"/>
                    </a:lnTo>
                    <a:lnTo>
                      <a:pt x="920" y="93"/>
                    </a:lnTo>
                    <a:lnTo>
                      <a:pt x="941" y="101"/>
                    </a:lnTo>
                    <a:lnTo>
                      <a:pt x="960" y="116"/>
                    </a:lnTo>
                    <a:lnTo>
                      <a:pt x="1079" y="234"/>
                    </a:lnTo>
                    <a:lnTo>
                      <a:pt x="1093" y="253"/>
                    </a:lnTo>
                    <a:lnTo>
                      <a:pt x="1102" y="274"/>
                    </a:lnTo>
                    <a:lnTo>
                      <a:pt x="1104" y="297"/>
                    </a:lnTo>
                    <a:lnTo>
                      <a:pt x="1102" y="319"/>
                    </a:lnTo>
                    <a:lnTo>
                      <a:pt x="1093" y="340"/>
                    </a:lnTo>
                    <a:lnTo>
                      <a:pt x="1079" y="359"/>
                    </a:lnTo>
                    <a:lnTo>
                      <a:pt x="1063" y="376"/>
                    </a:lnTo>
                    <a:lnTo>
                      <a:pt x="1083" y="426"/>
                    </a:lnTo>
                    <a:lnTo>
                      <a:pt x="1106" y="426"/>
                    </a:lnTo>
                    <a:lnTo>
                      <a:pt x="1130" y="429"/>
                    </a:lnTo>
                    <a:lnTo>
                      <a:pt x="1152" y="437"/>
                    </a:lnTo>
                    <a:lnTo>
                      <a:pt x="1169" y="451"/>
                    </a:lnTo>
                    <a:lnTo>
                      <a:pt x="1183" y="469"/>
                    </a:lnTo>
                    <a:lnTo>
                      <a:pt x="1192" y="490"/>
                    </a:lnTo>
                    <a:lnTo>
                      <a:pt x="1194" y="514"/>
                    </a:lnTo>
                    <a:lnTo>
                      <a:pt x="1194" y="682"/>
                    </a:lnTo>
                    <a:lnTo>
                      <a:pt x="1192" y="704"/>
                    </a:lnTo>
                    <a:lnTo>
                      <a:pt x="1183" y="726"/>
                    </a:lnTo>
                    <a:lnTo>
                      <a:pt x="1169" y="743"/>
                    </a:lnTo>
                    <a:lnTo>
                      <a:pt x="1152" y="757"/>
                    </a:lnTo>
                    <a:lnTo>
                      <a:pt x="1130" y="766"/>
                    </a:lnTo>
                    <a:lnTo>
                      <a:pt x="1106" y="770"/>
                    </a:lnTo>
                    <a:lnTo>
                      <a:pt x="1083" y="770"/>
                    </a:lnTo>
                    <a:lnTo>
                      <a:pt x="1063" y="820"/>
                    </a:lnTo>
                    <a:lnTo>
                      <a:pt x="1079" y="836"/>
                    </a:lnTo>
                    <a:lnTo>
                      <a:pt x="1093" y="854"/>
                    </a:lnTo>
                    <a:lnTo>
                      <a:pt x="1102" y="876"/>
                    </a:lnTo>
                    <a:lnTo>
                      <a:pt x="1104" y="899"/>
                    </a:lnTo>
                    <a:lnTo>
                      <a:pt x="1102" y="922"/>
                    </a:lnTo>
                    <a:lnTo>
                      <a:pt x="1093" y="942"/>
                    </a:lnTo>
                    <a:lnTo>
                      <a:pt x="1079" y="962"/>
                    </a:lnTo>
                    <a:lnTo>
                      <a:pt x="960" y="1079"/>
                    </a:lnTo>
                    <a:lnTo>
                      <a:pt x="941" y="1095"/>
                    </a:lnTo>
                    <a:lnTo>
                      <a:pt x="920" y="1103"/>
                    </a:lnTo>
                    <a:lnTo>
                      <a:pt x="899" y="1106"/>
                    </a:lnTo>
                    <a:lnTo>
                      <a:pt x="876" y="1103"/>
                    </a:lnTo>
                    <a:lnTo>
                      <a:pt x="854" y="1095"/>
                    </a:lnTo>
                    <a:lnTo>
                      <a:pt x="836" y="1079"/>
                    </a:lnTo>
                    <a:lnTo>
                      <a:pt x="820" y="1063"/>
                    </a:lnTo>
                    <a:lnTo>
                      <a:pt x="769" y="1085"/>
                    </a:lnTo>
                    <a:lnTo>
                      <a:pt x="769" y="1107"/>
                    </a:lnTo>
                    <a:lnTo>
                      <a:pt x="766" y="1130"/>
                    </a:lnTo>
                    <a:lnTo>
                      <a:pt x="757" y="1152"/>
                    </a:lnTo>
                    <a:lnTo>
                      <a:pt x="743" y="1169"/>
                    </a:lnTo>
                    <a:lnTo>
                      <a:pt x="726" y="1183"/>
                    </a:lnTo>
                    <a:lnTo>
                      <a:pt x="704" y="1192"/>
                    </a:lnTo>
                    <a:lnTo>
                      <a:pt x="681" y="1196"/>
                    </a:lnTo>
                    <a:lnTo>
                      <a:pt x="513" y="1196"/>
                    </a:lnTo>
                    <a:lnTo>
                      <a:pt x="490" y="1192"/>
                    </a:lnTo>
                    <a:lnTo>
                      <a:pt x="468" y="1183"/>
                    </a:lnTo>
                    <a:lnTo>
                      <a:pt x="451" y="1169"/>
                    </a:lnTo>
                    <a:lnTo>
                      <a:pt x="437" y="1152"/>
                    </a:lnTo>
                    <a:lnTo>
                      <a:pt x="428" y="1130"/>
                    </a:lnTo>
                    <a:lnTo>
                      <a:pt x="426" y="1107"/>
                    </a:lnTo>
                    <a:lnTo>
                      <a:pt x="426" y="1085"/>
                    </a:lnTo>
                    <a:lnTo>
                      <a:pt x="374" y="1063"/>
                    </a:lnTo>
                    <a:lnTo>
                      <a:pt x="358" y="1079"/>
                    </a:lnTo>
                    <a:lnTo>
                      <a:pt x="340" y="1095"/>
                    </a:lnTo>
                    <a:lnTo>
                      <a:pt x="318" y="1103"/>
                    </a:lnTo>
                    <a:lnTo>
                      <a:pt x="296" y="1106"/>
                    </a:lnTo>
                    <a:lnTo>
                      <a:pt x="274" y="1103"/>
                    </a:lnTo>
                    <a:lnTo>
                      <a:pt x="253" y="1095"/>
                    </a:lnTo>
                    <a:lnTo>
                      <a:pt x="234" y="1079"/>
                    </a:lnTo>
                    <a:lnTo>
                      <a:pt x="115" y="962"/>
                    </a:lnTo>
                    <a:lnTo>
                      <a:pt x="101" y="942"/>
                    </a:lnTo>
                    <a:lnTo>
                      <a:pt x="93" y="922"/>
                    </a:lnTo>
                    <a:lnTo>
                      <a:pt x="90" y="899"/>
                    </a:lnTo>
                    <a:lnTo>
                      <a:pt x="93" y="876"/>
                    </a:lnTo>
                    <a:lnTo>
                      <a:pt x="101" y="854"/>
                    </a:lnTo>
                    <a:lnTo>
                      <a:pt x="115" y="836"/>
                    </a:lnTo>
                    <a:lnTo>
                      <a:pt x="131" y="820"/>
                    </a:lnTo>
                    <a:lnTo>
                      <a:pt x="110" y="770"/>
                    </a:lnTo>
                    <a:lnTo>
                      <a:pt x="87" y="770"/>
                    </a:lnTo>
                    <a:lnTo>
                      <a:pt x="64" y="766"/>
                    </a:lnTo>
                    <a:lnTo>
                      <a:pt x="43" y="757"/>
                    </a:lnTo>
                    <a:lnTo>
                      <a:pt x="25" y="743"/>
                    </a:lnTo>
                    <a:lnTo>
                      <a:pt x="11" y="726"/>
                    </a:lnTo>
                    <a:lnTo>
                      <a:pt x="3" y="704"/>
                    </a:lnTo>
                    <a:lnTo>
                      <a:pt x="0" y="682"/>
                    </a:lnTo>
                    <a:lnTo>
                      <a:pt x="0" y="514"/>
                    </a:lnTo>
                    <a:lnTo>
                      <a:pt x="3" y="490"/>
                    </a:lnTo>
                    <a:lnTo>
                      <a:pt x="11" y="469"/>
                    </a:lnTo>
                    <a:lnTo>
                      <a:pt x="25" y="451"/>
                    </a:lnTo>
                    <a:lnTo>
                      <a:pt x="43" y="437"/>
                    </a:lnTo>
                    <a:lnTo>
                      <a:pt x="64" y="429"/>
                    </a:lnTo>
                    <a:lnTo>
                      <a:pt x="87" y="426"/>
                    </a:lnTo>
                    <a:lnTo>
                      <a:pt x="110" y="426"/>
                    </a:lnTo>
                    <a:lnTo>
                      <a:pt x="131" y="376"/>
                    </a:lnTo>
                    <a:lnTo>
                      <a:pt x="115" y="359"/>
                    </a:lnTo>
                    <a:lnTo>
                      <a:pt x="101" y="340"/>
                    </a:lnTo>
                    <a:lnTo>
                      <a:pt x="93" y="319"/>
                    </a:lnTo>
                    <a:lnTo>
                      <a:pt x="90" y="297"/>
                    </a:lnTo>
                    <a:lnTo>
                      <a:pt x="93" y="274"/>
                    </a:lnTo>
                    <a:lnTo>
                      <a:pt x="101" y="253"/>
                    </a:lnTo>
                    <a:lnTo>
                      <a:pt x="115" y="234"/>
                    </a:lnTo>
                    <a:lnTo>
                      <a:pt x="234" y="116"/>
                    </a:lnTo>
                    <a:lnTo>
                      <a:pt x="253" y="101"/>
                    </a:lnTo>
                    <a:lnTo>
                      <a:pt x="274" y="93"/>
                    </a:lnTo>
                    <a:lnTo>
                      <a:pt x="296" y="90"/>
                    </a:lnTo>
                    <a:lnTo>
                      <a:pt x="318" y="93"/>
                    </a:lnTo>
                    <a:lnTo>
                      <a:pt x="340" y="101"/>
                    </a:lnTo>
                    <a:lnTo>
                      <a:pt x="358" y="116"/>
                    </a:lnTo>
                    <a:lnTo>
                      <a:pt x="374" y="131"/>
                    </a:lnTo>
                    <a:lnTo>
                      <a:pt x="426" y="111"/>
                    </a:lnTo>
                    <a:lnTo>
                      <a:pt x="426" y="88"/>
                    </a:lnTo>
                    <a:lnTo>
                      <a:pt x="428" y="64"/>
                    </a:lnTo>
                    <a:lnTo>
                      <a:pt x="437" y="43"/>
                    </a:lnTo>
                    <a:lnTo>
                      <a:pt x="451" y="26"/>
                    </a:lnTo>
                    <a:lnTo>
                      <a:pt x="468" y="11"/>
                    </a:lnTo>
                    <a:lnTo>
                      <a:pt x="490" y="3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70" name="Group 169"/>
          <p:cNvGrpSpPr/>
          <p:nvPr/>
        </p:nvGrpSpPr>
        <p:grpSpPr>
          <a:xfrm>
            <a:off x="147993" y="6208057"/>
            <a:ext cx="727877" cy="500503"/>
            <a:chOff x="147993" y="6208057"/>
            <a:chExt cx="727877" cy="500503"/>
          </a:xfrm>
        </p:grpSpPr>
        <p:sp>
          <p:nvSpPr>
            <p:cNvPr id="171" name="Rectangle 17"/>
            <p:cNvSpPr>
              <a:spLocks/>
            </p:cNvSpPr>
            <p:nvPr/>
          </p:nvSpPr>
          <p:spPr bwMode="auto">
            <a:xfrm>
              <a:off x="147993" y="6462339"/>
              <a:ext cx="72787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Бизнес-партнеры</a:t>
              </a:r>
              <a:endParaRPr lang="ru-RU" sz="800" i="1" dirty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sp>
          <p:nvSpPr>
            <p:cNvPr id="172" name="Freeform 4831"/>
            <p:cNvSpPr>
              <a:spLocks noEditPoints="1"/>
            </p:cNvSpPr>
            <p:nvPr/>
          </p:nvSpPr>
          <p:spPr bwMode="auto">
            <a:xfrm>
              <a:off x="393188" y="6208057"/>
              <a:ext cx="273263" cy="147454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2" name="Group 181"/>
          <p:cNvGrpSpPr/>
          <p:nvPr/>
        </p:nvGrpSpPr>
        <p:grpSpPr>
          <a:xfrm>
            <a:off x="147993" y="5383651"/>
            <a:ext cx="727877" cy="525933"/>
            <a:chOff x="147993" y="4292543"/>
            <a:chExt cx="727877" cy="525933"/>
          </a:xfrm>
        </p:grpSpPr>
        <p:sp>
          <p:nvSpPr>
            <p:cNvPr id="183" name="Rectangle 17"/>
            <p:cNvSpPr>
              <a:spLocks/>
            </p:cNvSpPr>
            <p:nvPr/>
          </p:nvSpPr>
          <p:spPr bwMode="auto">
            <a:xfrm>
              <a:off x="147993" y="4572255"/>
              <a:ext cx="72787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нешние данные</a:t>
              </a:r>
            </a:p>
          </p:txBody>
        </p:sp>
        <p:grpSp>
          <p:nvGrpSpPr>
            <p:cNvPr id="184" name="Group 201"/>
            <p:cNvGrpSpPr>
              <a:grpSpLocks noChangeAspect="1"/>
            </p:cNvGrpSpPr>
            <p:nvPr/>
          </p:nvGrpSpPr>
          <p:grpSpPr bwMode="auto">
            <a:xfrm>
              <a:off x="405000" y="4292543"/>
              <a:ext cx="202275" cy="226804"/>
              <a:chOff x="4176" y="3243"/>
              <a:chExt cx="602" cy="675"/>
            </a:xfrm>
            <a:solidFill>
              <a:schemeClr val="bg1"/>
            </a:solidFill>
          </p:grpSpPr>
          <p:sp>
            <p:nvSpPr>
              <p:cNvPr id="185" name="Freeform 203"/>
              <p:cNvSpPr>
                <a:spLocks/>
              </p:cNvSpPr>
              <p:nvPr/>
            </p:nvSpPr>
            <p:spPr bwMode="auto">
              <a:xfrm>
                <a:off x="4184" y="3243"/>
                <a:ext cx="594" cy="675"/>
              </a:xfrm>
              <a:custGeom>
                <a:avLst/>
                <a:gdLst>
                  <a:gd name="T0" fmla="*/ 2818 w 2971"/>
                  <a:gd name="T1" fmla="*/ 0 h 3374"/>
                  <a:gd name="T2" fmla="*/ 2877 w 2971"/>
                  <a:gd name="T3" fmla="*/ 12 h 3374"/>
                  <a:gd name="T4" fmla="*/ 2926 w 2971"/>
                  <a:gd name="T5" fmla="*/ 45 h 3374"/>
                  <a:gd name="T6" fmla="*/ 2958 w 2971"/>
                  <a:gd name="T7" fmla="*/ 93 h 3374"/>
                  <a:gd name="T8" fmla="*/ 2971 w 2971"/>
                  <a:gd name="T9" fmla="*/ 154 h 3374"/>
                  <a:gd name="T10" fmla="*/ 2960 w 2971"/>
                  <a:gd name="T11" fmla="*/ 207 h 3374"/>
                  <a:gd name="T12" fmla="*/ 2934 w 2971"/>
                  <a:gd name="T13" fmla="*/ 252 h 3374"/>
                  <a:gd name="T14" fmla="*/ 2894 w 2971"/>
                  <a:gd name="T15" fmla="*/ 285 h 3374"/>
                  <a:gd name="T16" fmla="*/ 2892 w 2971"/>
                  <a:gd name="T17" fmla="*/ 2091 h 3374"/>
                  <a:gd name="T18" fmla="*/ 2872 w 2971"/>
                  <a:gd name="T19" fmla="*/ 2124 h 3374"/>
                  <a:gd name="T20" fmla="*/ 2838 w 2971"/>
                  <a:gd name="T21" fmla="*/ 2145 h 3374"/>
                  <a:gd name="T22" fmla="*/ 2197 w 2971"/>
                  <a:gd name="T23" fmla="*/ 2147 h 3374"/>
                  <a:gd name="T24" fmla="*/ 2475 w 2971"/>
                  <a:gd name="T25" fmla="*/ 3208 h 3374"/>
                  <a:gd name="T26" fmla="*/ 2469 w 2971"/>
                  <a:gd name="T27" fmla="*/ 3261 h 3374"/>
                  <a:gd name="T28" fmla="*/ 2448 w 2971"/>
                  <a:gd name="T29" fmla="*/ 3309 h 3374"/>
                  <a:gd name="T30" fmla="*/ 2411 w 2971"/>
                  <a:gd name="T31" fmla="*/ 3346 h 3374"/>
                  <a:gd name="T32" fmla="*/ 2362 w 2971"/>
                  <a:gd name="T33" fmla="*/ 3370 h 3374"/>
                  <a:gd name="T34" fmla="*/ 2323 w 2971"/>
                  <a:gd name="T35" fmla="*/ 3374 h 3374"/>
                  <a:gd name="T36" fmla="*/ 2267 w 2971"/>
                  <a:gd name="T37" fmla="*/ 3363 h 3374"/>
                  <a:gd name="T38" fmla="*/ 2220 w 2971"/>
                  <a:gd name="T39" fmla="*/ 3334 h 3374"/>
                  <a:gd name="T40" fmla="*/ 2186 w 2971"/>
                  <a:gd name="T41" fmla="*/ 3288 h 3374"/>
                  <a:gd name="T42" fmla="*/ 1902 w 2971"/>
                  <a:gd name="T43" fmla="*/ 2224 h 3374"/>
                  <a:gd name="T44" fmla="*/ 794 w 2971"/>
                  <a:gd name="T45" fmla="*/ 3260 h 3374"/>
                  <a:gd name="T46" fmla="*/ 771 w 2971"/>
                  <a:gd name="T47" fmla="*/ 3309 h 3374"/>
                  <a:gd name="T48" fmla="*/ 734 w 2971"/>
                  <a:gd name="T49" fmla="*/ 3346 h 3374"/>
                  <a:gd name="T50" fmla="*/ 687 w 2971"/>
                  <a:gd name="T51" fmla="*/ 3369 h 3374"/>
                  <a:gd name="T52" fmla="*/ 635 w 2971"/>
                  <a:gd name="T53" fmla="*/ 3374 h 3374"/>
                  <a:gd name="T54" fmla="*/ 581 w 2971"/>
                  <a:gd name="T55" fmla="*/ 3360 h 3374"/>
                  <a:gd name="T56" fmla="*/ 538 w 2971"/>
                  <a:gd name="T57" fmla="*/ 3329 h 3374"/>
                  <a:gd name="T58" fmla="*/ 509 w 2971"/>
                  <a:gd name="T59" fmla="*/ 3286 h 3374"/>
                  <a:gd name="T60" fmla="*/ 495 w 2971"/>
                  <a:gd name="T61" fmla="*/ 3236 h 3374"/>
                  <a:gd name="T62" fmla="*/ 500 w 2971"/>
                  <a:gd name="T63" fmla="*/ 3181 h 3374"/>
                  <a:gd name="T64" fmla="*/ 639 w 2971"/>
                  <a:gd name="T65" fmla="*/ 2147 h 3374"/>
                  <a:gd name="T66" fmla="*/ 729 w 2971"/>
                  <a:gd name="T67" fmla="*/ 2048 h 3374"/>
                  <a:gd name="T68" fmla="*/ 2742 w 2971"/>
                  <a:gd name="T69" fmla="*/ 1994 h 3374"/>
                  <a:gd name="T70" fmla="*/ 227 w 2971"/>
                  <a:gd name="T71" fmla="*/ 307 h 3374"/>
                  <a:gd name="T72" fmla="*/ 184 w 2971"/>
                  <a:gd name="T73" fmla="*/ 1953 h 3374"/>
                  <a:gd name="T74" fmla="*/ 108 w 2971"/>
                  <a:gd name="T75" fmla="*/ 2023 h 3374"/>
                  <a:gd name="T76" fmla="*/ 76 w 2971"/>
                  <a:gd name="T77" fmla="*/ 285 h 3374"/>
                  <a:gd name="T78" fmla="*/ 36 w 2971"/>
                  <a:gd name="T79" fmla="*/ 252 h 3374"/>
                  <a:gd name="T80" fmla="*/ 9 w 2971"/>
                  <a:gd name="T81" fmla="*/ 207 h 3374"/>
                  <a:gd name="T82" fmla="*/ 0 w 2971"/>
                  <a:gd name="T83" fmla="*/ 154 h 3374"/>
                  <a:gd name="T84" fmla="*/ 12 w 2971"/>
                  <a:gd name="T85" fmla="*/ 93 h 3374"/>
                  <a:gd name="T86" fmla="*/ 44 w 2971"/>
                  <a:gd name="T87" fmla="*/ 45 h 3374"/>
                  <a:gd name="T88" fmla="*/ 93 w 2971"/>
                  <a:gd name="T89" fmla="*/ 12 h 3374"/>
                  <a:gd name="T90" fmla="*/ 152 w 2971"/>
                  <a:gd name="T91" fmla="*/ 0 h 3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1" h="3374">
                    <a:moveTo>
                      <a:pt x="152" y="0"/>
                    </a:moveTo>
                    <a:lnTo>
                      <a:pt x="2818" y="0"/>
                    </a:lnTo>
                    <a:lnTo>
                      <a:pt x="2849" y="3"/>
                    </a:lnTo>
                    <a:lnTo>
                      <a:pt x="2877" y="12"/>
                    </a:lnTo>
                    <a:lnTo>
                      <a:pt x="2904" y="27"/>
                    </a:lnTo>
                    <a:lnTo>
                      <a:pt x="2926" y="45"/>
                    </a:lnTo>
                    <a:lnTo>
                      <a:pt x="2945" y="68"/>
                    </a:lnTo>
                    <a:lnTo>
                      <a:pt x="2958" y="93"/>
                    </a:lnTo>
                    <a:lnTo>
                      <a:pt x="2968" y="123"/>
                    </a:lnTo>
                    <a:lnTo>
                      <a:pt x="2971" y="154"/>
                    </a:lnTo>
                    <a:lnTo>
                      <a:pt x="2968" y="181"/>
                    </a:lnTo>
                    <a:lnTo>
                      <a:pt x="2960" y="207"/>
                    </a:lnTo>
                    <a:lnTo>
                      <a:pt x="2950" y="231"/>
                    </a:lnTo>
                    <a:lnTo>
                      <a:pt x="2934" y="252"/>
                    </a:lnTo>
                    <a:lnTo>
                      <a:pt x="2916" y="271"/>
                    </a:lnTo>
                    <a:lnTo>
                      <a:pt x="2894" y="285"/>
                    </a:lnTo>
                    <a:lnTo>
                      <a:pt x="2894" y="2070"/>
                    </a:lnTo>
                    <a:lnTo>
                      <a:pt x="2892" y="2091"/>
                    </a:lnTo>
                    <a:lnTo>
                      <a:pt x="2883" y="2110"/>
                    </a:lnTo>
                    <a:lnTo>
                      <a:pt x="2872" y="2124"/>
                    </a:lnTo>
                    <a:lnTo>
                      <a:pt x="2856" y="2137"/>
                    </a:lnTo>
                    <a:lnTo>
                      <a:pt x="2838" y="2145"/>
                    </a:lnTo>
                    <a:lnTo>
                      <a:pt x="2818" y="2147"/>
                    </a:lnTo>
                    <a:lnTo>
                      <a:pt x="2197" y="2147"/>
                    </a:lnTo>
                    <a:lnTo>
                      <a:pt x="2470" y="3181"/>
                    </a:lnTo>
                    <a:lnTo>
                      <a:pt x="2475" y="3208"/>
                    </a:lnTo>
                    <a:lnTo>
                      <a:pt x="2475" y="3235"/>
                    </a:lnTo>
                    <a:lnTo>
                      <a:pt x="2469" y="3261"/>
                    </a:lnTo>
                    <a:lnTo>
                      <a:pt x="2461" y="3286"/>
                    </a:lnTo>
                    <a:lnTo>
                      <a:pt x="2448" y="3309"/>
                    </a:lnTo>
                    <a:lnTo>
                      <a:pt x="2432" y="3329"/>
                    </a:lnTo>
                    <a:lnTo>
                      <a:pt x="2411" y="3346"/>
                    </a:lnTo>
                    <a:lnTo>
                      <a:pt x="2388" y="3360"/>
                    </a:lnTo>
                    <a:lnTo>
                      <a:pt x="2362" y="3370"/>
                    </a:lnTo>
                    <a:lnTo>
                      <a:pt x="2343" y="3373"/>
                    </a:lnTo>
                    <a:lnTo>
                      <a:pt x="2323" y="3374"/>
                    </a:lnTo>
                    <a:lnTo>
                      <a:pt x="2295" y="3372"/>
                    </a:lnTo>
                    <a:lnTo>
                      <a:pt x="2267" y="3363"/>
                    </a:lnTo>
                    <a:lnTo>
                      <a:pt x="2243" y="3351"/>
                    </a:lnTo>
                    <a:lnTo>
                      <a:pt x="2220" y="3334"/>
                    </a:lnTo>
                    <a:lnTo>
                      <a:pt x="2201" y="3313"/>
                    </a:lnTo>
                    <a:lnTo>
                      <a:pt x="2186" y="3288"/>
                    </a:lnTo>
                    <a:lnTo>
                      <a:pt x="2176" y="3260"/>
                    </a:lnTo>
                    <a:lnTo>
                      <a:pt x="1902" y="2224"/>
                    </a:lnTo>
                    <a:lnTo>
                      <a:pt x="1069" y="2224"/>
                    </a:lnTo>
                    <a:lnTo>
                      <a:pt x="794" y="3260"/>
                    </a:lnTo>
                    <a:lnTo>
                      <a:pt x="785" y="3287"/>
                    </a:lnTo>
                    <a:lnTo>
                      <a:pt x="771" y="3309"/>
                    </a:lnTo>
                    <a:lnTo>
                      <a:pt x="754" y="3329"/>
                    </a:lnTo>
                    <a:lnTo>
                      <a:pt x="734" y="3346"/>
                    </a:lnTo>
                    <a:lnTo>
                      <a:pt x="712" y="3360"/>
                    </a:lnTo>
                    <a:lnTo>
                      <a:pt x="687" y="3369"/>
                    </a:lnTo>
                    <a:lnTo>
                      <a:pt x="662" y="3374"/>
                    </a:lnTo>
                    <a:lnTo>
                      <a:pt x="635" y="3374"/>
                    </a:lnTo>
                    <a:lnTo>
                      <a:pt x="608" y="3370"/>
                    </a:lnTo>
                    <a:lnTo>
                      <a:pt x="581" y="3360"/>
                    </a:lnTo>
                    <a:lnTo>
                      <a:pt x="558" y="3346"/>
                    </a:lnTo>
                    <a:lnTo>
                      <a:pt x="538" y="3329"/>
                    </a:lnTo>
                    <a:lnTo>
                      <a:pt x="522" y="3309"/>
                    </a:lnTo>
                    <a:lnTo>
                      <a:pt x="509" y="3286"/>
                    </a:lnTo>
                    <a:lnTo>
                      <a:pt x="500" y="3261"/>
                    </a:lnTo>
                    <a:lnTo>
                      <a:pt x="495" y="3236"/>
                    </a:lnTo>
                    <a:lnTo>
                      <a:pt x="495" y="3208"/>
                    </a:lnTo>
                    <a:lnTo>
                      <a:pt x="500" y="3181"/>
                    </a:lnTo>
                    <a:lnTo>
                      <a:pt x="773" y="2147"/>
                    </a:lnTo>
                    <a:lnTo>
                      <a:pt x="639" y="2147"/>
                    </a:lnTo>
                    <a:lnTo>
                      <a:pt x="683" y="2099"/>
                    </a:lnTo>
                    <a:lnTo>
                      <a:pt x="729" y="2048"/>
                    </a:lnTo>
                    <a:lnTo>
                      <a:pt x="778" y="1994"/>
                    </a:lnTo>
                    <a:lnTo>
                      <a:pt x="2742" y="1994"/>
                    </a:lnTo>
                    <a:lnTo>
                      <a:pt x="2742" y="307"/>
                    </a:lnTo>
                    <a:lnTo>
                      <a:pt x="227" y="307"/>
                    </a:lnTo>
                    <a:lnTo>
                      <a:pt x="227" y="1912"/>
                    </a:lnTo>
                    <a:lnTo>
                      <a:pt x="184" y="1953"/>
                    </a:lnTo>
                    <a:lnTo>
                      <a:pt x="144" y="1989"/>
                    </a:lnTo>
                    <a:lnTo>
                      <a:pt x="108" y="2023"/>
                    </a:lnTo>
                    <a:lnTo>
                      <a:pt x="76" y="2052"/>
                    </a:lnTo>
                    <a:lnTo>
                      <a:pt x="76" y="285"/>
                    </a:lnTo>
                    <a:lnTo>
                      <a:pt x="55" y="271"/>
                    </a:lnTo>
                    <a:lnTo>
                      <a:pt x="36" y="252"/>
                    </a:lnTo>
                    <a:lnTo>
                      <a:pt x="21" y="231"/>
                    </a:lnTo>
                    <a:lnTo>
                      <a:pt x="9" y="207"/>
                    </a:lnTo>
                    <a:lnTo>
                      <a:pt x="2" y="181"/>
                    </a:lnTo>
                    <a:lnTo>
                      <a:pt x="0" y="154"/>
                    </a:lnTo>
                    <a:lnTo>
                      <a:pt x="3" y="123"/>
                    </a:lnTo>
                    <a:lnTo>
                      <a:pt x="12" y="93"/>
                    </a:lnTo>
                    <a:lnTo>
                      <a:pt x="25" y="68"/>
                    </a:lnTo>
                    <a:lnTo>
                      <a:pt x="44" y="45"/>
                    </a:lnTo>
                    <a:lnTo>
                      <a:pt x="66" y="27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6" name="Freeform 204"/>
              <p:cNvSpPr>
                <a:spLocks/>
              </p:cNvSpPr>
              <p:nvPr/>
            </p:nvSpPr>
            <p:spPr bwMode="auto">
              <a:xfrm>
                <a:off x="4443" y="3439"/>
                <a:ext cx="60" cy="176"/>
              </a:xfrm>
              <a:custGeom>
                <a:avLst/>
                <a:gdLst>
                  <a:gd name="T0" fmla="*/ 153 w 304"/>
                  <a:gd name="T1" fmla="*/ 0 h 881"/>
                  <a:gd name="T2" fmla="*/ 183 w 304"/>
                  <a:gd name="T3" fmla="*/ 3 h 881"/>
                  <a:gd name="T4" fmla="*/ 211 w 304"/>
                  <a:gd name="T5" fmla="*/ 12 h 881"/>
                  <a:gd name="T6" fmla="*/ 237 w 304"/>
                  <a:gd name="T7" fmla="*/ 25 h 881"/>
                  <a:gd name="T8" fmla="*/ 260 w 304"/>
                  <a:gd name="T9" fmla="*/ 44 h 881"/>
                  <a:gd name="T10" fmla="*/ 278 w 304"/>
                  <a:gd name="T11" fmla="*/ 68 h 881"/>
                  <a:gd name="T12" fmla="*/ 293 w 304"/>
                  <a:gd name="T13" fmla="*/ 93 h 881"/>
                  <a:gd name="T14" fmla="*/ 301 w 304"/>
                  <a:gd name="T15" fmla="*/ 122 h 881"/>
                  <a:gd name="T16" fmla="*/ 304 w 304"/>
                  <a:gd name="T17" fmla="*/ 154 h 881"/>
                  <a:gd name="T18" fmla="*/ 304 w 304"/>
                  <a:gd name="T19" fmla="*/ 729 h 881"/>
                  <a:gd name="T20" fmla="*/ 301 w 304"/>
                  <a:gd name="T21" fmla="*/ 759 h 881"/>
                  <a:gd name="T22" fmla="*/ 293 w 304"/>
                  <a:gd name="T23" fmla="*/ 788 h 881"/>
                  <a:gd name="T24" fmla="*/ 278 w 304"/>
                  <a:gd name="T25" fmla="*/ 814 h 881"/>
                  <a:gd name="T26" fmla="*/ 260 w 304"/>
                  <a:gd name="T27" fmla="*/ 837 h 881"/>
                  <a:gd name="T28" fmla="*/ 237 w 304"/>
                  <a:gd name="T29" fmla="*/ 856 h 881"/>
                  <a:gd name="T30" fmla="*/ 211 w 304"/>
                  <a:gd name="T31" fmla="*/ 870 h 881"/>
                  <a:gd name="T32" fmla="*/ 183 w 304"/>
                  <a:gd name="T33" fmla="*/ 878 h 881"/>
                  <a:gd name="T34" fmla="*/ 153 w 304"/>
                  <a:gd name="T35" fmla="*/ 881 h 881"/>
                  <a:gd name="T36" fmla="*/ 121 w 304"/>
                  <a:gd name="T37" fmla="*/ 878 h 881"/>
                  <a:gd name="T38" fmla="*/ 92 w 304"/>
                  <a:gd name="T39" fmla="*/ 870 h 881"/>
                  <a:gd name="T40" fmla="*/ 67 w 304"/>
                  <a:gd name="T41" fmla="*/ 856 h 881"/>
                  <a:gd name="T42" fmla="*/ 44 w 304"/>
                  <a:gd name="T43" fmla="*/ 837 h 881"/>
                  <a:gd name="T44" fmla="*/ 26 w 304"/>
                  <a:gd name="T45" fmla="*/ 814 h 881"/>
                  <a:gd name="T46" fmla="*/ 11 w 304"/>
                  <a:gd name="T47" fmla="*/ 788 h 881"/>
                  <a:gd name="T48" fmla="*/ 3 w 304"/>
                  <a:gd name="T49" fmla="*/ 759 h 881"/>
                  <a:gd name="T50" fmla="*/ 0 w 304"/>
                  <a:gd name="T51" fmla="*/ 729 h 881"/>
                  <a:gd name="T52" fmla="*/ 0 w 304"/>
                  <a:gd name="T53" fmla="*/ 154 h 881"/>
                  <a:gd name="T54" fmla="*/ 3 w 304"/>
                  <a:gd name="T55" fmla="*/ 122 h 881"/>
                  <a:gd name="T56" fmla="*/ 11 w 304"/>
                  <a:gd name="T57" fmla="*/ 93 h 881"/>
                  <a:gd name="T58" fmla="*/ 26 w 304"/>
                  <a:gd name="T59" fmla="*/ 68 h 881"/>
                  <a:gd name="T60" fmla="*/ 44 w 304"/>
                  <a:gd name="T61" fmla="*/ 44 h 881"/>
                  <a:gd name="T62" fmla="*/ 67 w 304"/>
                  <a:gd name="T63" fmla="*/ 25 h 881"/>
                  <a:gd name="T64" fmla="*/ 92 w 304"/>
                  <a:gd name="T65" fmla="*/ 12 h 881"/>
                  <a:gd name="T66" fmla="*/ 121 w 304"/>
                  <a:gd name="T67" fmla="*/ 3 h 881"/>
                  <a:gd name="T68" fmla="*/ 153 w 304"/>
                  <a:gd name="T69" fmla="*/ 0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881">
                    <a:moveTo>
                      <a:pt x="153" y="0"/>
                    </a:moveTo>
                    <a:lnTo>
                      <a:pt x="183" y="3"/>
                    </a:lnTo>
                    <a:lnTo>
                      <a:pt x="211" y="12"/>
                    </a:lnTo>
                    <a:lnTo>
                      <a:pt x="237" y="25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4" y="154"/>
                    </a:lnTo>
                    <a:lnTo>
                      <a:pt x="304" y="729"/>
                    </a:lnTo>
                    <a:lnTo>
                      <a:pt x="301" y="759"/>
                    </a:lnTo>
                    <a:lnTo>
                      <a:pt x="293" y="788"/>
                    </a:lnTo>
                    <a:lnTo>
                      <a:pt x="278" y="814"/>
                    </a:lnTo>
                    <a:lnTo>
                      <a:pt x="260" y="837"/>
                    </a:lnTo>
                    <a:lnTo>
                      <a:pt x="237" y="856"/>
                    </a:lnTo>
                    <a:lnTo>
                      <a:pt x="211" y="870"/>
                    </a:lnTo>
                    <a:lnTo>
                      <a:pt x="183" y="878"/>
                    </a:lnTo>
                    <a:lnTo>
                      <a:pt x="153" y="881"/>
                    </a:lnTo>
                    <a:lnTo>
                      <a:pt x="121" y="878"/>
                    </a:lnTo>
                    <a:lnTo>
                      <a:pt x="92" y="870"/>
                    </a:lnTo>
                    <a:lnTo>
                      <a:pt x="67" y="856"/>
                    </a:lnTo>
                    <a:lnTo>
                      <a:pt x="44" y="837"/>
                    </a:lnTo>
                    <a:lnTo>
                      <a:pt x="26" y="814"/>
                    </a:lnTo>
                    <a:lnTo>
                      <a:pt x="11" y="788"/>
                    </a:lnTo>
                    <a:lnTo>
                      <a:pt x="3" y="759"/>
                    </a:lnTo>
                    <a:lnTo>
                      <a:pt x="0" y="729"/>
                    </a:lnTo>
                    <a:lnTo>
                      <a:pt x="0" y="154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5"/>
                    </a:lnTo>
                    <a:lnTo>
                      <a:pt x="92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7" name="Freeform 205"/>
              <p:cNvSpPr>
                <a:spLocks/>
              </p:cNvSpPr>
              <p:nvPr/>
            </p:nvSpPr>
            <p:spPr bwMode="auto">
              <a:xfrm>
                <a:off x="4542" y="3331"/>
                <a:ext cx="60" cy="284"/>
              </a:xfrm>
              <a:custGeom>
                <a:avLst/>
                <a:gdLst>
                  <a:gd name="T0" fmla="*/ 153 w 304"/>
                  <a:gd name="T1" fmla="*/ 0 h 1418"/>
                  <a:gd name="T2" fmla="*/ 183 w 304"/>
                  <a:gd name="T3" fmla="*/ 3 h 1418"/>
                  <a:gd name="T4" fmla="*/ 212 w 304"/>
                  <a:gd name="T5" fmla="*/ 12 h 1418"/>
                  <a:gd name="T6" fmla="*/ 237 w 304"/>
                  <a:gd name="T7" fmla="*/ 26 h 1418"/>
                  <a:gd name="T8" fmla="*/ 260 w 304"/>
                  <a:gd name="T9" fmla="*/ 45 h 1418"/>
                  <a:gd name="T10" fmla="*/ 278 w 304"/>
                  <a:gd name="T11" fmla="*/ 67 h 1418"/>
                  <a:gd name="T12" fmla="*/ 293 w 304"/>
                  <a:gd name="T13" fmla="*/ 94 h 1418"/>
                  <a:gd name="T14" fmla="*/ 301 w 304"/>
                  <a:gd name="T15" fmla="*/ 122 h 1418"/>
                  <a:gd name="T16" fmla="*/ 304 w 304"/>
                  <a:gd name="T17" fmla="*/ 153 h 1418"/>
                  <a:gd name="T18" fmla="*/ 304 w 304"/>
                  <a:gd name="T19" fmla="*/ 1266 h 1418"/>
                  <a:gd name="T20" fmla="*/ 301 w 304"/>
                  <a:gd name="T21" fmla="*/ 1296 h 1418"/>
                  <a:gd name="T22" fmla="*/ 293 w 304"/>
                  <a:gd name="T23" fmla="*/ 1325 h 1418"/>
                  <a:gd name="T24" fmla="*/ 278 w 304"/>
                  <a:gd name="T25" fmla="*/ 1351 h 1418"/>
                  <a:gd name="T26" fmla="*/ 260 w 304"/>
                  <a:gd name="T27" fmla="*/ 1374 h 1418"/>
                  <a:gd name="T28" fmla="*/ 237 w 304"/>
                  <a:gd name="T29" fmla="*/ 1393 h 1418"/>
                  <a:gd name="T30" fmla="*/ 212 w 304"/>
                  <a:gd name="T31" fmla="*/ 1407 h 1418"/>
                  <a:gd name="T32" fmla="*/ 183 w 304"/>
                  <a:gd name="T33" fmla="*/ 1415 h 1418"/>
                  <a:gd name="T34" fmla="*/ 153 w 304"/>
                  <a:gd name="T35" fmla="*/ 1418 h 1418"/>
                  <a:gd name="T36" fmla="*/ 121 w 304"/>
                  <a:gd name="T37" fmla="*/ 1415 h 1418"/>
                  <a:gd name="T38" fmla="*/ 93 w 304"/>
                  <a:gd name="T39" fmla="*/ 1407 h 1418"/>
                  <a:gd name="T40" fmla="*/ 67 w 304"/>
                  <a:gd name="T41" fmla="*/ 1393 h 1418"/>
                  <a:gd name="T42" fmla="*/ 44 w 304"/>
                  <a:gd name="T43" fmla="*/ 1374 h 1418"/>
                  <a:gd name="T44" fmla="*/ 26 w 304"/>
                  <a:gd name="T45" fmla="*/ 1351 h 1418"/>
                  <a:gd name="T46" fmla="*/ 11 w 304"/>
                  <a:gd name="T47" fmla="*/ 1325 h 1418"/>
                  <a:gd name="T48" fmla="*/ 3 w 304"/>
                  <a:gd name="T49" fmla="*/ 1296 h 1418"/>
                  <a:gd name="T50" fmla="*/ 0 w 304"/>
                  <a:gd name="T51" fmla="*/ 1266 h 1418"/>
                  <a:gd name="T52" fmla="*/ 0 w 304"/>
                  <a:gd name="T53" fmla="*/ 153 h 1418"/>
                  <a:gd name="T54" fmla="*/ 3 w 304"/>
                  <a:gd name="T55" fmla="*/ 122 h 1418"/>
                  <a:gd name="T56" fmla="*/ 11 w 304"/>
                  <a:gd name="T57" fmla="*/ 94 h 1418"/>
                  <a:gd name="T58" fmla="*/ 26 w 304"/>
                  <a:gd name="T59" fmla="*/ 67 h 1418"/>
                  <a:gd name="T60" fmla="*/ 44 w 304"/>
                  <a:gd name="T61" fmla="*/ 45 h 1418"/>
                  <a:gd name="T62" fmla="*/ 67 w 304"/>
                  <a:gd name="T63" fmla="*/ 26 h 1418"/>
                  <a:gd name="T64" fmla="*/ 93 w 304"/>
                  <a:gd name="T65" fmla="*/ 12 h 1418"/>
                  <a:gd name="T66" fmla="*/ 121 w 304"/>
                  <a:gd name="T67" fmla="*/ 3 h 1418"/>
                  <a:gd name="T68" fmla="*/ 153 w 304"/>
                  <a:gd name="T69" fmla="*/ 0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1418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2"/>
                    </a:lnTo>
                    <a:lnTo>
                      <a:pt x="237" y="26"/>
                    </a:lnTo>
                    <a:lnTo>
                      <a:pt x="260" y="45"/>
                    </a:lnTo>
                    <a:lnTo>
                      <a:pt x="278" y="67"/>
                    </a:lnTo>
                    <a:lnTo>
                      <a:pt x="293" y="94"/>
                    </a:lnTo>
                    <a:lnTo>
                      <a:pt x="301" y="122"/>
                    </a:lnTo>
                    <a:lnTo>
                      <a:pt x="304" y="153"/>
                    </a:lnTo>
                    <a:lnTo>
                      <a:pt x="304" y="1266"/>
                    </a:lnTo>
                    <a:lnTo>
                      <a:pt x="301" y="1296"/>
                    </a:lnTo>
                    <a:lnTo>
                      <a:pt x="293" y="1325"/>
                    </a:lnTo>
                    <a:lnTo>
                      <a:pt x="278" y="1351"/>
                    </a:lnTo>
                    <a:lnTo>
                      <a:pt x="260" y="1374"/>
                    </a:lnTo>
                    <a:lnTo>
                      <a:pt x="237" y="1393"/>
                    </a:lnTo>
                    <a:lnTo>
                      <a:pt x="212" y="1407"/>
                    </a:lnTo>
                    <a:lnTo>
                      <a:pt x="183" y="1415"/>
                    </a:lnTo>
                    <a:lnTo>
                      <a:pt x="153" y="1418"/>
                    </a:lnTo>
                    <a:lnTo>
                      <a:pt x="121" y="1415"/>
                    </a:lnTo>
                    <a:lnTo>
                      <a:pt x="93" y="1407"/>
                    </a:lnTo>
                    <a:lnTo>
                      <a:pt x="67" y="1393"/>
                    </a:lnTo>
                    <a:lnTo>
                      <a:pt x="44" y="1374"/>
                    </a:lnTo>
                    <a:lnTo>
                      <a:pt x="26" y="1351"/>
                    </a:lnTo>
                    <a:lnTo>
                      <a:pt x="11" y="1325"/>
                    </a:lnTo>
                    <a:lnTo>
                      <a:pt x="3" y="1296"/>
                    </a:lnTo>
                    <a:lnTo>
                      <a:pt x="0" y="1266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4"/>
                    </a:lnTo>
                    <a:lnTo>
                      <a:pt x="26" y="67"/>
                    </a:lnTo>
                    <a:lnTo>
                      <a:pt x="44" y="45"/>
                    </a:lnTo>
                    <a:lnTo>
                      <a:pt x="67" y="26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8" name="Freeform 206"/>
              <p:cNvSpPr>
                <a:spLocks/>
              </p:cNvSpPr>
              <p:nvPr/>
            </p:nvSpPr>
            <p:spPr bwMode="auto">
              <a:xfrm>
                <a:off x="4641" y="3393"/>
                <a:ext cx="61" cy="222"/>
              </a:xfrm>
              <a:custGeom>
                <a:avLst/>
                <a:gdLst>
                  <a:gd name="T0" fmla="*/ 153 w 305"/>
                  <a:gd name="T1" fmla="*/ 0 h 1111"/>
                  <a:gd name="T2" fmla="*/ 183 w 305"/>
                  <a:gd name="T3" fmla="*/ 3 h 1111"/>
                  <a:gd name="T4" fmla="*/ 212 w 305"/>
                  <a:gd name="T5" fmla="*/ 11 h 1111"/>
                  <a:gd name="T6" fmla="*/ 237 w 305"/>
                  <a:gd name="T7" fmla="*/ 26 h 1111"/>
                  <a:gd name="T8" fmla="*/ 260 w 305"/>
                  <a:gd name="T9" fmla="*/ 44 h 1111"/>
                  <a:gd name="T10" fmla="*/ 278 w 305"/>
                  <a:gd name="T11" fmla="*/ 68 h 1111"/>
                  <a:gd name="T12" fmla="*/ 293 w 305"/>
                  <a:gd name="T13" fmla="*/ 93 h 1111"/>
                  <a:gd name="T14" fmla="*/ 301 w 305"/>
                  <a:gd name="T15" fmla="*/ 122 h 1111"/>
                  <a:gd name="T16" fmla="*/ 305 w 305"/>
                  <a:gd name="T17" fmla="*/ 153 h 1111"/>
                  <a:gd name="T18" fmla="*/ 305 w 305"/>
                  <a:gd name="T19" fmla="*/ 959 h 1111"/>
                  <a:gd name="T20" fmla="*/ 301 w 305"/>
                  <a:gd name="T21" fmla="*/ 989 h 1111"/>
                  <a:gd name="T22" fmla="*/ 293 w 305"/>
                  <a:gd name="T23" fmla="*/ 1018 h 1111"/>
                  <a:gd name="T24" fmla="*/ 278 w 305"/>
                  <a:gd name="T25" fmla="*/ 1044 h 1111"/>
                  <a:gd name="T26" fmla="*/ 260 w 305"/>
                  <a:gd name="T27" fmla="*/ 1067 h 1111"/>
                  <a:gd name="T28" fmla="*/ 237 w 305"/>
                  <a:gd name="T29" fmla="*/ 1086 h 1111"/>
                  <a:gd name="T30" fmla="*/ 212 w 305"/>
                  <a:gd name="T31" fmla="*/ 1100 h 1111"/>
                  <a:gd name="T32" fmla="*/ 183 w 305"/>
                  <a:gd name="T33" fmla="*/ 1108 h 1111"/>
                  <a:gd name="T34" fmla="*/ 153 w 305"/>
                  <a:gd name="T35" fmla="*/ 1111 h 1111"/>
                  <a:gd name="T36" fmla="*/ 121 w 305"/>
                  <a:gd name="T37" fmla="*/ 1108 h 1111"/>
                  <a:gd name="T38" fmla="*/ 93 w 305"/>
                  <a:gd name="T39" fmla="*/ 1100 h 1111"/>
                  <a:gd name="T40" fmla="*/ 67 w 305"/>
                  <a:gd name="T41" fmla="*/ 1086 h 1111"/>
                  <a:gd name="T42" fmla="*/ 44 w 305"/>
                  <a:gd name="T43" fmla="*/ 1067 h 1111"/>
                  <a:gd name="T44" fmla="*/ 26 w 305"/>
                  <a:gd name="T45" fmla="*/ 1044 h 1111"/>
                  <a:gd name="T46" fmla="*/ 12 w 305"/>
                  <a:gd name="T47" fmla="*/ 1018 h 1111"/>
                  <a:gd name="T48" fmla="*/ 3 w 305"/>
                  <a:gd name="T49" fmla="*/ 989 h 1111"/>
                  <a:gd name="T50" fmla="*/ 0 w 305"/>
                  <a:gd name="T51" fmla="*/ 959 h 1111"/>
                  <a:gd name="T52" fmla="*/ 0 w 305"/>
                  <a:gd name="T53" fmla="*/ 153 h 1111"/>
                  <a:gd name="T54" fmla="*/ 3 w 305"/>
                  <a:gd name="T55" fmla="*/ 122 h 1111"/>
                  <a:gd name="T56" fmla="*/ 12 w 305"/>
                  <a:gd name="T57" fmla="*/ 93 h 1111"/>
                  <a:gd name="T58" fmla="*/ 26 w 305"/>
                  <a:gd name="T59" fmla="*/ 68 h 1111"/>
                  <a:gd name="T60" fmla="*/ 44 w 305"/>
                  <a:gd name="T61" fmla="*/ 44 h 1111"/>
                  <a:gd name="T62" fmla="*/ 67 w 305"/>
                  <a:gd name="T63" fmla="*/ 26 h 1111"/>
                  <a:gd name="T64" fmla="*/ 93 w 305"/>
                  <a:gd name="T65" fmla="*/ 11 h 1111"/>
                  <a:gd name="T66" fmla="*/ 121 w 305"/>
                  <a:gd name="T67" fmla="*/ 3 h 1111"/>
                  <a:gd name="T68" fmla="*/ 153 w 305"/>
                  <a:gd name="T69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5" h="1111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1"/>
                    </a:lnTo>
                    <a:lnTo>
                      <a:pt x="237" y="26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5" y="153"/>
                    </a:lnTo>
                    <a:lnTo>
                      <a:pt x="305" y="959"/>
                    </a:lnTo>
                    <a:lnTo>
                      <a:pt x="301" y="989"/>
                    </a:lnTo>
                    <a:lnTo>
                      <a:pt x="293" y="1018"/>
                    </a:lnTo>
                    <a:lnTo>
                      <a:pt x="278" y="1044"/>
                    </a:lnTo>
                    <a:lnTo>
                      <a:pt x="260" y="1067"/>
                    </a:lnTo>
                    <a:lnTo>
                      <a:pt x="237" y="1086"/>
                    </a:lnTo>
                    <a:lnTo>
                      <a:pt x="212" y="1100"/>
                    </a:lnTo>
                    <a:lnTo>
                      <a:pt x="183" y="1108"/>
                    </a:lnTo>
                    <a:lnTo>
                      <a:pt x="153" y="1111"/>
                    </a:lnTo>
                    <a:lnTo>
                      <a:pt x="121" y="1108"/>
                    </a:lnTo>
                    <a:lnTo>
                      <a:pt x="93" y="1100"/>
                    </a:lnTo>
                    <a:lnTo>
                      <a:pt x="67" y="1086"/>
                    </a:lnTo>
                    <a:lnTo>
                      <a:pt x="44" y="1067"/>
                    </a:lnTo>
                    <a:lnTo>
                      <a:pt x="26" y="1044"/>
                    </a:lnTo>
                    <a:lnTo>
                      <a:pt x="12" y="1018"/>
                    </a:lnTo>
                    <a:lnTo>
                      <a:pt x="3" y="989"/>
                    </a:lnTo>
                    <a:lnTo>
                      <a:pt x="0" y="959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2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6"/>
                    </a:lnTo>
                    <a:lnTo>
                      <a:pt x="93" y="11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9" name="Freeform 207"/>
              <p:cNvSpPr>
                <a:spLocks/>
              </p:cNvSpPr>
              <p:nvPr/>
            </p:nvSpPr>
            <p:spPr bwMode="auto">
              <a:xfrm>
                <a:off x="4176" y="3520"/>
                <a:ext cx="223" cy="225"/>
              </a:xfrm>
              <a:custGeom>
                <a:avLst/>
                <a:gdLst>
                  <a:gd name="T0" fmla="*/ 1085 w 1117"/>
                  <a:gd name="T1" fmla="*/ 0 h 1123"/>
                  <a:gd name="T2" fmla="*/ 1106 w 1117"/>
                  <a:gd name="T3" fmla="*/ 10 h 1123"/>
                  <a:gd name="T4" fmla="*/ 1117 w 1117"/>
                  <a:gd name="T5" fmla="*/ 31 h 1123"/>
                  <a:gd name="T6" fmla="*/ 1113 w 1117"/>
                  <a:gd name="T7" fmla="*/ 53 h 1123"/>
                  <a:gd name="T8" fmla="*/ 1104 w 1117"/>
                  <a:gd name="T9" fmla="*/ 66 h 1123"/>
                  <a:gd name="T10" fmla="*/ 1089 w 1117"/>
                  <a:gd name="T11" fmla="*/ 82 h 1123"/>
                  <a:gd name="T12" fmla="*/ 1062 w 1117"/>
                  <a:gd name="T13" fmla="*/ 112 h 1123"/>
                  <a:gd name="T14" fmla="*/ 1023 w 1117"/>
                  <a:gd name="T15" fmla="*/ 155 h 1123"/>
                  <a:gd name="T16" fmla="*/ 973 w 1117"/>
                  <a:gd name="T17" fmla="*/ 209 h 1123"/>
                  <a:gd name="T18" fmla="*/ 917 w 1117"/>
                  <a:gd name="T19" fmla="*/ 272 h 1123"/>
                  <a:gd name="T20" fmla="*/ 853 w 1117"/>
                  <a:gd name="T21" fmla="*/ 342 h 1123"/>
                  <a:gd name="T22" fmla="*/ 785 w 1117"/>
                  <a:gd name="T23" fmla="*/ 417 h 1123"/>
                  <a:gd name="T24" fmla="*/ 712 w 1117"/>
                  <a:gd name="T25" fmla="*/ 497 h 1123"/>
                  <a:gd name="T26" fmla="*/ 640 w 1117"/>
                  <a:gd name="T27" fmla="*/ 577 h 1123"/>
                  <a:gd name="T28" fmla="*/ 566 w 1117"/>
                  <a:gd name="T29" fmla="*/ 658 h 1123"/>
                  <a:gd name="T30" fmla="*/ 494 w 1117"/>
                  <a:gd name="T31" fmla="*/ 737 h 1123"/>
                  <a:gd name="T32" fmla="*/ 425 w 1117"/>
                  <a:gd name="T33" fmla="*/ 813 h 1123"/>
                  <a:gd name="T34" fmla="*/ 361 w 1117"/>
                  <a:gd name="T35" fmla="*/ 884 h 1123"/>
                  <a:gd name="T36" fmla="*/ 303 w 1117"/>
                  <a:gd name="T37" fmla="*/ 946 h 1123"/>
                  <a:gd name="T38" fmla="*/ 254 w 1117"/>
                  <a:gd name="T39" fmla="*/ 1001 h 1123"/>
                  <a:gd name="T40" fmla="*/ 215 w 1117"/>
                  <a:gd name="T41" fmla="*/ 1045 h 1123"/>
                  <a:gd name="T42" fmla="*/ 186 w 1117"/>
                  <a:gd name="T43" fmla="*/ 1076 h 1123"/>
                  <a:gd name="T44" fmla="*/ 171 w 1117"/>
                  <a:gd name="T45" fmla="*/ 1093 h 1123"/>
                  <a:gd name="T46" fmla="*/ 151 w 1117"/>
                  <a:gd name="T47" fmla="*/ 1110 h 1123"/>
                  <a:gd name="T48" fmla="*/ 110 w 1117"/>
                  <a:gd name="T49" fmla="*/ 1123 h 1123"/>
                  <a:gd name="T50" fmla="*/ 66 w 1117"/>
                  <a:gd name="T51" fmla="*/ 1119 h 1123"/>
                  <a:gd name="T52" fmla="*/ 28 w 1117"/>
                  <a:gd name="T53" fmla="*/ 1095 h 1123"/>
                  <a:gd name="T54" fmla="*/ 5 w 1117"/>
                  <a:gd name="T55" fmla="*/ 1057 h 1123"/>
                  <a:gd name="T56" fmla="*/ 0 w 1117"/>
                  <a:gd name="T57" fmla="*/ 1013 h 1123"/>
                  <a:gd name="T58" fmla="*/ 14 w 1117"/>
                  <a:gd name="T59" fmla="*/ 972 h 1123"/>
                  <a:gd name="T60" fmla="*/ 31 w 1117"/>
                  <a:gd name="T61" fmla="*/ 952 h 1123"/>
                  <a:gd name="T62" fmla="*/ 47 w 1117"/>
                  <a:gd name="T63" fmla="*/ 936 h 1123"/>
                  <a:gd name="T64" fmla="*/ 78 w 1117"/>
                  <a:gd name="T65" fmla="*/ 908 h 1123"/>
                  <a:gd name="T66" fmla="*/ 122 w 1117"/>
                  <a:gd name="T67" fmla="*/ 868 h 1123"/>
                  <a:gd name="T68" fmla="*/ 176 w 1117"/>
                  <a:gd name="T69" fmla="*/ 818 h 1123"/>
                  <a:gd name="T70" fmla="*/ 238 w 1117"/>
                  <a:gd name="T71" fmla="*/ 761 h 1123"/>
                  <a:gd name="T72" fmla="*/ 309 w 1117"/>
                  <a:gd name="T73" fmla="*/ 696 h 1123"/>
                  <a:gd name="T74" fmla="*/ 383 w 1117"/>
                  <a:gd name="T75" fmla="*/ 627 h 1123"/>
                  <a:gd name="T76" fmla="*/ 463 w 1117"/>
                  <a:gd name="T77" fmla="*/ 554 h 1123"/>
                  <a:gd name="T78" fmla="*/ 543 w 1117"/>
                  <a:gd name="T79" fmla="*/ 481 h 1123"/>
                  <a:gd name="T80" fmla="*/ 623 w 1117"/>
                  <a:gd name="T81" fmla="*/ 406 h 1123"/>
                  <a:gd name="T82" fmla="*/ 702 w 1117"/>
                  <a:gd name="T83" fmla="*/ 334 h 1123"/>
                  <a:gd name="T84" fmla="*/ 776 w 1117"/>
                  <a:gd name="T85" fmla="*/ 265 h 1123"/>
                  <a:gd name="T86" fmla="*/ 846 w 1117"/>
                  <a:gd name="T87" fmla="*/ 201 h 1123"/>
                  <a:gd name="T88" fmla="*/ 908 w 1117"/>
                  <a:gd name="T89" fmla="*/ 143 h 1123"/>
                  <a:gd name="T90" fmla="*/ 962 w 1117"/>
                  <a:gd name="T91" fmla="*/ 95 h 1123"/>
                  <a:gd name="T92" fmla="*/ 1005 w 1117"/>
                  <a:gd name="T93" fmla="*/ 54 h 1123"/>
                  <a:gd name="T94" fmla="*/ 1036 w 1117"/>
                  <a:gd name="T95" fmla="*/ 27 h 1123"/>
                  <a:gd name="T96" fmla="*/ 1051 w 1117"/>
                  <a:gd name="T97" fmla="*/ 12 h 1123"/>
                  <a:gd name="T98" fmla="*/ 1063 w 1117"/>
                  <a:gd name="T99" fmla="*/ 3 h 1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17" h="1123">
                    <a:moveTo>
                      <a:pt x="1074" y="0"/>
                    </a:moveTo>
                    <a:lnTo>
                      <a:pt x="1085" y="0"/>
                    </a:lnTo>
                    <a:lnTo>
                      <a:pt x="1096" y="3"/>
                    </a:lnTo>
                    <a:lnTo>
                      <a:pt x="1106" y="10"/>
                    </a:lnTo>
                    <a:lnTo>
                      <a:pt x="1113" y="20"/>
                    </a:lnTo>
                    <a:lnTo>
                      <a:pt x="1117" y="31"/>
                    </a:lnTo>
                    <a:lnTo>
                      <a:pt x="1117" y="43"/>
                    </a:lnTo>
                    <a:lnTo>
                      <a:pt x="1113" y="53"/>
                    </a:lnTo>
                    <a:lnTo>
                      <a:pt x="1106" y="64"/>
                    </a:lnTo>
                    <a:lnTo>
                      <a:pt x="1104" y="66"/>
                    </a:lnTo>
                    <a:lnTo>
                      <a:pt x="1099" y="71"/>
                    </a:lnTo>
                    <a:lnTo>
                      <a:pt x="1089" y="82"/>
                    </a:lnTo>
                    <a:lnTo>
                      <a:pt x="1077" y="96"/>
                    </a:lnTo>
                    <a:lnTo>
                      <a:pt x="1062" y="112"/>
                    </a:lnTo>
                    <a:lnTo>
                      <a:pt x="1043" y="132"/>
                    </a:lnTo>
                    <a:lnTo>
                      <a:pt x="1023" y="155"/>
                    </a:lnTo>
                    <a:lnTo>
                      <a:pt x="999" y="181"/>
                    </a:lnTo>
                    <a:lnTo>
                      <a:pt x="973" y="209"/>
                    </a:lnTo>
                    <a:lnTo>
                      <a:pt x="946" y="240"/>
                    </a:lnTo>
                    <a:lnTo>
                      <a:pt x="917" y="272"/>
                    </a:lnTo>
                    <a:lnTo>
                      <a:pt x="885" y="306"/>
                    </a:lnTo>
                    <a:lnTo>
                      <a:pt x="853" y="342"/>
                    </a:lnTo>
                    <a:lnTo>
                      <a:pt x="820" y="379"/>
                    </a:lnTo>
                    <a:lnTo>
                      <a:pt x="785" y="417"/>
                    </a:lnTo>
                    <a:lnTo>
                      <a:pt x="749" y="456"/>
                    </a:lnTo>
                    <a:lnTo>
                      <a:pt x="712" y="497"/>
                    </a:lnTo>
                    <a:lnTo>
                      <a:pt x="676" y="537"/>
                    </a:lnTo>
                    <a:lnTo>
                      <a:pt x="640" y="577"/>
                    </a:lnTo>
                    <a:lnTo>
                      <a:pt x="603" y="617"/>
                    </a:lnTo>
                    <a:lnTo>
                      <a:pt x="566" y="658"/>
                    </a:lnTo>
                    <a:lnTo>
                      <a:pt x="529" y="698"/>
                    </a:lnTo>
                    <a:lnTo>
                      <a:pt x="494" y="737"/>
                    </a:lnTo>
                    <a:lnTo>
                      <a:pt x="458" y="776"/>
                    </a:lnTo>
                    <a:lnTo>
                      <a:pt x="425" y="813"/>
                    </a:lnTo>
                    <a:lnTo>
                      <a:pt x="392" y="849"/>
                    </a:lnTo>
                    <a:lnTo>
                      <a:pt x="361" y="884"/>
                    </a:lnTo>
                    <a:lnTo>
                      <a:pt x="332" y="917"/>
                    </a:lnTo>
                    <a:lnTo>
                      <a:pt x="303" y="946"/>
                    </a:lnTo>
                    <a:lnTo>
                      <a:pt x="278" y="975"/>
                    </a:lnTo>
                    <a:lnTo>
                      <a:pt x="254" y="1001"/>
                    </a:lnTo>
                    <a:lnTo>
                      <a:pt x="233" y="1024"/>
                    </a:lnTo>
                    <a:lnTo>
                      <a:pt x="215" y="1045"/>
                    </a:lnTo>
                    <a:lnTo>
                      <a:pt x="199" y="1062"/>
                    </a:lnTo>
                    <a:lnTo>
                      <a:pt x="186" y="1076"/>
                    </a:lnTo>
                    <a:lnTo>
                      <a:pt x="177" y="1086"/>
                    </a:lnTo>
                    <a:lnTo>
                      <a:pt x="171" y="1093"/>
                    </a:lnTo>
                    <a:lnTo>
                      <a:pt x="169" y="1095"/>
                    </a:lnTo>
                    <a:lnTo>
                      <a:pt x="151" y="1110"/>
                    </a:lnTo>
                    <a:lnTo>
                      <a:pt x="131" y="1119"/>
                    </a:lnTo>
                    <a:lnTo>
                      <a:pt x="110" y="1123"/>
                    </a:lnTo>
                    <a:lnTo>
                      <a:pt x="87" y="1123"/>
                    </a:lnTo>
                    <a:lnTo>
                      <a:pt x="66" y="1119"/>
                    </a:lnTo>
                    <a:lnTo>
                      <a:pt x="46" y="1110"/>
                    </a:lnTo>
                    <a:lnTo>
                      <a:pt x="28" y="1095"/>
                    </a:lnTo>
                    <a:lnTo>
                      <a:pt x="14" y="1077"/>
                    </a:lnTo>
                    <a:lnTo>
                      <a:pt x="5" y="1057"/>
                    </a:lnTo>
                    <a:lnTo>
                      <a:pt x="0" y="1035"/>
                    </a:lnTo>
                    <a:lnTo>
                      <a:pt x="0" y="1013"/>
                    </a:lnTo>
                    <a:lnTo>
                      <a:pt x="5" y="992"/>
                    </a:lnTo>
                    <a:lnTo>
                      <a:pt x="14" y="972"/>
                    </a:lnTo>
                    <a:lnTo>
                      <a:pt x="28" y="954"/>
                    </a:lnTo>
                    <a:lnTo>
                      <a:pt x="31" y="952"/>
                    </a:lnTo>
                    <a:lnTo>
                      <a:pt x="37" y="945"/>
                    </a:lnTo>
                    <a:lnTo>
                      <a:pt x="47" y="936"/>
                    </a:lnTo>
                    <a:lnTo>
                      <a:pt x="61" y="924"/>
                    </a:lnTo>
                    <a:lnTo>
                      <a:pt x="78" y="908"/>
                    </a:lnTo>
                    <a:lnTo>
                      <a:pt x="99" y="889"/>
                    </a:lnTo>
                    <a:lnTo>
                      <a:pt x="122" y="868"/>
                    </a:lnTo>
                    <a:lnTo>
                      <a:pt x="147" y="844"/>
                    </a:lnTo>
                    <a:lnTo>
                      <a:pt x="176" y="818"/>
                    </a:lnTo>
                    <a:lnTo>
                      <a:pt x="206" y="790"/>
                    </a:lnTo>
                    <a:lnTo>
                      <a:pt x="238" y="761"/>
                    </a:lnTo>
                    <a:lnTo>
                      <a:pt x="273" y="729"/>
                    </a:lnTo>
                    <a:lnTo>
                      <a:pt x="309" y="696"/>
                    </a:lnTo>
                    <a:lnTo>
                      <a:pt x="346" y="662"/>
                    </a:lnTo>
                    <a:lnTo>
                      <a:pt x="383" y="627"/>
                    </a:lnTo>
                    <a:lnTo>
                      <a:pt x="422" y="591"/>
                    </a:lnTo>
                    <a:lnTo>
                      <a:pt x="463" y="554"/>
                    </a:lnTo>
                    <a:lnTo>
                      <a:pt x="503" y="518"/>
                    </a:lnTo>
                    <a:lnTo>
                      <a:pt x="543" y="481"/>
                    </a:lnTo>
                    <a:lnTo>
                      <a:pt x="583" y="444"/>
                    </a:lnTo>
                    <a:lnTo>
                      <a:pt x="623" y="406"/>
                    </a:lnTo>
                    <a:lnTo>
                      <a:pt x="663" y="369"/>
                    </a:lnTo>
                    <a:lnTo>
                      <a:pt x="702" y="334"/>
                    </a:lnTo>
                    <a:lnTo>
                      <a:pt x="740" y="299"/>
                    </a:lnTo>
                    <a:lnTo>
                      <a:pt x="776" y="265"/>
                    </a:lnTo>
                    <a:lnTo>
                      <a:pt x="812" y="232"/>
                    </a:lnTo>
                    <a:lnTo>
                      <a:pt x="846" y="201"/>
                    </a:lnTo>
                    <a:lnTo>
                      <a:pt x="879" y="171"/>
                    </a:lnTo>
                    <a:lnTo>
                      <a:pt x="908" y="143"/>
                    </a:lnTo>
                    <a:lnTo>
                      <a:pt x="937" y="118"/>
                    </a:lnTo>
                    <a:lnTo>
                      <a:pt x="962" y="95"/>
                    </a:lnTo>
                    <a:lnTo>
                      <a:pt x="985" y="73"/>
                    </a:lnTo>
                    <a:lnTo>
                      <a:pt x="1005" y="54"/>
                    </a:lnTo>
                    <a:lnTo>
                      <a:pt x="1022" y="39"/>
                    </a:lnTo>
                    <a:lnTo>
                      <a:pt x="1036" y="27"/>
                    </a:lnTo>
                    <a:lnTo>
                      <a:pt x="1045" y="18"/>
                    </a:lnTo>
                    <a:lnTo>
                      <a:pt x="1051" y="12"/>
                    </a:lnTo>
                    <a:lnTo>
                      <a:pt x="1054" y="10"/>
                    </a:lnTo>
                    <a:lnTo>
                      <a:pt x="1063" y="3"/>
                    </a:lnTo>
                    <a:lnTo>
                      <a:pt x="107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90" name="Group 189"/>
          <p:cNvGrpSpPr/>
          <p:nvPr/>
        </p:nvGrpSpPr>
        <p:grpSpPr>
          <a:xfrm>
            <a:off x="147993" y="4655987"/>
            <a:ext cx="727877" cy="605715"/>
            <a:chOff x="147993" y="5080087"/>
            <a:chExt cx="727877" cy="605715"/>
          </a:xfrm>
        </p:grpSpPr>
        <p:sp>
          <p:nvSpPr>
            <p:cNvPr id="191" name="Rectangle 17"/>
            <p:cNvSpPr>
              <a:spLocks/>
            </p:cNvSpPr>
            <p:nvPr/>
          </p:nvSpPr>
          <p:spPr bwMode="auto">
            <a:xfrm>
              <a:off x="147993" y="5316470"/>
              <a:ext cx="72787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Объекты инфраструктуры / карты</a:t>
              </a:r>
            </a:p>
          </p:txBody>
        </p:sp>
        <p:grpSp>
          <p:nvGrpSpPr>
            <p:cNvPr id="192" name="Group 191"/>
            <p:cNvGrpSpPr/>
            <p:nvPr/>
          </p:nvGrpSpPr>
          <p:grpSpPr>
            <a:xfrm>
              <a:off x="365905" y="5080087"/>
              <a:ext cx="233576" cy="214640"/>
              <a:chOff x="-1831145" y="1063685"/>
              <a:chExt cx="488634" cy="449020"/>
            </a:xfrm>
            <a:solidFill>
              <a:schemeClr val="bg1"/>
            </a:solidFill>
          </p:grpSpPr>
          <p:sp>
            <p:nvSpPr>
              <p:cNvPr id="193" name="Freeform 7"/>
              <p:cNvSpPr>
                <a:spLocks/>
              </p:cNvSpPr>
              <p:nvPr/>
            </p:nvSpPr>
            <p:spPr bwMode="auto">
              <a:xfrm>
                <a:off x="-1793165" y="1260323"/>
                <a:ext cx="210523" cy="127008"/>
              </a:xfrm>
              <a:custGeom>
                <a:avLst/>
                <a:gdLst>
                  <a:gd name="T0" fmla="*/ 396 w 2061"/>
                  <a:gd name="T1" fmla="*/ 0 h 1245"/>
                  <a:gd name="T2" fmla="*/ 1816 w 2061"/>
                  <a:gd name="T3" fmla="*/ 0 h 1245"/>
                  <a:gd name="T4" fmla="*/ 1869 w 2061"/>
                  <a:gd name="T5" fmla="*/ 137 h 1245"/>
                  <a:gd name="T6" fmla="*/ 1928 w 2061"/>
                  <a:gd name="T7" fmla="*/ 271 h 1245"/>
                  <a:gd name="T8" fmla="*/ 1993 w 2061"/>
                  <a:gd name="T9" fmla="*/ 402 h 1245"/>
                  <a:gd name="T10" fmla="*/ 2061 w 2061"/>
                  <a:gd name="T11" fmla="*/ 528 h 1245"/>
                  <a:gd name="T12" fmla="*/ 1912 w 2061"/>
                  <a:gd name="T13" fmla="*/ 1245 h 1245"/>
                  <a:gd name="T14" fmla="*/ 0 w 2061"/>
                  <a:gd name="T15" fmla="*/ 1037 h 1245"/>
                  <a:gd name="T16" fmla="*/ 272 w 2061"/>
                  <a:gd name="T17" fmla="*/ 93 h 1245"/>
                  <a:gd name="T18" fmla="*/ 284 w 2061"/>
                  <a:gd name="T19" fmla="*/ 67 h 1245"/>
                  <a:gd name="T20" fmla="*/ 299 w 2061"/>
                  <a:gd name="T21" fmla="*/ 45 h 1245"/>
                  <a:gd name="T22" fmla="*/ 319 w 2061"/>
                  <a:gd name="T23" fmla="*/ 26 h 1245"/>
                  <a:gd name="T24" fmla="*/ 342 w 2061"/>
                  <a:gd name="T25" fmla="*/ 13 h 1245"/>
                  <a:gd name="T26" fmla="*/ 368 w 2061"/>
                  <a:gd name="T27" fmla="*/ 5 h 1245"/>
                  <a:gd name="T28" fmla="*/ 396 w 2061"/>
                  <a:gd name="T29" fmla="*/ 0 h 1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61" h="1245">
                    <a:moveTo>
                      <a:pt x="396" y="0"/>
                    </a:moveTo>
                    <a:lnTo>
                      <a:pt x="1816" y="0"/>
                    </a:lnTo>
                    <a:lnTo>
                      <a:pt x="1869" y="137"/>
                    </a:lnTo>
                    <a:lnTo>
                      <a:pt x="1928" y="271"/>
                    </a:lnTo>
                    <a:lnTo>
                      <a:pt x="1993" y="402"/>
                    </a:lnTo>
                    <a:lnTo>
                      <a:pt x="2061" y="528"/>
                    </a:lnTo>
                    <a:lnTo>
                      <a:pt x="1912" y="1245"/>
                    </a:lnTo>
                    <a:lnTo>
                      <a:pt x="0" y="1037"/>
                    </a:lnTo>
                    <a:lnTo>
                      <a:pt x="272" y="93"/>
                    </a:lnTo>
                    <a:lnTo>
                      <a:pt x="284" y="67"/>
                    </a:lnTo>
                    <a:lnTo>
                      <a:pt x="299" y="45"/>
                    </a:lnTo>
                    <a:lnTo>
                      <a:pt x="319" y="26"/>
                    </a:lnTo>
                    <a:lnTo>
                      <a:pt x="342" y="13"/>
                    </a:lnTo>
                    <a:lnTo>
                      <a:pt x="368" y="5"/>
                    </a:lnTo>
                    <a:lnTo>
                      <a:pt x="3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94" name="Freeform 8"/>
              <p:cNvSpPr>
                <a:spLocks/>
              </p:cNvSpPr>
              <p:nvPr/>
            </p:nvSpPr>
            <p:spPr bwMode="auto">
              <a:xfrm>
                <a:off x="-1425618" y="1352209"/>
                <a:ext cx="58603" cy="60645"/>
              </a:xfrm>
              <a:custGeom>
                <a:avLst/>
                <a:gdLst>
                  <a:gd name="T0" fmla="*/ 403 w 575"/>
                  <a:gd name="T1" fmla="*/ 0 h 593"/>
                  <a:gd name="T2" fmla="*/ 575 w 575"/>
                  <a:gd name="T3" fmla="*/ 593 h 593"/>
                  <a:gd name="T4" fmla="*/ 0 w 575"/>
                  <a:gd name="T5" fmla="*/ 531 h 593"/>
                  <a:gd name="T6" fmla="*/ 63 w 575"/>
                  <a:gd name="T7" fmla="*/ 453 h 593"/>
                  <a:gd name="T8" fmla="*/ 128 w 575"/>
                  <a:gd name="T9" fmla="*/ 372 h 593"/>
                  <a:gd name="T10" fmla="*/ 197 w 575"/>
                  <a:gd name="T11" fmla="*/ 285 h 593"/>
                  <a:gd name="T12" fmla="*/ 265 w 575"/>
                  <a:gd name="T13" fmla="*/ 195 h 593"/>
                  <a:gd name="T14" fmla="*/ 335 w 575"/>
                  <a:gd name="T15" fmla="*/ 99 h 593"/>
                  <a:gd name="T16" fmla="*/ 403 w 575"/>
                  <a:gd name="T17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5" h="593">
                    <a:moveTo>
                      <a:pt x="403" y="0"/>
                    </a:moveTo>
                    <a:lnTo>
                      <a:pt x="575" y="593"/>
                    </a:lnTo>
                    <a:lnTo>
                      <a:pt x="0" y="531"/>
                    </a:lnTo>
                    <a:lnTo>
                      <a:pt x="63" y="453"/>
                    </a:lnTo>
                    <a:lnTo>
                      <a:pt x="128" y="372"/>
                    </a:lnTo>
                    <a:lnTo>
                      <a:pt x="197" y="285"/>
                    </a:lnTo>
                    <a:lnTo>
                      <a:pt x="265" y="195"/>
                    </a:lnTo>
                    <a:lnTo>
                      <a:pt x="335" y="99"/>
                    </a:lnTo>
                    <a:lnTo>
                      <a:pt x="4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95" name="Freeform 9"/>
              <p:cNvSpPr>
                <a:spLocks/>
              </p:cNvSpPr>
              <p:nvPr/>
            </p:nvSpPr>
            <p:spPr bwMode="auto">
              <a:xfrm>
                <a:off x="-1558956" y="1361602"/>
                <a:ext cx="31854" cy="33692"/>
              </a:xfrm>
              <a:custGeom>
                <a:avLst/>
                <a:gdLst>
                  <a:gd name="T0" fmla="*/ 63 w 311"/>
                  <a:gd name="T1" fmla="*/ 0 h 328"/>
                  <a:gd name="T2" fmla="*/ 67 w 311"/>
                  <a:gd name="T3" fmla="*/ 6 h 328"/>
                  <a:gd name="T4" fmla="*/ 150 w 311"/>
                  <a:gd name="T5" fmla="*/ 120 h 328"/>
                  <a:gd name="T6" fmla="*/ 231 w 311"/>
                  <a:gd name="T7" fmla="*/ 227 h 328"/>
                  <a:gd name="T8" fmla="*/ 311 w 311"/>
                  <a:gd name="T9" fmla="*/ 328 h 328"/>
                  <a:gd name="T10" fmla="*/ 0 w 311"/>
                  <a:gd name="T11" fmla="*/ 294 h 328"/>
                  <a:gd name="T12" fmla="*/ 63 w 311"/>
                  <a:gd name="T13" fmla="*/ 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1" h="328">
                    <a:moveTo>
                      <a:pt x="63" y="0"/>
                    </a:moveTo>
                    <a:lnTo>
                      <a:pt x="67" y="6"/>
                    </a:lnTo>
                    <a:lnTo>
                      <a:pt x="150" y="120"/>
                    </a:lnTo>
                    <a:lnTo>
                      <a:pt x="231" y="227"/>
                    </a:lnTo>
                    <a:lnTo>
                      <a:pt x="311" y="328"/>
                    </a:lnTo>
                    <a:lnTo>
                      <a:pt x="0" y="294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96" name="Freeform 10"/>
              <p:cNvSpPr>
                <a:spLocks/>
              </p:cNvSpPr>
              <p:nvPr/>
            </p:nvSpPr>
            <p:spPr bwMode="auto">
              <a:xfrm>
                <a:off x="-1831145" y="1404279"/>
                <a:ext cx="225021" cy="108426"/>
              </a:xfrm>
              <a:custGeom>
                <a:avLst/>
                <a:gdLst>
                  <a:gd name="T0" fmla="*/ 265 w 2204"/>
                  <a:gd name="T1" fmla="*/ 0 h 1062"/>
                  <a:gd name="T2" fmla="*/ 2204 w 2204"/>
                  <a:gd name="T3" fmla="*/ 213 h 1062"/>
                  <a:gd name="T4" fmla="*/ 2026 w 2204"/>
                  <a:gd name="T5" fmla="*/ 1062 h 1062"/>
                  <a:gd name="T6" fmla="*/ 128 w 2204"/>
                  <a:gd name="T7" fmla="*/ 1062 h 1062"/>
                  <a:gd name="T8" fmla="*/ 99 w 2204"/>
                  <a:gd name="T9" fmla="*/ 1059 h 1062"/>
                  <a:gd name="T10" fmla="*/ 71 w 2204"/>
                  <a:gd name="T11" fmla="*/ 1049 h 1062"/>
                  <a:gd name="T12" fmla="*/ 47 w 2204"/>
                  <a:gd name="T13" fmla="*/ 1033 h 1062"/>
                  <a:gd name="T14" fmla="*/ 26 w 2204"/>
                  <a:gd name="T15" fmla="*/ 1011 h 1062"/>
                  <a:gd name="T16" fmla="*/ 10 w 2204"/>
                  <a:gd name="T17" fmla="*/ 985 h 1062"/>
                  <a:gd name="T18" fmla="*/ 1 w 2204"/>
                  <a:gd name="T19" fmla="*/ 957 h 1062"/>
                  <a:gd name="T20" fmla="*/ 0 w 2204"/>
                  <a:gd name="T21" fmla="*/ 928 h 1062"/>
                  <a:gd name="T22" fmla="*/ 4 w 2204"/>
                  <a:gd name="T23" fmla="*/ 899 h 1062"/>
                  <a:gd name="T24" fmla="*/ 265 w 2204"/>
                  <a:gd name="T25" fmla="*/ 0 h 10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04" h="1062">
                    <a:moveTo>
                      <a:pt x="265" y="0"/>
                    </a:moveTo>
                    <a:lnTo>
                      <a:pt x="2204" y="213"/>
                    </a:lnTo>
                    <a:lnTo>
                      <a:pt x="2026" y="1062"/>
                    </a:lnTo>
                    <a:lnTo>
                      <a:pt x="128" y="1062"/>
                    </a:lnTo>
                    <a:lnTo>
                      <a:pt x="99" y="1059"/>
                    </a:lnTo>
                    <a:lnTo>
                      <a:pt x="71" y="1049"/>
                    </a:lnTo>
                    <a:lnTo>
                      <a:pt x="47" y="1033"/>
                    </a:lnTo>
                    <a:lnTo>
                      <a:pt x="26" y="1011"/>
                    </a:lnTo>
                    <a:lnTo>
                      <a:pt x="10" y="985"/>
                    </a:lnTo>
                    <a:lnTo>
                      <a:pt x="1" y="957"/>
                    </a:lnTo>
                    <a:lnTo>
                      <a:pt x="0" y="928"/>
                    </a:lnTo>
                    <a:lnTo>
                      <a:pt x="4" y="899"/>
                    </a:lnTo>
                    <a:lnTo>
                      <a:pt x="2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97" name="Freeform 11"/>
              <p:cNvSpPr>
                <a:spLocks/>
              </p:cNvSpPr>
              <p:nvPr/>
            </p:nvSpPr>
            <p:spPr bwMode="auto">
              <a:xfrm>
                <a:off x="-1584276" y="1430211"/>
                <a:ext cx="241765" cy="82494"/>
              </a:xfrm>
              <a:custGeom>
                <a:avLst/>
                <a:gdLst>
                  <a:gd name="T0" fmla="*/ 169 w 2368"/>
                  <a:gd name="T1" fmla="*/ 0 h 807"/>
                  <a:gd name="T2" fmla="*/ 2243 w 2368"/>
                  <a:gd name="T3" fmla="*/ 227 h 807"/>
                  <a:gd name="T4" fmla="*/ 2361 w 2368"/>
                  <a:gd name="T5" fmla="*/ 635 h 807"/>
                  <a:gd name="T6" fmla="*/ 2366 w 2368"/>
                  <a:gd name="T7" fmla="*/ 657 h 807"/>
                  <a:gd name="T8" fmla="*/ 2368 w 2368"/>
                  <a:gd name="T9" fmla="*/ 679 h 807"/>
                  <a:gd name="T10" fmla="*/ 2365 w 2368"/>
                  <a:gd name="T11" fmla="*/ 708 h 807"/>
                  <a:gd name="T12" fmla="*/ 2355 w 2368"/>
                  <a:gd name="T13" fmla="*/ 736 h 807"/>
                  <a:gd name="T14" fmla="*/ 2340 w 2368"/>
                  <a:gd name="T15" fmla="*/ 759 h 807"/>
                  <a:gd name="T16" fmla="*/ 2320 w 2368"/>
                  <a:gd name="T17" fmla="*/ 779 h 807"/>
                  <a:gd name="T18" fmla="*/ 2297 w 2368"/>
                  <a:gd name="T19" fmla="*/ 794 h 807"/>
                  <a:gd name="T20" fmla="*/ 2269 w 2368"/>
                  <a:gd name="T21" fmla="*/ 804 h 807"/>
                  <a:gd name="T22" fmla="*/ 2240 w 2368"/>
                  <a:gd name="T23" fmla="*/ 807 h 807"/>
                  <a:gd name="T24" fmla="*/ 0 w 2368"/>
                  <a:gd name="T25" fmla="*/ 807 h 807"/>
                  <a:gd name="T26" fmla="*/ 169 w 2368"/>
                  <a:gd name="T27" fmla="*/ 0 h 8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68" h="807">
                    <a:moveTo>
                      <a:pt x="169" y="0"/>
                    </a:moveTo>
                    <a:lnTo>
                      <a:pt x="2243" y="227"/>
                    </a:lnTo>
                    <a:lnTo>
                      <a:pt x="2361" y="635"/>
                    </a:lnTo>
                    <a:lnTo>
                      <a:pt x="2366" y="657"/>
                    </a:lnTo>
                    <a:lnTo>
                      <a:pt x="2368" y="679"/>
                    </a:lnTo>
                    <a:lnTo>
                      <a:pt x="2365" y="708"/>
                    </a:lnTo>
                    <a:lnTo>
                      <a:pt x="2355" y="736"/>
                    </a:lnTo>
                    <a:lnTo>
                      <a:pt x="2340" y="759"/>
                    </a:lnTo>
                    <a:lnTo>
                      <a:pt x="2320" y="779"/>
                    </a:lnTo>
                    <a:lnTo>
                      <a:pt x="2297" y="794"/>
                    </a:lnTo>
                    <a:lnTo>
                      <a:pt x="2269" y="804"/>
                    </a:lnTo>
                    <a:lnTo>
                      <a:pt x="2240" y="807"/>
                    </a:lnTo>
                    <a:lnTo>
                      <a:pt x="0" y="807"/>
                    </a:lnTo>
                    <a:lnTo>
                      <a:pt x="1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98" name="Freeform 12"/>
              <p:cNvSpPr>
                <a:spLocks noEditPoints="1"/>
              </p:cNvSpPr>
              <p:nvPr/>
            </p:nvSpPr>
            <p:spPr bwMode="auto">
              <a:xfrm>
                <a:off x="-1601224" y="1063685"/>
                <a:ext cx="258713" cy="361625"/>
              </a:xfrm>
              <a:custGeom>
                <a:avLst/>
                <a:gdLst>
                  <a:gd name="T0" fmla="*/ 1102 w 2535"/>
                  <a:gd name="T1" fmla="*/ 494 h 3540"/>
                  <a:gd name="T2" fmla="*/ 877 w 2535"/>
                  <a:gd name="T3" fmla="*/ 583 h 3540"/>
                  <a:gd name="T4" fmla="*/ 693 w 2535"/>
                  <a:gd name="T5" fmla="*/ 733 h 3540"/>
                  <a:gd name="T6" fmla="*/ 563 w 2535"/>
                  <a:gd name="T7" fmla="*/ 931 h 3540"/>
                  <a:gd name="T8" fmla="*/ 499 w 2535"/>
                  <a:gd name="T9" fmla="*/ 1166 h 3540"/>
                  <a:gd name="T10" fmla="*/ 512 w 2535"/>
                  <a:gd name="T11" fmla="*/ 1417 h 3540"/>
                  <a:gd name="T12" fmla="*/ 599 w 2535"/>
                  <a:gd name="T13" fmla="*/ 1641 h 3540"/>
                  <a:gd name="T14" fmla="*/ 749 w 2535"/>
                  <a:gd name="T15" fmla="*/ 1825 h 3540"/>
                  <a:gd name="T16" fmla="*/ 948 w 2535"/>
                  <a:gd name="T17" fmla="*/ 1956 h 3540"/>
                  <a:gd name="T18" fmla="*/ 1184 w 2535"/>
                  <a:gd name="T19" fmla="*/ 2020 h 3540"/>
                  <a:gd name="T20" fmla="*/ 1434 w 2535"/>
                  <a:gd name="T21" fmla="*/ 2007 h 3540"/>
                  <a:gd name="T22" fmla="*/ 1658 w 2535"/>
                  <a:gd name="T23" fmla="*/ 1920 h 3540"/>
                  <a:gd name="T24" fmla="*/ 1843 w 2535"/>
                  <a:gd name="T25" fmla="*/ 1769 h 3540"/>
                  <a:gd name="T26" fmla="*/ 1972 w 2535"/>
                  <a:gd name="T27" fmla="*/ 1571 h 3540"/>
                  <a:gd name="T28" fmla="*/ 2037 w 2535"/>
                  <a:gd name="T29" fmla="*/ 1335 h 3540"/>
                  <a:gd name="T30" fmla="*/ 2023 w 2535"/>
                  <a:gd name="T31" fmla="*/ 1085 h 3540"/>
                  <a:gd name="T32" fmla="*/ 1936 w 2535"/>
                  <a:gd name="T33" fmla="*/ 861 h 3540"/>
                  <a:gd name="T34" fmla="*/ 1786 w 2535"/>
                  <a:gd name="T35" fmla="*/ 676 h 3540"/>
                  <a:gd name="T36" fmla="*/ 1587 w 2535"/>
                  <a:gd name="T37" fmla="*/ 545 h 3540"/>
                  <a:gd name="T38" fmla="*/ 1351 w 2535"/>
                  <a:gd name="T39" fmla="*/ 481 h 3540"/>
                  <a:gd name="T40" fmla="*/ 1377 w 2535"/>
                  <a:gd name="T41" fmla="*/ 4 h 3540"/>
                  <a:gd name="T42" fmla="*/ 1687 w 2535"/>
                  <a:gd name="T43" fmla="*/ 71 h 3540"/>
                  <a:gd name="T44" fmla="*/ 1965 w 2535"/>
                  <a:gd name="T45" fmla="*/ 209 h 3540"/>
                  <a:gd name="T46" fmla="*/ 2199 w 2535"/>
                  <a:gd name="T47" fmla="*/ 409 h 3540"/>
                  <a:gd name="T48" fmla="*/ 2379 w 2535"/>
                  <a:gd name="T49" fmla="*/ 657 h 3540"/>
                  <a:gd name="T50" fmla="*/ 2494 w 2535"/>
                  <a:gd name="T51" fmla="*/ 948 h 3540"/>
                  <a:gd name="T52" fmla="*/ 2535 w 2535"/>
                  <a:gd name="T53" fmla="*/ 1267 h 3540"/>
                  <a:gd name="T54" fmla="*/ 2497 w 2535"/>
                  <a:gd name="T55" fmla="*/ 1594 h 3540"/>
                  <a:gd name="T56" fmla="*/ 2395 w 2535"/>
                  <a:gd name="T57" fmla="*/ 1924 h 3540"/>
                  <a:gd name="T58" fmla="*/ 2248 w 2535"/>
                  <a:gd name="T59" fmla="*/ 2246 h 3540"/>
                  <a:gd name="T60" fmla="*/ 2075 w 2535"/>
                  <a:gd name="T61" fmla="*/ 2545 h 3540"/>
                  <a:gd name="T62" fmla="*/ 1898 w 2535"/>
                  <a:gd name="T63" fmla="*/ 2812 h 3540"/>
                  <a:gd name="T64" fmla="*/ 1726 w 2535"/>
                  <a:gd name="T65" fmla="*/ 3041 h 3540"/>
                  <a:gd name="T66" fmla="*/ 1566 w 2535"/>
                  <a:gd name="T67" fmla="*/ 3241 h 3540"/>
                  <a:gd name="T68" fmla="*/ 1428 w 2535"/>
                  <a:gd name="T69" fmla="*/ 3401 h 3540"/>
                  <a:gd name="T70" fmla="*/ 1320 w 2535"/>
                  <a:gd name="T71" fmla="*/ 3517 h 3540"/>
                  <a:gd name="T72" fmla="*/ 1268 w 2535"/>
                  <a:gd name="T73" fmla="*/ 3540 h 3540"/>
                  <a:gd name="T74" fmla="*/ 1214 w 2535"/>
                  <a:gd name="T75" fmla="*/ 3517 h 3540"/>
                  <a:gd name="T76" fmla="*/ 1108 w 2535"/>
                  <a:gd name="T77" fmla="*/ 3401 h 3540"/>
                  <a:gd name="T78" fmla="*/ 968 w 2535"/>
                  <a:gd name="T79" fmla="*/ 3241 h 3540"/>
                  <a:gd name="T80" fmla="*/ 808 w 2535"/>
                  <a:gd name="T81" fmla="*/ 3043 h 3540"/>
                  <a:gd name="T82" fmla="*/ 638 w 2535"/>
                  <a:gd name="T83" fmla="*/ 2813 h 3540"/>
                  <a:gd name="T84" fmla="*/ 459 w 2535"/>
                  <a:gd name="T85" fmla="*/ 2547 h 3540"/>
                  <a:gd name="T86" fmla="*/ 288 w 2535"/>
                  <a:gd name="T87" fmla="*/ 2246 h 3540"/>
                  <a:gd name="T88" fmla="*/ 141 w 2535"/>
                  <a:gd name="T89" fmla="*/ 1924 h 3540"/>
                  <a:gd name="T90" fmla="*/ 37 w 2535"/>
                  <a:gd name="T91" fmla="*/ 1594 h 3540"/>
                  <a:gd name="T92" fmla="*/ 0 w 2535"/>
                  <a:gd name="T93" fmla="*/ 1267 h 3540"/>
                  <a:gd name="T94" fmla="*/ 40 w 2535"/>
                  <a:gd name="T95" fmla="*/ 948 h 3540"/>
                  <a:gd name="T96" fmla="*/ 155 w 2535"/>
                  <a:gd name="T97" fmla="*/ 657 h 3540"/>
                  <a:gd name="T98" fmla="*/ 336 w 2535"/>
                  <a:gd name="T99" fmla="*/ 409 h 3540"/>
                  <a:gd name="T100" fmla="*/ 570 w 2535"/>
                  <a:gd name="T101" fmla="*/ 209 h 3540"/>
                  <a:gd name="T102" fmla="*/ 848 w 2535"/>
                  <a:gd name="T103" fmla="*/ 71 h 3540"/>
                  <a:gd name="T104" fmla="*/ 1157 w 2535"/>
                  <a:gd name="T105" fmla="*/ 4 h 3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35" h="3540">
                    <a:moveTo>
                      <a:pt x="1268" y="477"/>
                    </a:moveTo>
                    <a:lnTo>
                      <a:pt x="1184" y="481"/>
                    </a:lnTo>
                    <a:lnTo>
                      <a:pt x="1102" y="494"/>
                    </a:lnTo>
                    <a:lnTo>
                      <a:pt x="1024" y="516"/>
                    </a:lnTo>
                    <a:lnTo>
                      <a:pt x="948" y="545"/>
                    </a:lnTo>
                    <a:lnTo>
                      <a:pt x="877" y="583"/>
                    </a:lnTo>
                    <a:lnTo>
                      <a:pt x="810" y="627"/>
                    </a:lnTo>
                    <a:lnTo>
                      <a:pt x="749" y="676"/>
                    </a:lnTo>
                    <a:lnTo>
                      <a:pt x="693" y="733"/>
                    </a:lnTo>
                    <a:lnTo>
                      <a:pt x="643" y="794"/>
                    </a:lnTo>
                    <a:lnTo>
                      <a:pt x="599" y="861"/>
                    </a:lnTo>
                    <a:lnTo>
                      <a:pt x="563" y="931"/>
                    </a:lnTo>
                    <a:lnTo>
                      <a:pt x="533" y="1006"/>
                    </a:lnTo>
                    <a:lnTo>
                      <a:pt x="512" y="1085"/>
                    </a:lnTo>
                    <a:lnTo>
                      <a:pt x="499" y="1166"/>
                    </a:lnTo>
                    <a:lnTo>
                      <a:pt x="493" y="1251"/>
                    </a:lnTo>
                    <a:lnTo>
                      <a:pt x="499" y="1335"/>
                    </a:lnTo>
                    <a:lnTo>
                      <a:pt x="512" y="1417"/>
                    </a:lnTo>
                    <a:lnTo>
                      <a:pt x="533" y="1495"/>
                    </a:lnTo>
                    <a:lnTo>
                      <a:pt x="563" y="1571"/>
                    </a:lnTo>
                    <a:lnTo>
                      <a:pt x="599" y="1641"/>
                    </a:lnTo>
                    <a:lnTo>
                      <a:pt x="643" y="1708"/>
                    </a:lnTo>
                    <a:lnTo>
                      <a:pt x="693" y="1769"/>
                    </a:lnTo>
                    <a:lnTo>
                      <a:pt x="749" y="1825"/>
                    </a:lnTo>
                    <a:lnTo>
                      <a:pt x="810" y="1875"/>
                    </a:lnTo>
                    <a:lnTo>
                      <a:pt x="877" y="1920"/>
                    </a:lnTo>
                    <a:lnTo>
                      <a:pt x="948" y="1956"/>
                    </a:lnTo>
                    <a:lnTo>
                      <a:pt x="1024" y="1985"/>
                    </a:lnTo>
                    <a:lnTo>
                      <a:pt x="1102" y="2007"/>
                    </a:lnTo>
                    <a:lnTo>
                      <a:pt x="1184" y="2020"/>
                    </a:lnTo>
                    <a:lnTo>
                      <a:pt x="1268" y="2025"/>
                    </a:lnTo>
                    <a:lnTo>
                      <a:pt x="1351" y="2020"/>
                    </a:lnTo>
                    <a:lnTo>
                      <a:pt x="1434" y="2007"/>
                    </a:lnTo>
                    <a:lnTo>
                      <a:pt x="1512" y="1985"/>
                    </a:lnTo>
                    <a:lnTo>
                      <a:pt x="1587" y="1956"/>
                    </a:lnTo>
                    <a:lnTo>
                      <a:pt x="1658" y="1920"/>
                    </a:lnTo>
                    <a:lnTo>
                      <a:pt x="1725" y="1875"/>
                    </a:lnTo>
                    <a:lnTo>
                      <a:pt x="1786" y="1825"/>
                    </a:lnTo>
                    <a:lnTo>
                      <a:pt x="1843" y="1769"/>
                    </a:lnTo>
                    <a:lnTo>
                      <a:pt x="1892" y="1708"/>
                    </a:lnTo>
                    <a:lnTo>
                      <a:pt x="1936" y="1641"/>
                    </a:lnTo>
                    <a:lnTo>
                      <a:pt x="1972" y="1571"/>
                    </a:lnTo>
                    <a:lnTo>
                      <a:pt x="2003" y="1495"/>
                    </a:lnTo>
                    <a:lnTo>
                      <a:pt x="2023" y="1417"/>
                    </a:lnTo>
                    <a:lnTo>
                      <a:pt x="2037" y="1335"/>
                    </a:lnTo>
                    <a:lnTo>
                      <a:pt x="2042" y="1251"/>
                    </a:lnTo>
                    <a:lnTo>
                      <a:pt x="2037" y="1166"/>
                    </a:lnTo>
                    <a:lnTo>
                      <a:pt x="2023" y="1085"/>
                    </a:lnTo>
                    <a:lnTo>
                      <a:pt x="2003" y="1006"/>
                    </a:lnTo>
                    <a:lnTo>
                      <a:pt x="1972" y="931"/>
                    </a:lnTo>
                    <a:lnTo>
                      <a:pt x="1936" y="861"/>
                    </a:lnTo>
                    <a:lnTo>
                      <a:pt x="1892" y="794"/>
                    </a:lnTo>
                    <a:lnTo>
                      <a:pt x="1843" y="733"/>
                    </a:lnTo>
                    <a:lnTo>
                      <a:pt x="1786" y="676"/>
                    </a:lnTo>
                    <a:lnTo>
                      <a:pt x="1725" y="627"/>
                    </a:lnTo>
                    <a:lnTo>
                      <a:pt x="1658" y="583"/>
                    </a:lnTo>
                    <a:lnTo>
                      <a:pt x="1587" y="545"/>
                    </a:lnTo>
                    <a:lnTo>
                      <a:pt x="1512" y="516"/>
                    </a:lnTo>
                    <a:lnTo>
                      <a:pt x="1434" y="494"/>
                    </a:lnTo>
                    <a:lnTo>
                      <a:pt x="1351" y="481"/>
                    </a:lnTo>
                    <a:lnTo>
                      <a:pt x="1268" y="477"/>
                    </a:lnTo>
                    <a:close/>
                    <a:moveTo>
                      <a:pt x="1268" y="0"/>
                    </a:moveTo>
                    <a:lnTo>
                      <a:pt x="1377" y="4"/>
                    </a:lnTo>
                    <a:lnTo>
                      <a:pt x="1483" y="17"/>
                    </a:lnTo>
                    <a:lnTo>
                      <a:pt x="1587" y="41"/>
                    </a:lnTo>
                    <a:lnTo>
                      <a:pt x="1687" y="71"/>
                    </a:lnTo>
                    <a:lnTo>
                      <a:pt x="1784" y="110"/>
                    </a:lnTo>
                    <a:lnTo>
                      <a:pt x="1877" y="156"/>
                    </a:lnTo>
                    <a:lnTo>
                      <a:pt x="1965" y="209"/>
                    </a:lnTo>
                    <a:lnTo>
                      <a:pt x="2049" y="269"/>
                    </a:lnTo>
                    <a:lnTo>
                      <a:pt x="2126" y="336"/>
                    </a:lnTo>
                    <a:lnTo>
                      <a:pt x="2199" y="409"/>
                    </a:lnTo>
                    <a:lnTo>
                      <a:pt x="2266" y="486"/>
                    </a:lnTo>
                    <a:lnTo>
                      <a:pt x="2325" y="570"/>
                    </a:lnTo>
                    <a:lnTo>
                      <a:pt x="2379" y="657"/>
                    </a:lnTo>
                    <a:lnTo>
                      <a:pt x="2424" y="750"/>
                    </a:lnTo>
                    <a:lnTo>
                      <a:pt x="2464" y="848"/>
                    </a:lnTo>
                    <a:lnTo>
                      <a:pt x="2494" y="948"/>
                    </a:lnTo>
                    <a:lnTo>
                      <a:pt x="2517" y="1052"/>
                    </a:lnTo>
                    <a:lnTo>
                      <a:pt x="2531" y="1158"/>
                    </a:lnTo>
                    <a:lnTo>
                      <a:pt x="2535" y="1267"/>
                    </a:lnTo>
                    <a:lnTo>
                      <a:pt x="2531" y="1376"/>
                    </a:lnTo>
                    <a:lnTo>
                      <a:pt x="2517" y="1485"/>
                    </a:lnTo>
                    <a:lnTo>
                      <a:pt x="2497" y="1594"/>
                    </a:lnTo>
                    <a:lnTo>
                      <a:pt x="2469" y="1705"/>
                    </a:lnTo>
                    <a:lnTo>
                      <a:pt x="2435" y="1815"/>
                    </a:lnTo>
                    <a:lnTo>
                      <a:pt x="2395" y="1924"/>
                    </a:lnTo>
                    <a:lnTo>
                      <a:pt x="2350" y="2033"/>
                    </a:lnTo>
                    <a:lnTo>
                      <a:pt x="2301" y="2140"/>
                    </a:lnTo>
                    <a:lnTo>
                      <a:pt x="2248" y="2246"/>
                    </a:lnTo>
                    <a:lnTo>
                      <a:pt x="2193" y="2349"/>
                    </a:lnTo>
                    <a:lnTo>
                      <a:pt x="2135" y="2448"/>
                    </a:lnTo>
                    <a:lnTo>
                      <a:pt x="2075" y="2545"/>
                    </a:lnTo>
                    <a:lnTo>
                      <a:pt x="2016" y="2638"/>
                    </a:lnTo>
                    <a:lnTo>
                      <a:pt x="1957" y="2727"/>
                    </a:lnTo>
                    <a:lnTo>
                      <a:pt x="1898" y="2812"/>
                    </a:lnTo>
                    <a:lnTo>
                      <a:pt x="1841" y="2892"/>
                    </a:lnTo>
                    <a:lnTo>
                      <a:pt x="1783" y="2969"/>
                    </a:lnTo>
                    <a:lnTo>
                      <a:pt x="1726" y="3041"/>
                    </a:lnTo>
                    <a:lnTo>
                      <a:pt x="1671" y="3111"/>
                    </a:lnTo>
                    <a:lnTo>
                      <a:pt x="1619" y="3178"/>
                    </a:lnTo>
                    <a:lnTo>
                      <a:pt x="1566" y="3241"/>
                    </a:lnTo>
                    <a:lnTo>
                      <a:pt x="1517" y="3297"/>
                    </a:lnTo>
                    <a:lnTo>
                      <a:pt x="1470" y="3351"/>
                    </a:lnTo>
                    <a:lnTo>
                      <a:pt x="1428" y="3401"/>
                    </a:lnTo>
                    <a:lnTo>
                      <a:pt x="1387" y="3444"/>
                    </a:lnTo>
                    <a:lnTo>
                      <a:pt x="1352" y="3484"/>
                    </a:lnTo>
                    <a:lnTo>
                      <a:pt x="1320" y="3517"/>
                    </a:lnTo>
                    <a:lnTo>
                      <a:pt x="1304" y="3530"/>
                    </a:lnTo>
                    <a:lnTo>
                      <a:pt x="1287" y="3537"/>
                    </a:lnTo>
                    <a:lnTo>
                      <a:pt x="1268" y="3540"/>
                    </a:lnTo>
                    <a:lnTo>
                      <a:pt x="1248" y="3537"/>
                    </a:lnTo>
                    <a:lnTo>
                      <a:pt x="1230" y="3530"/>
                    </a:lnTo>
                    <a:lnTo>
                      <a:pt x="1214" y="3517"/>
                    </a:lnTo>
                    <a:lnTo>
                      <a:pt x="1184" y="3484"/>
                    </a:lnTo>
                    <a:lnTo>
                      <a:pt x="1147" y="3444"/>
                    </a:lnTo>
                    <a:lnTo>
                      <a:pt x="1108" y="3401"/>
                    </a:lnTo>
                    <a:lnTo>
                      <a:pt x="1064" y="3353"/>
                    </a:lnTo>
                    <a:lnTo>
                      <a:pt x="1018" y="3299"/>
                    </a:lnTo>
                    <a:lnTo>
                      <a:pt x="968" y="3241"/>
                    </a:lnTo>
                    <a:lnTo>
                      <a:pt x="917" y="3178"/>
                    </a:lnTo>
                    <a:lnTo>
                      <a:pt x="864" y="3113"/>
                    </a:lnTo>
                    <a:lnTo>
                      <a:pt x="808" y="3043"/>
                    </a:lnTo>
                    <a:lnTo>
                      <a:pt x="752" y="2969"/>
                    </a:lnTo>
                    <a:lnTo>
                      <a:pt x="695" y="2893"/>
                    </a:lnTo>
                    <a:lnTo>
                      <a:pt x="638" y="2813"/>
                    </a:lnTo>
                    <a:lnTo>
                      <a:pt x="579" y="2729"/>
                    </a:lnTo>
                    <a:lnTo>
                      <a:pt x="519" y="2640"/>
                    </a:lnTo>
                    <a:lnTo>
                      <a:pt x="459" y="2547"/>
                    </a:lnTo>
                    <a:lnTo>
                      <a:pt x="401" y="2449"/>
                    </a:lnTo>
                    <a:lnTo>
                      <a:pt x="343" y="2349"/>
                    </a:lnTo>
                    <a:lnTo>
                      <a:pt x="288" y="2246"/>
                    </a:lnTo>
                    <a:lnTo>
                      <a:pt x="234" y="2141"/>
                    </a:lnTo>
                    <a:lnTo>
                      <a:pt x="186" y="2033"/>
                    </a:lnTo>
                    <a:lnTo>
                      <a:pt x="141" y="1924"/>
                    </a:lnTo>
                    <a:lnTo>
                      <a:pt x="100" y="1815"/>
                    </a:lnTo>
                    <a:lnTo>
                      <a:pt x="67" y="1705"/>
                    </a:lnTo>
                    <a:lnTo>
                      <a:pt x="37" y="1594"/>
                    </a:lnTo>
                    <a:lnTo>
                      <a:pt x="17" y="1485"/>
                    </a:lnTo>
                    <a:lnTo>
                      <a:pt x="4" y="1376"/>
                    </a:lnTo>
                    <a:lnTo>
                      <a:pt x="0" y="1267"/>
                    </a:lnTo>
                    <a:lnTo>
                      <a:pt x="4" y="1158"/>
                    </a:lnTo>
                    <a:lnTo>
                      <a:pt x="19" y="1052"/>
                    </a:lnTo>
                    <a:lnTo>
                      <a:pt x="40" y="948"/>
                    </a:lnTo>
                    <a:lnTo>
                      <a:pt x="71" y="848"/>
                    </a:lnTo>
                    <a:lnTo>
                      <a:pt x="110" y="750"/>
                    </a:lnTo>
                    <a:lnTo>
                      <a:pt x="155" y="657"/>
                    </a:lnTo>
                    <a:lnTo>
                      <a:pt x="209" y="570"/>
                    </a:lnTo>
                    <a:lnTo>
                      <a:pt x="269" y="486"/>
                    </a:lnTo>
                    <a:lnTo>
                      <a:pt x="336" y="409"/>
                    </a:lnTo>
                    <a:lnTo>
                      <a:pt x="408" y="336"/>
                    </a:lnTo>
                    <a:lnTo>
                      <a:pt x="487" y="269"/>
                    </a:lnTo>
                    <a:lnTo>
                      <a:pt x="570" y="209"/>
                    </a:lnTo>
                    <a:lnTo>
                      <a:pt x="659" y="156"/>
                    </a:lnTo>
                    <a:lnTo>
                      <a:pt x="750" y="110"/>
                    </a:lnTo>
                    <a:lnTo>
                      <a:pt x="848" y="71"/>
                    </a:lnTo>
                    <a:lnTo>
                      <a:pt x="948" y="41"/>
                    </a:lnTo>
                    <a:lnTo>
                      <a:pt x="1051" y="17"/>
                    </a:lnTo>
                    <a:lnTo>
                      <a:pt x="1157" y="4"/>
                    </a:lnTo>
                    <a:lnTo>
                      <a:pt x="12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147" name="Rectangle 146"/>
          <p:cNvSpPr/>
          <p:nvPr/>
        </p:nvSpPr>
        <p:spPr bwMode="ltGray">
          <a:xfrm>
            <a:off x="6174395" y="-1"/>
            <a:ext cx="2969606" cy="39378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  <a:latin typeface="+mj-lt"/>
              </a:rPr>
              <a:t>Промышленное производство, транспорт, розница</a:t>
            </a:r>
            <a:endParaRPr lang="ru-RU" sz="9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99717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42747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9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3" name="Wykres 58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85704642"/>
              </p:ext>
            </p:extLst>
          </p:nvPr>
        </p:nvGraphicFramePr>
        <p:xfrm>
          <a:off x="3776471" y="2881271"/>
          <a:ext cx="4900557" cy="1508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734032"/>
            <a:ext cx="738960" cy="2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Машинное обучение</a:t>
            </a:r>
          </a:p>
        </p:txBody>
      </p:sp>
      <p:sp>
        <p:nvSpPr>
          <p:cNvPr id="40" name="Rectangle 17"/>
          <p:cNvSpPr>
            <a:spLocks/>
          </p:cNvSpPr>
          <p:nvPr/>
        </p:nvSpPr>
        <p:spPr bwMode="auto">
          <a:xfrm>
            <a:off x="249055" y="3239123"/>
            <a:ext cx="626386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Данные</a:t>
            </a:r>
            <a:endParaRPr lang="ru-RU" sz="1050" b="1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470547" y="4309578"/>
            <a:ext cx="4909626" cy="1934338"/>
            <a:chOff x="4233672" y="4204397"/>
            <a:chExt cx="4412206" cy="2119994"/>
          </a:xfrm>
        </p:grpSpPr>
        <p:sp>
          <p:nvSpPr>
            <p:cNvPr id="33" name="Prostokąt 15"/>
            <p:cNvSpPr/>
            <p:nvPr/>
          </p:nvSpPr>
          <p:spPr bwMode="ltGray">
            <a:xfrm>
              <a:off x="5325358" y="4429157"/>
              <a:ext cx="814263" cy="335053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+mj-lt"/>
                </a:rPr>
                <a:t>50 %</a:t>
              </a:r>
              <a:endParaRPr lang="ru-RU" sz="10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4" name="Prostokąt 16"/>
            <p:cNvSpPr/>
            <p:nvPr/>
          </p:nvSpPr>
          <p:spPr bwMode="ltGray">
            <a:xfrm>
              <a:off x="6139621" y="4429157"/>
              <a:ext cx="814263" cy="335053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+mj-lt"/>
                </a:rPr>
                <a:t>30 %</a:t>
              </a:r>
              <a:endParaRPr lang="ru-RU" sz="10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5" name="Prostokąt 17"/>
            <p:cNvSpPr/>
            <p:nvPr/>
          </p:nvSpPr>
          <p:spPr bwMode="ltGray">
            <a:xfrm>
              <a:off x="6953884" y="4429157"/>
              <a:ext cx="814263" cy="335053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+mj-lt"/>
                </a:rPr>
                <a:t>15 %</a:t>
              </a:r>
              <a:endParaRPr lang="ru-RU" sz="10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8" name="Prostokąt 18"/>
            <p:cNvSpPr/>
            <p:nvPr/>
          </p:nvSpPr>
          <p:spPr bwMode="ltGray">
            <a:xfrm>
              <a:off x="7768148" y="4429157"/>
              <a:ext cx="814263" cy="335053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+mj-lt"/>
                </a:rPr>
                <a:t>5 %</a:t>
              </a:r>
              <a:endParaRPr lang="ru-RU" sz="10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9" name="Prostokąt 19"/>
            <p:cNvSpPr/>
            <p:nvPr/>
          </p:nvSpPr>
          <p:spPr bwMode="ltGray">
            <a:xfrm>
              <a:off x="5325358" y="4764210"/>
              <a:ext cx="814263" cy="335053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+mj-lt"/>
                </a:rPr>
                <a:t>27</a:t>
              </a:r>
              <a:endParaRPr lang="ru-RU" sz="1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6" name="Prostokąt 20"/>
            <p:cNvSpPr/>
            <p:nvPr/>
          </p:nvSpPr>
          <p:spPr bwMode="ltGray">
            <a:xfrm>
              <a:off x="6139621" y="4764210"/>
              <a:ext cx="814263" cy="335053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+mj-lt"/>
                </a:rPr>
                <a:t>68</a:t>
              </a:r>
              <a:endParaRPr lang="ru-RU" sz="1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7" name="Prostokąt 21"/>
            <p:cNvSpPr/>
            <p:nvPr/>
          </p:nvSpPr>
          <p:spPr bwMode="ltGray">
            <a:xfrm>
              <a:off x="6953884" y="4764210"/>
              <a:ext cx="814263" cy="335053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+mj-lt"/>
                </a:rPr>
                <a:t>99</a:t>
              </a:r>
              <a:endParaRPr lang="ru-RU" sz="1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8" name="Prostokąt 22"/>
            <p:cNvSpPr/>
            <p:nvPr/>
          </p:nvSpPr>
          <p:spPr bwMode="ltGray">
            <a:xfrm>
              <a:off x="7768148" y="4764210"/>
              <a:ext cx="814263" cy="335053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+mj-lt"/>
                </a:rPr>
                <a:t>123</a:t>
              </a:r>
              <a:endParaRPr lang="ru-RU" sz="1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9" name="Prostokąt 23"/>
            <p:cNvSpPr/>
            <p:nvPr/>
          </p:nvSpPr>
          <p:spPr bwMode="ltGray">
            <a:xfrm>
              <a:off x="5325358" y="5099262"/>
              <a:ext cx="814263" cy="335053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+mj-lt"/>
                </a:rPr>
                <a:t>49</a:t>
              </a:r>
              <a:endParaRPr lang="ru-RU" sz="1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0" name="Prostokąt 24"/>
            <p:cNvSpPr/>
            <p:nvPr/>
          </p:nvSpPr>
          <p:spPr bwMode="ltGray">
            <a:xfrm>
              <a:off x="6139621" y="5099262"/>
              <a:ext cx="814263" cy="335053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+mj-lt"/>
                </a:rPr>
                <a:t>97</a:t>
              </a:r>
              <a:endParaRPr lang="ru-RU" sz="1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1" name="Prostokąt 25"/>
            <p:cNvSpPr/>
            <p:nvPr/>
          </p:nvSpPr>
          <p:spPr bwMode="ltGray">
            <a:xfrm>
              <a:off x="6953884" y="5099262"/>
              <a:ext cx="814263" cy="335053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+mj-lt"/>
                </a:rPr>
                <a:t>113</a:t>
              </a:r>
              <a:endParaRPr lang="ru-RU" sz="1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2" name="Prostokąt 26"/>
            <p:cNvSpPr/>
            <p:nvPr/>
          </p:nvSpPr>
          <p:spPr bwMode="ltGray">
            <a:xfrm>
              <a:off x="7768148" y="5099262"/>
              <a:ext cx="814263" cy="335054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+mj-lt"/>
                </a:rPr>
                <a:t>149</a:t>
              </a:r>
              <a:endParaRPr lang="ru-RU" sz="1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3" name="Prostokąt 27"/>
            <p:cNvSpPr/>
            <p:nvPr/>
          </p:nvSpPr>
          <p:spPr bwMode="ltGray">
            <a:xfrm>
              <a:off x="5325360" y="5434316"/>
              <a:ext cx="814263" cy="335054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+mj-lt"/>
                </a:rPr>
                <a:t>83</a:t>
              </a:r>
              <a:endParaRPr lang="ru-RU" sz="1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4" name="Prostokąt 28"/>
            <p:cNvSpPr/>
            <p:nvPr/>
          </p:nvSpPr>
          <p:spPr bwMode="ltGray">
            <a:xfrm>
              <a:off x="6139619" y="5434316"/>
              <a:ext cx="814263" cy="335054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+mj-lt"/>
                </a:rPr>
                <a:t>147</a:t>
              </a:r>
              <a:endParaRPr lang="ru-RU" sz="1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5" name="Prostokąt 29"/>
            <p:cNvSpPr/>
            <p:nvPr/>
          </p:nvSpPr>
          <p:spPr bwMode="ltGray">
            <a:xfrm>
              <a:off x="6953884" y="5434316"/>
              <a:ext cx="814263" cy="335054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+mj-lt"/>
                </a:rPr>
                <a:t>119</a:t>
              </a:r>
              <a:endParaRPr lang="ru-RU" sz="1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6" name="Prostokąt 30"/>
            <p:cNvSpPr/>
            <p:nvPr/>
          </p:nvSpPr>
          <p:spPr bwMode="ltGray">
            <a:xfrm>
              <a:off x="7768148" y="5434316"/>
              <a:ext cx="814263" cy="335054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+mj-lt"/>
                </a:rPr>
                <a:t>96</a:t>
              </a:r>
              <a:endParaRPr lang="ru-RU" sz="1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7" name="Prostokąt 31"/>
            <p:cNvSpPr/>
            <p:nvPr/>
          </p:nvSpPr>
          <p:spPr bwMode="ltGray">
            <a:xfrm>
              <a:off x="5325360" y="5769369"/>
              <a:ext cx="814263" cy="33505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+mj-lt"/>
                </a:rPr>
                <a:t>121</a:t>
              </a:r>
              <a:endParaRPr lang="ru-RU" sz="1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8" name="Prostokąt 32"/>
            <p:cNvSpPr/>
            <p:nvPr/>
          </p:nvSpPr>
          <p:spPr bwMode="ltGray">
            <a:xfrm>
              <a:off x="6139619" y="5769369"/>
              <a:ext cx="814263" cy="33505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+mj-lt"/>
                </a:rPr>
                <a:t>133</a:t>
              </a:r>
              <a:endParaRPr lang="ru-RU" sz="1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9" name="Prostokąt 33"/>
            <p:cNvSpPr/>
            <p:nvPr/>
          </p:nvSpPr>
          <p:spPr bwMode="ltGray">
            <a:xfrm>
              <a:off x="6953884" y="5769369"/>
              <a:ext cx="814263" cy="335054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+mj-lt"/>
                </a:rPr>
                <a:t>188</a:t>
              </a:r>
              <a:endParaRPr lang="ru-RU" sz="1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0" name="Prostokąt 34"/>
            <p:cNvSpPr/>
            <p:nvPr/>
          </p:nvSpPr>
          <p:spPr bwMode="ltGray">
            <a:xfrm>
              <a:off x="7768148" y="5769369"/>
              <a:ext cx="814263" cy="335054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  <a:latin typeface="+mj-lt"/>
                </a:rPr>
                <a:t>246</a:t>
              </a:r>
              <a:endParaRPr lang="ru-RU" sz="1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1" name="Prostokąt 35"/>
            <p:cNvSpPr/>
            <p:nvPr/>
          </p:nvSpPr>
          <p:spPr bwMode="ltGray">
            <a:xfrm>
              <a:off x="4511097" y="4764210"/>
              <a:ext cx="814263" cy="335053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+mj-lt"/>
                </a:rPr>
                <a:t>50 %</a:t>
              </a:r>
              <a:endParaRPr lang="ru-RU" sz="10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2" name="Prostokąt 36"/>
            <p:cNvSpPr/>
            <p:nvPr/>
          </p:nvSpPr>
          <p:spPr bwMode="ltGray">
            <a:xfrm>
              <a:off x="4511097" y="5099263"/>
              <a:ext cx="814263" cy="335053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+mj-lt"/>
                </a:rPr>
                <a:t>30 %</a:t>
              </a:r>
              <a:endParaRPr lang="ru-RU" sz="10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3" name="Prostokąt 37"/>
            <p:cNvSpPr/>
            <p:nvPr/>
          </p:nvSpPr>
          <p:spPr bwMode="ltGray">
            <a:xfrm>
              <a:off x="4511095" y="5434316"/>
              <a:ext cx="814263" cy="335054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+mj-lt"/>
                </a:rPr>
                <a:t>15 %</a:t>
              </a:r>
              <a:endParaRPr lang="ru-RU" sz="10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4" name="Prostokąt 38"/>
            <p:cNvSpPr/>
            <p:nvPr/>
          </p:nvSpPr>
          <p:spPr bwMode="ltGray">
            <a:xfrm>
              <a:off x="4511095" y="5769369"/>
              <a:ext cx="814263" cy="335054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+mj-lt"/>
                </a:rPr>
                <a:t>5 %</a:t>
              </a:r>
              <a:endParaRPr lang="ru-RU" sz="10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5" name="Trójkąt równoramienny 39"/>
            <p:cNvSpPr/>
            <p:nvPr/>
          </p:nvSpPr>
          <p:spPr bwMode="ltGray">
            <a:xfrm rot="5400000">
              <a:off x="5423524" y="4666043"/>
              <a:ext cx="225947" cy="422280"/>
            </a:xfrm>
            <a:prstGeom prst="triangle">
              <a:avLst>
                <a:gd name="adj" fmla="val 0"/>
              </a:avLst>
            </a:prstGeom>
            <a:solidFill>
              <a:srgbClr val="A7A49B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lIns="36000" tIns="0" rIns="0" bIns="36000" rtlCol="0" anchor="ctr"/>
            <a:lstStyle/>
            <a:p>
              <a:pPr algn="ctr"/>
              <a:r>
                <a:rPr lang="ru-RU" sz="700" dirty="0" smtClean="0">
                  <a:solidFill>
                    <a:schemeClr val="bg1"/>
                  </a:solidFill>
                  <a:latin typeface="+mj-lt"/>
                </a:rPr>
                <a:t>1 %</a:t>
              </a:r>
              <a:endParaRPr lang="ru-RU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6" name="Trójkąt równoramienny 40"/>
            <p:cNvSpPr/>
            <p:nvPr/>
          </p:nvSpPr>
          <p:spPr bwMode="ltGray">
            <a:xfrm rot="5400000">
              <a:off x="6237787" y="4666043"/>
              <a:ext cx="225947" cy="422280"/>
            </a:xfrm>
            <a:prstGeom prst="triangle">
              <a:avLst>
                <a:gd name="adj" fmla="val 0"/>
              </a:avLst>
            </a:prstGeom>
            <a:solidFill>
              <a:srgbClr val="A7A49B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lIns="36000" tIns="0" rIns="0" bIns="36000" rtlCol="0" anchor="ctr"/>
            <a:lstStyle/>
            <a:p>
              <a:pPr algn="ctr"/>
              <a:r>
                <a:rPr lang="ru-RU" sz="700" dirty="0" smtClean="0">
                  <a:solidFill>
                    <a:schemeClr val="bg1"/>
                  </a:solidFill>
                  <a:latin typeface="+mj-lt"/>
                </a:rPr>
                <a:t>4 %</a:t>
              </a:r>
              <a:endParaRPr lang="ru-RU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7" name="Trójkąt równoramienny 41"/>
            <p:cNvSpPr/>
            <p:nvPr/>
          </p:nvSpPr>
          <p:spPr bwMode="ltGray">
            <a:xfrm rot="5400000">
              <a:off x="7052050" y="4666043"/>
              <a:ext cx="225947" cy="422280"/>
            </a:xfrm>
            <a:prstGeom prst="triangle">
              <a:avLst>
                <a:gd name="adj" fmla="val 0"/>
              </a:avLst>
            </a:prstGeom>
            <a:solidFill>
              <a:srgbClr val="A7A49B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lIns="36000" tIns="0" rIns="0" bIns="36000" rtlCol="0" anchor="ctr"/>
            <a:lstStyle/>
            <a:p>
              <a:pPr algn="ctr"/>
              <a:r>
                <a:rPr lang="ru-RU" sz="700" dirty="0" smtClean="0">
                  <a:solidFill>
                    <a:schemeClr val="bg1"/>
                  </a:solidFill>
                  <a:latin typeface="+mj-lt"/>
                </a:rPr>
                <a:t>5 %</a:t>
              </a:r>
              <a:endParaRPr lang="ru-RU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8" name="Trójkąt równoramienny 42"/>
            <p:cNvSpPr/>
            <p:nvPr/>
          </p:nvSpPr>
          <p:spPr bwMode="ltGray">
            <a:xfrm rot="5400000">
              <a:off x="7866314" y="4666043"/>
              <a:ext cx="225947" cy="422280"/>
            </a:xfrm>
            <a:prstGeom prst="triangle">
              <a:avLst>
                <a:gd name="adj" fmla="val 0"/>
              </a:avLst>
            </a:prstGeom>
            <a:solidFill>
              <a:srgbClr val="A7A49B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lIns="36000" tIns="0" rIns="0" bIns="36000" rtlCol="0" anchor="ctr"/>
            <a:lstStyle/>
            <a:p>
              <a:pPr algn="ctr"/>
              <a:r>
                <a:rPr lang="ru-RU" sz="700" dirty="0" smtClean="0">
                  <a:solidFill>
                    <a:schemeClr val="bg1"/>
                  </a:solidFill>
                  <a:latin typeface="+mj-lt"/>
                </a:rPr>
                <a:t>7 %</a:t>
              </a:r>
              <a:endParaRPr lang="ru-RU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9" name="Trójkąt równoramienny 43"/>
            <p:cNvSpPr/>
            <p:nvPr/>
          </p:nvSpPr>
          <p:spPr bwMode="ltGray">
            <a:xfrm rot="5400000">
              <a:off x="5423524" y="5336149"/>
              <a:ext cx="225947" cy="422280"/>
            </a:xfrm>
            <a:prstGeom prst="triangle">
              <a:avLst>
                <a:gd name="adj" fmla="val 0"/>
              </a:avLst>
            </a:prstGeom>
            <a:solidFill>
              <a:srgbClr val="A7A49B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lIns="36000" tIns="0" rIns="0" bIns="36000" rtlCol="0" anchor="ctr"/>
            <a:lstStyle/>
            <a:p>
              <a:pPr algn="ctr"/>
              <a:r>
                <a:rPr lang="ru-RU" sz="700" dirty="0" smtClean="0">
                  <a:solidFill>
                    <a:schemeClr val="bg1"/>
                  </a:solidFill>
                  <a:latin typeface="+mj-lt"/>
                </a:rPr>
                <a:t>4 %</a:t>
              </a:r>
              <a:endParaRPr lang="ru-RU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0" name="Trójkąt równoramienny 44"/>
            <p:cNvSpPr/>
            <p:nvPr/>
          </p:nvSpPr>
          <p:spPr bwMode="ltGray">
            <a:xfrm rot="5400000">
              <a:off x="6237787" y="5336149"/>
              <a:ext cx="225947" cy="422280"/>
            </a:xfrm>
            <a:prstGeom prst="triangle">
              <a:avLst>
                <a:gd name="adj" fmla="val 0"/>
              </a:avLst>
            </a:prstGeom>
            <a:solidFill>
              <a:srgbClr val="A7A49B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lIns="36000" tIns="0" rIns="0" bIns="36000" rtlCol="0" anchor="ctr"/>
            <a:lstStyle/>
            <a:p>
              <a:pPr algn="ctr"/>
              <a:r>
                <a:rPr lang="ru-RU" sz="700" dirty="0" smtClean="0">
                  <a:solidFill>
                    <a:schemeClr val="bg1"/>
                  </a:solidFill>
                  <a:latin typeface="+mj-lt"/>
                </a:rPr>
                <a:t>8 %</a:t>
              </a:r>
              <a:endParaRPr lang="ru-RU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1" name="Trójkąt równoramienny 45"/>
            <p:cNvSpPr/>
            <p:nvPr/>
          </p:nvSpPr>
          <p:spPr bwMode="ltGray">
            <a:xfrm rot="5400000">
              <a:off x="7052050" y="5336149"/>
              <a:ext cx="225947" cy="422280"/>
            </a:xfrm>
            <a:prstGeom prst="triangle">
              <a:avLst>
                <a:gd name="adj" fmla="val 0"/>
              </a:avLst>
            </a:prstGeom>
            <a:solidFill>
              <a:srgbClr val="A7A49B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lIns="36000" tIns="0" rIns="0" bIns="36000" rtlCol="0" anchor="ctr"/>
            <a:lstStyle/>
            <a:p>
              <a:pPr algn="ctr"/>
              <a:r>
                <a:rPr lang="ru-RU" sz="700" dirty="0" smtClean="0">
                  <a:solidFill>
                    <a:schemeClr val="bg1"/>
                  </a:solidFill>
                  <a:latin typeface="+mj-lt"/>
                </a:rPr>
                <a:t>6 %</a:t>
              </a:r>
              <a:endParaRPr lang="ru-RU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2" name="Trójkąt równoramienny 46"/>
            <p:cNvSpPr/>
            <p:nvPr/>
          </p:nvSpPr>
          <p:spPr bwMode="ltGray">
            <a:xfrm rot="5400000">
              <a:off x="7866314" y="5336149"/>
              <a:ext cx="225947" cy="422280"/>
            </a:xfrm>
            <a:prstGeom prst="triangle">
              <a:avLst>
                <a:gd name="adj" fmla="val 0"/>
              </a:avLst>
            </a:prstGeom>
            <a:solidFill>
              <a:srgbClr val="A7A49B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lIns="36000" tIns="0" rIns="0" bIns="36000" rtlCol="0" anchor="ctr"/>
            <a:lstStyle/>
            <a:p>
              <a:pPr algn="ctr"/>
              <a:r>
                <a:rPr lang="ru-RU" sz="700" dirty="0" smtClean="0">
                  <a:solidFill>
                    <a:schemeClr val="bg1"/>
                  </a:solidFill>
                  <a:latin typeface="+mj-lt"/>
                </a:rPr>
                <a:t>5 %</a:t>
              </a:r>
              <a:endParaRPr lang="ru-RU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3" name="Trójkąt równoramienny 47"/>
            <p:cNvSpPr/>
            <p:nvPr/>
          </p:nvSpPr>
          <p:spPr bwMode="ltGray">
            <a:xfrm rot="5400000">
              <a:off x="5423524" y="5001095"/>
              <a:ext cx="225947" cy="422280"/>
            </a:xfrm>
            <a:prstGeom prst="triangle">
              <a:avLst>
                <a:gd name="adj" fmla="val 0"/>
              </a:avLst>
            </a:prstGeom>
            <a:solidFill>
              <a:srgbClr val="A7A49B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lIns="36000" tIns="0" rIns="0" bIns="36000" rtlCol="0" anchor="ctr"/>
            <a:lstStyle/>
            <a:p>
              <a:pPr algn="ctr"/>
              <a:r>
                <a:rPr lang="ru-RU" sz="700" dirty="0" smtClean="0">
                  <a:solidFill>
                    <a:schemeClr val="bg1"/>
                  </a:solidFill>
                  <a:latin typeface="+mj-lt"/>
                </a:rPr>
                <a:t>3 %</a:t>
              </a:r>
              <a:endParaRPr lang="ru-RU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4" name="Trójkąt równoramienny 48"/>
            <p:cNvSpPr/>
            <p:nvPr/>
          </p:nvSpPr>
          <p:spPr bwMode="ltGray">
            <a:xfrm rot="5400000">
              <a:off x="6237787" y="5001095"/>
              <a:ext cx="225947" cy="422280"/>
            </a:xfrm>
            <a:prstGeom prst="triangle">
              <a:avLst>
                <a:gd name="adj" fmla="val 0"/>
              </a:avLst>
            </a:prstGeom>
            <a:solidFill>
              <a:srgbClr val="A7A49B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lIns="36000" tIns="0" rIns="0" bIns="36000" rtlCol="0" anchor="ctr"/>
            <a:lstStyle/>
            <a:p>
              <a:pPr algn="ctr"/>
              <a:r>
                <a:rPr lang="ru-RU" sz="700" dirty="0" smtClean="0">
                  <a:solidFill>
                    <a:schemeClr val="bg1"/>
                  </a:solidFill>
                  <a:latin typeface="+mj-lt"/>
                </a:rPr>
                <a:t>5 %</a:t>
              </a:r>
              <a:endParaRPr lang="ru-RU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5" name="Trójkąt równoramienny 49"/>
            <p:cNvSpPr/>
            <p:nvPr/>
          </p:nvSpPr>
          <p:spPr bwMode="ltGray">
            <a:xfrm rot="5400000">
              <a:off x="7052050" y="5001095"/>
              <a:ext cx="225947" cy="422280"/>
            </a:xfrm>
            <a:prstGeom prst="triangle">
              <a:avLst>
                <a:gd name="adj" fmla="val 0"/>
              </a:avLst>
            </a:prstGeom>
            <a:solidFill>
              <a:srgbClr val="A7A49B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lIns="36000" tIns="0" rIns="0" bIns="36000" rtlCol="0" anchor="ctr"/>
            <a:lstStyle/>
            <a:p>
              <a:pPr algn="ctr"/>
              <a:r>
                <a:rPr lang="ru-RU" sz="700" dirty="0" smtClean="0">
                  <a:solidFill>
                    <a:schemeClr val="bg1"/>
                  </a:solidFill>
                  <a:latin typeface="+mj-lt"/>
                </a:rPr>
                <a:t>6 %</a:t>
              </a:r>
              <a:endParaRPr lang="ru-RU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6" name="Trójkąt równoramienny 50"/>
            <p:cNvSpPr/>
            <p:nvPr/>
          </p:nvSpPr>
          <p:spPr bwMode="ltGray">
            <a:xfrm rot="5400000">
              <a:off x="7866314" y="5001095"/>
              <a:ext cx="225947" cy="422280"/>
            </a:xfrm>
            <a:prstGeom prst="triangle">
              <a:avLst>
                <a:gd name="adj" fmla="val 0"/>
              </a:avLst>
            </a:prstGeom>
            <a:solidFill>
              <a:srgbClr val="A7A49B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lIns="36000" tIns="0" rIns="0" bIns="36000" rtlCol="0" anchor="ctr"/>
            <a:lstStyle/>
            <a:p>
              <a:pPr algn="ctr"/>
              <a:r>
                <a:rPr lang="ru-RU" sz="700" dirty="0" smtClean="0">
                  <a:solidFill>
                    <a:schemeClr val="bg1"/>
                  </a:solidFill>
                  <a:latin typeface="+mj-lt"/>
                </a:rPr>
                <a:t>8 %</a:t>
              </a:r>
              <a:endParaRPr lang="ru-RU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7" name="Trójkąt równoramienny 51"/>
            <p:cNvSpPr/>
            <p:nvPr/>
          </p:nvSpPr>
          <p:spPr bwMode="ltGray">
            <a:xfrm rot="5400000">
              <a:off x="5423524" y="5671202"/>
              <a:ext cx="225947" cy="422280"/>
            </a:xfrm>
            <a:prstGeom prst="triangle">
              <a:avLst>
                <a:gd name="adj" fmla="val 0"/>
              </a:avLst>
            </a:prstGeom>
            <a:solidFill>
              <a:srgbClr val="A7A49B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lIns="36000" tIns="0" rIns="0" bIns="36000" rtlCol="0" anchor="ctr"/>
            <a:lstStyle/>
            <a:p>
              <a:pPr algn="ctr"/>
              <a:r>
                <a:rPr lang="ru-RU" sz="700" dirty="0" smtClean="0">
                  <a:solidFill>
                    <a:schemeClr val="bg1"/>
                  </a:solidFill>
                  <a:latin typeface="+mj-lt"/>
                </a:rPr>
                <a:t>7 %</a:t>
              </a:r>
              <a:endParaRPr lang="ru-RU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8" name="Trójkąt równoramienny 52"/>
            <p:cNvSpPr/>
            <p:nvPr/>
          </p:nvSpPr>
          <p:spPr bwMode="ltGray">
            <a:xfrm rot="5400000">
              <a:off x="6237787" y="5671202"/>
              <a:ext cx="225947" cy="422280"/>
            </a:xfrm>
            <a:prstGeom prst="triangle">
              <a:avLst>
                <a:gd name="adj" fmla="val 0"/>
              </a:avLst>
            </a:prstGeom>
            <a:solidFill>
              <a:srgbClr val="A7A49B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lIns="36000" tIns="0" rIns="0" bIns="36000" rtlCol="0" anchor="ctr"/>
            <a:lstStyle/>
            <a:p>
              <a:pPr algn="ctr"/>
              <a:r>
                <a:rPr lang="ru-RU" sz="700" dirty="0" smtClean="0">
                  <a:solidFill>
                    <a:schemeClr val="bg1"/>
                  </a:solidFill>
                  <a:latin typeface="+mj-lt"/>
                </a:rPr>
                <a:t>7 %</a:t>
              </a:r>
              <a:endParaRPr lang="ru-RU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9" name="Trójkąt równoramienny 53"/>
            <p:cNvSpPr/>
            <p:nvPr/>
          </p:nvSpPr>
          <p:spPr bwMode="ltGray">
            <a:xfrm rot="5400000">
              <a:off x="7052050" y="5671202"/>
              <a:ext cx="225947" cy="422280"/>
            </a:xfrm>
            <a:prstGeom prst="triangle">
              <a:avLst>
                <a:gd name="adj" fmla="val 0"/>
              </a:avLst>
            </a:prstGeom>
            <a:solidFill>
              <a:srgbClr val="A7A49B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lIns="36000" tIns="0" rIns="0" bIns="36000" rtlCol="0" anchor="ctr"/>
            <a:lstStyle/>
            <a:p>
              <a:pPr algn="ctr"/>
              <a:r>
                <a:rPr lang="ru-RU" sz="700" dirty="0" smtClean="0">
                  <a:solidFill>
                    <a:schemeClr val="bg1"/>
                  </a:solidFill>
                  <a:latin typeface="+mj-lt"/>
                </a:rPr>
                <a:t>10 %</a:t>
              </a:r>
              <a:endParaRPr lang="ru-RU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0" name="Trójkąt równoramienny 54"/>
            <p:cNvSpPr/>
            <p:nvPr/>
          </p:nvSpPr>
          <p:spPr bwMode="ltGray">
            <a:xfrm rot="5400000">
              <a:off x="7866314" y="5671202"/>
              <a:ext cx="225947" cy="422280"/>
            </a:xfrm>
            <a:prstGeom prst="triangle">
              <a:avLst>
                <a:gd name="adj" fmla="val 0"/>
              </a:avLst>
            </a:prstGeom>
            <a:solidFill>
              <a:srgbClr val="A7A49B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lIns="36000" tIns="0" rIns="0" bIns="36000" rtlCol="0" anchor="ctr"/>
            <a:lstStyle/>
            <a:p>
              <a:pPr algn="ctr"/>
              <a:r>
                <a:rPr lang="ru-RU" sz="700" dirty="0" smtClean="0">
                  <a:solidFill>
                    <a:schemeClr val="bg1"/>
                  </a:solidFill>
                  <a:latin typeface="+mj-lt"/>
                </a:rPr>
                <a:t>13 %</a:t>
              </a:r>
              <a:endParaRPr lang="ru-RU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1" name="Prostokąt 55"/>
            <p:cNvSpPr/>
            <p:nvPr/>
          </p:nvSpPr>
          <p:spPr bwMode="ltGray">
            <a:xfrm>
              <a:off x="4511097" y="4204397"/>
              <a:ext cx="4071314" cy="224760"/>
            </a:xfrm>
            <a:prstGeom prst="rect">
              <a:avLst/>
            </a:prstGeom>
            <a:solidFill>
              <a:srgbClr val="747066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i="1" dirty="0" smtClean="0">
                  <a:solidFill>
                    <a:schemeClr val="bg1"/>
                  </a:solidFill>
                  <a:latin typeface="+mj-lt"/>
                </a:rPr>
                <a:t>Доля в объеме продаж</a:t>
              </a:r>
              <a:endParaRPr lang="ru-RU" sz="10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2" name="Prostokąt 56"/>
            <p:cNvSpPr/>
            <p:nvPr/>
          </p:nvSpPr>
          <p:spPr bwMode="ltGray">
            <a:xfrm>
              <a:off x="4511097" y="4429157"/>
              <a:ext cx="814263" cy="335053"/>
            </a:xfrm>
            <a:prstGeom prst="rect">
              <a:avLst/>
            </a:prstGeom>
            <a:solidFill>
              <a:srgbClr val="8A867A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en-US" sz="11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3" name="Prostokąt 57"/>
            <p:cNvSpPr/>
            <p:nvPr/>
          </p:nvSpPr>
          <p:spPr bwMode="ltGray">
            <a:xfrm>
              <a:off x="4233672" y="4429156"/>
              <a:ext cx="273050" cy="1675267"/>
            </a:xfrm>
            <a:prstGeom prst="rect">
              <a:avLst/>
            </a:prstGeom>
            <a:solidFill>
              <a:srgbClr val="747066"/>
            </a:solidFill>
            <a:ln w="12700">
              <a:solidFill>
                <a:srgbClr val="747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" tIns="36000" rIns="36000" bIns="36000" rtlCol="0" anchor="ctr"/>
            <a:lstStyle/>
            <a:p>
              <a:pPr algn="ctr"/>
              <a:r>
                <a:rPr lang="ru-RU" sz="1000" i="1" dirty="0" smtClean="0">
                  <a:solidFill>
                    <a:schemeClr val="bg1"/>
                  </a:solidFill>
                  <a:latin typeface="+mj-lt"/>
                </a:rPr>
                <a:t>Доля в прибыли</a:t>
              </a:r>
              <a:endParaRPr lang="ru-RU" sz="1000" i="1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84" name="Group 83"/>
            <p:cNvGrpSpPr/>
            <p:nvPr/>
          </p:nvGrpSpPr>
          <p:grpSpPr>
            <a:xfrm>
              <a:off x="4511095" y="6215284"/>
              <a:ext cx="4134783" cy="109107"/>
              <a:chOff x="1326205" y="4313199"/>
              <a:chExt cx="2376478" cy="152400"/>
            </a:xfrm>
          </p:grpSpPr>
          <p:sp>
            <p:nvSpPr>
              <p:cNvPr id="85" name="TextBox 84"/>
              <p:cNvSpPr txBox="1"/>
              <p:nvPr/>
            </p:nvSpPr>
            <p:spPr>
              <a:xfrm rot="10800000" flipV="1">
                <a:off x="1655072" y="4313199"/>
                <a:ext cx="2047611" cy="1524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indent="-210504">
                  <a:spcAft>
                    <a:spcPts val="691"/>
                  </a:spcAft>
                </a:pPr>
                <a:r>
                  <a:rPr lang="ru-RU" sz="900" i="1" dirty="0" smtClean="0">
                    <a:solidFill>
                      <a:schemeClr val="bg1"/>
                    </a:solidFill>
                    <a:latin typeface="+mj-lt"/>
                  </a:rPr>
                  <a:t>На долю 37 % ассортимента приходится 5 % прибыли</a:t>
                </a:r>
                <a:endParaRPr lang="ru-RU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86" name="Rectangle 85"/>
              <p:cNvSpPr/>
              <p:nvPr/>
            </p:nvSpPr>
            <p:spPr bwMode="ltGray">
              <a:xfrm>
                <a:off x="1326205" y="4364072"/>
                <a:ext cx="104462" cy="7620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en-US" sz="2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87" name="Rectangle 86"/>
              <p:cNvSpPr/>
              <p:nvPr/>
            </p:nvSpPr>
            <p:spPr bwMode="ltGray">
              <a:xfrm>
                <a:off x="1473040" y="4364072"/>
                <a:ext cx="104462" cy="76201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en-US" sz="24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10" name="Rectangle 9"/>
          <p:cNvSpPr/>
          <p:nvPr/>
        </p:nvSpPr>
        <p:spPr>
          <a:xfrm>
            <a:off x="1566597" y="2419235"/>
            <a:ext cx="1732415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i="1" dirty="0">
                <a:solidFill>
                  <a:schemeClr val="bg1"/>
                </a:solidFill>
                <a:latin typeface="+mj-lt"/>
              </a:rPr>
              <a:t>Исключить</a:t>
            </a: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 продукты, снижающие рентабельность и сопряженные с большими затратами на хранение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520103" y="4828632"/>
            <a:ext cx="2230425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sz="1500" i="1" dirty="0">
                <a:solidFill>
                  <a:schemeClr val="bg1"/>
                </a:solidFill>
                <a:latin typeface="+mj-lt"/>
              </a:rPr>
              <a:t>Количественная оценка </a:t>
            </a:r>
            <a:r>
              <a:rPr lang="ru-RU" sz="1500" i="1" dirty="0" smtClean="0">
                <a:solidFill>
                  <a:schemeClr val="bg1"/>
                </a:solidFill>
                <a:latin typeface="+mj-lt"/>
              </a:rPr>
              <a:t>финансового эффекта от оптимизации ассортимента</a:t>
            </a:r>
          </a:p>
        </p:txBody>
      </p:sp>
      <p:pic>
        <p:nvPicPr>
          <p:cNvPr id="91" name="Picture 9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55" y="2365970"/>
            <a:ext cx="525752" cy="381594"/>
          </a:xfrm>
          <a:prstGeom prst="rect">
            <a:avLst/>
          </a:prstGeom>
        </p:spPr>
      </p:pic>
      <p:sp>
        <p:nvSpPr>
          <p:cNvPr id="95" name="TextBox 94"/>
          <p:cNvSpPr txBox="1"/>
          <p:nvPr/>
        </p:nvSpPr>
        <p:spPr>
          <a:xfrm>
            <a:off x="1472896" y="1600319"/>
            <a:ext cx="2203754" cy="8638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Роль продукта в</a:t>
            </a:r>
            <a:r>
              <a:rPr sz="1400" dirty="0">
                <a:solidFill>
                  <a:schemeClr val="bg1"/>
                </a:solidFill>
                <a:latin typeface="+mj-lt"/>
              </a:rPr>
              <a:t/>
            </a:r>
            <a:br>
              <a:rPr sz="1400" dirty="0">
                <a:solidFill>
                  <a:schemeClr val="bg1"/>
                </a:solidFill>
                <a:latin typeface="+mj-lt"/>
              </a:rPr>
            </a:b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портфеле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3566369" y="2109585"/>
            <a:ext cx="1322299" cy="3545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Корреляция с продажами других продуктов</a:t>
            </a:r>
            <a:endParaRPr lang="ru-RU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5255953" y="2109585"/>
            <a:ext cx="1566460" cy="3545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Роль в покупательских привычках</a:t>
            </a:r>
            <a:endParaRPr lang="ru-RU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6979188" y="2109585"/>
            <a:ext cx="1631410" cy="3545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Доля полочного пространства</a:t>
            </a:r>
            <a:endParaRPr lang="ru-RU" sz="12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01" name="Group 100"/>
          <p:cNvGrpSpPr/>
          <p:nvPr/>
        </p:nvGrpSpPr>
        <p:grpSpPr>
          <a:xfrm>
            <a:off x="3868285" y="1269278"/>
            <a:ext cx="718467" cy="683908"/>
            <a:chOff x="5631323" y="1290116"/>
            <a:chExt cx="787233" cy="749367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102" name="Freeform 142"/>
            <p:cNvSpPr>
              <a:spLocks/>
            </p:cNvSpPr>
            <p:nvPr/>
          </p:nvSpPr>
          <p:spPr bwMode="auto">
            <a:xfrm>
              <a:off x="6137544" y="1347912"/>
              <a:ext cx="221223" cy="223216"/>
            </a:xfrm>
            <a:custGeom>
              <a:avLst/>
              <a:gdLst>
                <a:gd name="T0" fmla="*/ 111 w 111"/>
                <a:gd name="T1" fmla="*/ 110 h 112"/>
                <a:gd name="T2" fmla="*/ 111 w 111"/>
                <a:gd name="T3" fmla="*/ 110 h 112"/>
                <a:gd name="T4" fmla="*/ 111 w 111"/>
                <a:gd name="T5" fmla="*/ 99 h 112"/>
                <a:gd name="T6" fmla="*/ 109 w 111"/>
                <a:gd name="T7" fmla="*/ 89 h 112"/>
                <a:gd name="T8" fmla="*/ 106 w 111"/>
                <a:gd name="T9" fmla="*/ 77 h 112"/>
                <a:gd name="T10" fmla="*/ 102 w 111"/>
                <a:gd name="T11" fmla="*/ 67 h 112"/>
                <a:gd name="T12" fmla="*/ 98 w 111"/>
                <a:gd name="T13" fmla="*/ 57 h 112"/>
                <a:gd name="T14" fmla="*/ 92 w 111"/>
                <a:gd name="T15" fmla="*/ 49 h 112"/>
                <a:gd name="T16" fmla="*/ 86 w 111"/>
                <a:gd name="T17" fmla="*/ 40 h 112"/>
                <a:gd name="T18" fmla="*/ 79 w 111"/>
                <a:gd name="T19" fmla="*/ 31 h 112"/>
                <a:gd name="T20" fmla="*/ 70 w 111"/>
                <a:gd name="T21" fmla="*/ 24 h 112"/>
                <a:gd name="T22" fmla="*/ 62 w 111"/>
                <a:gd name="T23" fmla="*/ 18 h 112"/>
                <a:gd name="T24" fmla="*/ 53 w 111"/>
                <a:gd name="T25" fmla="*/ 13 h 112"/>
                <a:gd name="T26" fmla="*/ 43 w 111"/>
                <a:gd name="T27" fmla="*/ 8 h 112"/>
                <a:gd name="T28" fmla="*/ 33 w 111"/>
                <a:gd name="T29" fmla="*/ 4 h 112"/>
                <a:gd name="T30" fmla="*/ 23 w 111"/>
                <a:gd name="T31" fmla="*/ 1 h 112"/>
                <a:gd name="T32" fmla="*/ 11 w 111"/>
                <a:gd name="T33" fmla="*/ 0 h 112"/>
                <a:gd name="T34" fmla="*/ 0 w 111"/>
                <a:gd name="T35" fmla="*/ 0 h 112"/>
                <a:gd name="T36" fmla="*/ 0 w 111"/>
                <a:gd name="T37" fmla="*/ 0 h 112"/>
                <a:gd name="T38" fmla="*/ 0 w 111"/>
                <a:gd name="T39" fmla="*/ 0 h 112"/>
                <a:gd name="T40" fmla="*/ 0 w 111"/>
                <a:gd name="T41" fmla="*/ 112 h 112"/>
                <a:gd name="T42" fmla="*/ 111 w 111"/>
                <a:gd name="T43" fmla="*/ 112 h 112"/>
                <a:gd name="T44" fmla="*/ 111 w 111"/>
                <a:gd name="T45" fmla="*/ 112 h 112"/>
                <a:gd name="T46" fmla="*/ 111 w 111"/>
                <a:gd name="T47" fmla="*/ 110 h 112"/>
                <a:gd name="T48" fmla="*/ 111 w 111"/>
                <a:gd name="T49" fmla="*/ 11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1" h="112">
                  <a:moveTo>
                    <a:pt x="111" y="110"/>
                  </a:moveTo>
                  <a:lnTo>
                    <a:pt x="111" y="110"/>
                  </a:lnTo>
                  <a:lnTo>
                    <a:pt x="111" y="99"/>
                  </a:lnTo>
                  <a:lnTo>
                    <a:pt x="109" y="89"/>
                  </a:lnTo>
                  <a:lnTo>
                    <a:pt x="106" y="77"/>
                  </a:lnTo>
                  <a:lnTo>
                    <a:pt x="102" y="67"/>
                  </a:lnTo>
                  <a:lnTo>
                    <a:pt x="98" y="57"/>
                  </a:lnTo>
                  <a:lnTo>
                    <a:pt x="92" y="49"/>
                  </a:lnTo>
                  <a:lnTo>
                    <a:pt x="86" y="40"/>
                  </a:lnTo>
                  <a:lnTo>
                    <a:pt x="79" y="31"/>
                  </a:lnTo>
                  <a:lnTo>
                    <a:pt x="70" y="24"/>
                  </a:lnTo>
                  <a:lnTo>
                    <a:pt x="62" y="18"/>
                  </a:lnTo>
                  <a:lnTo>
                    <a:pt x="53" y="13"/>
                  </a:lnTo>
                  <a:lnTo>
                    <a:pt x="43" y="8"/>
                  </a:lnTo>
                  <a:lnTo>
                    <a:pt x="33" y="4"/>
                  </a:lnTo>
                  <a:lnTo>
                    <a:pt x="23" y="1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0"/>
                  </a:lnTo>
                  <a:lnTo>
                    <a:pt x="111" y="1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3" name="Freeform 143"/>
            <p:cNvSpPr>
              <a:spLocks/>
            </p:cNvSpPr>
            <p:nvPr/>
          </p:nvSpPr>
          <p:spPr bwMode="auto">
            <a:xfrm>
              <a:off x="6099677" y="1591058"/>
              <a:ext cx="259090" cy="13952"/>
            </a:xfrm>
            <a:custGeom>
              <a:avLst/>
              <a:gdLst>
                <a:gd name="T0" fmla="*/ 0 w 130"/>
                <a:gd name="T1" fmla="*/ 7 h 7"/>
                <a:gd name="T2" fmla="*/ 128 w 130"/>
                <a:gd name="T3" fmla="*/ 7 h 7"/>
                <a:gd name="T4" fmla="*/ 128 w 130"/>
                <a:gd name="T5" fmla="*/ 7 h 7"/>
                <a:gd name="T6" fmla="*/ 130 w 130"/>
                <a:gd name="T7" fmla="*/ 0 h 7"/>
                <a:gd name="T8" fmla="*/ 9 w 130"/>
                <a:gd name="T9" fmla="*/ 0 h 7"/>
                <a:gd name="T10" fmla="*/ 0 w 130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7">
                  <a:moveTo>
                    <a:pt x="0" y="7"/>
                  </a:moveTo>
                  <a:lnTo>
                    <a:pt x="128" y="7"/>
                  </a:lnTo>
                  <a:lnTo>
                    <a:pt x="128" y="7"/>
                  </a:lnTo>
                  <a:lnTo>
                    <a:pt x="130" y="0"/>
                  </a:lnTo>
                  <a:lnTo>
                    <a:pt x="9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4" name="Freeform 144"/>
            <p:cNvSpPr>
              <a:spLocks/>
            </p:cNvSpPr>
            <p:nvPr/>
          </p:nvSpPr>
          <p:spPr bwMode="auto">
            <a:xfrm>
              <a:off x="6063803" y="1622946"/>
              <a:ext cx="288985" cy="13952"/>
            </a:xfrm>
            <a:custGeom>
              <a:avLst/>
              <a:gdLst>
                <a:gd name="T0" fmla="*/ 0 w 145"/>
                <a:gd name="T1" fmla="*/ 7 h 7"/>
                <a:gd name="T2" fmla="*/ 142 w 145"/>
                <a:gd name="T3" fmla="*/ 7 h 7"/>
                <a:gd name="T4" fmla="*/ 142 w 145"/>
                <a:gd name="T5" fmla="*/ 7 h 7"/>
                <a:gd name="T6" fmla="*/ 145 w 145"/>
                <a:gd name="T7" fmla="*/ 0 h 7"/>
                <a:gd name="T8" fmla="*/ 8 w 145"/>
                <a:gd name="T9" fmla="*/ 0 h 7"/>
                <a:gd name="T10" fmla="*/ 0 w 145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" h="7">
                  <a:moveTo>
                    <a:pt x="0" y="7"/>
                  </a:moveTo>
                  <a:lnTo>
                    <a:pt x="142" y="7"/>
                  </a:lnTo>
                  <a:lnTo>
                    <a:pt x="142" y="7"/>
                  </a:lnTo>
                  <a:lnTo>
                    <a:pt x="145" y="0"/>
                  </a:lnTo>
                  <a:lnTo>
                    <a:pt x="8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5" name="Freeform 145"/>
            <p:cNvSpPr>
              <a:spLocks/>
            </p:cNvSpPr>
            <p:nvPr/>
          </p:nvSpPr>
          <p:spPr bwMode="auto">
            <a:xfrm>
              <a:off x="6027929" y="1652842"/>
              <a:ext cx="312901" cy="15944"/>
            </a:xfrm>
            <a:custGeom>
              <a:avLst/>
              <a:gdLst>
                <a:gd name="T0" fmla="*/ 0 w 157"/>
                <a:gd name="T1" fmla="*/ 8 h 8"/>
                <a:gd name="T2" fmla="*/ 154 w 157"/>
                <a:gd name="T3" fmla="*/ 8 h 8"/>
                <a:gd name="T4" fmla="*/ 154 w 157"/>
                <a:gd name="T5" fmla="*/ 8 h 8"/>
                <a:gd name="T6" fmla="*/ 157 w 157"/>
                <a:gd name="T7" fmla="*/ 0 h 8"/>
                <a:gd name="T8" fmla="*/ 9 w 157"/>
                <a:gd name="T9" fmla="*/ 0 h 8"/>
                <a:gd name="T10" fmla="*/ 0 w 157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7" h="8">
                  <a:moveTo>
                    <a:pt x="0" y="8"/>
                  </a:moveTo>
                  <a:lnTo>
                    <a:pt x="154" y="8"/>
                  </a:lnTo>
                  <a:lnTo>
                    <a:pt x="154" y="8"/>
                  </a:lnTo>
                  <a:lnTo>
                    <a:pt x="157" y="0"/>
                  </a:lnTo>
                  <a:lnTo>
                    <a:pt x="9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6" name="Freeform 146"/>
            <p:cNvSpPr>
              <a:spLocks/>
            </p:cNvSpPr>
            <p:nvPr/>
          </p:nvSpPr>
          <p:spPr bwMode="auto">
            <a:xfrm>
              <a:off x="5992055" y="1684729"/>
              <a:ext cx="330837" cy="13952"/>
            </a:xfrm>
            <a:custGeom>
              <a:avLst/>
              <a:gdLst>
                <a:gd name="T0" fmla="*/ 0 w 166"/>
                <a:gd name="T1" fmla="*/ 7 h 7"/>
                <a:gd name="T2" fmla="*/ 162 w 166"/>
                <a:gd name="T3" fmla="*/ 7 h 7"/>
                <a:gd name="T4" fmla="*/ 162 w 166"/>
                <a:gd name="T5" fmla="*/ 7 h 7"/>
                <a:gd name="T6" fmla="*/ 166 w 166"/>
                <a:gd name="T7" fmla="*/ 0 h 7"/>
                <a:gd name="T8" fmla="*/ 8 w 166"/>
                <a:gd name="T9" fmla="*/ 0 h 7"/>
                <a:gd name="T10" fmla="*/ 0 w 166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6" h="7">
                  <a:moveTo>
                    <a:pt x="0" y="7"/>
                  </a:moveTo>
                  <a:lnTo>
                    <a:pt x="162" y="7"/>
                  </a:lnTo>
                  <a:lnTo>
                    <a:pt x="162" y="7"/>
                  </a:lnTo>
                  <a:lnTo>
                    <a:pt x="166" y="0"/>
                  </a:lnTo>
                  <a:lnTo>
                    <a:pt x="8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7" name="Freeform 147"/>
            <p:cNvSpPr>
              <a:spLocks/>
            </p:cNvSpPr>
            <p:nvPr/>
          </p:nvSpPr>
          <p:spPr bwMode="auto">
            <a:xfrm>
              <a:off x="6002020" y="1748505"/>
              <a:ext cx="265069" cy="13952"/>
            </a:xfrm>
            <a:custGeom>
              <a:avLst/>
              <a:gdLst>
                <a:gd name="T0" fmla="*/ 133 w 133"/>
                <a:gd name="T1" fmla="*/ 0 h 7"/>
                <a:gd name="T2" fmla="*/ 0 w 133"/>
                <a:gd name="T3" fmla="*/ 0 h 7"/>
                <a:gd name="T4" fmla="*/ 0 w 133"/>
                <a:gd name="T5" fmla="*/ 0 h 7"/>
                <a:gd name="T6" fmla="*/ 12 w 133"/>
                <a:gd name="T7" fmla="*/ 7 h 7"/>
                <a:gd name="T8" fmla="*/ 123 w 133"/>
                <a:gd name="T9" fmla="*/ 7 h 7"/>
                <a:gd name="T10" fmla="*/ 123 w 133"/>
                <a:gd name="T11" fmla="*/ 7 h 7"/>
                <a:gd name="T12" fmla="*/ 133 w 133"/>
                <a:gd name="T13" fmla="*/ 0 h 7"/>
                <a:gd name="T14" fmla="*/ 133 w 133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7">
                  <a:moveTo>
                    <a:pt x="133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2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33" y="0"/>
                  </a:lnTo>
                  <a:lnTo>
                    <a:pt x="13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8" name="Freeform 148"/>
            <p:cNvSpPr>
              <a:spLocks/>
            </p:cNvSpPr>
            <p:nvPr/>
          </p:nvSpPr>
          <p:spPr bwMode="auto">
            <a:xfrm>
              <a:off x="5972125" y="1716617"/>
              <a:ext cx="328845" cy="13952"/>
            </a:xfrm>
            <a:custGeom>
              <a:avLst/>
              <a:gdLst>
                <a:gd name="T0" fmla="*/ 0 w 165"/>
                <a:gd name="T1" fmla="*/ 0 h 7"/>
                <a:gd name="T2" fmla="*/ 0 w 165"/>
                <a:gd name="T3" fmla="*/ 0 h 7"/>
                <a:gd name="T4" fmla="*/ 5 w 165"/>
                <a:gd name="T5" fmla="*/ 7 h 7"/>
                <a:gd name="T6" fmla="*/ 158 w 165"/>
                <a:gd name="T7" fmla="*/ 7 h 7"/>
                <a:gd name="T8" fmla="*/ 158 w 165"/>
                <a:gd name="T9" fmla="*/ 7 h 7"/>
                <a:gd name="T10" fmla="*/ 165 w 165"/>
                <a:gd name="T11" fmla="*/ 0 h 7"/>
                <a:gd name="T12" fmla="*/ 1 w 165"/>
                <a:gd name="T13" fmla="*/ 0 h 7"/>
                <a:gd name="T14" fmla="*/ 0 w 165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5" h="7">
                  <a:moveTo>
                    <a:pt x="0" y="0"/>
                  </a:moveTo>
                  <a:lnTo>
                    <a:pt x="0" y="0"/>
                  </a:lnTo>
                  <a:lnTo>
                    <a:pt x="5" y="7"/>
                  </a:lnTo>
                  <a:lnTo>
                    <a:pt x="158" y="7"/>
                  </a:lnTo>
                  <a:lnTo>
                    <a:pt x="158" y="7"/>
                  </a:lnTo>
                  <a:lnTo>
                    <a:pt x="165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9" name="Freeform 149"/>
            <p:cNvSpPr>
              <a:spLocks/>
            </p:cNvSpPr>
            <p:nvPr/>
          </p:nvSpPr>
          <p:spPr bwMode="auto">
            <a:xfrm>
              <a:off x="6065796" y="1780393"/>
              <a:ext cx="145489" cy="9966"/>
            </a:xfrm>
            <a:custGeom>
              <a:avLst/>
              <a:gdLst>
                <a:gd name="T0" fmla="*/ 73 w 73"/>
                <a:gd name="T1" fmla="*/ 0 h 5"/>
                <a:gd name="T2" fmla="*/ 0 w 73"/>
                <a:gd name="T3" fmla="*/ 0 h 5"/>
                <a:gd name="T4" fmla="*/ 0 w 73"/>
                <a:gd name="T5" fmla="*/ 0 h 5"/>
                <a:gd name="T6" fmla="*/ 14 w 73"/>
                <a:gd name="T7" fmla="*/ 3 h 5"/>
                <a:gd name="T8" fmla="*/ 30 w 73"/>
                <a:gd name="T9" fmla="*/ 5 h 5"/>
                <a:gd name="T10" fmla="*/ 30 w 73"/>
                <a:gd name="T11" fmla="*/ 5 h 5"/>
                <a:gd name="T12" fmla="*/ 42 w 73"/>
                <a:gd name="T13" fmla="*/ 5 h 5"/>
                <a:gd name="T14" fmla="*/ 52 w 73"/>
                <a:gd name="T15" fmla="*/ 4 h 5"/>
                <a:gd name="T16" fmla="*/ 63 w 73"/>
                <a:gd name="T17" fmla="*/ 3 h 5"/>
                <a:gd name="T18" fmla="*/ 73 w 73"/>
                <a:gd name="T19" fmla="*/ 0 h 5"/>
                <a:gd name="T20" fmla="*/ 73 w 73"/>
                <a:gd name="T2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" h="5">
                  <a:moveTo>
                    <a:pt x="73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4" y="3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42" y="5"/>
                  </a:lnTo>
                  <a:lnTo>
                    <a:pt x="52" y="4"/>
                  </a:lnTo>
                  <a:lnTo>
                    <a:pt x="63" y="3"/>
                  </a:lnTo>
                  <a:lnTo>
                    <a:pt x="73" y="0"/>
                  </a:lnTo>
                  <a:lnTo>
                    <a:pt x="7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0" name="Freeform 150"/>
            <p:cNvSpPr>
              <a:spLocks/>
            </p:cNvSpPr>
            <p:nvPr/>
          </p:nvSpPr>
          <p:spPr bwMode="auto">
            <a:xfrm>
              <a:off x="5856531" y="1290116"/>
              <a:ext cx="562025" cy="558039"/>
            </a:xfrm>
            <a:custGeom>
              <a:avLst/>
              <a:gdLst>
                <a:gd name="T0" fmla="*/ 127 w 282"/>
                <a:gd name="T1" fmla="*/ 0 h 280"/>
                <a:gd name="T2" fmla="*/ 86 w 282"/>
                <a:gd name="T3" fmla="*/ 10 h 280"/>
                <a:gd name="T4" fmla="*/ 52 w 282"/>
                <a:gd name="T5" fmla="*/ 32 h 280"/>
                <a:gd name="T6" fmla="*/ 25 w 282"/>
                <a:gd name="T7" fmla="*/ 62 h 280"/>
                <a:gd name="T8" fmla="*/ 7 w 282"/>
                <a:gd name="T9" fmla="*/ 98 h 280"/>
                <a:gd name="T10" fmla="*/ 0 w 282"/>
                <a:gd name="T11" fmla="*/ 139 h 280"/>
                <a:gd name="T12" fmla="*/ 6 w 282"/>
                <a:gd name="T13" fmla="*/ 175 h 280"/>
                <a:gd name="T14" fmla="*/ 20 w 282"/>
                <a:gd name="T15" fmla="*/ 155 h 280"/>
                <a:gd name="T16" fmla="*/ 20 w 282"/>
                <a:gd name="T17" fmla="*/ 128 h 280"/>
                <a:gd name="T18" fmla="*/ 29 w 282"/>
                <a:gd name="T19" fmla="*/ 92 h 280"/>
                <a:gd name="T20" fmla="*/ 48 w 282"/>
                <a:gd name="T21" fmla="*/ 62 h 280"/>
                <a:gd name="T22" fmla="*/ 73 w 282"/>
                <a:gd name="T23" fmla="*/ 39 h 280"/>
                <a:gd name="T24" fmla="*/ 105 w 282"/>
                <a:gd name="T25" fmla="*/ 24 h 280"/>
                <a:gd name="T26" fmla="*/ 141 w 282"/>
                <a:gd name="T27" fmla="*/ 19 h 280"/>
                <a:gd name="T28" fmla="*/ 165 w 282"/>
                <a:gd name="T29" fmla="*/ 20 h 280"/>
                <a:gd name="T30" fmla="*/ 198 w 282"/>
                <a:gd name="T31" fmla="*/ 33 h 280"/>
                <a:gd name="T32" fmla="*/ 227 w 282"/>
                <a:gd name="T33" fmla="*/ 53 h 280"/>
                <a:gd name="T34" fmla="*/ 247 w 282"/>
                <a:gd name="T35" fmla="*/ 82 h 280"/>
                <a:gd name="T36" fmla="*/ 260 w 282"/>
                <a:gd name="T37" fmla="*/ 115 h 280"/>
                <a:gd name="T38" fmla="*/ 262 w 282"/>
                <a:gd name="T39" fmla="*/ 139 h 280"/>
                <a:gd name="T40" fmla="*/ 257 w 282"/>
                <a:gd name="T41" fmla="*/ 175 h 280"/>
                <a:gd name="T42" fmla="*/ 242 w 282"/>
                <a:gd name="T43" fmla="*/ 207 h 280"/>
                <a:gd name="T44" fmla="*/ 219 w 282"/>
                <a:gd name="T45" fmla="*/ 233 h 280"/>
                <a:gd name="T46" fmla="*/ 188 w 282"/>
                <a:gd name="T47" fmla="*/ 251 h 280"/>
                <a:gd name="T48" fmla="*/ 154 w 282"/>
                <a:gd name="T49" fmla="*/ 260 h 280"/>
                <a:gd name="T50" fmla="*/ 125 w 282"/>
                <a:gd name="T51" fmla="*/ 260 h 280"/>
                <a:gd name="T52" fmla="*/ 85 w 282"/>
                <a:gd name="T53" fmla="*/ 247 h 280"/>
                <a:gd name="T54" fmla="*/ 50 w 282"/>
                <a:gd name="T55" fmla="*/ 221 h 280"/>
                <a:gd name="T56" fmla="*/ 23 w 282"/>
                <a:gd name="T57" fmla="*/ 216 h 280"/>
                <a:gd name="T58" fmla="*/ 58 w 282"/>
                <a:gd name="T59" fmla="*/ 253 h 280"/>
                <a:gd name="T60" fmla="*/ 105 w 282"/>
                <a:gd name="T61" fmla="*/ 276 h 280"/>
                <a:gd name="T62" fmla="*/ 141 w 282"/>
                <a:gd name="T63" fmla="*/ 280 h 280"/>
                <a:gd name="T64" fmla="*/ 183 w 282"/>
                <a:gd name="T65" fmla="*/ 273 h 280"/>
                <a:gd name="T66" fmla="*/ 219 w 282"/>
                <a:gd name="T67" fmla="*/ 256 h 280"/>
                <a:gd name="T68" fmla="*/ 249 w 282"/>
                <a:gd name="T69" fmla="*/ 228 h 280"/>
                <a:gd name="T70" fmla="*/ 270 w 282"/>
                <a:gd name="T71" fmla="*/ 194 h 280"/>
                <a:gd name="T72" fmla="*/ 280 w 282"/>
                <a:gd name="T73" fmla="*/ 154 h 280"/>
                <a:gd name="T74" fmla="*/ 280 w 282"/>
                <a:gd name="T75" fmla="*/ 125 h 280"/>
                <a:gd name="T76" fmla="*/ 270 w 282"/>
                <a:gd name="T77" fmla="*/ 85 h 280"/>
                <a:gd name="T78" fmla="*/ 249 w 282"/>
                <a:gd name="T79" fmla="*/ 50 h 280"/>
                <a:gd name="T80" fmla="*/ 219 w 282"/>
                <a:gd name="T81" fmla="*/ 23 h 280"/>
                <a:gd name="T82" fmla="*/ 183 w 282"/>
                <a:gd name="T83" fmla="*/ 6 h 280"/>
                <a:gd name="T84" fmla="*/ 141 w 282"/>
                <a:gd name="T85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2" h="280">
                  <a:moveTo>
                    <a:pt x="141" y="0"/>
                  </a:moveTo>
                  <a:lnTo>
                    <a:pt x="141" y="0"/>
                  </a:lnTo>
                  <a:lnTo>
                    <a:pt x="127" y="0"/>
                  </a:lnTo>
                  <a:lnTo>
                    <a:pt x="112" y="1"/>
                  </a:lnTo>
                  <a:lnTo>
                    <a:pt x="99" y="6"/>
                  </a:lnTo>
                  <a:lnTo>
                    <a:pt x="86" y="10"/>
                  </a:lnTo>
                  <a:lnTo>
                    <a:pt x="73" y="16"/>
                  </a:lnTo>
                  <a:lnTo>
                    <a:pt x="62" y="23"/>
                  </a:lnTo>
                  <a:lnTo>
                    <a:pt x="52" y="32"/>
                  </a:lnTo>
                  <a:lnTo>
                    <a:pt x="42" y="40"/>
                  </a:lnTo>
                  <a:lnTo>
                    <a:pt x="33" y="50"/>
                  </a:lnTo>
                  <a:lnTo>
                    <a:pt x="25" y="62"/>
                  </a:lnTo>
                  <a:lnTo>
                    <a:pt x="17" y="73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2" y="125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58"/>
                  </a:lnTo>
                  <a:lnTo>
                    <a:pt x="6" y="175"/>
                  </a:lnTo>
                  <a:lnTo>
                    <a:pt x="23" y="171"/>
                  </a:lnTo>
                  <a:lnTo>
                    <a:pt x="23" y="171"/>
                  </a:lnTo>
                  <a:lnTo>
                    <a:pt x="20" y="155"/>
                  </a:lnTo>
                  <a:lnTo>
                    <a:pt x="19" y="139"/>
                  </a:lnTo>
                  <a:lnTo>
                    <a:pt x="19" y="139"/>
                  </a:lnTo>
                  <a:lnTo>
                    <a:pt x="20" y="128"/>
                  </a:lnTo>
                  <a:lnTo>
                    <a:pt x="22" y="115"/>
                  </a:lnTo>
                  <a:lnTo>
                    <a:pt x="25" y="103"/>
                  </a:lnTo>
                  <a:lnTo>
                    <a:pt x="29" y="92"/>
                  </a:lnTo>
                  <a:lnTo>
                    <a:pt x="35" y="82"/>
                  </a:lnTo>
                  <a:lnTo>
                    <a:pt x="40" y="72"/>
                  </a:lnTo>
                  <a:lnTo>
                    <a:pt x="48" y="62"/>
                  </a:lnTo>
                  <a:lnTo>
                    <a:pt x="55" y="53"/>
                  </a:lnTo>
                  <a:lnTo>
                    <a:pt x="63" y="46"/>
                  </a:lnTo>
                  <a:lnTo>
                    <a:pt x="73" y="39"/>
                  </a:lnTo>
                  <a:lnTo>
                    <a:pt x="84" y="33"/>
                  </a:lnTo>
                  <a:lnTo>
                    <a:pt x="94" y="27"/>
                  </a:lnTo>
                  <a:lnTo>
                    <a:pt x="105" y="24"/>
                  </a:lnTo>
                  <a:lnTo>
                    <a:pt x="117" y="20"/>
                  </a:lnTo>
                  <a:lnTo>
                    <a:pt x="128" y="19"/>
                  </a:lnTo>
                  <a:lnTo>
                    <a:pt x="141" y="19"/>
                  </a:lnTo>
                  <a:lnTo>
                    <a:pt x="141" y="19"/>
                  </a:lnTo>
                  <a:lnTo>
                    <a:pt x="154" y="19"/>
                  </a:lnTo>
                  <a:lnTo>
                    <a:pt x="165" y="20"/>
                  </a:lnTo>
                  <a:lnTo>
                    <a:pt x="177" y="24"/>
                  </a:lnTo>
                  <a:lnTo>
                    <a:pt x="188" y="27"/>
                  </a:lnTo>
                  <a:lnTo>
                    <a:pt x="198" y="33"/>
                  </a:lnTo>
                  <a:lnTo>
                    <a:pt x="209" y="39"/>
                  </a:lnTo>
                  <a:lnTo>
                    <a:pt x="219" y="46"/>
                  </a:lnTo>
                  <a:lnTo>
                    <a:pt x="227" y="53"/>
                  </a:lnTo>
                  <a:lnTo>
                    <a:pt x="234" y="62"/>
                  </a:lnTo>
                  <a:lnTo>
                    <a:pt x="242" y="72"/>
                  </a:lnTo>
                  <a:lnTo>
                    <a:pt x="247" y="82"/>
                  </a:lnTo>
                  <a:lnTo>
                    <a:pt x="253" y="92"/>
                  </a:lnTo>
                  <a:lnTo>
                    <a:pt x="257" y="103"/>
                  </a:lnTo>
                  <a:lnTo>
                    <a:pt x="260" y="115"/>
                  </a:lnTo>
                  <a:lnTo>
                    <a:pt x="262" y="128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2" y="152"/>
                  </a:lnTo>
                  <a:lnTo>
                    <a:pt x="260" y="164"/>
                  </a:lnTo>
                  <a:lnTo>
                    <a:pt x="257" y="175"/>
                  </a:lnTo>
                  <a:lnTo>
                    <a:pt x="253" y="187"/>
                  </a:lnTo>
                  <a:lnTo>
                    <a:pt x="247" y="197"/>
                  </a:lnTo>
                  <a:lnTo>
                    <a:pt x="242" y="207"/>
                  </a:lnTo>
                  <a:lnTo>
                    <a:pt x="234" y="217"/>
                  </a:lnTo>
                  <a:lnTo>
                    <a:pt x="227" y="226"/>
                  </a:lnTo>
                  <a:lnTo>
                    <a:pt x="219" y="233"/>
                  </a:lnTo>
                  <a:lnTo>
                    <a:pt x="209" y="240"/>
                  </a:lnTo>
                  <a:lnTo>
                    <a:pt x="198" y="247"/>
                  </a:lnTo>
                  <a:lnTo>
                    <a:pt x="188" y="251"/>
                  </a:lnTo>
                  <a:lnTo>
                    <a:pt x="177" y="256"/>
                  </a:lnTo>
                  <a:lnTo>
                    <a:pt x="165" y="259"/>
                  </a:lnTo>
                  <a:lnTo>
                    <a:pt x="154" y="260"/>
                  </a:lnTo>
                  <a:lnTo>
                    <a:pt x="141" y="262"/>
                  </a:lnTo>
                  <a:lnTo>
                    <a:pt x="141" y="262"/>
                  </a:lnTo>
                  <a:lnTo>
                    <a:pt x="125" y="260"/>
                  </a:lnTo>
                  <a:lnTo>
                    <a:pt x="111" y="257"/>
                  </a:lnTo>
                  <a:lnTo>
                    <a:pt x="98" y="253"/>
                  </a:lnTo>
                  <a:lnTo>
                    <a:pt x="85" y="247"/>
                  </a:lnTo>
                  <a:lnTo>
                    <a:pt x="72" y="240"/>
                  </a:lnTo>
                  <a:lnTo>
                    <a:pt x="62" y="231"/>
                  </a:lnTo>
                  <a:lnTo>
                    <a:pt x="50" y="221"/>
                  </a:lnTo>
                  <a:lnTo>
                    <a:pt x="42" y="210"/>
                  </a:lnTo>
                  <a:lnTo>
                    <a:pt x="23" y="216"/>
                  </a:lnTo>
                  <a:lnTo>
                    <a:pt x="23" y="216"/>
                  </a:lnTo>
                  <a:lnTo>
                    <a:pt x="33" y="230"/>
                  </a:lnTo>
                  <a:lnTo>
                    <a:pt x="45" y="241"/>
                  </a:lnTo>
                  <a:lnTo>
                    <a:pt x="58" y="253"/>
                  </a:lnTo>
                  <a:lnTo>
                    <a:pt x="73" y="263"/>
                  </a:lnTo>
                  <a:lnTo>
                    <a:pt x="88" y="270"/>
                  </a:lnTo>
                  <a:lnTo>
                    <a:pt x="105" y="276"/>
                  </a:lnTo>
                  <a:lnTo>
                    <a:pt x="122" y="279"/>
                  </a:lnTo>
                  <a:lnTo>
                    <a:pt x="141" y="280"/>
                  </a:lnTo>
                  <a:lnTo>
                    <a:pt x="141" y="280"/>
                  </a:lnTo>
                  <a:lnTo>
                    <a:pt x="155" y="279"/>
                  </a:lnTo>
                  <a:lnTo>
                    <a:pt x="170" y="277"/>
                  </a:lnTo>
                  <a:lnTo>
                    <a:pt x="183" y="273"/>
                  </a:lnTo>
                  <a:lnTo>
                    <a:pt x="196" y="269"/>
                  </a:lnTo>
                  <a:lnTo>
                    <a:pt x="207" y="263"/>
                  </a:lnTo>
                  <a:lnTo>
                    <a:pt x="219" y="256"/>
                  </a:lnTo>
                  <a:lnTo>
                    <a:pt x="230" y="247"/>
                  </a:lnTo>
                  <a:lnTo>
                    <a:pt x="240" y="239"/>
                  </a:lnTo>
                  <a:lnTo>
                    <a:pt x="249" y="228"/>
                  </a:lnTo>
                  <a:lnTo>
                    <a:pt x="257" y="218"/>
                  </a:lnTo>
                  <a:lnTo>
                    <a:pt x="265" y="207"/>
                  </a:lnTo>
                  <a:lnTo>
                    <a:pt x="270" y="194"/>
                  </a:lnTo>
                  <a:lnTo>
                    <a:pt x="275" y="181"/>
                  </a:lnTo>
                  <a:lnTo>
                    <a:pt x="279" y="168"/>
                  </a:lnTo>
                  <a:lnTo>
                    <a:pt x="280" y="154"/>
                  </a:lnTo>
                  <a:lnTo>
                    <a:pt x="282" y="139"/>
                  </a:lnTo>
                  <a:lnTo>
                    <a:pt x="282" y="139"/>
                  </a:lnTo>
                  <a:lnTo>
                    <a:pt x="280" y="125"/>
                  </a:lnTo>
                  <a:lnTo>
                    <a:pt x="279" y="112"/>
                  </a:lnTo>
                  <a:lnTo>
                    <a:pt x="275" y="98"/>
                  </a:lnTo>
                  <a:lnTo>
                    <a:pt x="270" y="85"/>
                  </a:lnTo>
                  <a:lnTo>
                    <a:pt x="265" y="73"/>
                  </a:lnTo>
                  <a:lnTo>
                    <a:pt x="257" y="62"/>
                  </a:lnTo>
                  <a:lnTo>
                    <a:pt x="249" y="50"/>
                  </a:lnTo>
                  <a:lnTo>
                    <a:pt x="240" y="40"/>
                  </a:lnTo>
                  <a:lnTo>
                    <a:pt x="230" y="32"/>
                  </a:lnTo>
                  <a:lnTo>
                    <a:pt x="219" y="23"/>
                  </a:lnTo>
                  <a:lnTo>
                    <a:pt x="207" y="16"/>
                  </a:lnTo>
                  <a:lnTo>
                    <a:pt x="196" y="10"/>
                  </a:lnTo>
                  <a:lnTo>
                    <a:pt x="183" y="6"/>
                  </a:lnTo>
                  <a:lnTo>
                    <a:pt x="170" y="1"/>
                  </a:lnTo>
                  <a:lnTo>
                    <a:pt x="155" y="0"/>
                  </a:lnTo>
                  <a:lnTo>
                    <a:pt x="141" y="0"/>
                  </a:lnTo>
                  <a:lnTo>
                    <a:pt x="14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1" name="Freeform 151"/>
            <p:cNvSpPr>
              <a:spLocks/>
            </p:cNvSpPr>
            <p:nvPr/>
          </p:nvSpPr>
          <p:spPr bwMode="auto">
            <a:xfrm>
              <a:off x="5784783" y="1644870"/>
              <a:ext cx="3986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2" name="Freeform 152"/>
            <p:cNvSpPr>
              <a:spLocks/>
            </p:cNvSpPr>
            <p:nvPr/>
          </p:nvSpPr>
          <p:spPr bwMode="auto">
            <a:xfrm>
              <a:off x="5685133" y="1511338"/>
              <a:ext cx="111608" cy="111608"/>
            </a:xfrm>
            <a:custGeom>
              <a:avLst/>
              <a:gdLst>
                <a:gd name="T0" fmla="*/ 27 w 56"/>
                <a:gd name="T1" fmla="*/ 56 h 56"/>
                <a:gd name="T2" fmla="*/ 27 w 56"/>
                <a:gd name="T3" fmla="*/ 56 h 56"/>
                <a:gd name="T4" fmla="*/ 33 w 56"/>
                <a:gd name="T5" fmla="*/ 56 h 56"/>
                <a:gd name="T6" fmla="*/ 39 w 56"/>
                <a:gd name="T7" fmla="*/ 53 h 56"/>
                <a:gd name="T8" fmla="*/ 43 w 56"/>
                <a:gd name="T9" fmla="*/ 51 h 56"/>
                <a:gd name="T10" fmla="*/ 47 w 56"/>
                <a:gd name="T11" fmla="*/ 47 h 56"/>
                <a:gd name="T12" fmla="*/ 52 w 56"/>
                <a:gd name="T13" fmla="*/ 43 h 56"/>
                <a:gd name="T14" fmla="*/ 53 w 56"/>
                <a:gd name="T15" fmla="*/ 38 h 56"/>
                <a:gd name="T16" fmla="*/ 56 w 56"/>
                <a:gd name="T17" fmla="*/ 33 h 56"/>
                <a:gd name="T18" fmla="*/ 56 w 56"/>
                <a:gd name="T19" fmla="*/ 27 h 56"/>
                <a:gd name="T20" fmla="*/ 56 w 56"/>
                <a:gd name="T21" fmla="*/ 27 h 56"/>
                <a:gd name="T22" fmla="*/ 56 w 56"/>
                <a:gd name="T23" fmla="*/ 21 h 56"/>
                <a:gd name="T24" fmla="*/ 53 w 56"/>
                <a:gd name="T25" fmla="*/ 17 h 56"/>
                <a:gd name="T26" fmla="*/ 52 w 56"/>
                <a:gd name="T27" fmla="*/ 11 h 56"/>
                <a:gd name="T28" fmla="*/ 47 w 56"/>
                <a:gd name="T29" fmla="*/ 8 h 56"/>
                <a:gd name="T30" fmla="*/ 43 w 56"/>
                <a:gd name="T31" fmla="*/ 4 h 56"/>
                <a:gd name="T32" fmla="*/ 39 w 56"/>
                <a:gd name="T33" fmla="*/ 1 h 56"/>
                <a:gd name="T34" fmla="*/ 33 w 56"/>
                <a:gd name="T35" fmla="*/ 0 h 56"/>
                <a:gd name="T36" fmla="*/ 27 w 56"/>
                <a:gd name="T37" fmla="*/ 0 h 56"/>
                <a:gd name="T38" fmla="*/ 27 w 56"/>
                <a:gd name="T39" fmla="*/ 0 h 56"/>
                <a:gd name="T40" fmla="*/ 21 w 56"/>
                <a:gd name="T41" fmla="*/ 0 h 56"/>
                <a:gd name="T42" fmla="*/ 17 w 56"/>
                <a:gd name="T43" fmla="*/ 1 h 56"/>
                <a:gd name="T44" fmla="*/ 11 w 56"/>
                <a:gd name="T45" fmla="*/ 4 h 56"/>
                <a:gd name="T46" fmla="*/ 7 w 56"/>
                <a:gd name="T47" fmla="*/ 8 h 56"/>
                <a:gd name="T48" fmla="*/ 4 w 56"/>
                <a:gd name="T49" fmla="*/ 11 h 56"/>
                <a:gd name="T50" fmla="*/ 1 w 56"/>
                <a:gd name="T51" fmla="*/ 17 h 56"/>
                <a:gd name="T52" fmla="*/ 0 w 56"/>
                <a:gd name="T53" fmla="*/ 21 h 56"/>
                <a:gd name="T54" fmla="*/ 0 w 56"/>
                <a:gd name="T55" fmla="*/ 27 h 56"/>
                <a:gd name="T56" fmla="*/ 0 w 56"/>
                <a:gd name="T57" fmla="*/ 27 h 56"/>
                <a:gd name="T58" fmla="*/ 0 w 56"/>
                <a:gd name="T59" fmla="*/ 33 h 56"/>
                <a:gd name="T60" fmla="*/ 1 w 56"/>
                <a:gd name="T61" fmla="*/ 38 h 56"/>
                <a:gd name="T62" fmla="*/ 4 w 56"/>
                <a:gd name="T63" fmla="*/ 43 h 56"/>
                <a:gd name="T64" fmla="*/ 7 w 56"/>
                <a:gd name="T65" fmla="*/ 47 h 56"/>
                <a:gd name="T66" fmla="*/ 11 w 56"/>
                <a:gd name="T67" fmla="*/ 51 h 56"/>
                <a:gd name="T68" fmla="*/ 17 w 56"/>
                <a:gd name="T69" fmla="*/ 53 h 56"/>
                <a:gd name="T70" fmla="*/ 21 w 56"/>
                <a:gd name="T71" fmla="*/ 56 h 56"/>
                <a:gd name="T72" fmla="*/ 27 w 56"/>
                <a:gd name="T73" fmla="*/ 56 h 56"/>
                <a:gd name="T74" fmla="*/ 27 w 56"/>
                <a:gd name="T7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6" h="56">
                  <a:moveTo>
                    <a:pt x="27" y="56"/>
                  </a:moveTo>
                  <a:lnTo>
                    <a:pt x="27" y="56"/>
                  </a:lnTo>
                  <a:lnTo>
                    <a:pt x="33" y="56"/>
                  </a:lnTo>
                  <a:lnTo>
                    <a:pt x="39" y="53"/>
                  </a:lnTo>
                  <a:lnTo>
                    <a:pt x="43" y="51"/>
                  </a:lnTo>
                  <a:lnTo>
                    <a:pt x="47" y="47"/>
                  </a:lnTo>
                  <a:lnTo>
                    <a:pt x="52" y="43"/>
                  </a:lnTo>
                  <a:lnTo>
                    <a:pt x="53" y="38"/>
                  </a:lnTo>
                  <a:lnTo>
                    <a:pt x="56" y="33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1"/>
                  </a:lnTo>
                  <a:lnTo>
                    <a:pt x="53" y="17"/>
                  </a:lnTo>
                  <a:lnTo>
                    <a:pt x="52" y="11"/>
                  </a:lnTo>
                  <a:lnTo>
                    <a:pt x="47" y="8"/>
                  </a:lnTo>
                  <a:lnTo>
                    <a:pt x="43" y="4"/>
                  </a:lnTo>
                  <a:lnTo>
                    <a:pt x="39" y="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1" y="0"/>
                  </a:lnTo>
                  <a:lnTo>
                    <a:pt x="17" y="1"/>
                  </a:lnTo>
                  <a:lnTo>
                    <a:pt x="11" y="4"/>
                  </a:lnTo>
                  <a:lnTo>
                    <a:pt x="7" y="8"/>
                  </a:lnTo>
                  <a:lnTo>
                    <a:pt x="4" y="11"/>
                  </a:lnTo>
                  <a:lnTo>
                    <a:pt x="1" y="17"/>
                  </a:lnTo>
                  <a:lnTo>
                    <a:pt x="0" y="21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33"/>
                  </a:lnTo>
                  <a:lnTo>
                    <a:pt x="1" y="38"/>
                  </a:lnTo>
                  <a:lnTo>
                    <a:pt x="4" y="43"/>
                  </a:lnTo>
                  <a:lnTo>
                    <a:pt x="7" y="47"/>
                  </a:lnTo>
                  <a:lnTo>
                    <a:pt x="11" y="51"/>
                  </a:lnTo>
                  <a:lnTo>
                    <a:pt x="17" y="53"/>
                  </a:lnTo>
                  <a:lnTo>
                    <a:pt x="21" y="56"/>
                  </a:lnTo>
                  <a:lnTo>
                    <a:pt x="27" y="56"/>
                  </a:lnTo>
                  <a:lnTo>
                    <a:pt x="27" y="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3" name="Freeform 153"/>
            <p:cNvSpPr>
              <a:spLocks/>
            </p:cNvSpPr>
            <p:nvPr/>
          </p:nvSpPr>
          <p:spPr bwMode="auto">
            <a:xfrm>
              <a:off x="5631323" y="1607002"/>
              <a:ext cx="324859" cy="432481"/>
            </a:xfrm>
            <a:custGeom>
              <a:avLst/>
              <a:gdLst>
                <a:gd name="T0" fmla="*/ 163 w 163"/>
                <a:gd name="T1" fmla="*/ 12 h 217"/>
                <a:gd name="T2" fmla="*/ 163 w 163"/>
                <a:gd name="T3" fmla="*/ 12 h 217"/>
                <a:gd name="T4" fmla="*/ 161 w 163"/>
                <a:gd name="T5" fmla="*/ 6 h 217"/>
                <a:gd name="T6" fmla="*/ 155 w 163"/>
                <a:gd name="T7" fmla="*/ 2 h 217"/>
                <a:gd name="T8" fmla="*/ 149 w 163"/>
                <a:gd name="T9" fmla="*/ 0 h 217"/>
                <a:gd name="T10" fmla="*/ 140 w 163"/>
                <a:gd name="T11" fmla="*/ 2 h 217"/>
                <a:gd name="T12" fmla="*/ 79 w 163"/>
                <a:gd name="T13" fmla="*/ 19 h 217"/>
                <a:gd name="T14" fmla="*/ 77 w 163"/>
                <a:gd name="T15" fmla="*/ 19 h 217"/>
                <a:gd name="T16" fmla="*/ 54 w 163"/>
                <a:gd name="T17" fmla="*/ 41 h 217"/>
                <a:gd name="T18" fmla="*/ 54 w 163"/>
                <a:gd name="T19" fmla="*/ 42 h 217"/>
                <a:gd name="T20" fmla="*/ 31 w 163"/>
                <a:gd name="T21" fmla="*/ 19 h 217"/>
                <a:gd name="T22" fmla="*/ 23 w 163"/>
                <a:gd name="T23" fmla="*/ 19 h 217"/>
                <a:gd name="T24" fmla="*/ 23 w 163"/>
                <a:gd name="T25" fmla="*/ 19 h 217"/>
                <a:gd name="T26" fmla="*/ 18 w 163"/>
                <a:gd name="T27" fmla="*/ 19 h 217"/>
                <a:gd name="T28" fmla="*/ 14 w 163"/>
                <a:gd name="T29" fmla="*/ 21 h 217"/>
                <a:gd name="T30" fmla="*/ 7 w 163"/>
                <a:gd name="T31" fmla="*/ 25 h 217"/>
                <a:gd name="T32" fmla="*/ 2 w 163"/>
                <a:gd name="T33" fmla="*/ 32 h 217"/>
                <a:gd name="T34" fmla="*/ 1 w 163"/>
                <a:gd name="T35" fmla="*/ 36 h 217"/>
                <a:gd name="T36" fmla="*/ 0 w 163"/>
                <a:gd name="T37" fmla="*/ 41 h 217"/>
                <a:gd name="T38" fmla="*/ 0 w 163"/>
                <a:gd name="T39" fmla="*/ 91 h 217"/>
                <a:gd name="T40" fmla="*/ 0 w 163"/>
                <a:gd name="T41" fmla="*/ 91 h 217"/>
                <a:gd name="T42" fmla="*/ 1 w 163"/>
                <a:gd name="T43" fmla="*/ 97 h 217"/>
                <a:gd name="T44" fmla="*/ 2 w 163"/>
                <a:gd name="T45" fmla="*/ 101 h 217"/>
                <a:gd name="T46" fmla="*/ 7 w 163"/>
                <a:gd name="T47" fmla="*/ 108 h 217"/>
                <a:gd name="T48" fmla="*/ 14 w 163"/>
                <a:gd name="T49" fmla="*/ 113 h 217"/>
                <a:gd name="T50" fmla="*/ 18 w 163"/>
                <a:gd name="T51" fmla="*/ 114 h 217"/>
                <a:gd name="T52" fmla="*/ 23 w 163"/>
                <a:gd name="T53" fmla="*/ 114 h 217"/>
                <a:gd name="T54" fmla="*/ 24 w 163"/>
                <a:gd name="T55" fmla="*/ 114 h 217"/>
                <a:gd name="T56" fmla="*/ 24 w 163"/>
                <a:gd name="T57" fmla="*/ 114 h 217"/>
                <a:gd name="T58" fmla="*/ 23 w 163"/>
                <a:gd name="T59" fmla="*/ 120 h 217"/>
                <a:gd name="T60" fmla="*/ 23 w 163"/>
                <a:gd name="T61" fmla="*/ 202 h 217"/>
                <a:gd name="T62" fmla="*/ 23 w 163"/>
                <a:gd name="T63" fmla="*/ 202 h 217"/>
                <a:gd name="T64" fmla="*/ 24 w 163"/>
                <a:gd name="T65" fmla="*/ 207 h 217"/>
                <a:gd name="T66" fmla="*/ 27 w 163"/>
                <a:gd name="T67" fmla="*/ 213 h 217"/>
                <a:gd name="T68" fmla="*/ 33 w 163"/>
                <a:gd name="T69" fmla="*/ 216 h 217"/>
                <a:gd name="T70" fmla="*/ 38 w 163"/>
                <a:gd name="T71" fmla="*/ 217 h 217"/>
                <a:gd name="T72" fmla="*/ 38 w 163"/>
                <a:gd name="T73" fmla="*/ 217 h 217"/>
                <a:gd name="T74" fmla="*/ 46 w 163"/>
                <a:gd name="T75" fmla="*/ 216 h 217"/>
                <a:gd name="T76" fmla="*/ 50 w 163"/>
                <a:gd name="T77" fmla="*/ 213 h 217"/>
                <a:gd name="T78" fmla="*/ 54 w 163"/>
                <a:gd name="T79" fmla="*/ 207 h 217"/>
                <a:gd name="T80" fmla="*/ 56 w 163"/>
                <a:gd name="T81" fmla="*/ 202 h 217"/>
                <a:gd name="T82" fmla="*/ 56 w 163"/>
                <a:gd name="T83" fmla="*/ 202 h 217"/>
                <a:gd name="T84" fmla="*/ 56 w 163"/>
                <a:gd name="T85" fmla="*/ 207 h 217"/>
                <a:gd name="T86" fmla="*/ 60 w 163"/>
                <a:gd name="T87" fmla="*/ 213 h 217"/>
                <a:gd name="T88" fmla="*/ 66 w 163"/>
                <a:gd name="T89" fmla="*/ 216 h 217"/>
                <a:gd name="T90" fmla="*/ 71 w 163"/>
                <a:gd name="T91" fmla="*/ 217 h 217"/>
                <a:gd name="T92" fmla="*/ 71 w 163"/>
                <a:gd name="T93" fmla="*/ 217 h 217"/>
                <a:gd name="T94" fmla="*/ 77 w 163"/>
                <a:gd name="T95" fmla="*/ 216 h 217"/>
                <a:gd name="T96" fmla="*/ 83 w 163"/>
                <a:gd name="T97" fmla="*/ 213 h 217"/>
                <a:gd name="T98" fmla="*/ 86 w 163"/>
                <a:gd name="T99" fmla="*/ 207 h 217"/>
                <a:gd name="T100" fmla="*/ 87 w 163"/>
                <a:gd name="T101" fmla="*/ 202 h 217"/>
                <a:gd name="T102" fmla="*/ 87 w 163"/>
                <a:gd name="T103" fmla="*/ 51 h 217"/>
                <a:gd name="T104" fmla="*/ 149 w 163"/>
                <a:gd name="T105" fmla="*/ 34 h 217"/>
                <a:gd name="T106" fmla="*/ 149 w 163"/>
                <a:gd name="T107" fmla="*/ 34 h 217"/>
                <a:gd name="T108" fmla="*/ 156 w 163"/>
                <a:gd name="T109" fmla="*/ 31 h 217"/>
                <a:gd name="T110" fmla="*/ 162 w 163"/>
                <a:gd name="T111" fmla="*/ 25 h 217"/>
                <a:gd name="T112" fmla="*/ 163 w 163"/>
                <a:gd name="T113" fmla="*/ 19 h 217"/>
                <a:gd name="T114" fmla="*/ 163 w 163"/>
                <a:gd name="T115" fmla="*/ 12 h 217"/>
                <a:gd name="T116" fmla="*/ 163 w 163"/>
                <a:gd name="T117" fmla="*/ 1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3" h="217">
                  <a:moveTo>
                    <a:pt x="163" y="12"/>
                  </a:moveTo>
                  <a:lnTo>
                    <a:pt x="163" y="12"/>
                  </a:lnTo>
                  <a:lnTo>
                    <a:pt x="161" y="6"/>
                  </a:lnTo>
                  <a:lnTo>
                    <a:pt x="155" y="2"/>
                  </a:lnTo>
                  <a:lnTo>
                    <a:pt x="149" y="0"/>
                  </a:lnTo>
                  <a:lnTo>
                    <a:pt x="140" y="2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54" y="41"/>
                  </a:lnTo>
                  <a:lnTo>
                    <a:pt x="54" y="42"/>
                  </a:lnTo>
                  <a:lnTo>
                    <a:pt x="31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18" y="19"/>
                  </a:lnTo>
                  <a:lnTo>
                    <a:pt x="14" y="21"/>
                  </a:lnTo>
                  <a:lnTo>
                    <a:pt x="7" y="25"/>
                  </a:lnTo>
                  <a:lnTo>
                    <a:pt x="2" y="32"/>
                  </a:lnTo>
                  <a:lnTo>
                    <a:pt x="1" y="36"/>
                  </a:lnTo>
                  <a:lnTo>
                    <a:pt x="0" y="4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1" y="97"/>
                  </a:lnTo>
                  <a:lnTo>
                    <a:pt x="2" y="101"/>
                  </a:lnTo>
                  <a:lnTo>
                    <a:pt x="7" y="108"/>
                  </a:lnTo>
                  <a:lnTo>
                    <a:pt x="14" y="113"/>
                  </a:lnTo>
                  <a:lnTo>
                    <a:pt x="18" y="114"/>
                  </a:lnTo>
                  <a:lnTo>
                    <a:pt x="23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3" y="120"/>
                  </a:lnTo>
                  <a:lnTo>
                    <a:pt x="23" y="202"/>
                  </a:lnTo>
                  <a:lnTo>
                    <a:pt x="23" y="202"/>
                  </a:lnTo>
                  <a:lnTo>
                    <a:pt x="24" y="207"/>
                  </a:lnTo>
                  <a:lnTo>
                    <a:pt x="27" y="213"/>
                  </a:lnTo>
                  <a:lnTo>
                    <a:pt x="33" y="216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46" y="216"/>
                  </a:lnTo>
                  <a:lnTo>
                    <a:pt x="50" y="213"/>
                  </a:lnTo>
                  <a:lnTo>
                    <a:pt x="54" y="207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7"/>
                  </a:lnTo>
                  <a:lnTo>
                    <a:pt x="60" y="213"/>
                  </a:lnTo>
                  <a:lnTo>
                    <a:pt x="66" y="216"/>
                  </a:lnTo>
                  <a:lnTo>
                    <a:pt x="71" y="217"/>
                  </a:lnTo>
                  <a:lnTo>
                    <a:pt x="71" y="217"/>
                  </a:lnTo>
                  <a:lnTo>
                    <a:pt x="77" y="216"/>
                  </a:lnTo>
                  <a:lnTo>
                    <a:pt x="83" y="213"/>
                  </a:lnTo>
                  <a:lnTo>
                    <a:pt x="86" y="207"/>
                  </a:lnTo>
                  <a:lnTo>
                    <a:pt x="87" y="202"/>
                  </a:lnTo>
                  <a:lnTo>
                    <a:pt x="87" y="51"/>
                  </a:lnTo>
                  <a:lnTo>
                    <a:pt x="149" y="34"/>
                  </a:lnTo>
                  <a:lnTo>
                    <a:pt x="149" y="34"/>
                  </a:lnTo>
                  <a:lnTo>
                    <a:pt x="156" y="31"/>
                  </a:lnTo>
                  <a:lnTo>
                    <a:pt x="162" y="25"/>
                  </a:lnTo>
                  <a:lnTo>
                    <a:pt x="163" y="19"/>
                  </a:lnTo>
                  <a:lnTo>
                    <a:pt x="163" y="12"/>
                  </a:lnTo>
                  <a:lnTo>
                    <a:pt x="163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7446448" y="1330158"/>
            <a:ext cx="696891" cy="605803"/>
            <a:chOff x="10023451" y="3329202"/>
            <a:chExt cx="1069438" cy="929661"/>
          </a:xfrm>
        </p:grpSpPr>
        <p:grpSp>
          <p:nvGrpSpPr>
            <p:cNvPr id="124" name="Group 123"/>
            <p:cNvGrpSpPr/>
            <p:nvPr/>
          </p:nvGrpSpPr>
          <p:grpSpPr>
            <a:xfrm>
              <a:off x="10023451" y="3329202"/>
              <a:ext cx="1069438" cy="929661"/>
              <a:chOff x="6016380" y="2377039"/>
              <a:chExt cx="1069438" cy="929661"/>
            </a:xfrm>
            <a:solidFill>
              <a:schemeClr val="accent5">
                <a:lumMod val="40000"/>
                <a:lumOff val="60000"/>
              </a:schemeClr>
            </a:solidFill>
          </p:grpSpPr>
          <p:sp>
            <p:nvSpPr>
              <p:cNvPr id="146" name="Rectangle 145"/>
              <p:cNvSpPr/>
              <p:nvPr/>
            </p:nvSpPr>
            <p:spPr bwMode="ltGray">
              <a:xfrm>
                <a:off x="6016380" y="2377039"/>
                <a:ext cx="1069438" cy="70988"/>
              </a:xfrm>
              <a:prstGeom prst="rect">
                <a:avLst/>
              </a:prstGeom>
              <a:solidFill>
                <a:srgbClr val="A7A49B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7" name="Rectangle 146"/>
              <p:cNvSpPr/>
              <p:nvPr/>
            </p:nvSpPr>
            <p:spPr bwMode="ltGray">
              <a:xfrm>
                <a:off x="6016380" y="2663263"/>
                <a:ext cx="1069438" cy="70988"/>
              </a:xfrm>
              <a:prstGeom prst="rect">
                <a:avLst/>
              </a:prstGeom>
              <a:solidFill>
                <a:srgbClr val="A7A49B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8" name="Rectangle 147"/>
              <p:cNvSpPr/>
              <p:nvPr/>
            </p:nvSpPr>
            <p:spPr bwMode="ltGray">
              <a:xfrm>
                <a:off x="6016380" y="2949487"/>
                <a:ext cx="1069438" cy="70988"/>
              </a:xfrm>
              <a:prstGeom prst="rect">
                <a:avLst/>
              </a:prstGeom>
              <a:solidFill>
                <a:srgbClr val="A7A49B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9" name="Rectangle 148"/>
              <p:cNvSpPr/>
              <p:nvPr/>
            </p:nvSpPr>
            <p:spPr bwMode="ltGray">
              <a:xfrm>
                <a:off x="6016380" y="3235712"/>
                <a:ext cx="1069438" cy="70988"/>
              </a:xfrm>
              <a:prstGeom prst="rect">
                <a:avLst/>
              </a:prstGeom>
              <a:solidFill>
                <a:srgbClr val="A7A49B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32" name="Group 131"/>
            <p:cNvGrpSpPr/>
            <p:nvPr/>
          </p:nvGrpSpPr>
          <p:grpSpPr>
            <a:xfrm>
              <a:off x="10100022" y="3452397"/>
              <a:ext cx="916296" cy="191305"/>
              <a:chOff x="5026390" y="2608257"/>
              <a:chExt cx="916296" cy="191305"/>
            </a:xfrm>
            <a:solidFill>
              <a:schemeClr val="accent5">
                <a:lumMod val="40000"/>
                <a:lumOff val="60000"/>
              </a:schemeClr>
            </a:solidFill>
          </p:grpSpPr>
          <p:sp>
            <p:nvSpPr>
              <p:cNvPr id="143" name="Oval 142"/>
              <p:cNvSpPr/>
              <p:nvPr/>
            </p:nvSpPr>
            <p:spPr bwMode="ltGray">
              <a:xfrm>
                <a:off x="5026390" y="2608257"/>
                <a:ext cx="191305" cy="191305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4" name="Oval 143"/>
              <p:cNvSpPr/>
              <p:nvPr/>
            </p:nvSpPr>
            <p:spPr bwMode="ltGray">
              <a:xfrm>
                <a:off x="5388886" y="2608257"/>
                <a:ext cx="191305" cy="191305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5" name="Oval 144"/>
              <p:cNvSpPr/>
              <p:nvPr/>
            </p:nvSpPr>
            <p:spPr bwMode="ltGray">
              <a:xfrm>
                <a:off x="5751381" y="2608257"/>
                <a:ext cx="191305" cy="191305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33" name="Group 132"/>
            <p:cNvGrpSpPr/>
            <p:nvPr/>
          </p:nvGrpSpPr>
          <p:grpSpPr>
            <a:xfrm>
              <a:off x="10091364" y="3705142"/>
              <a:ext cx="933612" cy="221921"/>
              <a:chOff x="5011168" y="2861002"/>
              <a:chExt cx="933612" cy="221921"/>
            </a:xfrm>
            <a:solidFill>
              <a:schemeClr val="accent5">
                <a:lumMod val="40000"/>
                <a:lumOff val="60000"/>
              </a:schemeClr>
            </a:solidFill>
          </p:grpSpPr>
          <p:sp>
            <p:nvSpPr>
              <p:cNvPr id="140" name="Rectangle 139"/>
              <p:cNvSpPr/>
              <p:nvPr/>
            </p:nvSpPr>
            <p:spPr bwMode="ltGray">
              <a:xfrm>
                <a:off x="5011168" y="2861002"/>
                <a:ext cx="221921" cy="221921"/>
              </a:xfrm>
              <a:prstGeom prst="rect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 bwMode="ltGray">
              <a:xfrm>
                <a:off x="5367014" y="2861002"/>
                <a:ext cx="221921" cy="221921"/>
              </a:xfrm>
              <a:prstGeom prst="rect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 bwMode="ltGray">
              <a:xfrm>
                <a:off x="5722859" y="2861002"/>
                <a:ext cx="221921" cy="221921"/>
              </a:xfrm>
              <a:prstGeom prst="rect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34" name="Group 133"/>
            <p:cNvGrpSpPr/>
            <p:nvPr/>
          </p:nvGrpSpPr>
          <p:grpSpPr>
            <a:xfrm>
              <a:off x="10091364" y="3992020"/>
              <a:ext cx="933612" cy="221921"/>
              <a:chOff x="5011168" y="2861002"/>
              <a:chExt cx="933612" cy="221921"/>
            </a:xfrm>
            <a:solidFill>
              <a:schemeClr val="accent5">
                <a:lumMod val="40000"/>
                <a:lumOff val="60000"/>
              </a:schemeClr>
            </a:solidFill>
          </p:grpSpPr>
          <p:sp>
            <p:nvSpPr>
              <p:cNvPr id="137" name="Rectangle 136"/>
              <p:cNvSpPr/>
              <p:nvPr/>
            </p:nvSpPr>
            <p:spPr bwMode="ltGray">
              <a:xfrm>
                <a:off x="5011168" y="2861002"/>
                <a:ext cx="221921" cy="221921"/>
              </a:xfrm>
              <a:prstGeom prst="rect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8" name="Rectangle 137"/>
              <p:cNvSpPr/>
              <p:nvPr/>
            </p:nvSpPr>
            <p:spPr bwMode="ltGray">
              <a:xfrm>
                <a:off x="5367014" y="2861002"/>
                <a:ext cx="221921" cy="221921"/>
              </a:xfrm>
              <a:prstGeom prst="rect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 bwMode="ltGray">
              <a:xfrm>
                <a:off x="5722859" y="2861002"/>
                <a:ext cx="221921" cy="221921"/>
              </a:xfrm>
              <a:prstGeom prst="rect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154" name="Freeform 4839"/>
          <p:cNvSpPr>
            <a:spLocks noEditPoints="1"/>
          </p:cNvSpPr>
          <p:nvPr/>
        </p:nvSpPr>
        <p:spPr bwMode="auto">
          <a:xfrm>
            <a:off x="5823079" y="1369431"/>
            <a:ext cx="432208" cy="585144"/>
          </a:xfrm>
          <a:custGeom>
            <a:avLst/>
            <a:gdLst>
              <a:gd name="T0" fmla="*/ 166 w 260"/>
              <a:gd name="T1" fmla="*/ 342 h 352"/>
              <a:gd name="T2" fmla="*/ 162 w 260"/>
              <a:gd name="T3" fmla="*/ 350 h 352"/>
              <a:gd name="T4" fmla="*/ 154 w 260"/>
              <a:gd name="T5" fmla="*/ 352 h 352"/>
              <a:gd name="T6" fmla="*/ 2 w 260"/>
              <a:gd name="T7" fmla="*/ 302 h 352"/>
              <a:gd name="T8" fmla="*/ 0 w 260"/>
              <a:gd name="T9" fmla="*/ 88 h 352"/>
              <a:gd name="T10" fmla="*/ 4 w 260"/>
              <a:gd name="T11" fmla="*/ 80 h 352"/>
              <a:gd name="T12" fmla="*/ 158 w 260"/>
              <a:gd name="T13" fmla="*/ 124 h 352"/>
              <a:gd name="T14" fmla="*/ 166 w 260"/>
              <a:gd name="T15" fmla="*/ 134 h 352"/>
              <a:gd name="T16" fmla="*/ 62 w 260"/>
              <a:gd name="T17" fmla="*/ 70 h 352"/>
              <a:gd name="T18" fmla="*/ 70 w 260"/>
              <a:gd name="T19" fmla="*/ 46 h 352"/>
              <a:gd name="T20" fmla="*/ 88 w 260"/>
              <a:gd name="T21" fmla="*/ 34 h 352"/>
              <a:gd name="T22" fmla="*/ 106 w 260"/>
              <a:gd name="T23" fmla="*/ 42 h 352"/>
              <a:gd name="T24" fmla="*/ 120 w 260"/>
              <a:gd name="T25" fmla="*/ 80 h 352"/>
              <a:gd name="T26" fmla="*/ 142 w 260"/>
              <a:gd name="T27" fmla="*/ 100 h 352"/>
              <a:gd name="T28" fmla="*/ 140 w 260"/>
              <a:gd name="T29" fmla="*/ 82 h 352"/>
              <a:gd name="T30" fmla="*/ 128 w 260"/>
              <a:gd name="T31" fmla="*/ 40 h 352"/>
              <a:gd name="T32" fmla="*/ 106 w 260"/>
              <a:gd name="T33" fmla="*/ 18 h 352"/>
              <a:gd name="T34" fmla="*/ 88 w 260"/>
              <a:gd name="T35" fmla="*/ 16 h 352"/>
              <a:gd name="T36" fmla="*/ 60 w 260"/>
              <a:gd name="T37" fmla="*/ 28 h 352"/>
              <a:gd name="T38" fmla="*/ 46 w 260"/>
              <a:gd name="T39" fmla="*/ 52 h 352"/>
              <a:gd name="T40" fmla="*/ 60 w 260"/>
              <a:gd name="T41" fmla="*/ 74 h 352"/>
              <a:gd name="T42" fmla="*/ 256 w 260"/>
              <a:gd name="T43" fmla="*/ 110 h 352"/>
              <a:gd name="T44" fmla="*/ 248 w 260"/>
              <a:gd name="T45" fmla="*/ 108 h 352"/>
              <a:gd name="T46" fmla="*/ 182 w 260"/>
              <a:gd name="T47" fmla="*/ 128 h 352"/>
              <a:gd name="T48" fmla="*/ 180 w 260"/>
              <a:gd name="T49" fmla="*/ 342 h 352"/>
              <a:gd name="T50" fmla="*/ 184 w 260"/>
              <a:gd name="T51" fmla="*/ 350 h 352"/>
              <a:gd name="T52" fmla="*/ 194 w 260"/>
              <a:gd name="T53" fmla="*/ 350 h 352"/>
              <a:gd name="T54" fmla="*/ 248 w 260"/>
              <a:gd name="T55" fmla="*/ 336 h 352"/>
              <a:gd name="T56" fmla="*/ 256 w 260"/>
              <a:gd name="T57" fmla="*/ 334 h 352"/>
              <a:gd name="T58" fmla="*/ 260 w 260"/>
              <a:gd name="T59" fmla="*/ 118 h 352"/>
              <a:gd name="T60" fmla="*/ 256 w 260"/>
              <a:gd name="T61" fmla="*/ 110 h 352"/>
              <a:gd name="T62" fmla="*/ 214 w 260"/>
              <a:gd name="T63" fmla="*/ 84 h 352"/>
              <a:gd name="T64" fmla="*/ 214 w 260"/>
              <a:gd name="T65" fmla="*/ 68 h 352"/>
              <a:gd name="T66" fmla="*/ 200 w 260"/>
              <a:gd name="T67" fmla="*/ 26 h 352"/>
              <a:gd name="T68" fmla="*/ 178 w 260"/>
              <a:gd name="T69" fmla="*/ 4 h 352"/>
              <a:gd name="T70" fmla="*/ 162 w 260"/>
              <a:gd name="T71" fmla="*/ 0 h 352"/>
              <a:gd name="T72" fmla="*/ 134 w 260"/>
              <a:gd name="T73" fmla="*/ 12 h 352"/>
              <a:gd name="T74" fmla="*/ 136 w 260"/>
              <a:gd name="T75" fmla="*/ 26 h 352"/>
              <a:gd name="T76" fmla="*/ 144 w 260"/>
              <a:gd name="T77" fmla="*/ 28 h 352"/>
              <a:gd name="T78" fmla="*/ 162 w 260"/>
              <a:gd name="T79" fmla="*/ 20 h 352"/>
              <a:gd name="T80" fmla="*/ 178 w 260"/>
              <a:gd name="T81" fmla="*/ 26 h 352"/>
              <a:gd name="T82" fmla="*/ 194 w 260"/>
              <a:gd name="T83" fmla="*/ 62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60" h="352">
                <a:moveTo>
                  <a:pt x="166" y="134"/>
                </a:moveTo>
                <a:lnTo>
                  <a:pt x="166" y="342"/>
                </a:lnTo>
                <a:lnTo>
                  <a:pt x="166" y="342"/>
                </a:lnTo>
                <a:lnTo>
                  <a:pt x="164" y="346"/>
                </a:lnTo>
                <a:lnTo>
                  <a:pt x="162" y="350"/>
                </a:lnTo>
                <a:lnTo>
                  <a:pt x="162" y="350"/>
                </a:lnTo>
                <a:lnTo>
                  <a:pt x="156" y="352"/>
                </a:lnTo>
                <a:lnTo>
                  <a:pt x="156" y="352"/>
                </a:lnTo>
                <a:lnTo>
                  <a:pt x="154" y="352"/>
                </a:lnTo>
                <a:lnTo>
                  <a:pt x="8" y="306"/>
                </a:lnTo>
                <a:lnTo>
                  <a:pt x="8" y="306"/>
                </a:lnTo>
                <a:lnTo>
                  <a:pt x="2" y="302"/>
                </a:lnTo>
                <a:lnTo>
                  <a:pt x="0" y="296"/>
                </a:lnTo>
                <a:lnTo>
                  <a:pt x="0" y="88"/>
                </a:lnTo>
                <a:lnTo>
                  <a:pt x="0" y="88"/>
                </a:lnTo>
                <a:lnTo>
                  <a:pt x="2" y="84"/>
                </a:lnTo>
                <a:lnTo>
                  <a:pt x="4" y="80"/>
                </a:lnTo>
                <a:lnTo>
                  <a:pt x="4" y="80"/>
                </a:lnTo>
                <a:lnTo>
                  <a:pt x="8" y="78"/>
                </a:lnTo>
                <a:lnTo>
                  <a:pt x="14" y="78"/>
                </a:lnTo>
                <a:lnTo>
                  <a:pt x="158" y="124"/>
                </a:lnTo>
                <a:lnTo>
                  <a:pt x="158" y="124"/>
                </a:lnTo>
                <a:lnTo>
                  <a:pt x="164" y="128"/>
                </a:lnTo>
                <a:lnTo>
                  <a:pt x="166" y="134"/>
                </a:lnTo>
                <a:lnTo>
                  <a:pt x="166" y="134"/>
                </a:lnTo>
                <a:close/>
                <a:moveTo>
                  <a:pt x="62" y="70"/>
                </a:moveTo>
                <a:lnTo>
                  <a:pt x="62" y="70"/>
                </a:lnTo>
                <a:lnTo>
                  <a:pt x="64" y="64"/>
                </a:lnTo>
                <a:lnTo>
                  <a:pt x="66" y="52"/>
                </a:lnTo>
                <a:lnTo>
                  <a:pt x="70" y="46"/>
                </a:lnTo>
                <a:lnTo>
                  <a:pt x="74" y="40"/>
                </a:lnTo>
                <a:lnTo>
                  <a:pt x="80" y="36"/>
                </a:lnTo>
                <a:lnTo>
                  <a:pt x="88" y="34"/>
                </a:lnTo>
                <a:lnTo>
                  <a:pt x="88" y="34"/>
                </a:lnTo>
                <a:lnTo>
                  <a:pt x="98" y="36"/>
                </a:lnTo>
                <a:lnTo>
                  <a:pt x="106" y="42"/>
                </a:lnTo>
                <a:lnTo>
                  <a:pt x="112" y="50"/>
                </a:lnTo>
                <a:lnTo>
                  <a:pt x="116" y="60"/>
                </a:lnTo>
                <a:lnTo>
                  <a:pt x="120" y="80"/>
                </a:lnTo>
                <a:lnTo>
                  <a:pt x="122" y="94"/>
                </a:lnTo>
                <a:lnTo>
                  <a:pt x="142" y="100"/>
                </a:lnTo>
                <a:lnTo>
                  <a:pt x="142" y="100"/>
                </a:lnTo>
                <a:lnTo>
                  <a:pt x="142" y="96"/>
                </a:lnTo>
                <a:lnTo>
                  <a:pt x="142" y="96"/>
                </a:lnTo>
                <a:lnTo>
                  <a:pt x="140" y="82"/>
                </a:lnTo>
                <a:lnTo>
                  <a:pt x="138" y="70"/>
                </a:lnTo>
                <a:lnTo>
                  <a:pt x="134" y="54"/>
                </a:lnTo>
                <a:lnTo>
                  <a:pt x="128" y="40"/>
                </a:lnTo>
                <a:lnTo>
                  <a:pt x="118" y="28"/>
                </a:lnTo>
                <a:lnTo>
                  <a:pt x="112" y="22"/>
                </a:lnTo>
                <a:lnTo>
                  <a:pt x="106" y="18"/>
                </a:lnTo>
                <a:lnTo>
                  <a:pt x="98" y="16"/>
                </a:lnTo>
                <a:lnTo>
                  <a:pt x="88" y="16"/>
                </a:lnTo>
                <a:lnTo>
                  <a:pt x="88" y="16"/>
                </a:lnTo>
                <a:lnTo>
                  <a:pt x="78" y="16"/>
                </a:lnTo>
                <a:lnTo>
                  <a:pt x="68" y="20"/>
                </a:lnTo>
                <a:lnTo>
                  <a:pt x="60" y="28"/>
                </a:lnTo>
                <a:lnTo>
                  <a:pt x="54" y="34"/>
                </a:lnTo>
                <a:lnTo>
                  <a:pt x="50" y="44"/>
                </a:lnTo>
                <a:lnTo>
                  <a:pt x="46" y="52"/>
                </a:lnTo>
                <a:lnTo>
                  <a:pt x="44" y="68"/>
                </a:lnTo>
                <a:lnTo>
                  <a:pt x="60" y="74"/>
                </a:lnTo>
                <a:lnTo>
                  <a:pt x="60" y="74"/>
                </a:lnTo>
                <a:lnTo>
                  <a:pt x="62" y="70"/>
                </a:lnTo>
                <a:lnTo>
                  <a:pt x="62" y="70"/>
                </a:lnTo>
                <a:close/>
                <a:moveTo>
                  <a:pt x="256" y="110"/>
                </a:moveTo>
                <a:lnTo>
                  <a:pt x="256" y="110"/>
                </a:lnTo>
                <a:lnTo>
                  <a:pt x="252" y="108"/>
                </a:lnTo>
                <a:lnTo>
                  <a:pt x="248" y="108"/>
                </a:lnTo>
                <a:lnTo>
                  <a:pt x="186" y="124"/>
                </a:lnTo>
                <a:lnTo>
                  <a:pt x="186" y="124"/>
                </a:lnTo>
                <a:lnTo>
                  <a:pt x="182" y="128"/>
                </a:lnTo>
                <a:lnTo>
                  <a:pt x="180" y="134"/>
                </a:lnTo>
                <a:lnTo>
                  <a:pt x="180" y="342"/>
                </a:lnTo>
                <a:lnTo>
                  <a:pt x="180" y="342"/>
                </a:lnTo>
                <a:lnTo>
                  <a:pt x="180" y="346"/>
                </a:lnTo>
                <a:lnTo>
                  <a:pt x="184" y="350"/>
                </a:lnTo>
                <a:lnTo>
                  <a:pt x="184" y="350"/>
                </a:lnTo>
                <a:lnTo>
                  <a:pt x="188" y="352"/>
                </a:lnTo>
                <a:lnTo>
                  <a:pt x="188" y="352"/>
                </a:lnTo>
                <a:lnTo>
                  <a:pt x="194" y="350"/>
                </a:lnTo>
                <a:lnTo>
                  <a:pt x="226" y="330"/>
                </a:lnTo>
                <a:lnTo>
                  <a:pt x="248" y="336"/>
                </a:lnTo>
                <a:lnTo>
                  <a:pt x="248" y="336"/>
                </a:lnTo>
                <a:lnTo>
                  <a:pt x="252" y="336"/>
                </a:lnTo>
                <a:lnTo>
                  <a:pt x="256" y="334"/>
                </a:lnTo>
                <a:lnTo>
                  <a:pt x="256" y="334"/>
                </a:lnTo>
                <a:lnTo>
                  <a:pt x="258" y="330"/>
                </a:lnTo>
                <a:lnTo>
                  <a:pt x="260" y="326"/>
                </a:lnTo>
                <a:lnTo>
                  <a:pt x="260" y="118"/>
                </a:lnTo>
                <a:lnTo>
                  <a:pt x="260" y="118"/>
                </a:lnTo>
                <a:lnTo>
                  <a:pt x="258" y="114"/>
                </a:lnTo>
                <a:lnTo>
                  <a:pt x="256" y="110"/>
                </a:lnTo>
                <a:lnTo>
                  <a:pt x="256" y="110"/>
                </a:lnTo>
                <a:close/>
                <a:moveTo>
                  <a:pt x="214" y="84"/>
                </a:moveTo>
                <a:lnTo>
                  <a:pt x="214" y="84"/>
                </a:lnTo>
                <a:lnTo>
                  <a:pt x="216" y="82"/>
                </a:lnTo>
                <a:lnTo>
                  <a:pt x="216" y="82"/>
                </a:lnTo>
                <a:lnTo>
                  <a:pt x="214" y="68"/>
                </a:lnTo>
                <a:lnTo>
                  <a:pt x="212" y="54"/>
                </a:lnTo>
                <a:lnTo>
                  <a:pt x="208" y="40"/>
                </a:lnTo>
                <a:lnTo>
                  <a:pt x="200" y="26"/>
                </a:lnTo>
                <a:lnTo>
                  <a:pt x="192" y="12"/>
                </a:lnTo>
                <a:lnTo>
                  <a:pt x="186" y="8"/>
                </a:lnTo>
                <a:lnTo>
                  <a:pt x="178" y="4"/>
                </a:lnTo>
                <a:lnTo>
                  <a:pt x="170" y="2"/>
                </a:lnTo>
                <a:lnTo>
                  <a:pt x="162" y="0"/>
                </a:lnTo>
                <a:lnTo>
                  <a:pt x="162" y="0"/>
                </a:lnTo>
                <a:lnTo>
                  <a:pt x="150" y="2"/>
                </a:lnTo>
                <a:lnTo>
                  <a:pt x="142" y="6"/>
                </a:lnTo>
                <a:lnTo>
                  <a:pt x="134" y="12"/>
                </a:lnTo>
                <a:lnTo>
                  <a:pt x="128" y="18"/>
                </a:lnTo>
                <a:lnTo>
                  <a:pt x="128" y="18"/>
                </a:lnTo>
                <a:lnTo>
                  <a:pt x="136" y="26"/>
                </a:lnTo>
                <a:lnTo>
                  <a:pt x="142" y="34"/>
                </a:lnTo>
                <a:lnTo>
                  <a:pt x="142" y="34"/>
                </a:lnTo>
                <a:lnTo>
                  <a:pt x="144" y="28"/>
                </a:lnTo>
                <a:lnTo>
                  <a:pt x="150" y="24"/>
                </a:lnTo>
                <a:lnTo>
                  <a:pt x="154" y="22"/>
                </a:lnTo>
                <a:lnTo>
                  <a:pt x="162" y="20"/>
                </a:lnTo>
                <a:lnTo>
                  <a:pt x="162" y="20"/>
                </a:lnTo>
                <a:lnTo>
                  <a:pt x="170" y="22"/>
                </a:lnTo>
                <a:lnTo>
                  <a:pt x="178" y="26"/>
                </a:lnTo>
                <a:lnTo>
                  <a:pt x="184" y="34"/>
                </a:lnTo>
                <a:lnTo>
                  <a:pt x="188" y="44"/>
                </a:lnTo>
                <a:lnTo>
                  <a:pt x="194" y="62"/>
                </a:lnTo>
                <a:lnTo>
                  <a:pt x="196" y="78"/>
                </a:lnTo>
                <a:lnTo>
                  <a:pt x="214" y="84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пределение подходящего ассортимента в каждой точке и повышение уровня обслуживания покупателей </a:t>
            </a:r>
            <a:r>
              <a:rPr dirty="0"/>
              <a:t/>
            </a:r>
            <a:br>
              <a:rPr dirty="0"/>
            </a:br>
            <a:endParaRPr lang="ru-RU" dirty="0"/>
          </a:p>
        </p:txBody>
      </p:sp>
      <p:sp>
        <p:nvSpPr>
          <p:cNvPr id="115" name="Rectangle 17"/>
          <p:cNvSpPr>
            <a:spLocks/>
          </p:cNvSpPr>
          <p:nvPr/>
        </p:nvSpPr>
        <p:spPr bwMode="auto">
          <a:xfrm>
            <a:off x="142450" y="1270729"/>
            <a:ext cx="797307" cy="279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Изучение ассоциативных правил</a:t>
            </a:r>
          </a:p>
        </p:txBody>
      </p:sp>
      <p:sp>
        <p:nvSpPr>
          <p:cNvPr id="116" name="Rectangle 17"/>
          <p:cNvSpPr>
            <a:spLocks/>
          </p:cNvSpPr>
          <p:nvPr/>
        </p:nvSpPr>
        <p:spPr bwMode="auto">
          <a:xfrm>
            <a:off x="142451" y="1818349"/>
            <a:ext cx="738960" cy="279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Разбивка на кластеры</a:t>
            </a:r>
          </a:p>
        </p:txBody>
      </p:sp>
      <p:grpSp>
        <p:nvGrpSpPr>
          <p:cNvPr id="161" name="Group 160"/>
          <p:cNvGrpSpPr/>
          <p:nvPr/>
        </p:nvGrpSpPr>
        <p:grpSpPr>
          <a:xfrm>
            <a:off x="148422" y="3693508"/>
            <a:ext cx="727019" cy="718294"/>
            <a:chOff x="148422" y="3478099"/>
            <a:chExt cx="727019" cy="718294"/>
          </a:xfrm>
        </p:grpSpPr>
        <p:sp>
          <p:nvSpPr>
            <p:cNvPr id="162" name="Rectangle 17"/>
            <p:cNvSpPr>
              <a:spLocks/>
            </p:cNvSpPr>
            <p:nvPr/>
          </p:nvSpPr>
          <p:spPr bwMode="auto">
            <a:xfrm>
              <a:off x="148422" y="3703950"/>
              <a:ext cx="727019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Веб-ресурсы, продукт, датчики, приложения</a:t>
              </a:r>
              <a:endParaRPr lang="ru-RU" sz="800" i="1" dirty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grpSp>
          <p:nvGrpSpPr>
            <p:cNvPr id="163" name="Group 157"/>
            <p:cNvGrpSpPr>
              <a:grpSpLocks noChangeAspect="1"/>
            </p:cNvGrpSpPr>
            <p:nvPr/>
          </p:nvGrpSpPr>
          <p:grpSpPr bwMode="auto">
            <a:xfrm>
              <a:off x="384568" y="3478099"/>
              <a:ext cx="254721" cy="240654"/>
              <a:chOff x="3815" y="1810"/>
              <a:chExt cx="2354" cy="2224"/>
            </a:xfrm>
            <a:solidFill>
              <a:schemeClr val="bg1"/>
            </a:solidFill>
          </p:grpSpPr>
          <p:sp>
            <p:nvSpPr>
              <p:cNvPr id="164" name="Freeform 159"/>
              <p:cNvSpPr>
                <a:spLocks noEditPoints="1"/>
              </p:cNvSpPr>
              <p:nvPr/>
            </p:nvSpPr>
            <p:spPr bwMode="auto">
              <a:xfrm>
                <a:off x="3815" y="1810"/>
                <a:ext cx="2021" cy="1982"/>
              </a:xfrm>
              <a:custGeom>
                <a:avLst/>
                <a:gdLst>
                  <a:gd name="T0" fmla="*/ 3423 w 4043"/>
                  <a:gd name="T1" fmla="*/ 409 h 3965"/>
                  <a:gd name="T2" fmla="*/ 3363 w 4043"/>
                  <a:gd name="T3" fmla="*/ 435 h 3965"/>
                  <a:gd name="T4" fmla="*/ 3317 w 4043"/>
                  <a:gd name="T5" fmla="*/ 481 h 3965"/>
                  <a:gd name="T6" fmla="*/ 3291 w 4043"/>
                  <a:gd name="T7" fmla="*/ 542 h 3965"/>
                  <a:gd name="T8" fmla="*/ 3291 w 4043"/>
                  <a:gd name="T9" fmla="*/ 611 h 3965"/>
                  <a:gd name="T10" fmla="*/ 3317 w 4043"/>
                  <a:gd name="T11" fmla="*/ 671 h 3965"/>
                  <a:gd name="T12" fmla="*/ 3363 w 4043"/>
                  <a:gd name="T13" fmla="*/ 716 h 3965"/>
                  <a:gd name="T14" fmla="*/ 3423 w 4043"/>
                  <a:gd name="T15" fmla="*/ 742 h 3965"/>
                  <a:gd name="T16" fmla="*/ 3491 w 4043"/>
                  <a:gd name="T17" fmla="*/ 742 h 3965"/>
                  <a:gd name="T18" fmla="*/ 3553 w 4043"/>
                  <a:gd name="T19" fmla="*/ 716 h 3965"/>
                  <a:gd name="T20" fmla="*/ 3598 w 4043"/>
                  <a:gd name="T21" fmla="*/ 671 h 3965"/>
                  <a:gd name="T22" fmla="*/ 3624 w 4043"/>
                  <a:gd name="T23" fmla="*/ 611 h 3965"/>
                  <a:gd name="T24" fmla="*/ 3624 w 4043"/>
                  <a:gd name="T25" fmla="*/ 542 h 3965"/>
                  <a:gd name="T26" fmla="*/ 3598 w 4043"/>
                  <a:gd name="T27" fmla="*/ 481 h 3965"/>
                  <a:gd name="T28" fmla="*/ 3553 w 4043"/>
                  <a:gd name="T29" fmla="*/ 435 h 3965"/>
                  <a:gd name="T30" fmla="*/ 3491 w 4043"/>
                  <a:gd name="T31" fmla="*/ 409 h 3965"/>
                  <a:gd name="T32" fmla="*/ 2924 w 4043"/>
                  <a:gd name="T33" fmla="*/ 406 h 3965"/>
                  <a:gd name="T34" fmla="*/ 2858 w 4043"/>
                  <a:gd name="T35" fmla="*/ 419 h 3965"/>
                  <a:gd name="T36" fmla="*/ 2804 w 4043"/>
                  <a:gd name="T37" fmla="*/ 456 h 3965"/>
                  <a:gd name="T38" fmla="*/ 2768 w 4043"/>
                  <a:gd name="T39" fmla="*/ 511 h 3965"/>
                  <a:gd name="T40" fmla="*/ 2755 w 4043"/>
                  <a:gd name="T41" fmla="*/ 576 h 3965"/>
                  <a:gd name="T42" fmla="*/ 2768 w 4043"/>
                  <a:gd name="T43" fmla="*/ 642 h 3965"/>
                  <a:gd name="T44" fmla="*/ 2804 w 4043"/>
                  <a:gd name="T45" fmla="*/ 696 h 3965"/>
                  <a:gd name="T46" fmla="*/ 2858 w 4043"/>
                  <a:gd name="T47" fmla="*/ 732 h 3965"/>
                  <a:gd name="T48" fmla="*/ 2924 w 4043"/>
                  <a:gd name="T49" fmla="*/ 746 h 3965"/>
                  <a:gd name="T50" fmla="*/ 2991 w 4043"/>
                  <a:gd name="T51" fmla="*/ 732 h 3965"/>
                  <a:gd name="T52" fmla="*/ 3045 w 4043"/>
                  <a:gd name="T53" fmla="*/ 696 h 3965"/>
                  <a:gd name="T54" fmla="*/ 3081 w 4043"/>
                  <a:gd name="T55" fmla="*/ 642 h 3965"/>
                  <a:gd name="T56" fmla="*/ 3094 w 4043"/>
                  <a:gd name="T57" fmla="*/ 576 h 3965"/>
                  <a:gd name="T58" fmla="*/ 3081 w 4043"/>
                  <a:gd name="T59" fmla="*/ 511 h 3965"/>
                  <a:gd name="T60" fmla="*/ 3045 w 4043"/>
                  <a:gd name="T61" fmla="*/ 456 h 3965"/>
                  <a:gd name="T62" fmla="*/ 2991 w 4043"/>
                  <a:gd name="T63" fmla="*/ 419 h 3965"/>
                  <a:gd name="T64" fmla="*/ 2924 w 4043"/>
                  <a:gd name="T65" fmla="*/ 406 h 3965"/>
                  <a:gd name="T66" fmla="*/ 3924 w 4043"/>
                  <a:gd name="T67" fmla="*/ 0 h 3965"/>
                  <a:gd name="T68" fmla="*/ 3984 w 4043"/>
                  <a:gd name="T69" fmla="*/ 18 h 3965"/>
                  <a:gd name="T70" fmla="*/ 4027 w 4043"/>
                  <a:gd name="T71" fmla="*/ 60 h 3965"/>
                  <a:gd name="T72" fmla="*/ 4043 w 4043"/>
                  <a:gd name="T73" fmla="*/ 120 h 3965"/>
                  <a:gd name="T74" fmla="*/ 4026 w 4043"/>
                  <a:gd name="T75" fmla="*/ 1778 h 3965"/>
                  <a:gd name="T76" fmla="*/ 3943 w 4043"/>
                  <a:gd name="T77" fmla="*/ 1795 h 3965"/>
                  <a:gd name="T78" fmla="*/ 3874 w 4043"/>
                  <a:gd name="T79" fmla="*/ 1841 h 3965"/>
                  <a:gd name="T80" fmla="*/ 3809 w 4043"/>
                  <a:gd name="T81" fmla="*/ 1868 h 3965"/>
                  <a:gd name="T82" fmla="*/ 3744 w 4043"/>
                  <a:gd name="T83" fmla="*/ 1878 h 3965"/>
                  <a:gd name="T84" fmla="*/ 3686 w 4043"/>
                  <a:gd name="T85" fmla="*/ 1908 h 3965"/>
                  <a:gd name="T86" fmla="*/ 357 w 4043"/>
                  <a:gd name="T87" fmla="*/ 1095 h 3965"/>
                  <a:gd name="T88" fmla="*/ 2587 w 4043"/>
                  <a:gd name="T89" fmla="*/ 3608 h 3965"/>
                  <a:gd name="T90" fmla="*/ 2585 w 4043"/>
                  <a:gd name="T91" fmla="*/ 3839 h 3965"/>
                  <a:gd name="T92" fmla="*/ 2602 w 4043"/>
                  <a:gd name="T93" fmla="*/ 3926 h 3965"/>
                  <a:gd name="T94" fmla="*/ 119 w 4043"/>
                  <a:gd name="T95" fmla="*/ 3965 h 3965"/>
                  <a:gd name="T96" fmla="*/ 59 w 4043"/>
                  <a:gd name="T97" fmla="*/ 3949 h 3965"/>
                  <a:gd name="T98" fmla="*/ 16 w 4043"/>
                  <a:gd name="T99" fmla="*/ 3906 h 3965"/>
                  <a:gd name="T100" fmla="*/ 0 w 4043"/>
                  <a:gd name="T101" fmla="*/ 3846 h 3965"/>
                  <a:gd name="T102" fmla="*/ 4 w 4043"/>
                  <a:gd name="T103" fmla="*/ 88 h 3965"/>
                  <a:gd name="T104" fmla="*/ 34 w 4043"/>
                  <a:gd name="T105" fmla="*/ 36 h 3965"/>
                  <a:gd name="T106" fmla="*/ 87 w 4043"/>
                  <a:gd name="T107" fmla="*/ 5 h 3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43" h="3965">
                    <a:moveTo>
                      <a:pt x="3457" y="406"/>
                    </a:moveTo>
                    <a:lnTo>
                      <a:pt x="3423" y="409"/>
                    </a:lnTo>
                    <a:lnTo>
                      <a:pt x="3391" y="419"/>
                    </a:lnTo>
                    <a:lnTo>
                      <a:pt x="3363" y="435"/>
                    </a:lnTo>
                    <a:lnTo>
                      <a:pt x="3337" y="456"/>
                    </a:lnTo>
                    <a:lnTo>
                      <a:pt x="3317" y="481"/>
                    </a:lnTo>
                    <a:lnTo>
                      <a:pt x="3301" y="511"/>
                    </a:lnTo>
                    <a:lnTo>
                      <a:pt x="3291" y="542"/>
                    </a:lnTo>
                    <a:lnTo>
                      <a:pt x="3287" y="576"/>
                    </a:lnTo>
                    <a:lnTo>
                      <a:pt x="3291" y="611"/>
                    </a:lnTo>
                    <a:lnTo>
                      <a:pt x="3301" y="642"/>
                    </a:lnTo>
                    <a:lnTo>
                      <a:pt x="3317" y="671"/>
                    </a:lnTo>
                    <a:lnTo>
                      <a:pt x="3337" y="696"/>
                    </a:lnTo>
                    <a:lnTo>
                      <a:pt x="3363" y="716"/>
                    </a:lnTo>
                    <a:lnTo>
                      <a:pt x="3391" y="732"/>
                    </a:lnTo>
                    <a:lnTo>
                      <a:pt x="3423" y="742"/>
                    </a:lnTo>
                    <a:lnTo>
                      <a:pt x="3457" y="746"/>
                    </a:lnTo>
                    <a:lnTo>
                      <a:pt x="3491" y="742"/>
                    </a:lnTo>
                    <a:lnTo>
                      <a:pt x="3524" y="732"/>
                    </a:lnTo>
                    <a:lnTo>
                      <a:pt x="3553" y="716"/>
                    </a:lnTo>
                    <a:lnTo>
                      <a:pt x="3577" y="696"/>
                    </a:lnTo>
                    <a:lnTo>
                      <a:pt x="3598" y="671"/>
                    </a:lnTo>
                    <a:lnTo>
                      <a:pt x="3614" y="642"/>
                    </a:lnTo>
                    <a:lnTo>
                      <a:pt x="3624" y="611"/>
                    </a:lnTo>
                    <a:lnTo>
                      <a:pt x="3627" y="576"/>
                    </a:lnTo>
                    <a:lnTo>
                      <a:pt x="3624" y="542"/>
                    </a:lnTo>
                    <a:lnTo>
                      <a:pt x="3614" y="511"/>
                    </a:lnTo>
                    <a:lnTo>
                      <a:pt x="3598" y="481"/>
                    </a:lnTo>
                    <a:lnTo>
                      <a:pt x="3577" y="456"/>
                    </a:lnTo>
                    <a:lnTo>
                      <a:pt x="3553" y="435"/>
                    </a:lnTo>
                    <a:lnTo>
                      <a:pt x="3524" y="419"/>
                    </a:lnTo>
                    <a:lnTo>
                      <a:pt x="3491" y="409"/>
                    </a:lnTo>
                    <a:lnTo>
                      <a:pt x="3457" y="406"/>
                    </a:lnTo>
                    <a:close/>
                    <a:moveTo>
                      <a:pt x="2924" y="406"/>
                    </a:moveTo>
                    <a:lnTo>
                      <a:pt x="2890" y="409"/>
                    </a:lnTo>
                    <a:lnTo>
                      <a:pt x="2858" y="419"/>
                    </a:lnTo>
                    <a:lnTo>
                      <a:pt x="2830" y="435"/>
                    </a:lnTo>
                    <a:lnTo>
                      <a:pt x="2804" y="456"/>
                    </a:lnTo>
                    <a:lnTo>
                      <a:pt x="2784" y="481"/>
                    </a:lnTo>
                    <a:lnTo>
                      <a:pt x="2768" y="511"/>
                    </a:lnTo>
                    <a:lnTo>
                      <a:pt x="2758" y="542"/>
                    </a:lnTo>
                    <a:lnTo>
                      <a:pt x="2755" y="576"/>
                    </a:lnTo>
                    <a:lnTo>
                      <a:pt x="2758" y="611"/>
                    </a:lnTo>
                    <a:lnTo>
                      <a:pt x="2768" y="642"/>
                    </a:lnTo>
                    <a:lnTo>
                      <a:pt x="2784" y="671"/>
                    </a:lnTo>
                    <a:lnTo>
                      <a:pt x="2804" y="696"/>
                    </a:lnTo>
                    <a:lnTo>
                      <a:pt x="2830" y="716"/>
                    </a:lnTo>
                    <a:lnTo>
                      <a:pt x="2858" y="732"/>
                    </a:lnTo>
                    <a:lnTo>
                      <a:pt x="2890" y="742"/>
                    </a:lnTo>
                    <a:lnTo>
                      <a:pt x="2924" y="746"/>
                    </a:lnTo>
                    <a:lnTo>
                      <a:pt x="2958" y="742"/>
                    </a:lnTo>
                    <a:lnTo>
                      <a:pt x="2991" y="732"/>
                    </a:lnTo>
                    <a:lnTo>
                      <a:pt x="3020" y="716"/>
                    </a:lnTo>
                    <a:lnTo>
                      <a:pt x="3045" y="696"/>
                    </a:lnTo>
                    <a:lnTo>
                      <a:pt x="3065" y="671"/>
                    </a:lnTo>
                    <a:lnTo>
                      <a:pt x="3081" y="642"/>
                    </a:lnTo>
                    <a:lnTo>
                      <a:pt x="3091" y="611"/>
                    </a:lnTo>
                    <a:lnTo>
                      <a:pt x="3094" y="576"/>
                    </a:lnTo>
                    <a:lnTo>
                      <a:pt x="3091" y="542"/>
                    </a:lnTo>
                    <a:lnTo>
                      <a:pt x="3081" y="511"/>
                    </a:lnTo>
                    <a:lnTo>
                      <a:pt x="3065" y="481"/>
                    </a:lnTo>
                    <a:lnTo>
                      <a:pt x="3045" y="456"/>
                    </a:lnTo>
                    <a:lnTo>
                      <a:pt x="3020" y="435"/>
                    </a:lnTo>
                    <a:lnTo>
                      <a:pt x="2991" y="419"/>
                    </a:lnTo>
                    <a:lnTo>
                      <a:pt x="2958" y="409"/>
                    </a:lnTo>
                    <a:lnTo>
                      <a:pt x="2924" y="406"/>
                    </a:lnTo>
                    <a:close/>
                    <a:moveTo>
                      <a:pt x="119" y="0"/>
                    </a:moveTo>
                    <a:lnTo>
                      <a:pt x="3924" y="0"/>
                    </a:lnTo>
                    <a:lnTo>
                      <a:pt x="3956" y="5"/>
                    </a:lnTo>
                    <a:lnTo>
                      <a:pt x="3984" y="18"/>
                    </a:lnTo>
                    <a:lnTo>
                      <a:pt x="4009" y="36"/>
                    </a:lnTo>
                    <a:lnTo>
                      <a:pt x="4027" y="60"/>
                    </a:lnTo>
                    <a:lnTo>
                      <a:pt x="4039" y="88"/>
                    </a:lnTo>
                    <a:lnTo>
                      <a:pt x="4043" y="120"/>
                    </a:lnTo>
                    <a:lnTo>
                      <a:pt x="4043" y="1778"/>
                    </a:lnTo>
                    <a:lnTo>
                      <a:pt x="4026" y="1778"/>
                    </a:lnTo>
                    <a:lnTo>
                      <a:pt x="3983" y="1783"/>
                    </a:lnTo>
                    <a:lnTo>
                      <a:pt x="3943" y="1795"/>
                    </a:lnTo>
                    <a:lnTo>
                      <a:pt x="3907" y="1815"/>
                    </a:lnTo>
                    <a:lnTo>
                      <a:pt x="3874" y="1841"/>
                    </a:lnTo>
                    <a:lnTo>
                      <a:pt x="3849" y="1873"/>
                    </a:lnTo>
                    <a:lnTo>
                      <a:pt x="3809" y="1868"/>
                    </a:lnTo>
                    <a:lnTo>
                      <a:pt x="3776" y="1871"/>
                    </a:lnTo>
                    <a:lnTo>
                      <a:pt x="3744" y="1878"/>
                    </a:lnTo>
                    <a:lnTo>
                      <a:pt x="3713" y="1891"/>
                    </a:lnTo>
                    <a:lnTo>
                      <a:pt x="3686" y="1908"/>
                    </a:lnTo>
                    <a:lnTo>
                      <a:pt x="3686" y="1095"/>
                    </a:lnTo>
                    <a:lnTo>
                      <a:pt x="357" y="1095"/>
                    </a:lnTo>
                    <a:lnTo>
                      <a:pt x="357" y="3608"/>
                    </a:lnTo>
                    <a:lnTo>
                      <a:pt x="2587" y="3608"/>
                    </a:lnTo>
                    <a:lnTo>
                      <a:pt x="2585" y="3640"/>
                    </a:lnTo>
                    <a:lnTo>
                      <a:pt x="2585" y="3839"/>
                    </a:lnTo>
                    <a:lnTo>
                      <a:pt x="2590" y="3885"/>
                    </a:lnTo>
                    <a:lnTo>
                      <a:pt x="2602" y="3926"/>
                    </a:lnTo>
                    <a:lnTo>
                      <a:pt x="2622" y="3965"/>
                    </a:lnTo>
                    <a:lnTo>
                      <a:pt x="119" y="3965"/>
                    </a:lnTo>
                    <a:lnTo>
                      <a:pt x="87" y="3961"/>
                    </a:lnTo>
                    <a:lnTo>
                      <a:pt x="59" y="3949"/>
                    </a:lnTo>
                    <a:lnTo>
                      <a:pt x="34" y="3931"/>
                    </a:lnTo>
                    <a:lnTo>
                      <a:pt x="16" y="3906"/>
                    </a:lnTo>
                    <a:lnTo>
                      <a:pt x="4" y="3878"/>
                    </a:lnTo>
                    <a:lnTo>
                      <a:pt x="0" y="3846"/>
                    </a:lnTo>
                    <a:lnTo>
                      <a:pt x="0" y="120"/>
                    </a:lnTo>
                    <a:lnTo>
                      <a:pt x="4" y="88"/>
                    </a:lnTo>
                    <a:lnTo>
                      <a:pt x="16" y="60"/>
                    </a:lnTo>
                    <a:lnTo>
                      <a:pt x="34" y="36"/>
                    </a:lnTo>
                    <a:lnTo>
                      <a:pt x="59" y="18"/>
                    </a:lnTo>
                    <a:lnTo>
                      <a:pt x="87" y="5"/>
                    </a:lnTo>
                    <a:lnTo>
                      <a:pt x="1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5" name="Freeform 160"/>
              <p:cNvSpPr>
                <a:spLocks noEditPoints="1"/>
              </p:cNvSpPr>
              <p:nvPr/>
            </p:nvSpPr>
            <p:spPr bwMode="auto">
              <a:xfrm>
                <a:off x="4491" y="2507"/>
                <a:ext cx="895" cy="895"/>
              </a:xfrm>
              <a:custGeom>
                <a:avLst/>
                <a:gdLst>
                  <a:gd name="T0" fmla="*/ 727 w 1791"/>
                  <a:gd name="T1" fmla="*/ 498 h 1790"/>
                  <a:gd name="T2" fmla="*/ 554 w 1791"/>
                  <a:gd name="T3" fmla="*/ 632 h 1790"/>
                  <a:gd name="T4" fmla="*/ 469 w 1791"/>
                  <a:gd name="T5" fmla="*/ 836 h 1790"/>
                  <a:gd name="T6" fmla="*/ 499 w 1791"/>
                  <a:gd name="T7" fmla="*/ 1062 h 1790"/>
                  <a:gd name="T8" fmla="*/ 632 w 1791"/>
                  <a:gd name="T9" fmla="*/ 1236 h 1790"/>
                  <a:gd name="T10" fmla="*/ 837 w 1791"/>
                  <a:gd name="T11" fmla="*/ 1322 h 1790"/>
                  <a:gd name="T12" fmla="*/ 1063 w 1791"/>
                  <a:gd name="T13" fmla="*/ 1292 h 1790"/>
                  <a:gd name="T14" fmla="*/ 1236 w 1791"/>
                  <a:gd name="T15" fmla="*/ 1158 h 1790"/>
                  <a:gd name="T16" fmla="*/ 1323 w 1791"/>
                  <a:gd name="T17" fmla="*/ 953 h 1790"/>
                  <a:gd name="T18" fmla="*/ 1293 w 1791"/>
                  <a:gd name="T19" fmla="*/ 728 h 1790"/>
                  <a:gd name="T20" fmla="*/ 1159 w 1791"/>
                  <a:gd name="T21" fmla="*/ 553 h 1790"/>
                  <a:gd name="T22" fmla="*/ 955 w 1791"/>
                  <a:gd name="T23" fmla="*/ 468 h 1790"/>
                  <a:gd name="T24" fmla="*/ 1052 w 1791"/>
                  <a:gd name="T25" fmla="*/ 3 h 1790"/>
                  <a:gd name="T26" fmla="*/ 1139 w 1791"/>
                  <a:gd name="T27" fmla="*/ 73 h 1790"/>
                  <a:gd name="T28" fmla="*/ 1192 w 1791"/>
                  <a:gd name="T29" fmla="*/ 180 h 1790"/>
                  <a:gd name="T30" fmla="*/ 1303 w 1791"/>
                  <a:gd name="T31" fmla="*/ 142 h 1790"/>
                  <a:gd name="T32" fmla="*/ 1416 w 1791"/>
                  <a:gd name="T33" fmla="*/ 155 h 1790"/>
                  <a:gd name="T34" fmla="*/ 1649 w 1791"/>
                  <a:gd name="T35" fmla="*/ 402 h 1790"/>
                  <a:gd name="T36" fmla="*/ 1636 w 1791"/>
                  <a:gd name="T37" fmla="*/ 513 h 1790"/>
                  <a:gd name="T38" fmla="*/ 1625 w 1791"/>
                  <a:gd name="T39" fmla="*/ 638 h 1790"/>
                  <a:gd name="T40" fmla="*/ 1741 w 1791"/>
                  <a:gd name="T41" fmla="*/ 666 h 1790"/>
                  <a:gd name="T42" fmla="*/ 1791 w 1791"/>
                  <a:gd name="T43" fmla="*/ 769 h 1790"/>
                  <a:gd name="T44" fmla="*/ 1762 w 1791"/>
                  <a:gd name="T45" fmla="*/ 1104 h 1790"/>
                  <a:gd name="T46" fmla="*/ 1659 w 1791"/>
                  <a:gd name="T47" fmla="*/ 1152 h 1790"/>
                  <a:gd name="T48" fmla="*/ 1618 w 1791"/>
                  <a:gd name="T49" fmla="*/ 1252 h 1790"/>
                  <a:gd name="T50" fmla="*/ 1655 w 1791"/>
                  <a:gd name="T51" fmla="*/ 1361 h 1790"/>
                  <a:gd name="T52" fmla="*/ 1439 w 1791"/>
                  <a:gd name="T53" fmla="*/ 1617 h 1790"/>
                  <a:gd name="T54" fmla="*/ 1332 w 1791"/>
                  <a:gd name="T55" fmla="*/ 1655 h 1790"/>
                  <a:gd name="T56" fmla="*/ 1229 w 1791"/>
                  <a:gd name="T57" fmla="*/ 1592 h 1790"/>
                  <a:gd name="T58" fmla="*/ 1149 w 1791"/>
                  <a:gd name="T59" fmla="*/ 1688 h 1790"/>
                  <a:gd name="T60" fmla="*/ 1079 w 1791"/>
                  <a:gd name="T61" fmla="*/ 1777 h 1790"/>
                  <a:gd name="T62" fmla="*/ 740 w 1791"/>
                  <a:gd name="T63" fmla="*/ 1787 h 1790"/>
                  <a:gd name="T64" fmla="*/ 652 w 1791"/>
                  <a:gd name="T65" fmla="*/ 1717 h 1790"/>
                  <a:gd name="T66" fmla="*/ 600 w 1791"/>
                  <a:gd name="T67" fmla="*/ 1609 h 1790"/>
                  <a:gd name="T68" fmla="*/ 487 w 1791"/>
                  <a:gd name="T69" fmla="*/ 1648 h 1790"/>
                  <a:gd name="T70" fmla="*/ 374 w 1791"/>
                  <a:gd name="T71" fmla="*/ 1635 h 1790"/>
                  <a:gd name="T72" fmla="*/ 141 w 1791"/>
                  <a:gd name="T73" fmla="*/ 1389 h 1790"/>
                  <a:gd name="T74" fmla="*/ 154 w 1791"/>
                  <a:gd name="T75" fmla="*/ 1276 h 1790"/>
                  <a:gd name="T76" fmla="*/ 167 w 1791"/>
                  <a:gd name="T77" fmla="*/ 1152 h 1790"/>
                  <a:gd name="T78" fmla="*/ 50 w 1791"/>
                  <a:gd name="T79" fmla="*/ 1124 h 1790"/>
                  <a:gd name="T80" fmla="*/ 0 w 1791"/>
                  <a:gd name="T81" fmla="*/ 1021 h 1790"/>
                  <a:gd name="T82" fmla="*/ 29 w 1791"/>
                  <a:gd name="T83" fmla="*/ 686 h 1790"/>
                  <a:gd name="T84" fmla="*/ 133 w 1791"/>
                  <a:gd name="T85" fmla="*/ 638 h 1790"/>
                  <a:gd name="T86" fmla="*/ 174 w 1791"/>
                  <a:gd name="T87" fmla="*/ 538 h 1790"/>
                  <a:gd name="T88" fmla="*/ 136 w 1791"/>
                  <a:gd name="T89" fmla="*/ 429 h 1790"/>
                  <a:gd name="T90" fmla="*/ 351 w 1791"/>
                  <a:gd name="T91" fmla="*/ 173 h 1790"/>
                  <a:gd name="T92" fmla="*/ 459 w 1791"/>
                  <a:gd name="T93" fmla="*/ 135 h 1790"/>
                  <a:gd name="T94" fmla="*/ 562 w 1791"/>
                  <a:gd name="T95" fmla="*/ 197 h 1790"/>
                  <a:gd name="T96" fmla="*/ 642 w 1791"/>
                  <a:gd name="T97" fmla="*/ 102 h 1790"/>
                  <a:gd name="T98" fmla="*/ 712 w 1791"/>
                  <a:gd name="T99" fmla="*/ 13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91" h="1790">
                    <a:moveTo>
                      <a:pt x="896" y="463"/>
                    </a:moveTo>
                    <a:lnTo>
                      <a:pt x="837" y="468"/>
                    </a:lnTo>
                    <a:lnTo>
                      <a:pt x="780" y="479"/>
                    </a:lnTo>
                    <a:lnTo>
                      <a:pt x="727" y="498"/>
                    </a:lnTo>
                    <a:lnTo>
                      <a:pt x="677" y="523"/>
                    </a:lnTo>
                    <a:lnTo>
                      <a:pt x="632" y="553"/>
                    </a:lnTo>
                    <a:lnTo>
                      <a:pt x="590" y="590"/>
                    </a:lnTo>
                    <a:lnTo>
                      <a:pt x="554" y="632"/>
                    </a:lnTo>
                    <a:lnTo>
                      <a:pt x="523" y="678"/>
                    </a:lnTo>
                    <a:lnTo>
                      <a:pt x="499" y="728"/>
                    </a:lnTo>
                    <a:lnTo>
                      <a:pt x="480" y="781"/>
                    </a:lnTo>
                    <a:lnTo>
                      <a:pt x="469" y="836"/>
                    </a:lnTo>
                    <a:lnTo>
                      <a:pt x="464" y="895"/>
                    </a:lnTo>
                    <a:lnTo>
                      <a:pt x="469" y="953"/>
                    </a:lnTo>
                    <a:lnTo>
                      <a:pt x="480" y="1009"/>
                    </a:lnTo>
                    <a:lnTo>
                      <a:pt x="499" y="1062"/>
                    </a:lnTo>
                    <a:lnTo>
                      <a:pt x="523" y="1112"/>
                    </a:lnTo>
                    <a:lnTo>
                      <a:pt x="554" y="1158"/>
                    </a:lnTo>
                    <a:lnTo>
                      <a:pt x="590" y="1199"/>
                    </a:lnTo>
                    <a:lnTo>
                      <a:pt x="632" y="1236"/>
                    </a:lnTo>
                    <a:lnTo>
                      <a:pt x="677" y="1268"/>
                    </a:lnTo>
                    <a:lnTo>
                      <a:pt x="727" y="1292"/>
                    </a:lnTo>
                    <a:lnTo>
                      <a:pt x="780" y="1311"/>
                    </a:lnTo>
                    <a:lnTo>
                      <a:pt x="837" y="1322"/>
                    </a:lnTo>
                    <a:lnTo>
                      <a:pt x="896" y="1326"/>
                    </a:lnTo>
                    <a:lnTo>
                      <a:pt x="955" y="1322"/>
                    </a:lnTo>
                    <a:lnTo>
                      <a:pt x="1010" y="1311"/>
                    </a:lnTo>
                    <a:lnTo>
                      <a:pt x="1063" y="1292"/>
                    </a:lnTo>
                    <a:lnTo>
                      <a:pt x="1113" y="1268"/>
                    </a:lnTo>
                    <a:lnTo>
                      <a:pt x="1159" y="1236"/>
                    </a:lnTo>
                    <a:lnTo>
                      <a:pt x="1200" y="1199"/>
                    </a:lnTo>
                    <a:lnTo>
                      <a:pt x="1236" y="1158"/>
                    </a:lnTo>
                    <a:lnTo>
                      <a:pt x="1268" y="1112"/>
                    </a:lnTo>
                    <a:lnTo>
                      <a:pt x="1293" y="1062"/>
                    </a:lnTo>
                    <a:lnTo>
                      <a:pt x="1310" y="1009"/>
                    </a:lnTo>
                    <a:lnTo>
                      <a:pt x="1323" y="953"/>
                    </a:lnTo>
                    <a:lnTo>
                      <a:pt x="1326" y="895"/>
                    </a:lnTo>
                    <a:lnTo>
                      <a:pt x="1323" y="836"/>
                    </a:lnTo>
                    <a:lnTo>
                      <a:pt x="1310" y="781"/>
                    </a:lnTo>
                    <a:lnTo>
                      <a:pt x="1293" y="728"/>
                    </a:lnTo>
                    <a:lnTo>
                      <a:pt x="1268" y="678"/>
                    </a:lnTo>
                    <a:lnTo>
                      <a:pt x="1236" y="632"/>
                    </a:lnTo>
                    <a:lnTo>
                      <a:pt x="1200" y="590"/>
                    </a:lnTo>
                    <a:lnTo>
                      <a:pt x="1159" y="553"/>
                    </a:lnTo>
                    <a:lnTo>
                      <a:pt x="1113" y="523"/>
                    </a:lnTo>
                    <a:lnTo>
                      <a:pt x="1063" y="498"/>
                    </a:lnTo>
                    <a:lnTo>
                      <a:pt x="1010" y="479"/>
                    </a:lnTo>
                    <a:lnTo>
                      <a:pt x="955" y="468"/>
                    </a:lnTo>
                    <a:lnTo>
                      <a:pt x="896" y="463"/>
                    </a:lnTo>
                    <a:close/>
                    <a:moveTo>
                      <a:pt x="770" y="0"/>
                    </a:moveTo>
                    <a:lnTo>
                      <a:pt x="1020" y="0"/>
                    </a:lnTo>
                    <a:lnTo>
                      <a:pt x="1052" y="3"/>
                    </a:lnTo>
                    <a:lnTo>
                      <a:pt x="1079" y="13"/>
                    </a:lnTo>
                    <a:lnTo>
                      <a:pt x="1103" y="29"/>
                    </a:lnTo>
                    <a:lnTo>
                      <a:pt x="1125" y="49"/>
                    </a:lnTo>
                    <a:lnTo>
                      <a:pt x="1139" y="73"/>
                    </a:lnTo>
                    <a:lnTo>
                      <a:pt x="1149" y="102"/>
                    </a:lnTo>
                    <a:lnTo>
                      <a:pt x="1153" y="132"/>
                    </a:lnTo>
                    <a:lnTo>
                      <a:pt x="1153" y="166"/>
                    </a:lnTo>
                    <a:lnTo>
                      <a:pt x="1192" y="180"/>
                    </a:lnTo>
                    <a:lnTo>
                      <a:pt x="1229" y="197"/>
                    </a:lnTo>
                    <a:lnTo>
                      <a:pt x="1253" y="173"/>
                    </a:lnTo>
                    <a:lnTo>
                      <a:pt x="1276" y="155"/>
                    </a:lnTo>
                    <a:lnTo>
                      <a:pt x="1303" y="142"/>
                    </a:lnTo>
                    <a:lnTo>
                      <a:pt x="1332" y="135"/>
                    </a:lnTo>
                    <a:lnTo>
                      <a:pt x="1360" y="135"/>
                    </a:lnTo>
                    <a:lnTo>
                      <a:pt x="1389" y="142"/>
                    </a:lnTo>
                    <a:lnTo>
                      <a:pt x="1416" y="155"/>
                    </a:lnTo>
                    <a:lnTo>
                      <a:pt x="1439" y="173"/>
                    </a:lnTo>
                    <a:lnTo>
                      <a:pt x="1618" y="350"/>
                    </a:lnTo>
                    <a:lnTo>
                      <a:pt x="1636" y="375"/>
                    </a:lnTo>
                    <a:lnTo>
                      <a:pt x="1649" y="402"/>
                    </a:lnTo>
                    <a:lnTo>
                      <a:pt x="1655" y="429"/>
                    </a:lnTo>
                    <a:lnTo>
                      <a:pt x="1655" y="459"/>
                    </a:lnTo>
                    <a:lnTo>
                      <a:pt x="1649" y="488"/>
                    </a:lnTo>
                    <a:lnTo>
                      <a:pt x="1636" y="513"/>
                    </a:lnTo>
                    <a:lnTo>
                      <a:pt x="1618" y="538"/>
                    </a:lnTo>
                    <a:lnTo>
                      <a:pt x="1593" y="562"/>
                    </a:lnTo>
                    <a:lnTo>
                      <a:pt x="1609" y="599"/>
                    </a:lnTo>
                    <a:lnTo>
                      <a:pt x="1625" y="638"/>
                    </a:lnTo>
                    <a:lnTo>
                      <a:pt x="1659" y="638"/>
                    </a:lnTo>
                    <a:lnTo>
                      <a:pt x="1689" y="640"/>
                    </a:lnTo>
                    <a:lnTo>
                      <a:pt x="1716" y="651"/>
                    </a:lnTo>
                    <a:lnTo>
                      <a:pt x="1741" y="666"/>
                    </a:lnTo>
                    <a:lnTo>
                      <a:pt x="1762" y="686"/>
                    </a:lnTo>
                    <a:lnTo>
                      <a:pt x="1778" y="712"/>
                    </a:lnTo>
                    <a:lnTo>
                      <a:pt x="1788" y="739"/>
                    </a:lnTo>
                    <a:lnTo>
                      <a:pt x="1791" y="769"/>
                    </a:lnTo>
                    <a:lnTo>
                      <a:pt x="1791" y="1021"/>
                    </a:lnTo>
                    <a:lnTo>
                      <a:pt x="1788" y="1051"/>
                    </a:lnTo>
                    <a:lnTo>
                      <a:pt x="1778" y="1079"/>
                    </a:lnTo>
                    <a:lnTo>
                      <a:pt x="1762" y="1104"/>
                    </a:lnTo>
                    <a:lnTo>
                      <a:pt x="1741" y="1124"/>
                    </a:lnTo>
                    <a:lnTo>
                      <a:pt x="1716" y="1139"/>
                    </a:lnTo>
                    <a:lnTo>
                      <a:pt x="1689" y="1149"/>
                    </a:lnTo>
                    <a:lnTo>
                      <a:pt x="1659" y="1152"/>
                    </a:lnTo>
                    <a:lnTo>
                      <a:pt x="1625" y="1152"/>
                    </a:lnTo>
                    <a:lnTo>
                      <a:pt x="1609" y="1191"/>
                    </a:lnTo>
                    <a:lnTo>
                      <a:pt x="1593" y="1228"/>
                    </a:lnTo>
                    <a:lnTo>
                      <a:pt x="1618" y="1252"/>
                    </a:lnTo>
                    <a:lnTo>
                      <a:pt x="1636" y="1276"/>
                    </a:lnTo>
                    <a:lnTo>
                      <a:pt x="1649" y="1304"/>
                    </a:lnTo>
                    <a:lnTo>
                      <a:pt x="1655" y="1331"/>
                    </a:lnTo>
                    <a:lnTo>
                      <a:pt x="1655" y="1361"/>
                    </a:lnTo>
                    <a:lnTo>
                      <a:pt x="1649" y="1389"/>
                    </a:lnTo>
                    <a:lnTo>
                      <a:pt x="1636" y="1415"/>
                    </a:lnTo>
                    <a:lnTo>
                      <a:pt x="1618" y="1439"/>
                    </a:lnTo>
                    <a:lnTo>
                      <a:pt x="1439" y="1617"/>
                    </a:lnTo>
                    <a:lnTo>
                      <a:pt x="1416" y="1635"/>
                    </a:lnTo>
                    <a:lnTo>
                      <a:pt x="1389" y="1648"/>
                    </a:lnTo>
                    <a:lnTo>
                      <a:pt x="1360" y="1655"/>
                    </a:lnTo>
                    <a:lnTo>
                      <a:pt x="1332" y="1655"/>
                    </a:lnTo>
                    <a:lnTo>
                      <a:pt x="1303" y="1648"/>
                    </a:lnTo>
                    <a:lnTo>
                      <a:pt x="1276" y="1635"/>
                    </a:lnTo>
                    <a:lnTo>
                      <a:pt x="1253" y="1617"/>
                    </a:lnTo>
                    <a:lnTo>
                      <a:pt x="1229" y="1592"/>
                    </a:lnTo>
                    <a:lnTo>
                      <a:pt x="1192" y="1609"/>
                    </a:lnTo>
                    <a:lnTo>
                      <a:pt x="1153" y="1624"/>
                    </a:lnTo>
                    <a:lnTo>
                      <a:pt x="1153" y="1658"/>
                    </a:lnTo>
                    <a:lnTo>
                      <a:pt x="1149" y="1688"/>
                    </a:lnTo>
                    <a:lnTo>
                      <a:pt x="1139" y="1717"/>
                    </a:lnTo>
                    <a:lnTo>
                      <a:pt x="1125" y="1741"/>
                    </a:lnTo>
                    <a:lnTo>
                      <a:pt x="1103" y="1761"/>
                    </a:lnTo>
                    <a:lnTo>
                      <a:pt x="1079" y="1777"/>
                    </a:lnTo>
                    <a:lnTo>
                      <a:pt x="1052" y="1787"/>
                    </a:lnTo>
                    <a:lnTo>
                      <a:pt x="1020" y="1790"/>
                    </a:lnTo>
                    <a:lnTo>
                      <a:pt x="770" y="1790"/>
                    </a:lnTo>
                    <a:lnTo>
                      <a:pt x="740" y="1787"/>
                    </a:lnTo>
                    <a:lnTo>
                      <a:pt x="712" y="1777"/>
                    </a:lnTo>
                    <a:lnTo>
                      <a:pt x="687" y="1761"/>
                    </a:lnTo>
                    <a:lnTo>
                      <a:pt x="667" y="1741"/>
                    </a:lnTo>
                    <a:lnTo>
                      <a:pt x="652" y="1717"/>
                    </a:lnTo>
                    <a:lnTo>
                      <a:pt x="642" y="1688"/>
                    </a:lnTo>
                    <a:lnTo>
                      <a:pt x="637" y="1658"/>
                    </a:lnTo>
                    <a:lnTo>
                      <a:pt x="637" y="1624"/>
                    </a:lnTo>
                    <a:lnTo>
                      <a:pt x="600" y="1609"/>
                    </a:lnTo>
                    <a:lnTo>
                      <a:pt x="562" y="1592"/>
                    </a:lnTo>
                    <a:lnTo>
                      <a:pt x="537" y="1617"/>
                    </a:lnTo>
                    <a:lnTo>
                      <a:pt x="514" y="1635"/>
                    </a:lnTo>
                    <a:lnTo>
                      <a:pt x="487" y="1648"/>
                    </a:lnTo>
                    <a:lnTo>
                      <a:pt x="459" y="1655"/>
                    </a:lnTo>
                    <a:lnTo>
                      <a:pt x="430" y="1655"/>
                    </a:lnTo>
                    <a:lnTo>
                      <a:pt x="401" y="1648"/>
                    </a:lnTo>
                    <a:lnTo>
                      <a:pt x="374" y="1635"/>
                    </a:lnTo>
                    <a:lnTo>
                      <a:pt x="351" y="1617"/>
                    </a:lnTo>
                    <a:lnTo>
                      <a:pt x="174" y="1439"/>
                    </a:lnTo>
                    <a:lnTo>
                      <a:pt x="154" y="1415"/>
                    </a:lnTo>
                    <a:lnTo>
                      <a:pt x="141" y="1389"/>
                    </a:lnTo>
                    <a:lnTo>
                      <a:pt x="136" y="1361"/>
                    </a:lnTo>
                    <a:lnTo>
                      <a:pt x="136" y="1331"/>
                    </a:lnTo>
                    <a:lnTo>
                      <a:pt x="141" y="1304"/>
                    </a:lnTo>
                    <a:lnTo>
                      <a:pt x="154" y="1276"/>
                    </a:lnTo>
                    <a:lnTo>
                      <a:pt x="174" y="1252"/>
                    </a:lnTo>
                    <a:lnTo>
                      <a:pt x="199" y="1228"/>
                    </a:lnTo>
                    <a:lnTo>
                      <a:pt x="181" y="1191"/>
                    </a:lnTo>
                    <a:lnTo>
                      <a:pt x="167" y="1152"/>
                    </a:lnTo>
                    <a:lnTo>
                      <a:pt x="133" y="1152"/>
                    </a:lnTo>
                    <a:lnTo>
                      <a:pt x="101" y="1149"/>
                    </a:lnTo>
                    <a:lnTo>
                      <a:pt x="74" y="1139"/>
                    </a:lnTo>
                    <a:lnTo>
                      <a:pt x="50" y="1124"/>
                    </a:lnTo>
                    <a:lnTo>
                      <a:pt x="29" y="1104"/>
                    </a:lnTo>
                    <a:lnTo>
                      <a:pt x="14" y="1079"/>
                    </a:lnTo>
                    <a:lnTo>
                      <a:pt x="4" y="1051"/>
                    </a:lnTo>
                    <a:lnTo>
                      <a:pt x="0" y="1021"/>
                    </a:lnTo>
                    <a:lnTo>
                      <a:pt x="0" y="769"/>
                    </a:lnTo>
                    <a:lnTo>
                      <a:pt x="4" y="739"/>
                    </a:lnTo>
                    <a:lnTo>
                      <a:pt x="14" y="712"/>
                    </a:lnTo>
                    <a:lnTo>
                      <a:pt x="29" y="686"/>
                    </a:lnTo>
                    <a:lnTo>
                      <a:pt x="50" y="666"/>
                    </a:lnTo>
                    <a:lnTo>
                      <a:pt x="74" y="651"/>
                    </a:lnTo>
                    <a:lnTo>
                      <a:pt x="101" y="640"/>
                    </a:lnTo>
                    <a:lnTo>
                      <a:pt x="133" y="638"/>
                    </a:lnTo>
                    <a:lnTo>
                      <a:pt x="167" y="638"/>
                    </a:lnTo>
                    <a:lnTo>
                      <a:pt x="181" y="599"/>
                    </a:lnTo>
                    <a:lnTo>
                      <a:pt x="199" y="562"/>
                    </a:lnTo>
                    <a:lnTo>
                      <a:pt x="174" y="538"/>
                    </a:lnTo>
                    <a:lnTo>
                      <a:pt x="154" y="513"/>
                    </a:lnTo>
                    <a:lnTo>
                      <a:pt x="141" y="488"/>
                    </a:lnTo>
                    <a:lnTo>
                      <a:pt x="136" y="459"/>
                    </a:lnTo>
                    <a:lnTo>
                      <a:pt x="136" y="429"/>
                    </a:lnTo>
                    <a:lnTo>
                      <a:pt x="141" y="402"/>
                    </a:lnTo>
                    <a:lnTo>
                      <a:pt x="154" y="375"/>
                    </a:lnTo>
                    <a:lnTo>
                      <a:pt x="174" y="350"/>
                    </a:lnTo>
                    <a:lnTo>
                      <a:pt x="351" y="173"/>
                    </a:lnTo>
                    <a:lnTo>
                      <a:pt x="376" y="155"/>
                    </a:lnTo>
                    <a:lnTo>
                      <a:pt x="401" y="142"/>
                    </a:lnTo>
                    <a:lnTo>
                      <a:pt x="430" y="135"/>
                    </a:lnTo>
                    <a:lnTo>
                      <a:pt x="459" y="135"/>
                    </a:lnTo>
                    <a:lnTo>
                      <a:pt x="487" y="142"/>
                    </a:lnTo>
                    <a:lnTo>
                      <a:pt x="514" y="155"/>
                    </a:lnTo>
                    <a:lnTo>
                      <a:pt x="537" y="173"/>
                    </a:lnTo>
                    <a:lnTo>
                      <a:pt x="562" y="197"/>
                    </a:lnTo>
                    <a:lnTo>
                      <a:pt x="600" y="180"/>
                    </a:lnTo>
                    <a:lnTo>
                      <a:pt x="637" y="166"/>
                    </a:lnTo>
                    <a:lnTo>
                      <a:pt x="637" y="132"/>
                    </a:lnTo>
                    <a:lnTo>
                      <a:pt x="642" y="102"/>
                    </a:lnTo>
                    <a:lnTo>
                      <a:pt x="652" y="73"/>
                    </a:lnTo>
                    <a:lnTo>
                      <a:pt x="667" y="49"/>
                    </a:lnTo>
                    <a:lnTo>
                      <a:pt x="687" y="29"/>
                    </a:lnTo>
                    <a:lnTo>
                      <a:pt x="712" y="13"/>
                    </a:lnTo>
                    <a:lnTo>
                      <a:pt x="740" y="3"/>
                    </a:lnTo>
                    <a:lnTo>
                      <a:pt x="7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6" name="Freeform 161"/>
              <p:cNvSpPr>
                <a:spLocks noEditPoints="1"/>
              </p:cNvSpPr>
              <p:nvPr/>
            </p:nvSpPr>
            <p:spPr bwMode="auto">
              <a:xfrm>
                <a:off x="5171" y="3325"/>
                <a:ext cx="710" cy="709"/>
              </a:xfrm>
              <a:custGeom>
                <a:avLst/>
                <a:gdLst>
                  <a:gd name="T0" fmla="*/ 602 w 1421"/>
                  <a:gd name="T1" fmla="*/ 385 h 1419"/>
                  <a:gd name="T2" fmla="*/ 469 w 1421"/>
                  <a:gd name="T3" fmla="*/ 467 h 1419"/>
                  <a:gd name="T4" fmla="*/ 386 w 1421"/>
                  <a:gd name="T5" fmla="*/ 602 h 1419"/>
                  <a:gd name="T6" fmla="*/ 373 w 1421"/>
                  <a:gd name="T7" fmla="*/ 765 h 1419"/>
                  <a:gd name="T8" fmla="*/ 435 w 1421"/>
                  <a:gd name="T9" fmla="*/ 912 h 1419"/>
                  <a:gd name="T10" fmla="*/ 553 w 1421"/>
                  <a:gd name="T11" fmla="*/ 1013 h 1419"/>
                  <a:gd name="T12" fmla="*/ 711 w 1421"/>
                  <a:gd name="T13" fmla="*/ 1051 h 1419"/>
                  <a:gd name="T14" fmla="*/ 868 w 1421"/>
                  <a:gd name="T15" fmla="*/ 1013 h 1419"/>
                  <a:gd name="T16" fmla="*/ 986 w 1421"/>
                  <a:gd name="T17" fmla="*/ 912 h 1419"/>
                  <a:gd name="T18" fmla="*/ 1048 w 1421"/>
                  <a:gd name="T19" fmla="*/ 765 h 1419"/>
                  <a:gd name="T20" fmla="*/ 1035 w 1421"/>
                  <a:gd name="T21" fmla="*/ 602 h 1419"/>
                  <a:gd name="T22" fmla="*/ 952 w 1421"/>
                  <a:gd name="T23" fmla="*/ 467 h 1419"/>
                  <a:gd name="T24" fmla="*/ 819 w 1421"/>
                  <a:gd name="T25" fmla="*/ 385 h 1419"/>
                  <a:gd name="T26" fmla="*/ 611 w 1421"/>
                  <a:gd name="T27" fmla="*/ 0 h 1419"/>
                  <a:gd name="T28" fmla="*/ 864 w 1421"/>
                  <a:gd name="T29" fmla="*/ 14 h 1419"/>
                  <a:gd name="T30" fmla="*/ 911 w 1421"/>
                  <a:gd name="T31" fmla="*/ 76 h 1419"/>
                  <a:gd name="T32" fmla="*/ 975 w 1421"/>
                  <a:gd name="T33" fmla="*/ 156 h 1419"/>
                  <a:gd name="T34" fmla="*/ 1032 w 1421"/>
                  <a:gd name="T35" fmla="*/ 113 h 1419"/>
                  <a:gd name="T36" fmla="*/ 1085 w 1421"/>
                  <a:gd name="T37" fmla="*/ 107 h 1419"/>
                  <a:gd name="T38" fmla="*/ 1142 w 1421"/>
                  <a:gd name="T39" fmla="*/ 137 h 1419"/>
                  <a:gd name="T40" fmla="*/ 1311 w 1421"/>
                  <a:gd name="T41" fmla="*/ 326 h 1419"/>
                  <a:gd name="T42" fmla="*/ 1299 w 1421"/>
                  <a:gd name="T43" fmla="*/ 403 h 1419"/>
                  <a:gd name="T44" fmla="*/ 1288 w 1421"/>
                  <a:gd name="T45" fmla="*/ 505 h 1419"/>
                  <a:gd name="T46" fmla="*/ 1368 w 1421"/>
                  <a:gd name="T47" fmla="*/ 519 h 1419"/>
                  <a:gd name="T48" fmla="*/ 1417 w 1421"/>
                  <a:gd name="T49" fmla="*/ 582 h 1419"/>
                  <a:gd name="T50" fmla="*/ 1417 w 1421"/>
                  <a:gd name="T51" fmla="*/ 836 h 1419"/>
                  <a:gd name="T52" fmla="*/ 1368 w 1421"/>
                  <a:gd name="T53" fmla="*/ 899 h 1419"/>
                  <a:gd name="T54" fmla="*/ 1288 w 1421"/>
                  <a:gd name="T55" fmla="*/ 913 h 1419"/>
                  <a:gd name="T56" fmla="*/ 1299 w 1421"/>
                  <a:gd name="T57" fmla="*/ 1015 h 1419"/>
                  <a:gd name="T58" fmla="*/ 1311 w 1421"/>
                  <a:gd name="T59" fmla="*/ 1093 h 1419"/>
                  <a:gd name="T60" fmla="*/ 1142 w 1421"/>
                  <a:gd name="T61" fmla="*/ 1282 h 1419"/>
                  <a:gd name="T62" fmla="*/ 1068 w 1421"/>
                  <a:gd name="T63" fmla="*/ 1312 h 1419"/>
                  <a:gd name="T64" fmla="*/ 994 w 1421"/>
                  <a:gd name="T65" fmla="*/ 1282 h 1419"/>
                  <a:gd name="T66" fmla="*/ 915 w 1421"/>
                  <a:gd name="T67" fmla="*/ 1315 h 1419"/>
                  <a:gd name="T68" fmla="*/ 884 w 1421"/>
                  <a:gd name="T69" fmla="*/ 1388 h 1419"/>
                  <a:gd name="T70" fmla="*/ 811 w 1421"/>
                  <a:gd name="T71" fmla="*/ 1419 h 1419"/>
                  <a:gd name="T72" fmla="*/ 558 w 1421"/>
                  <a:gd name="T73" fmla="*/ 1405 h 1419"/>
                  <a:gd name="T74" fmla="*/ 511 w 1421"/>
                  <a:gd name="T75" fmla="*/ 1342 h 1419"/>
                  <a:gd name="T76" fmla="*/ 446 w 1421"/>
                  <a:gd name="T77" fmla="*/ 1262 h 1419"/>
                  <a:gd name="T78" fmla="*/ 379 w 1421"/>
                  <a:gd name="T79" fmla="*/ 1309 h 1419"/>
                  <a:gd name="T80" fmla="*/ 302 w 1421"/>
                  <a:gd name="T81" fmla="*/ 1299 h 1419"/>
                  <a:gd name="T82" fmla="*/ 122 w 1421"/>
                  <a:gd name="T83" fmla="*/ 1119 h 1419"/>
                  <a:gd name="T84" fmla="*/ 110 w 1421"/>
                  <a:gd name="T85" fmla="*/ 1041 h 1419"/>
                  <a:gd name="T86" fmla="*/ 158 w 1421"/>
                  <a:gd name="T87" fmla="*/ 973 h 1419"/>
                  <a:gd name="T88" fmla="*/ 78 w 1421"/>
                  <a:gd name="T89" fmla="*/ 911 h 1419"/>
                  <a:gd name="T90" fmla="*/ 15 w 1421"/>
                  <a:gd name="T91" fmla="*/ 862 h 1419"/>
                  <a:gd name="T92" fmla="*/ 0 w 1421"/>
                  <a:gd name="T93" fmla="*/ 610 h 1419"/>
                  <a:gd name="T94" fmla="*/ 32 w 1421"/>
                  <a:gd name="T95" fmla="*/ 536 h 1419"/>
                  <a:gd name="T96" fmla="*/ 106 w 1421"/>
                  <a:gd name="T97" fmla="*/ 505 h 1419"/>
                  <a:gd name="T98" fmla="*/ 139 w 1421"/>
                  <a:gd name="T99" fmla="*/ 426 h 1419"/>
                  <a:gd name="T100" fmla="*/ 108 w 1421"/>
                  <a:gd name="T101" fmla="*/ 352 h 1419"/>
                  <a:gd name="T102" fmla="*/ 139 w 1421"/>
                  <a:gd name="T103" fmla="*/ 277 h 1419"/>
                  <a:gd name="T104" fmla="*/ 326 w 1421"/>
                  <a:gd name="T105" fmla="*/ 110 h 1419"/>
                  <a:gd name="T106" fmla="*/ 405 w 1421"/>
                  <a:gd name="T107" fmla="*/ 120 h 1419"/>
                  <a:gd name="T108" fmla="*/ 506 w 1421"/>
                  <a:gd name="T109" fmla="*/ 132 h 1419"/>
                  <a:gd name="T110" fmla="*/ 521 w 1421"/>
                  <a:gd name="T111" fmla="*/ 52 h 1419"/>
                  <a:gd name="T112" fmla="*/ 583 w 1421"/>
                  <a:gd name="T113" fmla="*/ 3 h 1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21" h="1419">
                    <a:moveTo>
                      <a:pt x="711" y="367"/>
                    </a:moveTo>
                    <a:lnTo>
                      <a:pt x="655" y="372"/>
                    </a:lnTo>
                    <a:lnTo>
                      <a:pt x="602" y="385"/>
                    </a:lnTo>
                    <a:lnTo>
                      <a:pt x="553" y="406"/>
                    </a:lnTo>
                    <a:lnTo>
                      <a:pt x="509" y="433"/>
                    </a:lnTo>
                    <a:lnTo>
                      <a:pt x="469" y="467"/>
                    </a:lnTo>
                    <a:lnTo>
                      <a:pt x="435" y="508"/>
                    </a:lnTo>
                    <a:lnTo>
                      <a:pt x="406" y="552"/>
                    </a:lnTo>
                    <a:lnTo>
                      <a:pt x="386" y="602"/>
                    </a:lnTo>
                    <a:lnTo>
                      <a:pt x="373" y="653"/>
                    </a:lnTo>
                    <a:lnTo>
                      <a:pt x="369" y="709"/>
                    </a:lnTo>
                    <a:lnTo>
                      <a:pt x="373" y="765"/>
                    </a:lnTo>
                    <a:lnTo>
                      <a:pt x="386" y="818"/>
                    </a:lnTo>
                    <a:lnTo>
                      <a:pt x="406" y="866"/>
                    </a:lnTo>
                    <a:lnTo>
                      <a:pt x="435" y="912"/>
                    </a:lnTo>
                    <a:lnTo>
                      <a:pt x="469" y="951"/>
                    </a:lnTo>
                    <a:lnTo>
                      <a:pt x="509" y="985"/>
                    </a:lnTo>
                    <a:lnTo>
                      <a:pt x="553" y="1013"/>
                    </a:lnTo>
                    <a:lnTo>
                      <a:pt x="602" y="1033"/>
                    </a:lnTo>
                    <a:lnTo>
                      <a:pt x="655" y="1046"/>
                    </a:lnTo>
                    <a:lnTo>
                      <a:pt x="711" y="1051"/>
                    </a:lnTo>
                    <a:lnTo>
                      <a:pt x="766" y="1046"/>
                    </a:lnTo>
                    <a:lnTo>
                      <a:pt x="819" y="1033"/>
                    </a:lnTo>
                    <a:lnTo>
                      <a:pt x="868" y="1013"/>
                    </a:lnTo>
                    <a:lnTo>
                      <a:pt x="912" y="985"/>
                    </a:lnTo>
                    <a:lnTo>
                      <a:pt x="952" y="951"/>
                    </a:lnTo>
                    <a:lnTo>
                      <a:pt x="986" y="912"/>
                    </a:lnTo>
                    <a:lnTo>
                      <a:pt x="1014" y="866"/>
                    </a:lnTo>
                    <a:lnTo>
                      <a:pt x="1035" y="818"/>
                    </a:lnTo>
                    <a:lnTo>
                      <a:pt x="1048" y="765"/>
                    </a:lnTo>
                    <a:lnTo>
                      <a:pt x="1052" y="709"/>
                    </a:lnTo>
                    <a:lnTo>
                      <a:pt x="1048" y="653"/>
                    </a:lnTo>
                    <a:lnTo>
                      <a:pt x="1035" y="602"/>
                    </a:lnTo>
                    <a:lnTo>
                      <a:pt x="1014" y="552"/>
                    </a:lnTo>
                    <a:lnTo>
                      <a:pt x="986" y="508"/>
                    </a:lnTo>
                    <a:lnTo>
                      <a:pt x="952" y="467"/>
                    </a:lnTo>
                    <a:lnTo>
                      <a:pt x="912" y="433"/>
                    </a:lnTo>
                    <a:lnTo>
                      <a:pt x="868" y="406"/>
                    </a:lnTo>
                    <a:lnTo>
                      <a:pt x="819" y="385"/>
                    </a:lnTo>
                    <a:lnTo>
                      <a:pt x="766" y="372"/>
                    </a:lnTo>
                    <a:lnTo>
                      <a:pt x="711" y="367"/>
                    </a:lnTo>
                    <a:close/>
                    <a:moveTo>
                      <a:pt x="611" y="0"/>
                    </a:moveTo>
                    <a:lnTo>
                      <a:pt x="811" y="0"/>
                    </a:lnTo>
                    <a:lnTo>
                      <a:pt x="838" y="3"/>
                    </a:lnTo>
                    <a:lnTo>
                      <a:pt x="864" y="14"/>
                    </a:lnTo>
                    <a:lnTo>
                      <a:pt x="884" y="30"/>
                    </a:lnTo>
                    <a:lnTo>
                      <a:pt x="901" y="52"/>
                    </a:lnTo>
                    <a:lnTo>
                      <a:pt x="911" y="76"/>
                    </a:lnTo>
                    <a:lnTo>
                      <a:pt x="915" y="104"/>
                    </a:lnTo>
                    <a:lnTo>
                      <a:pt x="915" y="132"/>
                    </a:lnTo>
                    <a:lnTo>
                      <a:pt x="975" y="156"/>
                    </a:lnTo>
                    <a:lnTo>
                      <a:pt x="994" y="137"/>
                    </a:lnTo>
                    <a:lnTo>
                      <a:pt x="1014" y="122"/>
                    </a:lnTo>
                    <a:lnTo>
                      <a:pt x="1032" y="113"/>
                    </a:lnTo>
                    <a:lnTo>
                      <a:pt x="1052" y="107"/>
                    </a:lnTo>
                    <a:lnTo>
                      <a:pt x="1069" y="107"/>
                    </a:lnTo>
                    <a:lnTo>
                      <a:pt x="1085" y="107"/>
                    </a:lnTo>
                    <a:lnTo>
                      <a:pt x="1095" y="110"/>
                    </a:lnTo>
                    <a:lnTo>
                      <a:pt x="1121" y="120"/>
                    </a:lnTo>
                    <a:lnTo>
                      <a:pt x="1142" y="137"/>
                    </a:lnTo>
                    <a:lnTo>
                      <a:pt x="1282" y="277"/>
                    </a:lnTo>
                    <a:lnTo>
                      <a:pt x="1299" y="300"/>
                    </a:lnTo>
                    <a:lnTo>
                      <a:pt x="1311" y="326"/>
                    </a:lnTo>
                    <a:lnTo>
                      <a:pt x="1314" y="352"/>
                    </a:lnTo>
                    <a:lnTo>
                      <a:pt x="1311" y="379"/>
                    </a:lnTo>
                    <a:lnTo>
                      <a:pt x="1299" y="403"/>
                    </a:lnTo>
                    <a:lnTo>
                      <a:pt x="1282" y="426"/>
                    </a:lnTo>
                    <a:lnTo>
                      <a:pt x="1264" y="445"/>
                    </a:lnTo>
                    <a:lnTo>
                      <a:pt x="1288" y="505"/>
                    </a:lnTo>
                    <a:lnTo>
                      <a:pt x="1315" y="505"/>
                    </a:lnTo>
                    <a:lnTo>
                      <a:pt x="1344" y="509"/>
                    </a:lnTo>
                    <a:lnTo>
                      <a:pt x="1368" y="519"/>
                    </a:lnTo>
                    <a:lnTo>
                      <a:pt x="1389" y="536"/>
                    </a:lnTo>
                    <a:lnTo>
                      <a:pt x="1407" y="558"/>
                    </a:lnTo>
                    <a:lnTo>
                      <a:pt x="1417" y="582"/>
                    </a:lnTo>
                    <a:lnTo>
                      <a:pt x="1421" y="610"/>
                    </a:lnTo>
                    <a:lnTo>
                      <a:pt x="1421" y="809"/>
                    </a:lnTo>
                    <a:lnTo>
                      <a:pt x="1417" y="836"/>
                    </a:lnTo>
                    <a:lnTo>
                      <a:pt x="1407" y="862"/>
                    </a:lnTo>
                    <a:lnTo>
                      <a:pt x="1389" y="883"/>
                    </a:lnTo>
                    <a:lnTo>
                      <a:pt x="1368" y="899"/>
                    </a:lnTo>
                    <a:lnTo>
                      <a:pt x="1344" y="911"/>
                    </a:lnTo>
                    <a:lnTo>
                      <a:pt x="1315" y="913"/>
                    </a:lnTo>
                    <a:lnTo>
                      <a:pt x="1288" y="913"/>
                    </a:lnTo>
                    <a:lnTo>
                      <a:pt x="1264" y="973"/>
                    </a:lnTo>
                    <a:lnTo>
                      <a:pt x="1282" y="993"/>
                    </a:lnTo>
                    <a:lnTo>
                      <a:pt x="1299" y="1015"/>
                    </a:lnTo>
                    <a:lnTo>
                      <a:pt x="1311" y="1041"/>
                    </a:lnTo>
                    <a:lnTo>
                      <a:pt x="1314" y="1066"/>
                    </a:lnTo>
                    <a:lnTo>
                      <a:pt x="1311" y="1093"/>
                    </a:lnTo>
                    <a:lnTo>
                      <a:pt x="1299" y="1119"/>
                    </a:lnTo>
                    <a:lnTo>
                      <a:pt x="1282" y="1141"/>
                    </a:lnTo>
                    <a:lnTo>
                      <a:pt x="1142" y="1282"/>
                    </a:lnTo>
                    <a:lnTo>
                      <a:pt x="1119" y="1299"/>
                    </a:lnTo>
                    <a:lnTo>
                      <a:pt x="1095" y="1309"/>
                    </a:lnTo>
                    <a:lnTo>
                      <a:pt x="1068" y="1312"/>
                    </a:lnTo>
                    <a:lnTo>
                      <a:pt x="1042" y="1309"/>
                    </a:lnTo>
                    <a:lnTo>
                      <a:pt x="1016" y="1299"/>
                    </a:lnTo>
                    <a:lnTo>
                      <a:pt x="994" y="1282"/>
                    </a:lnTo>
                    <a:lnTo>
                      <a:pt x="975" y="1262"/>
                    </a:lnTo>
                    <a:lnTo>
                      <a:pt x="915" y="1288"/>
                    </a:lnTo>
                    <a:lnTo>
                      <a:pt x="915" y="1315"/>
                    </a:lnTo>
                    <a:lnTo>
                      <a:pt x="911" y="1342"/>
                    </a:lnTo>
                    <a:lnTo>
                      <a:pt x="901" y="1368"/>
                    </a:lnTo>
                    <a:lnTo>
                      <a:pt x="884" y="1388"/>
                    </a:lnTo>
                    <a:lnTo>
                      <a:pt x="864" y="1405"/>
                    </a:lnTo>
                    <a:lnTo>
                      <a:pt x="838" y="1415"/>
                    </a:lnTo>
                    <a:lnTo>
                      <a:pt x="811" y="1419"/>
                    </a:lnTo>
                    <a:lnTo>
                      <a:pt x="611" y="1419"/>
                    </a:lnTo>
                    <a:lnTo>
                      <a:pt x="583" y="1415"/>
                    </a:lnTo>
                    <a:lnTo>
                      <a:pt x="558" y="1405"/>
                    </a:lnTo>
                    <a:lnTo>
                      <a:pt x="538" y="1388"/>
                    </a:lnTo>
                    <a:lnTo>
                      <a:pt x="521" y="1368"/>
                    </a:lnTo>
                    <a:lnTo>
                      <a:pt x="511" y="1342"/>
                    </a:lnTo>
                    <a:lnTo>
                      <a:pt x="506" y="1315"/>
                    </a:lnTo>
                    <a:lnTo>
                      <a:pt x="506" y="1288"/>
                    </a:lnTo>
                    <a:lnTo>
                      <a:pt x="446" y="1262"/>
                    </a:lnTo>
                    <a:lnTo>
                      <a:pt x="428" y="1282"/>
                    </a:lnTo>
                    <a:lnTo>
                      <a:pt x="405" y="1299"/>
                    </a:lnTo>
                    <a:lnTo>
                      <a:pt x="379" y="1309"/>
                    </a:lnTo>
                    <a:lnTo>
                      <a:pt x="353" y="1312"/>
                    </a:lnTo>
                    <a:lnTo>
                      <a:pt x="326" y="1309"/>
                    </a:lnTo>
                    <a:lnTo>
                      <a:pt x="302" y="1299"/>
                    </a:lnTo>
                    <a:lnTo>
                      <a:pt x="279" y="1282"/>
                    </a:lnTo>
                    <a:lnTo>
                      <a:pt x="139" y="1141"/>
                    </a:lnTo>
                    <a:lnTo>
                      <a:pt x="122" y="1119"/>
                    </a:lnTo>
                    <a:lnTo>
                      <a:pt x="110" y="1093"/>
                    </a:lnTo>
                    <a:lnTo>
                      <a:pt x="108" y="1066"/>
                    </a:lnTo>
                    <a:lnTo>
                      <a:pt x="110" y="1041"/>
                    </a:lnTo>
                    <a:lnTo>
                      <a:pt x="122" y="1015"/>
                    </a:lnTo>
                    <a:lnTo>
                      <a:pt x="139" y="993"/>
                    </a:lnTo>
                    <a:lnTo>
                      <a:pt x="158" y="973"/>
                    </a:lnTo>
                    <a:lnTo>
                      <a:pt x="133" y="913"/>
                    </a:lnTo>
                    <a:lnTo>
                      <a:pt x="106" y="913"/>
                    </a:lnTo>
                    <a:lnTo>
                      <a:pt x="78" y="911"/>
                    </a:lnTo>
                    <a:lnTo>
                      <a:pt x="53" y="899"/>
                    </a:lnTo>
                    <a:lnTo>
                      <a:pt x="32" y="883"/>
                    </a:lnTo>
                    <a:lnTo>
                      <a:pt x="15" y="862"/>
                    </a:lnTo>
                    <a:lnTo>
                      <a:pt x="5" y="836"/>
                    </a:lnTo>
                    <a:lnTo>
                      <a:pt x="0" y="809"/>
                    </a:lnTo>
                    <a:lnTo>
                      <a:pt x="0" y="610"/>
                    </a:lnTo>
                    <a:lnTo>
                      <a:pt x="5" y="582"/>
                    </a:lnTo>
                    <a:lnTo>
                      <a:pt x="15" y="558"/>
                    </a:lnTo>
                    <a:lnTo>
                      <a:pt x="32" y="536"/>
                    </a:lnTo>
                    <a:lnTo>
                      <a:pt x="53" y="519"/>
                    </a:lnTo>
                    <a:lnTo>
                      <a:pt x="78" y="509"/>
                    </a:lnTo>
                    <a:lnTo>
                      <a:pt x="106" y="505"/>
                    </a:lnTo>
                    <a:lnTo>
                      <a:pt x="133" y="505"/>
                    </a:lnTo>
                    <a:lnTo>
                      <a:pt x="158" y="445"/>
                    </a:lnTo>
                    <a:lnTo>
                      <a:pt x="139" y="426"/>
                    </a:lnTo>
                    <a:lnTo>
                      <a:pt x="122" y="403"/>
                    </a:lnTo>
                    <a:lnTo>
                      <a:pt x="110" y="379"/>
                    </a:lnTo>
                    <a:lnTo>
                      <a:pt x="108" y="352"/>
                    </a:lnTo>
                    <a:lnTo>
                      <a:pt x="110" y="326"/>
                    </a:lnTo>
                    <a:lnTo>
                      <a:pt x="122" y="300"/>
                    </a:lnTo>
                    <a:lnTo>
                      <a:pt x="139" y="277"/>
                    </a:lnTo>
                    <a:lnTo>
                      <a:pt x="279" y="137"/>
                    </a:lnTo>
                    <a:lnTo>
                      <a:pt x="302" y="120"/>
                    </a:lnTo>
                    <a:lnTo>
                      <a:pt x="326" y="110"/>
                    </a:lnTo>
                    <a:lnTo>
                      <a:pt x="353" y="106"/>
                    </a:lnTo>
                    <a:lnTo>
                      <a:pt x="379" y="110"/>
                    </a:lnTo>
                    <a:lnTo>
                      <a:pt x="405" y="120"/>
                    </a:lnTo>
                    <a:lnTo>
                      <a:pt x="428" y="137"/>
                    </a:lnTo>
                    <a:lnTo>
                      <a:pt x="446" y="156"/>
                    </a:lnTo>
                    <a:lnTo>
                      <a:pt x="506" y="132"/>
                    </a:lnTo>
                    <a:lnTo>
                      <a:pt x="506" y="104"/>
                    </a:lnTo>
                    <a:lnTo>
                      <a:pt x="511" y="76"/>
                    </a:lnTo>
                    <a:lnTo>
                      <a:pt x="521" y="52"/>
                    </a:lnTo>
                    <a:lnTo>
                      <a:pt x="538" y="30"/>
                    </a:lnTo>
                    <a:lnTo>
                      <a:pt x="558" y="14"/>
                    </a:lnTo>
                    <a:lnTo>
                      <a:pt x="583" y="3"/>
                    </a:lnTo>
                    <a:lnTo>
                      <a:pt x="6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7" name="Freeform 162"/>
              <p:cNvSpPr>
                <a:spLocks noEditPoints="1"/>
              </p:cNvSpPr>
              <p:nvPr/>
            </p:nvSpPr>
            <p:spPr bwMode="auto">
              <a:xfrm>
                <a:off x="5571" y="2763"/>
                <a:ext cx="598" cy="598"/>
              </a:xfrm>
              <a:custGeom>
                <a:avLst/>
                <a:gdLst>
                  <a:gd name="T0" fmla="*/ 506 w 1194"/>
                  <a:gd name="T1" fmla="*/ 324 h 1196"/>
                  <a:gd name="T2" fmla="*/ 393 w 1194"/>
                  <a:gd name="T3" fmla="*/ 394 h 1196"/>
                  <a:gd name="T4" fmla="*/ 324 w 1194"/>
                  <a:gd name="T5" fmla="*/ 507 h 1196"/>
                  <a:gd name="T6" fmla="*/ 313 w 1194"/>
                  <a:gd name="T7" fmla="*/ 644 h 1196"/>
                  <a:gd name="T8" fmla="*/ 364 w 1194"/>
                  <a:gd name="T9" fmla="*/ 767 h 1196"/>
                  <a:gd name="T10" fmla="*/ 464 w 1194"/>
                  <a:gd name="T11" fmla="*/ 853 h 1196"/>
                  <a:gd name="T12" fmla="*/ 597 w 1194"/>
                  <a:gd name="T13" fmla="*/ 886 h 1196"/>
                  <a:gd name="T14" fmla="*/ 729 w 1194"/>
                  <a:gd name="T15" fmla="*/ 853 h 1196"/>
                  <a:gd name="T16" fmla="*/ 829 w 1194"/>
                  <a:gd name="T17" fmla="*/ 767 h 1196"/>
                  <a:gd name="T18" fmla="*/ 881 w 1194"/>
                  <a:gd name="T19" fmla="*/ 644 h 1196"/>
                  <a:gd name="T20" fmla="*/ 870 w 1194"/>
                  <a:gd name="T21" fmla="*/ 507 h 1196"/>
                  <a:gd name="T22" fmla="*/ 800 w 1194"/>
                  <a:gd name="T23" fmla="*/ 394 h 1196"/>
                  <a:gd name="T24" fmla="*/ 689 w 1194"/>
                  <a:gd name="T25" fmla="*/ 324 h 1196"/>
                  <a:gd name="T26" fmla="*/ 513 w 1194"/>
                  <a:gd name="T27" fmla="*/ 0 h 1196"/>
                  <a:gd name="T28" fmla="*/ 726 w 1194"/>
                  <a:gd name="T29" fmla="*/ 11 h 1196"/>
                  <a:gd name="T30" fmla="*/ 766 w 1194"/>
                  <a:gd name="T31" fmla="*/ 64 h 1196"/>
                  <a:gd name="T32" fmla="*/ 820 w 1194"/>
                  <a:gd name="T33" fmla="*/ 131 h 1196"/>
                  <a:gd name="T34" fmla="*/ 876 w 1194"/>
                  <a:gd name="T35" fmla="*/ 93 h 1196"/>
                  <a:gd name="T36" fmla="*/ 941 w 1194"/>
                  <a:gd name="T37" fmla="*/ 101 h 1196"/>
                  <a:gd name="T38" fmla="*/ 1093 w 1194"/>
                  <a:gd name="T39" fmla="*/ 253 h 1196"/>
                  <a:gd name="T40" fmla="*/ 1102 w 1194"/>
                  <a:gd name="T41" fmla="*/ 319 h 1196"/>
                  <a:gd name="T42" fmla="*/ 1063 w 1194"/>
                  <a:gd name="T43" fmla="*/ 376 h 1196"/>
                  <a:gd name="T44" fmla="*/ 1130 w 1194"/>
                  <a:gd name="T45" fmla="*/ 429 h 1196"/>
                  <a:gd name="T46" fmla="*/ 1183 w 1194"/>
                  <a:gd name="T47" fmla="*/ 469 h 1196"/>
                  <a:gd name="T48" fmla="*/ 1194 w 1194"/>
                  <a:gd name="T49" fmla="*/ 682 h 1196"/>
                  <a:gd name="T50" fmla="*/ 1169 w 1194"/>
                  <a:gd name="T51" fmla="*/ 743 h 1196"/>
                  <a:gd name="T52" fmla="*/ 1106 w 1194"/>
                  <a:gd name="T53" fmla="*/ 770 h 1196"/>
                  <a:gd name="T54" fmla="*/ 1079 w 1194"/>
                  <a:gd name="T55" fmla="*/ 836 h 1196"/>
                  <a:gd name="T56" fmla="*/ 1104 w 1194"/>
                  <a:gd name="T57" fmla="*/ 899 h 1196"/>
                  <a:gd name="T58" fmla="*/ 1079 w 1194"/>
                  <a:gd name="T59" fmla="*/ 962 h 1196"/>
                  <a:gd name="T60" fmla="*/ 920 w 1194"/>
                  <a:gd name="T61" fmla="*/ 1103 h 1196"/>
                  <a:gd name="T62" fmla="*/ 854 w 1194"/>
                  <a:gd name="T63" fmla="*/ 1095 h 1196"/>
                  <a:gd name="T64" fmla="*/ 769 w 1194"/>
                  <a:gd name="T65" fmla="*/ 1085 h 1196"/>
                  <a:gd name="T66" fmla="*/ 757 w 1194"/>
                  <a:gd name="T67" fmla="*/ 1152 h 1196"/>
                  <a:gd name="T68" fmla="*/ 704 w 1194"/>
                  <a:gd name="T69" fmla="*/ 1192 h 1196"/>
                  <a:gd name="T70" fmla="*/ 490 w 1194"/>
                  <a:gd name="T71" fmla="*/ 1192 h 1196"/>
                  <a:gd name="T72" fmla="*/ 437 w 1194"/>
                  <a:gd name="T73" fmla="*/ 1152 h 1196"/>
                  <a:gd name="T74" fmla="*/ 426 w 1194"/>
                  <a:gd name="T75" fmla="*/ 1085 h 1196"/>
                  <a:gd name="T76" fmla="*/ 340 w 1194"/>
                  <a:gd name="T77" fmla="*/ 1095 h 1196"/>
                  <a:gd name="T78" fmla="*/ 274 w 1194"/>
                  <a:gd name="T79" fmla="*/ 1103 h 1196"/>
                  <a:gd name="T80" fmla="*/ 115 w 1194"/>
                  <a:gd name="T81" fmla="*/ 962 h 1196"/>
                  <a:gd name="T82" fmla="*/ 90 w 1194"/>
                  <a:gd name="T83" fmla="*/ 899 h 1196"/>
                  <a:gd name="T84" fmla="*/ 115 w 1194"/>
                  <a:gd name="T85" fmla="*/ 836 h 1196"/>
                  <a:gd name="T86" fmla="*/ 87 w 1194"/>
                  <a:gd name="T87" fmla="*/ 770 h 1196"/>
                  <a:gd name="T88" fmla="*/ 25 w 1194"/>
                  <a:gd name="T89" fmla="*/ 743 h 1196"/>
                  <a:gd name="T90" fmla="*/ 0 w 1194"/>
                  <a:gd name="T91" fmla="*/ 682 h 1196"/>
                  <a:gd name="T92" fmla="*/ 11 w 1194"/>
                  <a:gd name="T93" fmla="*/ 469 h 1196"/>
                  <a:gd name="T94" fmla="*/ 64 w 1194"/>
                  <a:gd name="T95" fmla="*/ 429 h 1196"/>
                  <a:gd name="T96" fmla="*/ 131 w 1194"/>
                  <a:gd name="T97" fmla="*/ 376 h 1196"/>
                  <a:gd name="T98" fmla="*/ 93 w 1194"/>
                  <a:gd name="T99" fmla="*/ 319 h 1196"/>
                  <a:gd name="T100" fmla="*/ 101 w 1194"/>
                  <a:gd name="T101" fmla="*/ 253 h 1196"/>
                  <a:gd name="T102" fmla="*/ 253 w 1194"/>
                  <a:gd name="T103" fmla="*/ 101 h 1196"/>
                  <a:gd name="T104" fmla="*/ 318 w 1194"/>
                  <a:gd name="T105" fmla="*/ 93 h 1196"/>
                  <a:gd name="T106" fmla="*/ 374 w 1194"/>
                  <a:gd name="T107" fmla="*/ 131 h 1196"/>
                  <a:gd name="T108" fmla="*/ 428 w 1194"/>
                  <a:gd name="T109" fmla="*/ 64 h 1196"/>
                  <a:gd name="T110" fmla="*/ 468 w 1194"/>
                  <a:gd name="T111" fmla="*/ 11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94" h="1196">
                    <a:moveTo>
                      <a:pt x="597" y="310"/>
                    </a:moveTo>
                    <a:lnTo>
                      <a:pt x="550" y="313"/>
                    </a:lnTo>
                    <a:lnTo>
                      <a:pt x="506" y="324"/>
                    </a:lnTo>
                    <a:lnTo>
                      <a:pt x="464" y="341"/>
                    </a:lnTo>
                    <a:lnTo>
                      <a:pt x="427" y="366"/>
                    </a:lnTo>
                    <a:lnTo>
                      <a:pt x="393" y="394"/>
                    </a:lnTo>
                    <a:lnTo>
                      <a:pt x="364" y="427"/>
                    </a:lnTo>
                    <a:lnTo>
                      <a:pt x="341" y="466"/>
                    </a:lnTo>
                    <a:lnTo>
                      <a:pt x="324" y="507"/>
                    </a:lnTo>
                    <a:lnTo>
                      <a:pt x="313" y="552"/>
                    </a:lnTo>
                    <a:lnTo>
                      <a:pt x="308" y="597"/>
                    </a:lnTo>
                    <a:lnTo>
                      <a:pt x="313" y="644"/>
                    </a:lnTo>
                    <a:lnTo>
                      <a:pt x="324" y="689"/>
                    </a:lnTo>
                    <a:lnTo>
                      <a:pt x="341" y="730"/>
                    </a:lnTo>
                    <a:lnTo>
                      <a:pt x="364" y="767"/>
                    </a:lnTo>
                    <a:lnTo>
                      <a:pt x="393" y="802"/>
                    </a:lnTo>
                    <a:lnTo>
                      <a:pt x="427" y="830"/>
                    </a:lnTo>
                    <a:lnTo>
                      <a:pt x="464" y="853"/>
                    </a:lnTo>
                    <a:lnTo>
                      <a:pt x="506" y="870"/>
                    </a:lnTo>
                    <a:lnTo>
                      <a:pt x="550" y="882"/>
                    </a:lnTo>
                    <a:lnTo>
                      <a:pt x="597" y="886"/>
                    </a:lnTo>
                    <a:lnTo>
                      <a:pt x="644" y="882"/>
                    </a:lnTo>
                    <a:lnTo>
                      <a:pt x="689" y="870"/>
                    </a:lnTo>
                    <a:lnTo>
                      <a:pt x="729" y="853"/>
                    </a:lnTo>
                    <a:lnTo>
                      <a:pt x="767" y="830"/>
                    </a:lnTo>
                    <a:lnTo>
                      <a:pt x="800" y="802"/>
                    </a:lnTo>
                    <a:lnTo>
                      <a:pt x="829" y="767"/>
                    </a:lnTo>
                    <a:lnTo>
                      <a:pt x="853" y="730"/>
                    </a:lnTo>
                    <a:lnTo>
                      <a:pt x="870" y="689"/>
                    </a:lnTo>
                    <a:lnTo>
                      <a:pt x="881" y="644"/>
                    </a:lnTo>
                    <a:lnTo>
                      <a:pt x="884" y="597"/>
                    </a:lnTo>
                    <a:lnTo>
                      <a:pt x="881" y="552"/>
                    </a:lnTo>
                    <a:lnTo>
                      <a:pt x="870" y="507"/>
                    </a:lnTo>
                    <a:lnTo>
                      <a:pt x="853" y="466"/>
                    </a:lnTo>
                    <a:lnTo>
                      <a:pt x="829" y="427"/>
                    </a:lnTo>
                    <a:lnTo>
                      <a:pt x="800" y="394"/>
                    </a:lnTo>
                    <a:lnTo>
                      <a:pt x="767" y="366"/>
                    </a:lnTo>
                    <a:lnTo>
                      <a:pt x="729" y="341"/>
                    </a:lnTo>
                    <a:lnTo>
                      <a:pt x="689" y="324"/>
                    </a:lnTo>
                    <a:lnTo>
                      <a:pt x="644" y="313"/>
                    </a:lnTo>
                    <a:lnTo>
                      <a:pt x="597" y="310"/>
                    </a:lnTo>
                    <a:close/>
                    <a:moveTo>
                      <a:pt x="513" y="0"/>
                    </a:moveTo>
                    <a:lnTo>
                      <a:pt x="681" y="0"/>
                    </a:lnTo>
                    <a:lnTo>
                      <a:pt x="704" y="3"/>
                    </a:lnTo>
                    <a:lnTo>
                      <a:pt x="726" y="11"/>
                    </a:lnTo>
                    <a:lnTo>
                      <a:pt x="743" y="26"/>
                    </a:lnTo>
                    <a:lnTo>
                      <a:pt x="757" y="43"/>
                    </a:lnTo>
                    <a:lnTo>
                      <a:pt x="766" y="64"/>
                    </a:lnTo>
                    <a:lnTo>
                      <a:pt x="769" y="88"/>
                    </a:lnTo>
                    <a:lnTo>
                      <a:pt x="769" y="111"/>
                    </a:lnTo>
                    <a:lnTo>
                      <a:pt x="820" y="131"/>
                    </a:lnTo>
                    <a:lnTo>
                      <a:pt x="836" y="116"/>
                    </a:lnTo>
                    <a:lnTo>
                      <a:pt x="854" y="101"/>
                    </a:lnTo>
                    <a:lnTo>
                      <a:pt x="876" y="93"/>
                    </a:lnTo>
                    <a:lnTo>
                      <a:pt x="899" y="90"/>
                    </a:lnTo>
                    <a:lnTo>
                      <a:pt x="920" y="93"/>
                    </a:lnTo>
                    <a:lnTo>
                      <a:pt x="941" y="101"/>
                    </a:lnTo>
                    <a:lnTo>
                      <a:pt x="960" y="116"/>
                    </a:lnTo>
                    <a:lnTo>
                      <a:pt x="1079" y="234"/>
                    </a:lnTo>
                    <a:lnTo>
                      <a:pt x="1093" y="253"/>
                    </a:lnTo>
                    <a:lnTo>
                      <a:pt x="1102" y="274"/>
                    </a:lnTo>
                    <a:lnTo>
                      <a:pt x="1104" y="297"/>
                    </a:lnTo>
                    <a:lnTo>
                      <a:pt x="1102" y="319"/>
                    </a:lnTo>
                    <a:lnTo>
                      <a:pt x="1093" y="340"/>
                    </a:lnTo>
                    <a:lnTo>
                      <a:pt x="1079" y="359"/>
                    </a:lnTo>
                    <a:lnTo>
                      <a:pt x="1063" y="376"/>
                    </a:lnTo>
                    <a:lnTo>
                      <a:pt x="1083" y="426"/>
                    </a:lnTo>
                    <a:lnTo>
                      <a:pt x="1106" y="426"/>
                    </a:lnTo>
                    <a:lnTo>
                      <a:pt x="1130" y="429"/>
                    </a:lnTo>
                    <a:lnTo>
                      <a:pt x="1152" y="437"/>
                    </a:lnTo>
                    <a:lnTo>
                      <a:pt x="1169" y="451"/>
                    </a:lnTo>
                    <a:lnTo>
                      <a:pt x="1183" y="469"/>
                    </a:lnTo>
                    <a:lnTo>
                      <a:pt x="1192" y="490"/>
                    </a:lnTo>
                    <a:lnTo>
                      <a:pt x="1194" y="514"/>
                    </a:lnTo>
                    <a:lnTo>
                      <a:pt x="1194" y="682"/>
                    </a:lnTo>
                    <a:lnTo>
                      <a:pt x="1192" y="704"/>
                    </a:lnTo>
                    <a:lnTo>
                      <a:pt x="1183" y="726"/>
                    </a:lnTo>
                    <a:lnTo>
                      <a:pt x="1169" y="743"/>
                    </a:lnTo>
                    <a:lnTo>
                      <a:pt x="1152" y="757"/>
                    </a:lnTo>
                    <a:lnTo>
                      <a:pt x="1130" y="766"/>
                    </a:lnTo>
                    <a:lnTo>
                      <a:pt x="1106" y="770"/>
                    </a:lnTo>
                    <a:lnTo>
                      <a:pt x="1083" y="770"/>
                    </a:lnTo>
                    <a:lnTo>
                      <a:pt x="1063" y="820"/>
                    </a:lnTo>
                    <a:lnTo>
                      <a:pt x="1079" y="836"/>
                    </a:lnTo>
                    <a:lnTo>
                      <a:pt x="1093" y="854"/>
                    </a:lnTo>
                    <a:lnTo>
                      <a:pt x="1102" y="876"/>
                    </a:lnTo>
                    <a:lnTo>
                      <a:pt x="1104" y="899"/>
                    </a:lnTo>
                    <a:lnTo>
                      <a:pt x="1102" y="922"/>
                    </a:lnTo>
                    <a:lnTo>
                      <a:pt x="1093" y="942"/>
                    </a:lnTo>
                    <a:lnTo>
                      <a:pt x="1079" y="962"/>
                    </a:lnTo>
                    <a:lnTo>
                      <a:pt x="960" y="1079"/>
                    </a:lnTo>
                    <a:lnTo>
                      <a:pt x="941" y="1095"/>
                    </a:lnTo>
                    <a:lnTo>
                      <a:pt x="920" y="1103"/>
                    </a:lnTo>
                    <a:lnTo>
                      <a:pt x="899" y="1106"/>
                    </a:lnTo>
                    <a:lnTo>
                      <a:pt x="876" y="1103"/>
                    </a:lnTo>
                    <a:lnTo>
                      <a:pt x="854" y="1095"/>
                    </a:lnTo>
                    <a:lnTo>
                      <a:pt x="836" y="1079"/>
                    </a:lnTo>
                    <a:lnTo>
                      <a:pt x="820" y="1063"/>
                    </a:lnTo>
                    <a:lnTo>
                      <a:pt x="769" y="1085"/>
                    </a:lnTo>
                    <a:lnTo>
                      <a:pt x="769" y="1107"/>
                    </a:lnTo>
                    <a:lnTo>
                      <a:pt x="766" y="1130"/>
                    </a:lnTo>
                    <a:lnTo>
                      <a:pt x="757" y="1152"/>
                    </a:lnTo>
                    <a:lnTo>
                      <a:pt x="743" y="1169"/>
                    </a:lnTo>
                    <a:lnTo>
                      <a:pt x="726" y="1183"/>
                    </a:lnTo>
                    <a:lnTo>
                      <a:pt x="704" y="1192"/>
                    </a:lnTo>
                    <a:lnTo>
                      <a:pt x="681" y="1196"/>
                    </a:lnTo>
                    <a:lnTo>
                      <a:pt x="513" y="1196"/>
                    </a:lnTo>
                    <a:lnTo>
                      <a:pt x="490" y="1192"/>
                    </a:lnTo>
                    <a:lnTo>
                      <a:pt x="468" y="1183"/>
                    </a:lnTo>
                    <a:lnTo>
                      <a:pt x="451" y="1169"/>
                    </a:lnTo>
                    <a:lnTo>
                      <a:pt x="437" y="1152"/>
                    </a:lnTo>
                    <a:lnTo>
                      <a:pt x="428" y="1130"/>
                    </a:lnTo>
                    <a:lnTo>
                      <a:pt x="426" y="1107"/>
                    </a:lnTo>
                    <a:lnTo>
                      <a:pt x="426" y="1085"/>
                    </a:lnTo>
                    <a:lnTo>
                      <a:pt x="374" y="1063"/>
                    </a:lnTo>
                    <a:lnTo>
                      <a:pt x="358" y="1079"/>
                    </a:lnTo>
                    <a:lnTo>
                      <a:pt x="340" y="1095"/>
                    </a:lnTo>
                    <a:lnTo>
                      <a:pt x="318" y="1103"/>
                    </a:lnTo>
                    <a:lnTo>
                      <a:pt x="296" y="1106"/>
                    </a:lnTo>
                    <a:lnTo>
                      <a:pt x="274" y="1103"/>
                    </a:lnTo>
                    <a:lnTo>
                      <a:pt x="253" y="1095"/>
                    </a:lnTo>
                    <a:lnTo>
                      <a:pt x="234" y="1079"/>
                    </a:lnTo>
                    <a:lnTo>
                      <a:pt x="115" y="962"/>
                    </a:lnTo>
                    <a:lnTo>
                      <a:pt x="101" y="942"/>
                    </a:lnTo>
                    <a:lnTo>
                      <a:pt x="93" y="922"/>
                    </a:lnTo>
                    <a:lnTo>
                      <a:pt x="90" y="899"/>
                    </a:lnTo>
                    <a:lnTo>
                      <a:pt x="93" y="876"/>
                    </a:lnTo>
                    <a:lnTo>
                      <a:pt x="101" y="854"/>
                    </a:lnTo>
                    <a:lnTo>
                      <a:pt x="115" y="836"/>
                    </a:lnTo>
                    <a:lnTo>
                      <a:pt x="131" y="820"/>
                    </a:lnTo>
                    <a:lnTo>
                      <a:pt x="110" y="770"/>
                    </a:lnTo>
                    <a:lnTo>
                      <a:pt x="87" y="770"/>
                    </a:lnTo>
                    <a:lnTo>
                      <a:pt x="64" y="766"/>
                    </a:lnTo>
                    <a:lnTo>
                      <a:pt x="43" y="757"/>
                    </a:lnTo>
                    <a:lnTo>
                      <a:pt x="25" y="743"/>
                    </a:lnTo>
                    <a:lnTo>
                      <a:pt x="11" y="726"/>
                    </a:lnTo>
                    <a:lnTo>
                      <a:pt x="3" y="704"/>
                    </a:lnTo>
                    <a:lnTo>
                      <a:pt x="0" y="682"/>
                    </a:lnTo>
                    <a:lnTo>
                      <a:pt x="0" y="514"/>
                    </a:lnTo>
                    <a:lnTo>
                      <a:pt x="3" y="490"/>
                    </a:lnTo>
                    <a:lnTo>
                      <a:pt x="11" y="469"/>
                    </a:lnTo>
                    <a:lnTo>
                      <a:pt x="25" y="451"/>
                    </a:lnTo>
                    <a:lnTo>
                      <a:pt x="43" y="437"/>
                    </a:lnTo>
                    <a:lnTo>
                      <a:pt x="64" y="429"/>
                    </a:lnTo>
                    <a:lnTo>
                      <a:pt x="87" y="426"/>
                    </a:lnTo>
                    <a:lnTo>
                      <a:pt x="110" y="426"/>
                    </a:lnTo>
                    <a:lnTo>
                      <a:pt x="131" y="376"/>
                    </a:lnTo>
                    <a:lnTo>
                      <a:pt x="115" y="359"/>
                    </a:lnTo>
                    <a:lnTo>
                      <a:pt x="101" y="340"/>
                    </a:lnTo>
                    <a:lnTo>
                      <a:pt x="93" y="319"/>
                    </a:lnTo>
                    <a:lnTo>
                      <a:pt x="90" y="297"/>
                    </a:lnTo>
                    <a:lnTo>
                      <a:pt x="93" y="274"/>
                    </a:lnTo>
                    <a:lnTo>
                      <a:pt x="101" y="253"/>
                    </a:lnTo>
                    <a:lnTo>
                      <a:pt x="115" y="234"/>
                    </a:lnTo>
                    <a:lnTo>
                      <a:pt x="234" y="116"/>
                    </a:lnTo>
                    <a:lnTo>
                      <a:pt x="253" y="101"/>
                    </a:lnTo>
                    <a:lnTo>
                      <a:pt x="274" y="93"/>
                    </a:lnTo>
                    <a:lnTo>
                      <a:pt x="296" y="90"/>
                    </a:lnTo>
                    <a:lnTo>
                      <a:pt x="318" y="93"/>
                    </a:lnTo>
                    <a:lnTo>
                      <a:pt x="340" y="101"/>
                    </a:lnTo>
                    <a:lnTo>
                      <a:pt x="358" y="116"/>
                    </a:lnTo>
                    <a:lnTo>
                      <a:pt x="374" y="131"/>
                    </a:lnTo>
                    <a:lnTo>
                      <a:pt x="426" y="111"/>
                    </a:lnTo>
                    <a:lnTo>
                      <a:pt x="426" y="88"/>
                    </a:lnTo>
                    <a:lnTo>
                      <a:pt x="428" y="64"/>
                    </a:lnTo>
                    <a:lnTo>
                      <a:pt x="437" y="43"/>
                    </a:lnTo>
                    <a:lnTo>
                      <a:pt x="451" y="26"/>
                    </a:lnTo>
                    <a:lnTo>
                      <a:pt x="468" y="11"/>
                    </a:lnTo>
                    <a:lnTo>
                      <a:pt x="490" y="3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68" name="Group 167"/>
          <p:cNvGrpSpPr/>
          <p:nvPr/>
        </p:nvGrpSpPr>
        <p:grpSpPr>
          <a:xfrm>
            <a:off x="147993" y="5384935"/>
            <a:ext cx="727877" cy="525933"/>
            <a:chOff x="147993" y="4292543"/>
            <a:chExt cx="727877" cy="525933"/>
          </a:xfrm>
        </p:grpSpPr>
        <p:sp>
          <p:nvSpPr>
            <p:cNvPr id="169" name="Rectangle 17"/>
            <p:cNvSpPr>
              <a:spLocks/>
            </p:cNvSpPr>
            <p:nvPr/>
          </p:nvSpPr>
          <p:spPr bwMode="auto">
            <a:xfrm>
              <a:off x="147993" y="4572255"/>
              <a:ext cx="72787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нешние данные</a:t>
              </a:r>
            </a:p>
          </p:txBody>
        </p:sp>
        <p:grpSp>
          <p:nvGrpSpPr>
            <p:cNvPr id="170" name="Group 201"/>
            <p:cNvGrpSpPr>
              <a:grpSpLocks noChangeAspect="1"/>
            </p:cNvGrpSpPr>
            <p:nvPr/>
          </p:nvGrpSpPr>
          <p:grpSpPr bwMode="auto">
            <a:xfrm>
              <a:off x="405000" y="4292543"/>
              <a:ext cx="202275" cy="226804"/>
              <a:chOff x="4176" y="3243"/>
              <a:chExt cx="602" cy="675"/>
            </a:xfrm>
            <a:solidFill>
              <a:schemeClr val="bg1"/>
            </a:solidFill>
          </p:grpSpPr>
          <p:sp>
            <p:nvSpPr>
              <p:cNvPr id="171" name="Freeform 203"/>
              <p:cNvSpPr>
                <a:spLocks/>
              </p:cNvSpPr>
              <p:nvPr/>
            </p:nvSpPr>
            <p:spPr bwMode="auto">
              <a:xfrm>
                <a:off x="4184" y="3243"/>
                <a:ext cx="594" cy="675"/>
              </a:xfrm>
              <a:custGeom>
                <a:avLst/>
                <a:gdLst>
                  <a:gd name="T0" fmla="*/ 2818 w 2971"/>
                  <a:gd name="T1" fmla="*/ 0 h 3374"/>
                  <a:gd name="T2" fmla="*/ 2877 w 2971"/>
                  <a:gd name="T3" fmla="*/ 12 h 3374"/>
                  <a:gd name="T4" fmla="*/ 2926 w 2971"/>
                  <a:gd name="T5" fmla="*/ 45 h 3374"/>
                  <a:gd name="T6" fmla="*/ 2958 w 2971"/>
                  <a:gd name="T7" fmla="*/ 93 h 3374"/>
                  <a:gd name="T8" fmla="*/ 2971 w 2971"/>
                  <a:gd name="T9" fmla="*/ 154 h 3374"/>
                  <a:gd name="T10" fmla="*/ 2960 w 2971"/>
                  <a:gd name="T11" fmla="*/ 207 h 3374"/>
                  <a:gd name="T12" fmla="*/ 2934 w 2971"/>
                  <a:gd name="T13" fmla="*/ 252 h 3374"/>
                  <a:gd name="T14" fmla="*/ 2894 w 2971"/>
                  <a:gd name="T15" fmla="*/ 285 h 3374"/>
                  <a:gd name="T16" fmla="*/ 2892 w 2971"/>
                  <a:gd name="T17" fmla="*/ 2091 h 3374"/>
                  <a:gd name="T18" fmla="*/ 2872 w 2971"/>
                  <a:gd name="T19" fmla="*/ 2124 h 3374"/>
                  <a:gd name="T20" fmla="*/ 2838 w 2971"/>
                  <a:gd name="T21" fmla="*/ 2145 h 3374"/>
                  <a:gd name="T22" fmla="*/ 2197 w 2971"/>
                  <a:gd name="T23" fmla="*/ 2147 h 3374"/>
                  <a:gd name="T24" fmla="*/ 2475 w 2971"/>
                  <a:gd name="T25" fmla="*/ 3208 h 3374"/>
                  <a:gd name="T26" fmla="*/ 2469 w 2971"/>
                  <a:gd name="T27" fmla="*/ 3261 h 3374"/>
                  <a:gd name="T28" fmla="*/ 2448 w 2971"/>
                  <a:gd name="T29" fmla="*/ 3309 h 3374"/>
                  <a:gd name="T30" fmla="*/ 2411 w 2971"/>
                  <a:gd name="T31" fmla="*/ 3346 h 3374"/>
                  <a:gd name="T32" fmla="*/ 2362 w 2971"/>
                  <a:gd name="T33" fmla="*/ 3370 h 3374"/>
                  <a:gd name="T34" fmla="*/ 2323 w 2971"/>
                  <a:gd name="T35" fmla="*/ 3374 h 3374"/>
                  <a:gd name="T36" fmla="*/ 2267 w 2971"/>
                  <a:gd name="T37" fmla="*/ 3363 h 3374"/>
                  <a:gd name="T38" fmla="*/ 2220 w 2971"/>
                  <a:gd name="T39" fmla="*/ 3334 h 3374"/>
                  <a:gd name="T40" fmla="*/ 2186 w 2971"/>
                  <a:gd name="T41" fmla="*/ 3288 h 3374"/>
                  <a:gd name="T42" fmla="*/ 1902 w 2971"/>
                  <a:gd name="T43" fmla="*/ 2224 h 3374"/>
                  <a:gd name="T44" fmla="*/ 794 w 2971"/>
                  <a:gd name="T45" fmla="*/ 3260 h 3374"/>
                  <a:gd name="T46" fmla="*/ 771 w 2971"/>
                  <a:gd name="T47" fmla="*/ 3309 h 3374"/>
                  <a:gd name="T48" fmla="*/ 734 w 2971"/>
                  <a:gd name="T49" fmla="*/ 3346 h 3374"/>
                  <a:gd name="T50" fmla="*/ 687 w 2971"/>
                  <a:gd name="T51" fmla="*/ 3369 h 3374"/>
                  <a:gd name="T52" fmla="*/ 635 w 2971"/>
                  <a:gd name="T53" fmla="*/ 3374 h 3374"/>
                  <a:gd name="T54" fmla="*/ 581 w 2971"/>
                  <a:gd name="T55" fmla="*/ 3360 h 3374"/>
                  <a:gd name="T56" fmla="*/ 538 w 2971"/>
                  <a:gd name="T57" fmla="*/ 3329 h 3374"/>
                  <a:gd name="T58" fmla="*/ 509 w 2971"/>
                  <a:gd name="T59" fmla="*/ 3286 h 3374"/>
                  <a:gd name="T60" fmla="*/ 495 w 2971"/>
                  <a:gd name="T61" fmla="*/ 3236 h 3374"/>
                  <a:gd name="T62" fmla="*/ 500 w 2971"/>
                  <a:gd name="T63" fmla="*/ 3181 h 3374"/>
                  <a:gd name="T64" fmla="*/ 639 w 2971"/>
                  <a:gd name="T65" fmla="*/ 2147 h 3374"/>
                  <a:gd name="T66" fmla="*/ 729 w 2971"/>
                  <a:gd name="T67" fmla="*/ 2048 h 3374"/>
                  <a:gd name="T68" fmla="*/ 2742 w 2971"/>
                  <a:gd name="T69" fmla="*/ 1994 h 3374"/>
                  <a:gd name="T70" fmla="*/ 227 w 2971"/>
                  <a:gd name="T71" fmla="*/ 307 h 3374"/>
                  <a:gd name="T72" fmla="*/ 184 w 2971"/>
                  <a:gd name="T73" fmla="*/ 1953 h 3374"/>
                  <a:gd name="T74" fmla="*/ 108 w 2971"/>
                  <a:gd name="T75" fmla="*/ 2023 h 3374"/>
                  <a:gd name="T76" fmla="*/ 76 w 2971"/>
                  <a:gd name="T77" fmla="*/ 285 h 3374"/>
                  <a:gd name="T78" fmla="*/ 36 w 2971"/>
                  <a:gd name="T79" fmla="*/ 252 h 3374"/>
                  <a:gd name="T80" fmla="*/ 9 w 2971"/>
                  <a:gd name="T81" fmla="*/ 207 h 3374"/>
                  <a:gd name="T82" fmla="*/ 0 w 2971"/>
                  <a:gd name="T83" fmla="*/ 154 h 3374"/>
                  <a:gd name="T84" fmla="*/ 12 w 2971"/>
                  <a:gd name="T85" fmla="*/ 93 h 3374"/>
                  <a:gd name="T86" fmla="*/ 44 w 2971"/>
                  <a:gd name="T87" fmla="*/ 45 h 3374"/>
                  <a:gd name="T88" fmla="*/ 93 w 2971"/>
                  <a:gd name="T89" fmla="*/ 12 h 3374"/>
                  <a:gd name="T90" fmla="*/ 152 w 2971"/>
                  <a:gd name="T91" fmla="*/ 0 h 3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1" h="3374">
                    <a:moveTo>
                      <a:pt x="152" y="0"/>
                    </a:moveTo>
                    <a:lnTo>
                      <a:pt x="2818" y="0"/>
                    </a:lnTo>
                    <a:lnTo>
                      <a:pt x="2849" y="3"/>
                    </a:lnTo>
                    <a:lnTo>
                      <a:pt x="2877" y="12"/>
                    </a:lnTo>
                    <a:lnTo>
                      <a:pt x="2904" y="27"/>
                    </a:lnTo>
                    <a:lnTo>
                      <a:pt x="2926" y="45"/>
                    </a:lnTo>
                    <a:lnTo>
                      <a:pt x="2945" y="68"/>
                    </a:lnTo>
                    <a:lnTo>
                      <a:pt x="2958" y="93"/>
                    </a:lnTo>
                    <a:lnTo>
                      <a:pt x="2968" y="123"/>
                    </a:lnTo>
                    <a:lnTo>
                      <a:pt x="2971" y="154"/>
                    </a:lnTo>
                    <a:lnTo>
                      <a:pt x="2968" y="181"/>
                    </a:lnTo>
                    <a:lnTo>
                      <a:pt x="2960" y="207"/>
                    </a:lnTo>
                    <a:lnTo>
                      <a:pt x="2950" y="231"/>
                    </a:lnTo>
                    <a:lnTo>
                      <a:pt x="2934" y="252"/>
                    </a:lnTo>
                    <a:lnTo>
                      <a:pt x="2916" y="271"/>
                    </a:lnTo>
                    <a:lnTo>
                      <a:pt x="2894" y="285"/>
                    </a:lnTo>
                    <a:lnTo>
                      <a:pt x="2894" y="2070"/>
                    </a:lnTo>
                    <a:lnTo>
                      <a:pt x="2892" y="2091"/>
                    </a:lnTo>
                    <a:lnTo>
                      <a:pt x="2883" y="2110"/>
                    </a:lnTo>
                    <a:lnTo>
                      <a:pt x="2872" y="2124"/>
                    </a:lnTo>
                    <a:lnTo>
                      <a:pt x="2856" y="2137"/>
                    </a:lnTo>
                    <a:lnTo>
                      <a:pt x="2838" y="2145"/>
                    </a:lnTo>
                    <a:lnTo>
                      <a:pt x="2818" y="2147"/>
                    </a:lnTo>
                    <a:lnTo>
                      <a:pt x="2197" y="2147"/>
                    </a:lnTo>
                    <a:lnTo>
                      <a:pt x="2470" y="3181"/>
                    </a:lnTo>
                    <a:lnTo>
                      <a:pt x="2475" y="3208"/>
                    </a:lnTo>
                    <a:lnTo>
                      <a:pt x="2475" y="3235"/>
                    </a:lnTo>
                    <a:lnTo>
                      <a:pt x="2469" y="3261"/>
                    </a:lnTo>
                    <a:lnTo>
                      <a:pt x="2461" y="3286"/>
                    </a:lnTo>
                    <a:lnTo>
                      <a:pt x="2448" y="3309"/>
                    </a:lnTo>
                    <a:lnTo>
                      <a:pt x="2432" y="3329"/>
                    </a:lnTo>
                    <a:lnTo>
                      <a:pt x="2411" y="3346"/>
                    </a:lnTo>
                    <a:lnTo>
                      <a:pt x="2388" y="3360"/>
                    </a:lnTo>
                    <a:lnTo>
                      <a:pt x="2362" y="3370"/>
                    </a:lnTo>
                    <a:lnTo>
                      <a:pt x="2343" y="3373"/>
                    </a:lnTo>
                    <a:lnTo>
                      <a:pt x="2323" y="3374"/>
                    </a:lnTo>
                    <a:lnTo>
                      <a:pt x="2295" y="3372"/>
                    </a:lnTo>
                    <a:lnTo>
                      <a:pt x="2267" y="3363"/>
                    </a:lnTo>
                    <a:lnTo>
                      <a:pt x="2243" y="3351"/>
                    </a:lnTo>
                    <a:lnTo>
                      <a:pt x="2220" y="3334"/>
                    </a:lnTo>
                    <a:lnTo>
                      <a:pt x="2201" y="3313"/>
                    </a:lnTo>
                    <a:lnTo>
                      <a:pt x="2186" y="3288"/>
                    </a:lnTo>
                    <a:lnTo>
                      <a:pt x="2176" y="3260"/>
                    </a:lnTo>
                    <a:lnTo>
                      <a:pt x="1902" y="2224"/>
                    </a:lnTo>
                    <a:lnTo>
                      <a:pt x="1069" y="2224"/>
                    </a:lnTo>
                    <a:lnTo>
                      <a:pt x="794" y="3260"/>
                    </a:lnTo>
                    <a:lnTo>
                      <a:pt x="785" y="3287"/>
                    </a:lnTo>
                    <a:lnTo>
                      <a:pt x="771" y="3309"/>
                    </a:lnTo>
                    <a:lnTo>
                      <a:pt x="754" y="3329"/>
                    </a:lnTo>
                    <a:lnTo>
                      <a:pt x="734" y="3346"/>
                    </a:lnTo>
                    <a:lnTo>
                      <a:pt x="712" y="3360"/>
                    </a:lnTo>
                    <a:lnTo>
                      <a:pt x="687" y="3369"/>
                    </a:lnTo>
                    <a:lnTo>
                      <a:pt x="662" y="3374"/>
                    </a:lnTo>
                    <a:lnTo>
                      <a:pt x="635" y="3374"/>
                    </a:lnTo>
                    <a:lnTo>
                      <a:pt x="608" y="3370"/>
                    </a:lnTo>
                    <a:lnTo>
                      <a:pt x="581" y="3360"/>
                    </a:lnTo>
                    <a:lnTo>
                      <a:pt x="558" y="3346"/>
                    </a:lnTo>
                    <a:lnTo>
                      <a:pt x="538" y="3329"/>
                    </a:lnTo>
                    <a:lnTo>
                      <a:pt x="522" y="3309"/>
                    </a:lnTo>
                    <a:lnTo>
                      <a:pt x="509" y="3286"/>
                    </a:lnTo>
                    <a:lnTo>
                      <a:pt x="500" y="3261"/>
                    </a:lnTo>
                    <a:lnTo>
                      <a:pt x="495" y="3236"/>
                    </a:lnTo>
                    <a:lnTo>
                      <a:pt x="495" y="3208"/>
                    </a:lnTo>
                    <a:lnTo>
                      <a:pt x="500" y="3181"/>
                    </a:lnTo>
                    <a:lnTo>
                      <a:pt x="773" y="2147"/>
                    </a:lnTo>
                    <a:lnTo>
                      <a:pt x="639" y="2147"/>
                    </a:lnTo>
                    <a:lnTo>
                      <a:pt x="683" y="2099"/>
                    </a:lnTo>
                    <a:lnTo>
                      <a:pt x="729" y="2048"/>
                    </a:lnTo>
                    <a:lnTo>
                      <a:pt x="778" y="1994"/>
                    </a:lnTo>
                    <a:lnTo>
                      <a:pt x="2742" y="1994"/>
                    </a:lnTo>
                    <a:lnTo>
                      <a:pt x="2742" y="307"/>
                    </a:lnTo>
                    <a:lnTo>
                      <a:pt x="227" y="307"/>
                    </a:lnTo>
                    <a:lnTo>
                      <a:pt x="227" y="1912"/>
                    </a:lnTo>
                    <a:lnTo>
                      <a:pt x="184" y="1953"/>
                    </a:lnTo>
                    <a:lnTo>
                      <a:pt x="144" y="1989"/>
                    </a:lnTo>
                    <a:lnTo>
                      <a:pt x="108" y="2023"/>
                    </a:lnTo>
                    <a:lnTo>
                      <a:pt x="76" y="2052"/>
                    </a:lnTo>
                    <a:lnTo>
                      <a:pt x="76" y="285"/>
                    </a:lnTo>
                    <a:lnTo>
                      <a:pt x="55" y="271"/>
                    </a:lnTo>
                    <a:lnTo>
                      <a:pt x="36" y="252"/>
                    </a:lnTo>
                    <a:lnTo>
                      <a:pt x="21" y="231"/>
                    </a:lnTo>
                    <a:lnTo>
                      <a:pt x="9" y="207"/>
                    </a:lnTo>
                    <a:lnTo>
                      <a:pt x="2" y="181"/>
                    </a:lnTo>
                    <a:lnTo>
                      <a:pt x="0" y="154"/>
                    </a:lnTo>
                    <a:lnTo>
                      <a:pt x="3" y="123"/>
                    </a:lnTo>
                    <a:lnTo>
                      <a:pt x="12" y="93"/>
                    </a:lnTo>
                    <a:lnTo>
                      <a:pt x="25" y="68"/>
                    </a:lnTo>
                    <a:lnTo>
                      <a:pt x="44" y="45"/>
                    </a:lnTo>
                    <a:lnTo>
                      <a:pt x="66" y="27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2" name="Freeform 204"/>
              <p:cNvSpPr>
                <a:spLocks/>
              </p:cNvSpPr>
              <p:nvPr/>
            </p:nvSpPr>
            <p:spPr bwMode="auto">
              <a:xfrm>
                <a:off x="4443" y="3439"/>
                <a:ext cx="60" cy="176"/>
              </a:xfrm>
              <a:custGeom>
                <a:avLst/>
                <a:gdLst>
                  <a:gd name="T0" fmla="*/ 153 w 304"/>
                  <a:gd name="T1" fmla="*/ 0 h 881"/>
                  <a:gd name="T2" fmla="*/ 183 w 304"/>
                  <a:gd name="T3" fmla="*/ 3 h 881"/>
                  <a:gd name="T4" fmla="*/ 211 w 304"/>
                  <a:gd name="T5" fmla="*/ 12 h 881"/>
                  <a:gd name="T6" fmla="*/ 237 w 304"/>
                  <a:gd name="T7" fmla="*/ 25 h 881"/>
                  <a:gd name="T8" fmla="*/ 260 w 304"/>
                  <a:gd name="T9" fmla="*/ 44 h 881"/>
                  <a:gd name="T10" fmla="*/ 278 w 304"/>
                  <a:gd name="T11" fmla="*/ 68 h 881"/>
                  <a:gd name="T12" fmla="*/ 293 w 304"/>
                  <a:gd name="T13" fmla="*/ 93 h 881"/>
                  <a:gd name="T14" fmla="*/ 301 w 304"/>
                  <a:gd name="T15" fmla="*/ 122 h 881"/>
                  <a:gd name="T16" fmla="*/ 304 w 304"/>
                  <a:gd name="T17" fmla="*/ 154 h 881"/>
                  <a:gd name="T18" fmla="*/ 304 w 304"/>
                  <a:gd name="T19" fmla="*/ 729 h 881"/>
                  <a:gd name="T20" fmla="*/ 301 w 304"/>
                  <a:gd name="T21" fmla="*/ 759 h 881"/>
                  <a:gd name="T22" fmla="*/ 293 w 304"/>
                  <a:gd name="T23" fmla="*/ 788 h 881"/>
                  <a:gd name="T24" fmla="*/ 278 w 304"/>
                  <a:gd name="T25" fmla="*/ 814 h 881"/>
                  <a:gd name="T26" fmla="*/ 260 w 304"/>
                  <a:gd name="T27" fmla="*/ 837 h 881"/>
                  <a:gd name="T28" fmla="*/ 237 w 304"/>
                  <a:gd name="T29" fmla="*/ 856 h 881"/>
                  <a:gd name="T30" fmla="*/ 211 w 304"/>
                  <a:gd name="T31" fmla="*/ 870 h 881"/>
                  <a:gd name="T32" fmla="*/ 183 w 304"/>
                  <a:gd name="T33" fmla="*/ 878 h 881"/>
                  <a:gd name="T34" fmla="*/ 153 w 304"/>
                  <a:gd name="T35" fmla="*/ 881 h 881"/>
                  <a:gd name="T36" fmla="*/ 121 w 304"/>
                  <a:gd name="T37" fmla="*/ 878 h 881"/>
                  <a:gd name="T38" fmla="*/ 92 w 304"/>
                  <a:gd name="T39" fmla="*/ 870 h 881"/>
                  <a:gd name="T40" fmla="*/ 67 w 304"/>
                  <a:gd name="T41" fmla="*/ 856 h 881"/>
                  <a:gd name="T42" fmla="*/ 44 w 304"/>
                  <a:gd name="T43" fmla="*/ 837 h 881"/>
                  <a:gd name="T44" fmla="*/ 26 w 304"/>
                  <a:gd name="T45" fmla="*/ 814 h 881"/>
                  <a:gd name="T46" fmla="*/ 11 w 304"/>
                  <a:gd name="T47" fmla="*/ 788 h 881"/>
                  <a:gd name="T48" fmla="*/ 3 w 304"/>
                  <a:gd name="T49" fmla="*/ 759 h 881"/>
                  <a:gd name="T50" fmla="*/ 0 w 304"/>
                  <a:gd name="T51" fmla="*/ 729 h 881"/>
                  <a:gd name="T52" fmla="*/ 0 w 304"/>
                  <a:gd name="T53" fmla="*/ 154 h 881"/>
                  <a:gd name="T54" fmla="*/ 3 w 304"/>
                  <a:gd name="T55" fmla="*/ 122 h 881"/>
                  <a:gd name="T56" fmla="*/ 11 w 304"/>
                  <a:gd name="T57" fmla="*/ 93 h 881"/>
                  <a:gd name="T58" fmla="*/ 26 w 304"/>
                  <a:gd name="T59" fmla="*/ 68 h 881"/>
                  <a:gd name="T60" fmla="*/ 44 w 304"/>
                  <a:gd name="T61" fmla="*/ 44 h 881"/>
                  <a:gd name="T62" fmla="*/ 67 w 304"/>
                  <a:gd name="T63" fmla="*/ 25 h 881"/>
                  <a:gd name="T64" fmla="*/ 92 w 304"/>
                  <a:gd name="T65" fmla="*/ 12 h 881"/>
                  <a:gd name="T66" fmla="*/ 121 w 304"/>
                  <a:gd name="T67" fmla="*/ 3 h 881"/>
                  <a:gd name="T68" fmla="*/ 153 w 304"/>
                  <a:gd name="T69" fmla="*/ 0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881">
                    <a:moveTo>
                      <a:pt x="153" y="0"/>
                    </a:moveTo>
                    <a:lnTo>
                      <a:pt x="183" y="3"/>
                    </a:lnTo>
                    <a:lnTo>
                      <a:pt x="211" y="12"/>
                    </a:lnTo>
                    <a:lnTo>
                      <a:pt x="237" y="25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4" y="154"/>
                    </a:lnTo>
                    <a:lnTo>
                      <a:pt x="304" y="729"/>
                    </a:lnTo>
                    <a:lnTo>
                      <a:pt x="301" y="759"/>
                    </a:lnTo>
                    <a:lnTo>
                      <a:pt x="293" y="788"/>
                    </a:lnTo>
                    <a:lnTo>
                      <a:pt x="278" y="814"/>
                    </a:lnTo>
                    <a:lnTo>
                      <a:pt x="260" y="837"/>
                    </a:lnTo>
                    <a:lnTo>
                      <a:pt x="237" y="856"/>
                    </a:lnTo>
                    <a:lnTo>
                      <a:pt x="211" y="870"/>
                    </a:lnTo>
                    <a:lnTo>
                      <a:pt x="183" y="878"/>
                    </a:lnTo>
                    <a:lnTo>
                      <a:pt x="153" y="881"/>
                    </a:lnTo>
                    <a:lnTo>
                      <a:pt x="121" y="878"/>
                    </a:lnTo>
                    <a:lnTo>
                      <a:pt x="92" y="870"/>
                    </a:lnTo>
                    <a:lnTo>
                      <a:pt x="67" y="856"/>
                    </a:lnTo>
                    <a:lnTo>
                      <a:pt x="44" y="837"/>
                    </a:lnTo>
                    <a:lnTo>
                      <a:pt x="26" y="814"/>
                    </a:lnTo>
                    <a:lnTo>
                      <a:pt x="11" y="788"/>
                    </a:lnTo>
                    <a:lnTo>
                      <a:pt x="3" y="759"/>
                    </a:lnTo>
                    <a:lnTo>
                      <a:pt x="0" y="729"/>
                    </a:lnTo>
                    <a:lnTo>
                      <a:pt x="0" y="154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5"/>
                    </a:lnTo>
                    <a:lnTo>
                      <a:pt x="92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3" name="Freeform 205"/>
              <p:cNvSpPr>
                <a:spLocks/>
              </p:cNvSpPr>
              <p:nvPr/>
            </p:nvSpPr>
            <p:spPr bwMode="auto">
              <a:xfrm>
                <a:off x="4542" y="3331"/>
                <a:ext cx="60" cy="284"/>
              </a:xfrm>
              <a:custGeom>
                <a:avLst/>
                <a:gdLst>
                  <a:gd name="T0" fmla="*/ 153 w 304"/>
                  <a:gd name="T1" fmla="*/ 0 h 1418"/>
                  <a:gd name="T2" fmla="*/ 183 w 304"/>
                  <a:gd name="T3" fmla="*/ 3 h 1418"/>
                  <a:gd name="T4" fmla="*/ 212 w 304"/>
                  <a:gd name="T5" fmla="*/ 12 h 1418"/>
                  <a:gd name="T6" fmla="*/ 237 w 304"/>
                  <a:gd name="T7" fmla="*/ 26 h 1418"/>
                  <a:gd name="T8" fmla="*/ 260 w 304"/>
                  <a:gd name="T9" fmla="*/ 45 h 1418"/>
                  <a:gd name="T10" fmla="*/ 278 w 304"/>
                  <a:gd name="T11" fmla="*/ 67 h 1418"/>
                  <a:gd name="T12" fmla="*/ 293 w 304"/>
                  <a:gd name="T13" fmla="*/ 94 h 1418"/>
                  <a:gd name="T14" fmla="*/ 301 w 304"/>
                  <a:gd name="T15" fmla="*/ 122 h 1418"/>
                  <a:gd name="T16" fmla="*/ 304 w 304"/>
                  <a:gd name="T17" fmla="*/ 153 h 1418"/>
                  <a:gd name="T18" fmla="*/ 304 w 304"/>
                  <a:gd name="T19" fmla="*/ 1266 h 1418"/>
                  <a:gd name="T20" fmla="*/ 301 w 304"/>
                  <a:gd name="T21" fmla="*/ 1296 h 1418"/>
                  <a:gd name="T22" fmla="*/ 293 w 304"/>
                  <a:gd name="T23" fmla="*/ 1325 h 1418"/>
                  <a:gd name="T24" fmla="*/ 278 w 304"/>
                  <a:gd name="T25" fmla="*/ 1351 h 1418"/>
                  <a:gd name="T26" fmla="*/ 260 w 304"/>
                  <a:gd name="T27" fmla="*/ 1374 h 1418"/>
                  <a:gd name="T28" fmla="*/ 237 w 304"/>
                  <a:gd name="T29" fmla="*/ 1393 h 1418"/>
                  <a:gd name="T30" fmla="*/ 212 w 304"/>
                  <a:gd name="T31" fmla="*/ 1407 h 1418"/>
                  <a:gd name="T32" fmla="*/ 183 w 304"/>
                  <a:gd name="T33" fmla="*/ 1415 h 1418"/>
                  <a:gd name="T34" fmla="*/ 153 w 304"/>
                  <a:gd name="T35" fmla="*/ 1418 h 1418"/>
                  <a:gd name="T36" fmla="*/ 121 w 304"/>
                  <a:gd name="T37" fmla="*/ 1415 h 1418"/>
                  <a:gd name="T38" fmla="*/ 93 w 304"/>
                  <a:gd name="T39" fmla="*/ 1407 h 1418"/>
                  <a:gd name="T40" fmla="*/ 67 w 304"/>
                  <a:gd name="T41" fmla="*/ 1393 h 1418"/>
                  <a:gd name="T42" fmla="*/ 44 w 304"/>
                  <a:gd name="T43" fmla="*/ 1374 h 1418"/>
                  <a:gd name="T44" fmla="*/ 26 w 304"/>
                  <a:gd name="T45" fmla="*/ 1351 h 1418"/>
                  <a:gd name="T46" fmla="*/ 11 w 304"/>
                  <a:gd name="T47" fmla="*/ 1325 h 1418"/>
                  <a:gd name="T48" fmla="*/ 3 w 304"/>
                  <a:gd name="T49" fmla="*/ 1296 h 1418"/>
                  <a:gd name="T50" fmla="*/ 0 w 304"/>
                  <a:gd name="T51" fmla="*/ 1266 h 1418"/>
                  <a:gd name="T52" fmla="*/ 0 w 304"/>
                  <a:gd name="T53" fmla="*/ 153 h 1418"/>
                  <a:gd name="T54" fmla="*/ 3 w 304"/>
                  <a:gd name="T55" fmla="*/ 122 h 1418"/>
                  <a:gd name="T56" fmla="*/ 11 w 304"/>
                  <a:gd name="T57" fmla="*/ 94 h 1418"/>
                  <a:gd name="T58" fmla="*/ 26 w 304"/>
                  <a:gd name="T59" fmla="*/ 67 h 1418"/>
                  <a:gd name="T60" fmla="*/ 44 w 304"/>
                  <a:gd name="T61" fmla="*/ 45 h 1418"/>
                  <a:gd name="T62" fmla="*/ 67 w 304"/>
                  <a:gd name="T63" fmla="*/ 26 h 1418"/>
                  <a:gd name="T64" fmla="*/ 93 w 304"/>
                  <a:gd name="T65" fmla="*/ 12 h 1418"/>
                  <a:gd name="T66" fmla="*/ 121 w 304"/>
                  <a:gd name="T67" fmla="*/ 3 h 1418"/>
                  <a:gd name="T68" fmla="*/ 153 w 304"/>
                  <a:gd name="T69" fmla="*/ 0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1418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2"/>
                    </a:lnTo>
                    <a:lnTo>
                      <a:pt x="237" y="26"/>
                    </a:lnTo>
                    <a:lnTo>
                      <a:pt x="260" y="45"/>
                    </a:lnTo>
                    <a:lnTo>
                      <a:pt x="278" y="67"/>
                    </a:lnTo>
                    <a:lnTo>
                      <a:pt x="293" y="94"/>
                    </a:lnTo>
                    <a:lnTo>
                      <a:pt x="301" y="122"/>
                    </a:lnTo>
                    <a:lnTo>
                      <a:pt x="304" y="153"/>
                    </a:lnTo>
                    <a:lnTo>
                      <a:pt x="304" y="1266"/>
                    </a:lnTo>
                    <a:lnTo>
                      <a:pt x="301" y="1296"/>
                    </a:lnTo>
                    <a:lnTo>
                      <a:pt x="293" y="1325"/>
                    </a:lnTo>
                    <a:lnTo>
                      <a:pt x="278" y="1351"/>
                    </a:lnTo>
                    <a:lnTo>
                      <a:pt x="260" y="1374"/>
                    </a:lnTo>
                    <a:lnTo>
                      <a:pt x="237" y="1393"/>
                    </a:lnTo>
                    <a:lnTo>
                      <a:pt x="212" y="1407"/>
                    </a:lnTo>
                    <a:lnTo>
                      <a:pt x="183" y="1415"/>
                    </a:lnTo>
                    <a:lnTo>
                      <a:pt x="153" y="1418"/>
                    </a:lnTo>
                    <a:lnTo>
                      <a:pt x="121" y="1415"/>
                    </a:lnTo>
                    <a:lnTo>
                      <a:pt x="93" y="1407"/>
                    </a:lnTo>
                    <a:lnTo>
                      <a:pt x="67" y="1393"/>
                    </a:lnTo>
                    <a:lnTo>
                      <a:pt x="44" y="1374"/>
                    </a:lnTo>
                    <a:lnTo>
                      <a:pt x="26" y="1351"/>
                    </a:lnTo>
                    <a:lnTo>
                      <a:pt x="11" y="1325"/>
                    </a:lnTo>
                    <a:lnTo>
                      <a:pt x="3" y="1296"/>
                    </a:lnTo>
                    <a:lnTo>
                      <a:pt x="0" y="1266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4"/>
                    </a:lnTo>
                    <a:lnTo>
                      <a:pt x="26" y="67"/>
                    </a:lnTo>
                    <a:lnTo>
                      <a:pt x="44" y="45"/>
                    </a:lnTo>
                    <a:lnTo>
                      <a:pt x="67" y="26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4" name="Freeform 206"/>
              <p:cNvSpPr>
                <a:spLocks/>
              </p:cNvSpPr>
              <p:nvPr/>
            </p:nvSpPr>
            <p:spPr bwMode="auto">
              <a:xfrm>
                <a:off x="4641" y="3393"/>
                <a:ext cx="61" cy="222"/>
              </a:xfrm>
              <a:custGeom>
                <a:avLst/>
                <a:gdLst>
                  <a:gd name="T0" fmla="*/ 153 w 305"/>
                  <a:gd name="T1" fmla="*/ 0 h 1111"/>
                  <a:gd name="T2" fmla="*/ 183 w 305"/>
                  <a:gd name="T3" fmla="*/ 3 h 1111"/>
                  <a:gd name="T4" fmla="*/ 212 w 305"/>
                  <a:gd name="T5" fmla="*/ 11 h 1111"/>
                  <a:gd name="T6" fmla="*/ 237 w 305"/>
                  <a:gd name="T7" fmla="*/ 26 h 1111"/>
                  <a:gd name="T8" fmla="*/ 260 w 305"/>
                  <a:gd name="T9" fmla="*/ 44 h 1111"/>
                  <a:gd name="T10" fmla="*/ 278 w 305"/>
                  <a:gd name="T11" fmla="*/ 68 h 1111"/>
                  <a:gd name="T12" fmla="*/ 293 w 305"/>
                  <a:gd name="T13" fmla="*/ 93 h 1111"/>
                  <a:gd name="T14" fmla="*/ 301 w 305"/>
                  <a:gd name="T15" fmla="*/ 122 h 1111"/>
                  <a:gd name="T16" fmla="*/ 305 w 305"/>
                  <a:gd name="T17" fmla="*/ 153 h 1111"/>
                  <a:gd name="T18" fmla="*/ 305 w 305"/>
                  <a:gd name="T19" fmla="*/ 959 h 1111"/>
                  <a:gd name="T20" fmla="*/ 301 w 305"/>
                  <a:gd name="T21" fmla="*/ 989 h 1111"/>
                  <a:gd name="T22" fmla="*/ 293 w 305"/>
                  <a:gd name="T23" fmla="*/ 1018 h 1111"/>
                  <a:gd name="T24" fmla="*/ 278 w 305"/>
                  <a:gd name="T25" fmla="*/ 1044 h 1111"/>
                  <a:gd name="T26" fmla="*/ 260 w 305"/>
                  <a:gd name="T27" fmla="*/ 1067 h 1111"/>
                  <a:gd name="T28" fmla="*/ 237 w 305"/>
                  <a:gd name="T29" fmla="*/ 1086 h 1111"/>
                  <a:gd name="T30" fmla="*/ 212 w 305"/>
                  <a:gd name="T31" fmla="*/ 1100 h 1111"/>
                  <a:gd name="T32" fmla="*/ 183 w 305"/>
                  <a:gd name="T33" fmla="*/ 1108 h 1111"/>
                  <a:gd name="T34" fmla="*/ 153 w 305"/>
                  <a:gd name="T35" fmla="*/ 1111 h 1111"/>
                  <a:gd name="T36" fmla="*/ 121 w 305"/>
                  <a:gd name="T37" fmla="*/ 1108 h 1111"/>
                  <a:gd name="T38" fmla="*/ 93 w 305"/>
                  <a:gd name="T39" fmla="*/ 1100 h 1111"/>
                  <a:gd name="T40" fmla="*/ 67 w 305"/>
                  <a:gd name="T41" fmla="*/ 1086 h 1111"/>
                  <a:gd name="T42" fmla="*/ 44 w 305"/>
                  <a:gd name="T43" fmla="*/ 1067 h 1111"/>
                  <a:gd name="T44" fmla="*/ 26 w 305"/>
                  <a:gd name="T45" fmla="*/ 1044 h 1111"/>
                  <a:gd name="T46" fmla="*/ 12 w 305"/>
                  <a:gd name="T47" fmla="*/ 1018 h 1111"/>
                  <a:gd name="T48" fmla="*/ 3 w 305"/>
                  <a:gd name="T49" fmla="*/ 989 h 1111"/>
                  <a:gd name="T50" fmla="*/ 0 w 305"/>
                  <a:gd name="T51" fmla="*/ 959 h 1111"/>
                  <a:gd name="T52" fmla="*/ 0 w 305"/>
                  <a:gd name="T53" fmla="*/ 153 h 1111"/>
                  <a:gd name="T54" fmla="*/ 3 w 305"/>
                  <a:gd name="T55" fmla="*/ 122 h 1111"/>
                  <a:gd name="T56" fmla="*/ 12 w 305"/>
                  <a:gd name="T57" fmla="*/ 93 h 1111"/>
                  <a:gd name="T58" fmla="*/ 26 w 305"/>
                  <a:gd name="T59" fmla="*/ 68 h 1111"/>
                  <a:gd name="T60" fmla="*/ 44 w 305"/>
                  <a:gd name="T61" fmla="*/ 44 h 1111"/>
                  <a:gd name="T62" fmla="*/ 67 w 305"/>
                  <a:gd name="T63" fmla="*/ 26 h 1111"/>
                  <a:gd name="T64" fmla="*/ 93 w 305"/>
                  <a:gd name="T65" fmla="*/ 11 h 1111"/>
                  <a:gd name="T66" fmla="*/ 121 w 305"/>
                  <a:gd name="T67" fmla="*/ 3 h 1111"/>
                  <a:gd name="T68" fmla="*/ 153 w 305"/>
                  <a:gd name="T69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5" h="1111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1"/>
                    </a:lnTo>
                    <a:lnTo>
                      <a:pt x="237" y="26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5" y="153"/>
                    </a:lnTo>
                    <a:lnTo>
                      <a:pt x="305" y="959"/>
                    </a:lnTo>
                    <a:lnTo>
                      <a:pt x="301" y="989"/>
                    </a:lnTo>
                    <a:lnTo>
                      <a:pt x="293" y="1018"/>
                    </a:lnTo>
                    <a:lnTo>
                      <a:pt x="278" y="1044"/>
                    </a:lnTo>
                    <a:lnTo>
                      <a:pt x="260" y="1067"/>
                    </a:lnTo>
                    <a:lnTo>
                      <a:pt x="237" y="1086"/>
                    </a:lnTo>
                    <a:lnTo>
                      <a:pt x="212" y="1100"/>
                    </a:lnTo>
                    <a:lnTo>
                      <a:pt x="183" y="1108"/>
                    </a:lnTo>
                    <a:lnTo>
                      <a:pt x="153" y="1111"/>
                    </a:lnTo>
                    <a:lnTo>
                      <a:pt x="121" y="1108"/>
                    </a:lnTo>
                    <a:lnTo>
                      <a:pt x="93" y="1100"/>
                    </a:lnTo>
                    <a:lnTo>
                      <a:pt x="67" y="1086"/>
                    </a:lnTo>
                    <a:lnTo>
                      <a:pt x="44" y="1067"/>
                    </a:lnTo>
                    <a:lnTo>
                      <a:pt x="26" y="1044"/>
                    </a:lnTo>
                    <a:lnTo>
                      <a:pt x="12" y="1018"/>
                    </a:lnTo>
                    <a:lnTo>
                      <a:pt x="3" y="989"/>
                    </a:lnTo>
                    <a:lnTo>
                      <a:pt x="0" y="959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2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6"/>
                    </a:lnTo>
                    <a:lnTo>
                      <a:pt x="93" y="11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5" name="Freeform 207"/>
              <p:cNvSpPr>
                <a:spLocks/>
              </p:cNvSpPr>
              <p:nvPr/>
            </p:nvSpPr>
            <p:spPr bwMode="auto">
              <a:xfrm>
                <a:off x="4176" y="3520"/>
                <a:ext cx="223" cy="225"/>
              </a:xfrm>
              <a:custGeom>
                <a:avLst/>
                <a:gdLst>
                  <a:gd name="T0" fmla="*/ 1085 w 1117"/>
                  <a:gd name="T1" fmla="*/ 0 h 1123"/>
                  <a:gd name="T2" fmla="*/ 1106 w 1117"/>
                  <a:gd name="T3" fmla="*/ 10 h 1123"/>
                  <a:gd name="T4" fmla="*/ 1117 w 1117"/>
                  <a:gd name="T5" fmla="*/ 31 h 1123"/>
                  <a:gd name="T6" fmla="*/ 1113 w 1117"/>
                  <a:gd name="T7" fmla="*/ 53 h 1123"/>
                  <a:gd name="T8" fmla="*/ 1104 w 1117"/>
                  <a:gd name="T9" fmla="*/ 66 h 1123"/>
                  <a:gd name="T10" fmla="*/ 1089 w 1117"/>
                  <a:gd name="T11" fmla="*/ 82 h 1123"/>
                  <a:gd name="T12" fmla="*/ 1062 w 1117"/>
                  <a:gd name="T13" fmla="*/ 112 h 1123"/>
                  <a:gd name="T14" fmla="*/ 1023 w 1117"/>
                  <a:gd name="T15" fmla="*/ 155 h 1123"/>
                  <a:gd name="T16" fmla="*/ 973 w 1117"/>
                  <a:gd name="T17" fmla="*/ 209 h 1123"/>
                  <a:gd name="T18" fmla="*/ 917 w 1117"/>
                  <a:gd name="T19" fmla="*/ 272 h 1123"/>
                  <a:gd name="T20" fmla="*/ 853 w 1117"/>
                  <a:gd name="T21" fmla="*/ 342 h 1123"/>
                  <a:gd name="T22" fmla="*/ 785 w 1117"/>
                  <a:gd name="T23" fmla="*/ 417 h 1123"/>
                  <a:gd name="T24" fmla="*/ 712 w 1117"/>
                  <a:gd name="T25" fmla="*/ 497 h 1123"/>
                  <a:gd name="T26" fmla="*/ 640 w 1117"/>
                  <a:gd name="T27" fmla="*/ 577 h 1123"/>
                  <a:gd name="T28" fmla="*/ 566 w 1117"/>
                  <a:gd name="T29" fmla="*/ 658 h 1123"/>
                  <a:gd name="T30" fmla="*/ 494 w 1117"/>
                  <a:gd name="T31" fmla="*/ 737 h 1123"/>
                  <a:gd name="T32" fmla="*/ 425 w 1117"/>
                  <a:gd name="T33" fmla="*/ 813 h 1123"/>
                  <a:gd name="T34" fmla="*/ 361 w 1117"/>
                  <a:gd name="T35" fmla="*/ 884 h 1123"/>
                  <a:gd name="T36" fmla="*/ 303 w 1117"/>
                  <a:gd name="T37" fmla="*/ 946 h 1123"/>
                  <a:gd name="T38" fmla="*/ 254 w 1117"/>
                  <a:gd name="T39" fmla="*/ 1001 h 1123"/>
                  <a:gd name="T40" fmla="*/ 215 w 1117"/>
                  <a:gd name="T41" fmla="*/ 1045 h 1123"/>
                  <a:gd name="T42" fmla="*/ 186 w 1117"/>
                  <a:gd name="T43" fmla="*/ 1076 h 1123"/>
                  <a:gd name="T44" fmla="*/ 171 w 1117"/>
                  <a:gd name="T45" fmla="*/ 1093 h 1123"/>
                  <a:gd name="T46" fmla="*/ 151 w 1117"/>
                  <a:gd name="T47" fmla="*/ 1110 h 1123"/>
                  <a:gd name="T48" fmla="*/ 110 w 1117"/>
                  <a:gd name="T49" fmla="*/ 1123 h 1123"/>
                  <a:gd name="T50" fmla="*/ 66 w 1117"/>
                  <a:gd name="T51" fmla="*/ 1119 h 1123"/>
                  <a:gd name="T52" fmla="*/ 28 w 1117"/>
                  <a:gd name="T53" fmla="*/ 1095 h 1123"/>
                  <a:gd name="T54" fmla="*/ 5 w 1117"/>
                  <a:gd name="T55" fmla="*/ 1057 h 1123"/>
                  <a:gd name="T56" fmla="*/ 0 w 1117"/>
                  <a:gd name="T57" fmla="*/ 1013 h 1123"/>
                  <a:gd name="T58" fmla="*/ 14 w 1117"/>
                  <a:gd name="T59" fmla="*/ 972 h 1123"/>
                  <a:gd name="T60" fmla="*/ 31 w 1117"/>
                  <a:gd name="T61" fmla="*/ 952 h 1123"/>
                  <a:gd name="T62" fmla="*/ 47 w 1117"/>
                  <a:gd name="T63" fmla="*/ 936 h 1123"/>
                  <a:gd name="T64" fmla="*/ 78 w 1117"/>
                  <a:gd name="T65" fmla="*/ 908 h 1123"/>
                  <a:gd name="T66" fmla="*/ 122 w 1117"/>
                  <a:gd name="T67" fmla="*/ 868 h 1123"/>
                  <a:gd name="T68" fmla="*/ 176 w 1117"/>
                  <a:gd name="T69" fmla="*/ 818 h 1123"/>
                  <a:gd name="T70" fmla="*/ 238 w 1117"/>
                  <a:gd name="T71" fmla="*/ 761 h 1123"/>
                  <a:gd name="T72" fmla="*/ 309 w 1117"/>
                  <a:gd name="T73" fmla="*/ 696 h 1123"/>
                  <a:gd name="T74" fmla="*/ 383 w 1117"/>
                  <a:gd name="T75" fmla="*/ 627 h 1123"/>
                  <a:gd name="T76" fmla="*/ 463 w 1117"/>
                  <a:gd name="T77" fmla="*/ 554 h 1123"/>
                  <a:gd name="T78" fmla="*/ 543 w 1117"/>
                  <a:gd name="T79" fmla="*/ 481 h 1123"/>
                  <a:gd name="T80" fmla="*/ 623 w 1117"/>
                  <a:gd name="T81" fmla="*/ 406 h 1123"/>
                  <a:gd name="T82" fmla="*/ 702 w 1117"/>
                  <a:gd name="T83" fmla="*/ 334 h 1123"/>
                  <a:gd name="T84" fmla="*/ 776 w 1117"/>
                  <a:gd name="T85" fmla="*/ 265 h 1123"/>
                  <a:gd name="T86" fmla="*/ 846 w 1117"/>
                  <a:gd name="T87" fmla="*/ 201 h 1123"/>
                  <a:gd name="T88" fmla="*/ 908 w 1117"/>
                  <a:gd name="T89" fmla="*/ 143 h 1123"/>
                  <a:gd name="T90" fmla="*/ 962 w 1117"/>
                  <a:gd name="T91" fmla="*/ 95 h 1123"/>
                  <a:gd name="T92" fmla="*/ 1005 w 1117"/>
                  <a:gd name="T93" fmla="*/ 54 h 1123"/>
                  <a:gd name="T94" fmla="*/ 1036 w 1117"/>
                  <a:gd name="T95" fmla="*/ 27 h 1123"/>
                  <a:gd name="T96" fmla="*/ 1051 w 1117"/>
                  <a:gd name="T97" fmla="*/ 12 h 1123"/>
                  <a:gd name="T98" fmla="*/ 1063 w 1117"/>
                  <a:gd name="T99" fmla="*/ 3 h 1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17" h="1123">
                    <a:moveTo>
                      <a:pt x="1074" y="0"/>
                    </a:moveTo>
                    <a:lnTo>
                      <a:pt x="1085" y="0"/>
                    </a:lnTo>
                    <a:lnTo>
                      <a:pt x="1096" y="3"/>
                    </a:lnTo>
                    <a:lnTo>
                      <a:pt x="1106" y="10"/>
                    </a:lnTo>
                    <a:lnTo>
                      <a:pt x="1113" y="20"/>
                    </a:lnTo>
                    <a:lnTo>
                      <a:pt x="1117" y="31"/>
                    </a:lnTo>
                    <a:lnTo>
                      <a:pt x="1117" y="43"/>
                    </a:lnTo>
                    <a:lnTo>
                      <a:pt x="1113" y="53"/>
                    </a:lnTo>
                    <a:lnTo>
                      <a:pt x="1106" y="64"/>
                    </a:lnTo>
                    <a:lnTo>
                      <a:pt x="1104" y="66"/>
                    </a:lnTo>
                    <a:lnTo>
                      <a:pt x="1099" y="71"/>
                    </a:lnTo>
                    <a:lnTo>
                      <a:pt x="1089" y="82"/>
                    </a:lnTo>
                    <a:lnTo>
                      <a:pt x="1077" y="96"/>
                    </a:lnTo>
                    <a:lnTo>
                      <a:pt x="1062" y="112"/>
                    </a:lnTo>
                    <a:lnTo>
                      <a:pt x="1043" y="132"/>
                    </a:lnTo>
                    <a:lnTo>
                      <a:pt x="1023" y="155"/>
                    </a:lnTo>
                    <a:lnTo>
                      <a:pt x="999" y="181"/>
                    </a:lnTo>
                    <a:lnTo>
                      <a:pt x="973" y="209"/>
                    </a:lnTo>
                    <a:lnTo>
                      <a:pt x="946" y="240"/>
                    </a:lnTo>
                    <a:lnTo>
                      <a:pt x="917" y="272"/>
                    </a:lnTo>
                    <a:lnTo>
                      <a:pt x="885" y="306"/>
                    </a:lnTo>
                    <a:lnTo>
                      <a:pt x="853" y="342"/>
                    </a:lnTo>
                    <a:lnTo>
                      <a:pt x="820" y="379"/>
                    </a:lnTo>
                    <a:lnTo>
                      <a:pt x="785" y="417"/>
                    </a:lnTo>
                    <a:lnTo>
                      <a:pt x="749" y="456"/>
                    </a:lnTo>
                    <a:lnTo>
                      <a:pt x="712" y="497"/>
                    </a:lnTo>
                    <a:lnTo>
                      <a:pt x="676" y="537"/>
                    </a:lnTo>
                    <a:lnTo>
                      <a:pt x="640" y="577"/>
                    </a:lnTo>
                    <a:lnTo>
                      <a:pt x="603" y="617"/>
                    </a:lnTo>
                    <a:lnTo>
                      <a:pt x="566" y="658"/>
                    </a:lnTo>
                    <a:lnTo>
                      <a:pt x="529" y="698"/>
                    </a:lnTo>
                    <a:lnTo>
                      <a:pt x="494" y="737"/>
                    </a:lnTo>
                    <a:lnTo>
                      <a:pt x="458" y="776"/>
                    </a:lnTo>
                    <a:lnTo>
                      <a:pt x="425" y="813"/>
                    </a:lnTo>
                    <a:lnTo>
                      <a:pt x="392" y="849"/>
                    </a:lnTo>
                    <a:lnTo>
                      <a:pt x="361" y="884"/>
                    </a:lnTo>
                    <a:lnTo>
                      <a:pt x="332" y="917"/>
                    </a:lnTo>
                    <a:lnTo>
                      <a:pt x="303" y="946"/>
                    </a:lnTo>
                    <a:lnTo>
                      <a:pt x="278" y="975"/>
                    </a:lnTo>
                    <a:lnTo>
                      <a:pt x="254" y="1001"/>
                    </a:lnTo>
                    <a:lnTo>
                      <a:pt x="233" y="1024"/>
                    </a:lnTo>
                    <a:lnTo>
                      <a:pt x="215" y="1045"/>
                    </a:lnTo>
                    <a:lnTo>
                      <a:pt x="199" y="1062"/>
                    </a:lnTo>
                    <a:lnTo>
                      <a:pt x="186" y="1076"/>
                    </a:lnTo>
                    <a:lnTo>
                      <a:pt x="177" y="1086"/>
                    </a:lnTo>
                    <a:lnTo>
                      <a:pt x="171" y="1093"/>
                    </a:lnTo>
                    <a:lnTo>
                      <a:pt x="169" y="1095"/>
                    </a:lnTo>
                    <a:lnTo>
                      <a:pt x="151" y="1110"/>
                    </a:lnTo>
                    <a:lnTo>
                      <a:pt x="131" y="1119"/>
                    </a:lnTo>
                    <a:lnTo>
                      <a:pt x="110" y="1123"/>
                    </a:lnTo>
                    <a:lnTo>
                      <a:pt x="87" y="1123"/>
                    </a:lnTo>
                    <a:lnTo>
                      <a:pt x="66" y="1119"/>
                    </a:lnTo>
                    <a:lnTo>
                      <a:pt x="46" y="1110"/>
                    </a:lnTo>
                    <a:lnTo>
                      <a:pt x="28" y="1095"/>
                    </a:lnTo>
                    <a:lnTo>
                      <a:pt x="14" y="1077"/>
                    </a:lnTo>
                    <a:lnTo>
                      <a:pt x="5" y="1057"/>
                    </a:lnTo>
                    <a:lnTo>
                      <a:pt x="0" y="1035"/>
                    </a:lnTo>
                    <a:lnTo>
                      <a:pt x="0" y="1013"/>
                    </a:lnTo>
                    <a:lnTo>
                      <a:pt x="5" y="992"/>
                    </a:lnTo>
                    <a:lnTo>
                      <a:pt x="14" y="972"/>
                    </a:lnTo>
                    <a:lnTo>
                      <a:pt x="28" y="954"/>
                    </a:lnTo>
                    <a:lnTo>
                      <a:pt x="31" y="952"/>
                    </a:lnTo>
                    <a:lnTo>
                      <a:pt x="37" y="945"/>
                    </a:lnTo>
                    <a:lnTo>
                      <a:pt x="47" y="936"/>
                    </a:lnTo>
                    <a:lnTo>
                      <a:pt x="61" y="924"/>
                    </a:lnTo>
                    <a:lnTo>
                      <a:pt x="78" y="908"/>
                    </a:lnTo>
                    <a:lnTo>
                      <a:pt x="99" y="889"/>
                    </a:lnTo>
                    <a:lnTo>
                      <a:pt x="122" y="868"/>
                    </a:lnTo>
                    <a:lnTo>
                      <a:pt x="147" y="844"/>
                    </a:lnTo>
                    <a:lnTo>
                      <a:pt x="176" y="818"/>
                    </a:lnTo>
                    <a:lnTo>
                      <a:pt x="206" y="790"/>
                    </a:lnTo>
                    <a:lnTo>
                      <a:pt x="238" y="761"/>
                    </a:lnTo>
                    <a:lnTo>
                      <a:pt x="273" y="729"/>
                    </a:lnTo>
                    <a:lnTo>
                      <a:pt x="309" y="696"/>
                    </a:lnTo>
                    <a:lnTo>
                      <a:pt x="346" y="662"/>
                    </a:lnTo>
                    <a:lnTo>
                      <a:pt x="383" y="627"/>
                    </a:lnTo>
                    <a:lnTo>
                      <a:pt x="422" y="591"/>
                    </a:lnTo>
                    <a:lnTo>
                      <a:pt x="463" y="554"/>
                    </a:lnTo>
                    <a:lnTo>
                      <a:pt x="503" y="518"/>
                    </a:lnTo>
                    <a:lnTo>
                      <a:pt x="543" y="481"/>
                    </a:lnTo>
                    <a:lnTo>
                      <a:pt x="583" y="444"/>
                    </a:lnTo>
                    <a:lnTo>
                      <a:pt x="623" y="406"/>
                    </a:lnTo>
                    <a:lnTo>
                      <a:pt x="663" y="369"/>
                    </a:lnTo>
                    <a:lnTo>
                      <a:pt x="702" y="334"/>
                    </a:lnTo>
                    <a:lnTo>
                      <a:pt x="740" y="299"/>
                    </a:lnTo>
                    <a:lnTo>
                      <a:pt x="776" y="265"/>
                    </a:lnTo>
                    <a:lnTo>
                      <a:pt x="812" y="232"/>
                    </a:lnTo>
                    <a:lnTo>
                      <a:pt x="846" y="201"/>
                    </a:lnTo>
                    <a:lnTo>
                      <a:pt x="879" y="171"/>
                    </a:lnTo>
                    <a:lnTo>
                      <a:pt x="908" y="143"/>
                    </a:lnTo>
                    <a:lnTo>
                      <a:pt x="937" y="118"/>
                    </a:lnTo>
                    <a:lnTo>
                      <a:pt x="962" y="95"/>
                    </a:lnTo>
                    <a:lnTo>
                      <a:pt x="985" y="73"/>
                    </a:lnTo>
                    <a:lnTo>
                      <a:pt x="1005" y="54"/>
                    </a:lnTo>
                    <a:lnTo>
                      <a:pt x="1022" y="39"/>
                    </a:lnTo>
                    <a:lnTo>
                      <a:pt x="1036" y="27"/>
                    </a:lnTo>
                    <a:lnTo>
                      <a:pt x="1045" y="18"/>
                    </a:lnTo>
                    <a:lnTo>
                      <a:pt x="1051" y="12"/>
                    </a:lnTo>
                    <a:lnTo>
                      <a:pt x="1054" y="10"/>
                    </a:lnTo>
                    <a:lnTo>
                      <a:pt x="1063" y="3"/>
                    </a:lnTo>
                    <a:lnTo>
                      <a:pt x="107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76" name="Group 175"/>
          <p:cNvGrpSpPr/>
          <p:nvPr/>
        </p:nvGrpSpPr>
        <p:grpSpPr>
          <a:xfrm>
            <a:off x="147993" y="4656843"/>
            <a:ext cx="727877" cy="613335"/>
            <a:chOff x="147993" y="5080087"/>
            <a:chExt cx="727877" cy="613335"/>
          </a:xfrm>
        </p:grpSpPr>
        <p:sp>
          <p:nvSpPr>
            <p:cNvPr id="177" name="Rectangle 17"/>
            <p:cNvSpPr>
              <a:spLocks/>
            </p:cNvSpPr>
            <p:nvPr/>
          </p:nvSpPr>
          <p:spPr bwMode="auto">
            <a:xfrm>
              <a:off x="147993" y="5324090"/>
              <a:ext cx="72787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Объекты инфраструктуры / карты</a:t>
              </a:r>
            </a:p>
          </p:txBody>
        </p:sp>
        <p:grpSp>
          <p:nvGrpSpPr>
            <p:cNvPr id="178" name="Group 177"/>
            <p:cNvGrpSpPr/>
            <p:nvPr/>
          </p:nvGrpSpPr>
          <p:grpSpPr>
            <a:xfrm>
              <a:off x="365905" y="5080087"/>
              <a:ext cx="233576" cy="214640"/>
              <a:chOff x="-1831145" y="1063685"/>
              <a:chExt cx="488634" cy="449020"/>
            </a:xfrm>
            <a:solidFill>
              <a:schemeClr val="bg1"/>
            </a:solidFill>
          </p:grpSpPr>
          <p:sp>
            <p:nvSpPr>
              <p:cNvPr id="179" name="Freeform 7"/>
              <p:cNvSpPr>
                <a:spLocks/>
              </p:cNvSpPr>
              <p:nvPr/>
            </p:nvSpPr>
            <p:spPr bwMode="auto">
              <a:xfrm>
                <a:off x="-1793165" y="1260323"/>
                <a:ext cx="210523" cy="127008"/>
              </a:xfrm>
              <a:custGeom>
                <a:avLst/>
                <a:gdLst>
                  <a:gd name="T0" fmla="*/ 396 w 2061"/>
                  <a:gd name="T1" fmla="*/ 0 h 1245"/>
                  <a:gd name="T2" fmla="*/ 1816 w 2061"/>
                  <a:gd name="T3" fmla="*/ 0 h 1245"/>
                  <a:gd name="T4" fmla="*/ 1869 w 2061"/>
                  <a:gd name="T5" fmla="*/ 137 h 1245"/>
                  <a:gd name="T6" fmla="*/ 1928 w 2061"/>
                  <a:gd name="T7" fmla="*/ 271 h 1245"/>
                  <a:gd name="T8" fmla="*/ 1993 w 2061"/>
                  <a:gd name="T9" fmla="*/ 402 h 1245"/>
                  <a:gd name="T10" fmla="*/ 2061 w 2061"/>
                  <a:gd name="T11" fmla="*/ 528 h 1245"/>
                  <a:gd name="T12" fmla="*/ 1912 w 2061"/>
                  <a:gd name="T13" fmla="*/ 1245 h 1245"/>
                  <a:gd name="T14" fmla="*/ 0 w 2061"/>
                  <a:gd name="T15" fmla="*/ 1037 h 1245"/>
                  <a:gd name="T16" fmla="*/ 272 w 2061"/>
                  <a:gd name="T17" fmla="*/ 93 h 1245"/>
                  <a:gd name="T18" fmla="*/ 284 w 2061"/>
                  <a:gd name="T19" fmla="*/ 67 h 1245"/>
                  <a:gd name="T20" fmla="*/ 299 w 2061"/>
                  <a:gd name="T21" fmla="*/ 45 h 1245"/>
                  <a:gd name="T22" fmla="*/ 319 w 2061"/>
                  <a:gd name="T23" fmla="*/ 26 h 1245"/>
                  <a:gd name="T24" fmla="*/ 342 w 2061"/>
                  <a:gd name="T25" fmla="*/ 13 h 1245"/>
                  <a:gd name="T26" fmla="*/ 368 w 2061"/>
                  <a:gd name="T27" fmla="*/ 5 h 1245"/>
                  <a:gd name="T28" fmla="*/ 396 w 2061"/>
                  <a:gd name="T29" fmla="*/ 0 h 1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61" h="1245">
                    <a:moveTo>
                      <a:pt x="396" y="0"/>
                    </a:moveTo>
                    <a:lnTo>
                      <a:pt x="1816" y="0"/>
                    </a:lnTo>
                    <a:lnTo>
                      <a:pt x="1869" y="137"/>
                    </a:lnTo>
                    <a:lnTo>
                      <a:pt x="1928" y="271"/>
                    </a:lnTo>
                    <a:lnTo>
                      <a:pt x="1993" y="402"/>
                    </a:lnTo>
                    <a:lnTo>
                      <a:pt x="2061" y="528"/>
                    </a:lnTo>
                    <a:lnTo>
                      <a:pt x="1912" y="1245"/>
                    </a:lnTo>
                    <a:lnTo>
                      <a:pt x="0" y="1037"/>
                    </a:lnTo>
                    <a:lnTo>
                      <a:pt x="272" y="93"/>
                    </a:lnTo>
                    <a:lnTo>
                      <a:pt x="284" y="67"/>
                    </a:lnTo>
                    <a:lnTo>
                      <a:pt x="299" y="45"/>
                    </a:lnTo>
                    <a:lnTo>
                      <a:pt x="319" y="26"/>
                    </a:lnTo>
                    <a:lnTo>
                      <a:pt x="342" y="13"/>
                    </a:lnTo>
                    <a:lnTo>
                      <a:pt x="368" y="5"/>
                    </a:lnTo>
                    <a:lnTo>
                      <a:pt x="3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0" name="Freeform 8"/>
              <p:cNvSpPr>
                <a:spLocks/>
              </p:cNvSpPr>
              <p:nvPr/>
            </p:nvSpPr>
            <p:spPr bwMode="auto">
              <a:xfrm>
                <a:off x="-1425618" y="1352209"/>
                <a:ext cx="58603" cy="60645"/>
              </a:xfrm>
              <a:custGeom>
                <a:avLst/>
                <a:gdLst>
                  <a:gd name="T0" fmla="*/ 403 w 575"/>
                  <a:gd name="T1" fmla="*/ 0 h 593"/>
                  <a:gd name="T2" fmla="*/ 575 w 575"/>
                  <a:gd name="T3" fmla="*/ 593 h 593"/>
                  <a:gd name="T4" fmla="*/ 0 w 575"/>
                  <a:gd name="T5" fmla="*/ 531 h 593"/>
                  <a:gd name="T6" fmla="*/ 63 w 575"/>
                  <a:gd name="T7" fmla="*/ 453 h 593"/>
                  <a:gd name="T8" fmla="*/ 128 w 575"/>
                  <a:gd name="T9" fmla="*/ 372 h 593"/>
                  <a:gd name="T10" fmla="*/ 197 w 575"/>
                  <a:gd name="T11" fmla="*/ 285 h 593"/>
                  <a:gd name="T12" fmla="*/ 265 w 575"/>
                  <a:gd name="T13" fmla="*/ 195 h 593"/>
                  <a:gd name="T14" fmla="*/ 335 w 575"/>
                  <a:gd name="T15" fmla="*/ 99 h 593"/>
                  <a:gd name="T16" fmla="*/ 403 w 575"/>
                  <a:gd name="T17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5" h="593">
                    <a:moveTo>
                      <a:pt x="403" y="0"/>
                    </a:moveTo>
                    <a:lnTo>
                      <a:pt x="575" y="593"/>
                    </a:lnTo>
                    <a:lnTo>
                      <a:pt x="0" y="531"/>
                    </a:lnTo>
                    <a:lnTo>
                      <a:pt x="63" y="453"/>
                    </a:lnTo>
                    <a:lnTo>
                      <a:pt x="128" y="372"/>
                    </a:lnTo>
                    <a:lnTo>
                      <a:pt x="197" y="285"/>
                    </a:lnTo>
                    <a:lnTo>
                      <a:pt x="265" y="195"/>
                    </a:lnTo>
                    <a:lnTo>
                      <a:pt x="335" y="99"/>
                    </a:lnTo>
                    <a:lnTo>
                      <a:pt x="4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1" name="Freeform 9"/>
              <p:cNvSpPr>
                <a:spLocks/>
              </p:cNvSpPr>
              <p:nvPr/>
            </p:nvSpPr>
            <p:spPr bwMode="auto">
              <a:xfrm>
                <a:off x="-1558956" y="1361602"/>
                <a:ext cx="31854" cy="33692"/>
              </a:xfrm>
              <a:custGeom>
                <a:avLst/>
                <a:gdLst>
                  <a:gd name="T0" fmla="*/ 63 w 311"/>
                  <a:gd name="T1" fmla="*/ 0 h 328"/>
                  <a:gd name="T2" fmla="*/ 67 w 311"/>
                  <a:gd name="T3" fmla="*/ 6 h 328"/>
                  <a:gd name="T4" fmla="*/ 150 w 311"/>
                  <a:gd name="T5" fmla="*/ 120 h 328"/>
                  <a:gd name="T6" fmla="*/ 231 w 311"/>
                  <a:gd name="T7" fmla="*/ 227 h 328"/>
                  <a:gd name="T8" fmla="*/ 311 w 311"/>
                  <a:gd name="T9" fmla="*/ 328 h 328"/>
                  <a:gd name="T10" fmla="*/ 0 w 311"/>
                  <a:gd name="T11" fmla="*/ 294 h 328"/>
                  <a:gd name="T12" fmla="*/ 63 w 311"/>
                  <a:gd name="T13" fmla="*/ 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1" h="328">
                    <a:moveTo>
                      <a:pt x="63" y="0"/>
                    </a:moveTo>
                    <a:lnTo>
                      <a:pt x="67" y="6"/>
                    </a:lnTo>
                    <a:lnTo>
                      <a:pt x="150" y="120"/>
                    </a:lnTo>
                    <a:lnTo>
                      <a:pt x="231" y="227"/>
                    </a:lnTo>
                    <a:lnTo>
                      <a:pt x="311" y="328"/>
                    </a:lnTo>
                    <a:lnTo>
                      <a:pt x="0" y="294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2" name="Freeform 10"/>
              <p:cNvSpPr>
                <a:spLocks/>
              </p:cNvSpPr>
              <p:nvPr/>
            </p:nvSpPr>
            <p:spPr bwMode="auto">
              <a:xfrm>
                <a:off x="-1831145" y="1404279"/>
                <a:ext cx="225021" cy="108426"/>
              </a:xfrm>
              <a:custGeom>
                <a:avLst/>
                <a:gdLst>
                  <a:gd name="T0" fmla="*/ 265 w 2204"/>
                  <a:gd name="T1" fmla="*/ 0 h 1062"/>
                  <a:gd name="T2" fmla="*/ 2204 w 2204"/>
                  <a:gd name="T3" fmla="*/ 213 h 1062"/>
                  <a:gd name="T4" fmla="*/ 2026 w 2204"/>
                  <a:gd name="T5" fmla="*/ 1062 h 1062"/>
                  <a:gd name="T6" fmla="*/ 128 w 2204"/>
                  <a:gd name="T7" fmla="*/ 1062 h 1062"/>
                  <a:gd name="T8" fmla="*/ 99 w 2204"/>
                  <a:gd name="T9" fmla="*/ 1059 h 1062"/>
                  <a:gd name="T10" fmla="*/ 71 w 2204"/>
                  <a:gd name="T11" fmla="*/ 1049 h 1062"/>
                  <a:gd name="T12" fmla="*/ 47 w 2204"/>
                  <a:gd name="T13" fmla="*/ 1033 h 1062"/>
                  <a:gd name="T14" fmla="*/ 26 w 2204"/>
                  <a:gd name="T15" fmla="*/ 1011 h 1062"/>
                  <a:gd name="T16" fmla="*/ 10 w 2204"/>
                  <a:gd name="T17" fmla="*/ 985 h 1062"/>
                  <a:gd name="T18" fmla="*/ 1 w 2204"/>
                  <a:gd name="T19" fmla="*/ 957 h 1062"/>
                  <a:gd name="T20" fmla="*/ 0 w 2204"/>
                  <a:gd name="T21" fmla="*/ 928 h 1062"/>
                  <a:gd name="T22" fmla="*/ 4 w 2204"/>
                  <a:gd name="T23" fmla="*/ 899 h 1062"/>
                  <a:gd name="T24" fmla="*/ 265 w 2204"/>
                  <a:gd name="T25" fmla="*/ 0 h 10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04" h="1062">
                    <a:moveTo>
                      <a:pt x="265" y="0"/>
                    </a:moveTo>
                    <a:lnTo>
                      <a:pt x="2204" y="213"/>
                    </a:lnTo>
                    <a:lnTo>
                      <a:pt x="2026" y="1062"/>
                    </a:lnTo>
                    <a:lnTo>
                      <a:pt x="128" y="1062"/>
                    </a:lnTo>
                    <a:lnTo>
                      <a:pt x="99" y="1059"/>
                    </a:lnTo>
                    <a:lnTo>
                      <a:pt x="71" y="1049"/>
                    </a:lnTo>
                    <a:lnTo>
                      <a:pt x="47" y="1033"/>
                    </a:lnTo>
                    <a:lnTo>
                      <a:pt x="26" y="1011"/>
                    </a:lnTo>
                    <a:lnTo>
                      <a:pt x="10" y="985"/>
                    </a:lnTo>
                    <a:lnTo>
                      <a:pt x="1" y="957"/>
                    </a:lnTo>
                    <a:lnTo>
                      <a:pt x="0" y="928"/>
                    </a:lnTo>
                    <a:lnTo>
                      <a:pt x="4" y="899"/>
                    </a:lnTo>
                    <a:lnTo>
                      <a:pt x="2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3" name="Freeform 11"/>
              <p:cNvSpPr>
                <a:spLocks/>
              </p:cNvSpPr>
              <p:nvPr/>
            </p:nvSpPr>
            <p:spPr bwMode="auto">
              <a:xfrm>
                <a:off x="-1584276" y="1430211"/>
                <a:ext cx="241765" cy="82494"/>
              </a:xfrm>
              <a:custGeom>
                <a:avLst/>
                <a:gdLst>
                  <a:gd name="T0" fmla="*/ 169 w 2368"/>
                  <a:gd name="T1" fmla="*/ 0 h 807"/>
                  <a:gd name="T2" fmla="*/ 2243 w 2368"/>
                  <a:gd name="T3" fmla="*/ 227 h 807"/>
                  <a:gd name="T4" fmla="*/ 2361 w 2368"/>
                  <a:gd name="T5" fmla="*/ 635 h 807"/>
                  <a:gd name="T6" fmla="*/ 2366 w 2368"/>
                  <a:gd name="T7" fmla="*/ 657 h 807"/>
                  <a:gd name="T8" fmla="*/ 2368 w 2368"/>
                  <a:gd name="T9" fmla="*/ 679 h 807"/>
                  <a:gd name="T10" fmla="*/ 2365 w 2368"/>
                  <a:gd name="T11" fmla="*/ 708 h 807"/>
                  <a:gd name="T12" fmla="*/ 2355 w 2368"/>
                  <a:gd name="T13" fmla="*/ 736 h 807"/>
                  <a:gd name="T14" fmla="*/ 2340 w 2368"/>
                  <a:gd name="T15" fmla="*/ 759 h 807"/>
                  <a:gd name="T16" fmla="*/ 2320 w 2368"/>
                  <a:gd name="T17" fmla="*/ 779 h 807"/>
                  <a:gd name="T18" fmla="*/ 2297 w 2368"/>
                  <a:gd name="T19" fmla="*/ 794 h 807"/>
                  <a:gd name="T20" fmla="*/ 2269 w 2368"/>
                  <a:gd name="T21" fmla="*/ 804 h 807"/>
                  <a:gd name="T22" fmla="*/ 2240 w 2368"/>
                  <a:gd name="T23" fmla="*/ 807 h 807"/>
                  <a:gd name="T24" fmla="*/ 0 w 2368"/>
                  <a:gd name="T25" fmla="*/ 807 h 807"/>
                  <a:gd name="T26" fmla="*/ 169 w 2368"/>
                  <a:gd name="T27" fmla="*/ 0 h 8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68" h="807">
                    <a:moveTo>
                      <a:pt x="169" y="0"/>
                    </a:moveTo>
                    <a:lnTo>
                      <a:pt x="2243" y="227"/>
                    </a:lnTo>
                    <a:lnTo>
                      <a:pt x="2361" y="635"/>
                    </a:lnTo>
                    <a:lnTo>
                      <a:pt x="2366" y="657"/>
                    </a:lnTo>
                    <a:lnTo>
                      <a:pt x="2368" y="679"/>
                    </a:lnTo>
                    <a:lnTo>
                      <a:pt x="2365" y="708"/>
                    </a:lnTo>
                    <a:lnTo>
                      <a:pt x="2355" y="736"/>
                    </a:lnTo>
                    <a:lnTo>
                      <a:pt x="2340" y="759"/>
                    </a:lnTo>
                    <a:lnTo>
                      <a:pt x="2320" y="779"/>
                    </a:lnTo>
                    <a:lnTo>
                      <a:pt x="2297" y="794"/>
                    </a:lnTo>
                    <a:lnTo>
                      <a:pt x="2269" y="804"/>
                    </a:lnTo>
                    <a:lnTo>
                      <a:pt x="2240" y="807"/>
                    </a:lnTo>
                    <a:lnTo>
                      <a:pt x="0" y="807"/>
                    </a:lnTo>
                    <a:lnTo>
                      <a:pt x="1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4" name="Freeform 12"/>
              <p:cNvSpPr>
                <a:spLocks noEditPoints="1"/>
              </p:cNvSpPr>
              <p:nvPr/>
            </p:nvSpPr>
            <p:spPr bwMode="auto">
              <a:xfrm>
                <a:off x="-1601224" y="1063685"/>
                <a:ext cx="258713" cy="361625"/>
              </a:xfrm>
              <a:custGeom>
                <a:avLst/>
                <a:gdLst>
                  <a:gd name="T0" fmla="*/ 1102 w 2535"/>
                  <a:gd name="T1" fmla="*/ 494 h 3540"/>
                  <a:gd name="T2" fmla="*/ 877 w 2535"/>
                  <a:gd name="T3" fmla="*/ 583 h 3540"/>
                  <a:gd name="T4" fmla="*/ 693 w 2535"/>
                  <a:gd name="T5" fmla="*/ 733 h 3540"/>
                  <a:gd name="T6" fmla="*/ 563 w 2535"/>
                  <a:gd name="T7" fmla="*/ 931 h 3540"/>
                  <a:gd name="T8" fmla="*/ 499 w 2535"/>
                  <a:gd name="T9" fmla="*/ 1166 h 3540"/>
                  <a:gd name="T10" fmla="*/ 512 w 2535"/>
                  <a:gd name="T11" fmla="*/ 1417 h 3540"/>
                  <a:gd name="T12" fmla="*/ 599 w 2535"/>
                  <a:gd name="T13" fmla="*/ 1641 h 3540"/>
                  <a:gd name="T14" fmla="*/ 749 w 2535"/>
                  <a:gd name="T15" fmla="*/ 1825 h 3540"/>
                  <a:gd name="T16" fmla="*/ 948 w 2535"/>
                  <a:gd name="T17" fmla="*/ 1956 h 3540"/>
                  <a:gd name="T18" fmla="*/ 1184 w 2535"/>
                  <a:gd name="T19" fmla="*/ 2020 h 3540"/>
                  <a:gd name="T20" fmla="*/ 1434 w 2535"/>
                  <a:gd name="T21" fmla="*/ 2007 h 3540"/>
                  <a:gd name="T22" fmla="*/ 1658 w 2535"/>
                  <a:gd name="T23" fmla="*/ 1920 h 3540"/>
                  <a:gd name="T24" fmla="*/ 1843 w 2535"/>
                  <a:gd name="T25" fmla="*/ 1769 h 3540"/>
                  <a:gd name="T26" fmla="*/ 1972 w 2535"/>
                  <a:gd name="T27" fmla="*/ 1571 h 3540"/>
                  <a:gd name="T28" fmla="*/ 2037 w 2535"/>
                  <a:gd name="T29" fmla="*/ 1335 h 3540"/>
                  <a:gd name="T30" fmla="*/ 2023 w 2535"/>
                  <a:gd name="T31" fmla="*/ 1085 h 3540"/>
                  <a:gd name="T32" fmla="*/ 1936 w 2535"/>
                  <a:gd name="T33" fmla="*/ 861 h 3540"/>
                  <a:gd name="T34" fmla="*/ 1786 w 2535"/>
                  <a:gd name="T35" fmla="*/ 676 h 3540"/>
                  <a:gd name="T36" fmla="*/ 1587 w 2535"/>
                  <a:gd name="T37" fmla="*/ 545 h 3540"/>
                  <a:gd name="T38" fmla="*/ 1351 w 2535"/>
                  <a:gd name="T39" fmla="*/ 481 h 3540"/>
                  <a:gd name="T40" fmla="*/ 1377 w 2535"/>
                  <a:gd name="T41" fmla="*/ 4 h 3540"/>
                  <a:gd name="T42" fmla="*/ 1687 w 2535"/>
                  <a:gd name="T43" fmla="*/ 71 h 3540"/>
                  <a:gd name="T44" fmla="*/ 1965 w 2535"/>
                  <a:gd name="T45" fmla="*/ 209 h 3540"/>
                  <a:gd name="T46" fmla="*/ 2199 w 2535"/>
                  <a:gd name="T47" fmla="*/ 409 h 3540"/>
                  <a:gd name="T48" fmla="*/ 2379 w 2535"/>
                  <a:gd name="T49" fmla="*/ 657 h 3540"/>
                  <a:gd name="T50" fmla="*/ 2494 w 2535"/>
                  <a:gd name="T51" fmla="*/ 948 h 3540"/>
                  <a:gd name="T52" fmla="*/ 2535 w 2535"/>
                  <a:gd name="T53" fmla="*/ 1267 h 3540"/>
                  <a:gd name="T54" fmla="*/ 2497 w 2535"/>
                  <a:gd name="T55" fmla="*/ 1594 h 3540"/>
                  <a:gd name="T56" fmla="*/ 2395 w 2535"/>
                  <a:gd name="T57" fmla="*/ 1924 h 3540"/>
                  <a:gd name="T58" fmla="*/ 2248 w 2535"/>
                  <a:gd name="T59" fmla="*/ 2246 h 3540"/>
                  <a:gd name="T60" fmla="*/ 2075 w 2535"/>
                  <a:gd name="T61" fmla="*/ 2545 h 3540"/>
                  <a:gd name="T62" fmla="*/ 1898 w 2535"/>
                  <a:gd name="T63" fmla="*/ 2812 h 3540"/>
                  <a:gd name="T64" fmla="*/ 1726 w 2535"/>
                  <a:gd name="T65" fmla="*/ 3041 h 3540"/>
                  <a:gd name="T66" fmla="*/ 1566 w 2535"/>
                  <a:gd name="T67" fmla="*/ 3241 h 3540"/>
                  <a:gd name="T68" fmla="*/ 1428 w 2535"/>
                  <a:gd name="T69" fmla="*/ 3401 h 3540"/>
                  <a:gd name="T70" fmla="*/ 1320 w 2535"/>
                  <a:gd name="T71" fmla="*/ 3517 h 3540"/>
                  <a:gd name="T72" fmla="*/ 1268 w 2535"/>
                  <a:gd name="T73" fmla="*/ 3540 h 3540"/>
                  <a:gd name="T74" fmla="*/ 1214 w 2535"/>
                  <a:gd name="T75" fmla="*/ 3517 h 3540"/>
                  <a:gd name="T76" fmla="*/ 1108 w 2535"/>
                  <a:gd name="T77" fmla="*/ 3401 h 3540"/>
                  <a:gd name="T78" fmla="*/ 968 w 2535"/>
                  <a:gd name="T79" fmla="*/ 3241 h 3540"/>
                  <a:gd name="T80" fmla="*/ 808 w 2535"/>
                  <a:gd name="T81" fmla="*/ 3043 h 3540"/>
                  <a:gd name="T82" fmla="*/ 638 w 2535"/>
                  <a:gd name="T83" fmla="*/ 2813 h 3540"/>
                  <a:gd name="T84" fmla="*/ 459 w 2535"/>
                  <a:gd name="T85" fmla="*/ 2547 h 3540"/>
                  <a:gd name="T86" fmla="*/ 288 w 2535"/>
                  <a:gd name="T87" fmla="*/ 2246 h 3540"/>
                  <a:gd name="T88" fmla="*/ 141 w 2535"/>
                  <a:gd name="T89" fmla="*/ 1924 h 3540"/>
                  <a:gd name="T90" fmla="*/ 37 w 2535"/>
                  <a:gd name="T91" fmla="*/ 1594 h 3540"/>
                  <a:gd name="T92" fmla="*/ 0 w 2535"/>
                  <a:gd name="T93" fmla="*/ 1267 h 3540"/>
                  <a:gd name="T94" fmla="*/ 40 w 2535"/>
                  <a:gd name="T95" fmla="*/ 948 h 3540"/>
                  <a:gd name="T96" fmla="*/ 155 w 2535"/>
                  <a:gd name="T97" fmla="*/ 657 h 3540"/>
                  <a:gd name="T98" fmla="*/ 336 w 2535"/>
                  <a:gd name="T99" fmla="*/ 409 h 3540"/>
                  <a:gd name="T100" fmla="*/ 570 w 2535"/>
                  <a:gd name="T101" fmla="*/ 209 h 3540"/>
                  <a:gd name="T102" fmla="*/ 848 w 2535"/>
                  <a:gd name="T103" fmla="*/ 71 h 3540"/>
                  <a:gd name="T104" fmla="*/ 1157 w 2535"/>
                  <a:gd name="T105" fmla="*/ 4 h 3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35" h="3540">
                    <a:moveTo>
                      <a:pt x="1268" y="477"/>
                    </a:moveTo>
                    <a:lnTo>
                      <a:pt x="1184" y="481"/>
                    </a:lnTo>
                    <a:lnTo>
                      <a:pt x="1102" y="494"/>
                    </a:lnTo>
                    <a:lnTo>
                      <a:pt x="1024" y="516"/>
                    </a:lnTo>
                    <a:lnTo>
                      <a:pt x="948" y="545"/>
                    </a:lnTo>
                    <a:lnTo>
                      <a:pt x="877" y="583"/>
                    </a:lnTo>
                    <a:lnTo>
                      <a:pt x="810" y="627"/>
                    </a:lnTo>
                    <a:lnTo>
                      <a:pt x="749" y="676"/>
                    </a:lnTo>
                    <a:lnTo>
                      <a:pt x="693" y="733"/>
                    </a:lnTo>
                    <a:lnTo>
                      <a:pt x="643" y="794"/>
                    </a:lnTo>
                    <a:lnTo>
                      <a:pt x="599" y="861"/>
                    </a:lnTo>
                    <a:lnTo>
                      <a:pt x="563" y="931"/>
                    </a:lnTo>
                    <a:lnTo>
                      <a:pt x="533" y="1006"/>
                    </a:lnTo>
                    <a:lnTo>
                      <a:pt x="512" y="1085"/>
                    </a:lnTo>
                    <a:lnTo>
                      <a:pt x="499" y="1166"/>
                    </a:lnTo>
                    <a:lnTo>
                      <a:pt x="493" y="1251"/>
                    </a:lnTo>
                    <a:lnTo>
                      <a:pt x="499" y="1335"/>
                    </a:lnTo>
                    <a:lnTo>
                      <a:pt x="512" y="1417"/>
                    </a:lnTo>
                    <a:lnTo>
                      <a:pt x="533" y="1495"/>
                    </a:lnTo>
                    <a:lnTo>
                      <a:pt x="563" y="1571"/>
                    </a:lnTo>
                    <a:lnTo>
                      <a:pt x="599" y="1641"/>
                    </a:lnTo>
                    <a:lnTo>
                      <a:pt x="643" y="1708"/>
                    </a:lnTo>
                    <a:lnTo>
                      <a:pt x="693" y="1769"/>
                    </a:lnTo>
                    <a:lnTo>
                      <a:pt x="749" y="1825"/>
                    </a:lnTo>
                    <a:lnTo>
                      <a:pt x="810" y="1875"/>
                    </a:lnTo>
                    <a:lnTo>
                      <a:pt x="877" y="1920"/>
                    </a:lnTo>
                    <a:lnTo>
                      <a:pt x="948" y="1956"/>
                    </a:lnTo>
                    <a:lnTo>
                      <a:pt x="1024" y="1985"/>
                    </a:lnTo>
                    <a:lnTo>
                      <a:pt x="1102" y="2007"/>
                    </a:lnTo>
                    <a:lnTo>
                      <a:pt x="1184" y="2020"/>
                    </a:lnTo>
                    <a:lnTo>
                      <a:pt x="1268" y="2025"/>
                    </a:lnTo>
                    <a:lnTo>
                      <a:pt x="1351" y="2020"/>
                    </a:lnTo>
                    <a:lnTo>
                      <a:pt x="1434" y="2007"/>
                    </a:lnTo>
                    <a:lnTo>
                      <a:pt x="1512" y="1985"/>
                    </a:lnTo>
                    <a:lnTo>
                      <a:pt x="1587" y="1956"/>
                    </a:lnTo>
                    <a:lnTo>
                      <a:pt x="1658" y="1920"/>
                    </a:lnTo>
                    <a:lnTo>
                      <a:pt x="1725" y="1875"/>
                    </a:lnTo>
                    <a:lnTo>
                      <a:pt x="1786" y="1825"/>
                    </a:lnTo>
                    <a:lnTo>
                      <a:pt x="1843" y="1769"/>
                    </a:lnTo>
                    <a:lnTo>
                      <a:pt x="1892" y="1708"/>
                    </a:lnTo>
                    <a:lnTo>
                      <a:pt x="1936" y="1641"/>
                    </a:lnTo>
                    <a:lnTo>
                      <a:pt x="1972" y="1571"/>
                    </a:lnTo>
                    <a:lnTo>
                      <a:pt x="2003" y="1495"/>
                    </a:lnTo>
                    <a:lnTo>
                      <a:pt x="2023" y="1417"/>
                    </a:lnTo>
                    <a:lnTo>
                      <a:pt x="2037" y="1335"/>
                    </a:lnTo>
                    <a:lnTo>
                      <a:pt x="2042" y="1251"/>
                    </a:lnTo>
                    <a:lnTo>
                      <a:pt x="2037" y="1166"/>
                    </a:lnTo>
                    <a:lnTo>
                      <a:pt x="2023" y="1085"/>
                    </a:lnTo>
                    <a:lnTo>
                      <a:pt x="2003" y="1006"/>
                    </a:lnTo>
                    <a:lnTo>
                      <a:pt x="1972" y="931"/>
                    </a:lnTo>
                    <a:lnTo>
                      <a:pt x="1936" y="861"/>
                    </a:lnTo>
                    <a:lnTo>
                      <a:pt x="1892" y="794"/>
                    </a:lnTo>
                    <a:lnTo>
                      <a:pt x="1843" y="733"/>
                    </a:lnTo>
                    <a:lnTo>
                      <a:pt x="1786" y="676"/>
                    </a:lnTo>
                    <a:lnTo>
                      <a:pt x="1725" y="627"/>
                    </a:lnTo>
                    <a:lnTo>
                      <a:pt x="1658" y="583"/>
                    </a:lnTo>
                    <a:lnTo>
                      <a:pt x="1587" y="545"/>
                    </a:lnTo>
                    <a:lnTo>
                      <a:pt x="1512" y="516"/>
                    </a:lnTo>
                    <a:lnTo>
                      <a:pt x="1434" y="494"/>
                    </a:lnTo>
                    <a:lnTo>
                      <a:pt x="1351" y="481"/>
                    </a:lnTo>
                    <a:lnTo>
                      <a:pt x="1268" y="477"/>
                    </a:lnTo>
                    <a:close/>
                    <a:moveTo>
                      <a:pt x="1268" y="0"/>
                    </a:moveTo>
                    <a:lnTo>
                      <a:pt x="1377" y="4"/>
                    </a:lnTo>
                    <a:lnTo>
                      <a:pt x="1483" y="17"/>
                    </a:lnTo>
                    <a:lnTo>
                      <a:pt x="1587" y="41"/>
                    </a:lnTo>
                    <a:lnTo>
                      <a:pt x="1687" y="71"/>
                    </a:lnTo>
                    <a:lnTo>
                      <a:pt x="1784" y="110"/>
                    </a:lnTo>
                    <a:lnTo>
                      <a:pt x="1877" y="156"/>
                    </a:lnTo>
                    <a:lnTo>
                      <a:pt x="1965" y="209"/>
                    </a:lnTo>
                    <a:lnTo>
                      <a:pt x="2049" y="269"/>
                    </a:lnTo>
                    <a:lnTo>
                      <a:pt x="2126" y="336"/>
                    </a:lnTo>
                    <a:lnTo>
                      <a:pt x="2199" y="409"/>
                    </a:lnTo>
                    <a:lnTo>
                      <a:pt x="2266" y="486"/>
                    </a:lnTo>
                    <a:lnTo>
                      <a:pt x="2325" y="570"/>
                    </a:lnTo>
                    <a:lnTo>
                      <a:pt x="2379" y="657"/>
                    </a:lnTo>
                    <a:lnTo>
                      <a:pt x="2424" y="750"/>
                    </a:lnTo>
                    <a:lnTo>
                      <a:pt x="2464" y="848"/>
                    </a:lnTo>
                    <a:lnTo>
                      <a:pt x="2494" y="948"/>
                    </a:lnTo>
                    <a:lnTo>
                      <a:pt x="2517" y="1052"/>
                    </a:lnTo>
                    <a:lnTo>
                      <a:pt x="2531" y="1158"/>
                    </a:lnTo>
                    <a:lnTo>
                      <a:pt x="2535" y="1267"/>
                    </a:lnTo>
                    <a:lnTo>
                      <a:pt x="2531" y="1376"/>
                    </a:lnTo>
                    <a:lnTo>
                      <a:pt x="2517" y="1485"/>
                    </a:lnTo>
                    <a:lnTo>
                      <a:pt x="2497" y="1594"/>
                    </a:lnTo>
                    <a:lnTo>
                      <a:pt x="2469" y="1705"/>
                    </a:lnTo>
                    <a:lnTo>
                      <a:pt x="2435" y="1815"/>
                    </a:lnTo>
                    <a:lnTo>
                      <a:pt x="2395" y="1924"/>
                    </a:lnTo>
                    <a:lnTo>
                      <a:pt x="2350" y="2033"/>
                    </a:lnTo>
                    <a:lnTo>
                      <a:pt x="2301" y="2140"/>
                    </a:lnTo>
                    <a:lnTo>
                      <a:pt x="2248" y="2246"/>
                    </a:lnTo>
                    <a:lnTo>
                      <a:pt x="2193" y="2349"/>
                    </a:lnTo>
                    <a:lnTo>
                      <a:pt x="2135" y="2448"/>
                    </a:lnTo>
                    <a:lnTo>
                      <a:pt x="2075" y="2545"/>
                    </a:lnTo>
                    <a:lnTo>
                      <a:pt x="2016" y="2638"/>
                    </a:lnTo>
                    <a:lnTo>
                      <a:pt x="1957" y="2727"/>
                    </a:lnTo>
                    <a:lnTo>
                      <a:pt x="1898" y="2812"/>
                    </a:lnTo>
                    <a:lnTo>
                      <a:pt x="1841" y="2892"/>
                    </a:lnTo>
                    <a:lnTo>
                      <a:pt x="1783" y="2969"/>
                    </a:lnTo>
                    <a:lnTo>
                      <a:pt x="1726" y="3041"/>
                    </a:lnTo>
                    <a:lnTo>
                      <a:pt x="1671" y="3111"/>
                    </a:lnTo>
                    <a:lnTo>
                      <a:pt x="1619" y="3178"/>
                    </a:lnTo>
                    <a:lnTo>
                      <a:pt x="1566" y="3241"/>
                    </a:lnTo>
                    <a:lnTo>
                      <a:pt x="1517" y="3297"/>
                    </a:lnTo>
                    <a:lnTo>
                      <a:pt x="1470" y="3351"/>
                    </a:lnTo>
                    <a:lnTo>
                      <a:pt x="1428" y="3401"/>
                    </a:lnTo>
                    <a:lnTo>
                      <a:pt x="1387" y="3444"/>
                    </a:lnTo>
                    <a:lnTo>
                      <a:pt x="1352" y="3484"/>
                    </a:lnTo>
                    <a:lnTo>
                      <a:pt x="1320" y="3517"/>
                    </a:lnTo>
                    <a:lnTo>
                      <a:pt x="1304" y="3530"/>
                    </a:lnTo>
                    <a:lnTo>
                      <a:pt x="1287" y="3537"/>
                    </a:lnTo>
                    <a:lnTo>
                      <a:pt x="1268" y="3540"/>
                    </a:lnTo>
                    <a:lnTo>
                      <a:pt x="1248" y="3537"/>
                    </a:lnTo>
                    <a:lnTo>
                      <a:pt x="1230" y="3530"/>
                    </a:lnTo>
                    <a:lnTo>
                      <a:pt x="1214" y="3517"/>
                    </a:lnTo>
                    <a:lnTo>
                      <a:pt x="1184" y="3484"/>
                    </a:lnTo>
                    <a:lnTo>
                      <a:pt x="1147" y="3444"/>
                    </a:lnTo>
                    <a:lnTo>
                      <a:pt x="1108" y="3401"/>
                    </a:lnTo>
                    <a:lnTo>
                      <a:pt x="1064" y="3353"/>
                    </a:lnTo>
                    <a:lnTo>
                      <a:pt x="1018" y="3299"/>
                    </a:lnTo>
                    <a:lnTo>
                      <a:pt x="968" y="3241"/>
                    </a:lnTo>
                    <a:lnTo>
                      <a:pt x="917" y="3178"/>
                    </a:lnTo>
                    <a:lnTo>
                      <a:pt x="864" y="3113"/>
                    </a:lnTo>
                    <a:lnTo>
                      <a:pt x="808" y="3043"/>
                    </a:lnTo>
                    <a:lnTo>
                      <a:pt x="752" y="2969"/>
                    </a:lnTo>
                    <a:lnTo>
                      <a:pt x="695" y="2893"/>
                    </a:lnTo>
                    <a:lnTo>
                      <a:pt x="638" y="2813"/>
                    </a:lnTo>
                    <a:lnTo>
                      <a:pt x="579" y="2729"/>
                    </a:lnTo>
                    <a:lnTo>
                      <a:pt x="519" y="2640"/>
                    </a:lnTo>
                    <a:lnTo>
                      <a:pt x="459" y="2547"/>
                    </a:lnTo>
                    <a:lnTo>
                      <a:pt x="401" y="2449"/>
                    </a:lnTo>
                    <a:lnTo>
                      <a:pt x="343" y="2349"/>
                    </a:lnTo>
                    <a:lnTo>
                      <a:pt x="288" y="2246"/>
                    </a:lnTo>
                    <a:lnTo>
                      <a:pt x="234" y="2141"/>
                    </a:lnTo>
                    <a:lnTo>
                      <a:pt x="186" y="2033"/>
                    </a:lnTo>
                    <a:lnTo>
                      <a:pt x="141" y="1924"/>
                    </a:lnTo>
                    <a:lnTo>
                      <a:pt x="100" y="1815"/>
                    </a:lnTo>
                    <a:lnTo>
                      <a:pt x="67" y="1705"/>
                    </a:lnTo>
                    <a:lnTo>
                      <a:pt x="37" y="1594"/>
                    </a:lnTo>
                    <a:lnTo>
                      <a:pt x="17" y="1485"/>
                    </a:lnTo>
                    <a:lnTo>
                      <a:pt x="4" y="1376"/>
                    </a:lnTo>
                    <a:lnTo>
                      <a:pt x="0" y="1267"/>
                    </a:lnTo>
                    <a:lnTo>
                      <a:pt x="4" y="1158"/>
                    </a:lnTo>
                    <a:lnTo>
                      <a:pt x="19" y="1052"/>
                    </a:lnTo>
                    <a:lnTo>
                      <a:pt x="40" y="948"/>
                    </a:lnTo>
                    <a:lnTo>
                      <a:pt x="71" y="848"/>
                    </a:lnTo>
                    <a:lnTo>
                      <a:pt x="110" y="750"/>
                    </a:lnTo>
                    <a:lnTo>
                      <a:pt x="155" y="657"/>
                    </a:lnTo>
                    <a:lnTo>
                      <a:pt x="209" y="570"/>
                    </a:lnTo>
                    <a:lnTo>
                      <a:pt x="269" y="486"/>
                    </a:lnTo>
                    <a:lnTo>
                      <a:pt x="336" y="409"/>
                    </a:lnTo>
                    <a:lnTo>
                      <a:pt x="408" y="336"/>
                    </a:lnTo>
                    <a:lnTo>
                      <a:pt x="487" y="269"/>
                    </a:lnTo>
                    <a:lnTo>
                      <a:pt x="570" y="209"/>
                    </a:lnTo>
                    <a:lnTo>
                      <a:pt x="659" y="156"/>
                    </a:lnTo>
                    <a:lnTo>
                      <a:pt x="750" y="110"/>
                    </a:lnTo>
                    <a:lnTo>
                      <a:pt x="848" y="71"/>
                    </a:lnTo>
                    <a:lnTo>
                      <a:pt x="948" y="41"/>
                    </a:lnTo>
                    <a:lnTo>
                      <a:pt x="1051" y="17"/>
                    </a:lnTo>
                    <a:lnTo>
                      <a:pt x="1157" y="4"/>
                    </a:lnTo>
                    <a:lnTo>
                      <a:pt x="12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3" name="Group 2"/>
          <p:cNvGrpSpPr/>
          <p:nvPr/>
        </p:nvGrpSpPr>
        <p:grpSpPr>
          <a:xfrm>
            <a:off x="147993" y="6209772"/>
            <a:ext cx="727877" cy="429538"/>
            <a:chOff x="147993" y="6209772"/>
            <a:chExt cx="727877" cy="429538"/>
          </a:xfrm>
        </p:grpSpPr>
        <p:sp>
          <p:nvSpPr>
            <p:cNvPr id="186" name="Rectangle 17"/>
            <p:cNvSpPr>
              <a:spLocks/>
            </p:cNvSpPr>
            <p:nvPr/>
          </p:nvSpPr>
          <p:spPr bwMode="auto">
            <a:xfrm>
              <a:off x="147993" y="6393089"/>
              <a:ext cx="72787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Рыночные данные</a:t>
              </a:r>
            </a:p>
          </p:txBody>
        </p:sp>
        <p:grpSp>
          <p:nvGrpSpPr>
            <p:cNvPr id="187" name="Group 165"/>
            <p:cNvGrpSpPr>
              <a:grpSpLocks noChangeAspect="1"/>
            </p:cNvGrpSpPr>
            <p:nvPr/>
          </p:nvGrpSpPr>
          <p:grpSpPr bwMode="auto">
            <a:xfrm>
              <a:off x="362646" y="6209772"/>
              <a:ext cx="253587" cy="198314"/>
              <a:chOff x="-1919" y="3510"/>
              <a:chExt cx="679" cy="531"/>
            </a:xfrm>
            <a:solidFill>
              <a:schemeClr val="bg1"/>
            </a:solidFill>
          </p:grpSpPr>
          <p:sp>
            <p:nvSpPr>
              <p:cNvPr id="188" name="Freeform 167"/>
              <p:cNvSpPr>
                <a:spLocks/>
              </p:cNvSpPr>
              <p:nvPr/>
            </p:nvSpPr>
            <p:spPr bwMode="auto">
              <a:xfrm>
                <a:off x="-1803" y="3980"/>
                <a:ext cx="447" cy="61"/>
              </a:xfrm>
              <a:custGeom>
                <a:avLst/>
                <a:gdLst>
                  <a:gd name="T0" fmla="*/ 154 w 2237"/>
                  <a:gd name="T1" fmla="*/ 0 h 304"/>
                  <a:gd name="T2" fmla="*/ 2082 w 2237"/>
                  <a:gd name="T3" fmla="*/ 0 h 304"/>
                  <a:gd name="T4" fmla="*/ 2113 w 2237"/>
                  <a:gd name="T5" fmla="*/ 3 h 304"/>
                  <a:gd name="T6" fmla="*/ 2142 w 2237"/>
                  <a:gd name="T7" fmla="*/ 12 h 304"/>
                  <a:gd name="T8" fmla="*/ 2168 w 2237"/>
                  <a:gd name="T9" fmla="*/ 27 h 304"/>
                  <a:gd name="T10" fmla="*/ 2191 w 2237"/>
                  <a:gd name="T11" fmla="*/ 45 h 304"/>
                  <a:gd name="T12" fmla="*/ 2210 w 2237"/>
                  <a:gd name="T13" fmla="*/ 68 h 304"/>
                  <a:gd name="T14" fmla="*/ 2224 w 2237"/>
                  <a:gd name="T15" fmla="*/ 93 h 304"/>
                  <a:gd name="T16" fmla="*/ 2234 w 2237"/>
                  <a:gd name="T17" fmla="*/ 122 h 304"/>
                  <a:gd name="T18" fmla="*/ 2237 w 2237"/>
                  <a:gd name="T19" fmla="*/ 153 h 304"/>
                  <a:gd name="T20" fmla="*/ 2234 w 2237"/>
                  <a:gd name="T21" fmla="*/ 183 h 304"/>
                  <a:gd name="T22" fmla="*/ 2224 w 2237"/>
                  <a:gd name="T23" fmla="*/ 212 h 304"/>
                  <a:gd name="T24" fmla="*/ 2210 w 2237"/>
                  <a:gd name="T25" fmla="*/ 237 h 304"/>
                  <a:gd name="T26" fmla="*/ 2191 w 2237"/>
                  <a:gd name="T27" fmla="*/ 260 h 304"/>
                  <a:gd name="T28" fmla="*/ 2168 w 2237"/>
                  <a:gd name="T29" fmla="*/ 278 h 304"/>
                  <a:gd name="T30" fmla="*/ 2142 w 2237"/>
                  <a:gd name="T31" fmla="*/ 293 h 304"/>
                  <a:gd name="T32" fmla="*/ 2113 w 2237"/>
                  <a:gd name="T33" fmla="*/ 301 h 304"/>
                  <a:gd name="T34" fmla="*/ 2082 w 2237"/>
                  <a:gd name="T35" fmla="*/ 304 h 304"/>
                  <a:gd name="T36" fmla="*/ 154 w 2237"/>
                  <a:gd name="T37" fmla="*/ 304 h 304"/>
                  <a:gd name="T38" fmla="*/ 123 w 2237"/>
                  <a:gd name="T39" fmla="*/ 301 h 304"/>
                  <a:gd name="T40" fmla="*/ 93 w 2237"/>
                  <a:gd name="T41" fmla="*/ 293 h 304"/>
                  <a:gd name="T42" fmla="*/ 68 w 2237"/>
                  <a:gd name="T43" fmla="*/ 278 h 304"/>
                  <a:gd name="T44" fmla="*/ 45 w 2237"/>
                  <a:gd name="T45" fmla="*/ 260 h 304"/>
                  <a:gd name="T46" fmla="*/ 26 w 2237"/>
                  <a:gd name="T47" fmla="*/ 237 h 304"/>
                  <a:gd name="T48" fmla="*/ 11 w 2237"/>
                  <a:gd name="T49" fmla="*/ 212 h 304"/>
                  <a:gd name="T50" fmla="*/ 3 w 2237"/>
                  <a:gd name="T51" fmla="*/ 183 h 304"/>
                  <a:gd name="T52" fmla="*/ 0 w 2237"/>
                  <a:gd name="T53" fmla="*/ 153 h 304"/>
                  <a:gd name="T54" fmla="*/ 3 w 2237"/>
                  <a:gd name="T55" fmla="*/ 122 h 304"/>
                  <a:gd name="T56" fmla="*/ 11 w 2237"/>
                  <a:gd name="T57" fmla="*/ 93 h 304"/>
                  <a:gd name="T58" fmla="*/ 26 w 2237"/>
                  <a:gd name="T59" fmla="*/ 68 h 304"/>
                  <a:gd name="T60" fmla="*/ 45 w 2237"/>
                  <a:gd name="T61" fmla="*/ 45 h 304"/>
                  <a:gd name="T62" fmla="*/ 68 w 2237"/>
                  <a:gd name="T63" fmla="*/ 27 h 304"/>
                  <a:gd name="T64" fmla="*/ 93 w 2237"/>
                  <a:gd name="T65" fmla="*/ 12 h 304"/>
                  <a:gd name="T66" fmla="*/ 123 w 2237"/>
                  <a:gd name="T67" fmla="*/ 3 h 304"/>
                  <a:gd name="T68" fmla="*/ 154 w 2237"/>
                  <a:gd name="T69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37" h="304">
                    <a:moveTo>
                      <a:pt x="154" y="0"/>
                    </a:moveTo>
                    <a:lnTo>
                      <a:pt x="2082" y="0"/>
                    </a:lnTo>
                    <a:lnTo>
                      <a:pt x="2113" y="3"/>
                    </a:lnTo>
                    <a:lnTo>
                      <a:pt x="2142" y="12"/>
                    </a:lnTo>
                    <a:lnTo>
                      <a:pt x="2168" y="27"/>
                    </a:lnTo>
                    <a:lnTo>
                      <a:pt x="2191" y="45"/>
                    </a:lnTo>
                    <a:lnTo>
                      <a:pt x="2210" y="68"/>
                    </a:lnTo>
                    <a:lnTo>
                      <a:pt x="2224" y="93"/>
                    </a:lnTo>
                    <a:lnTo>
                      <a:pt x="2234" y="122"/>
                    </a:lnTo>
                    <a:lnTo>
                      <a:pt x="2237" y="153"/>
                    </a:lnTo>
                    <a:lnTo>
                      <a:pt x="2234" y="183"/>
                    </a:lnTo>
                    <a:lnTo>
                      <a:pt x="2224" y="212"/>
                    </a:lnTo>
                    <a:lnTo>
                      <a:pt x="2210" y="237"/>
                    </a:lnTo>
                    <a:lnTo>
                      <a:pt x="2191" y="260"/>
                    </a:lnTo>
                    <a:lnTo>
                      <a:pt x="2168" y="278"/>
                    </a:lnTo>
                    <a:lnTo>
                      <a:pt x="2142" y="293"/>
                    </a:lnTo>
                    <a:lnTo>
                      <a:pt x="2113" y="301"/>
                    </a:lnTo>
                    <a:lnTo>
                      <a:pt x="2082" y="304"/>
                    </a:lnTo>
                    <a:lnTo>
                      <a:pt x="154" y="304"/>
                    </a:lnTo>
                    <a:lnTo>
                      <a:pt x="123" y="301"/>
                    </a:lnTo>
                    <a:lnTo>
                      <a:pt x="93" y="293"/>
                    </a:lnTo>
                    <a:lnTo>
                      <a:pt x="68" y="278"/>
                    </a:lnTo>
                    <a:lnTo>
                      <a:pt x="45" y="260"/>
                    </a:lnTo>
                    <a:lnTo>
                      <a:pt x="26" y="237"/>
                    </a:lnTo>
                    <a:lnTo>
                      <a:pt x="11" y="212"/>
                    </a:lnTo>
                    <a:lnTo>
                      <a:pt x="3" y="183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5" y="45"/>
                    </a:lnTo>
                    <a:lnTo>
                      <a:pt x="68" y="27"/>
                    </a:lnTo>
                    <a:lnTo>
                      <a:pt x="93" y="12"/>
                    </a:lnTo>
                    <a:lnTo>
                      <a:pt x="123" y="3"/>
                    </a:lnTo>
                    <a:lnTo>
                      <a:pt x="1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9" name="Freeform 168"/>
              <p:cNvSpPr>
                <a:spLocks/>
              </p:cNvSpPr>
              <p:nvPr/>
            </p:nvSpPr>
            <p:spPr bwMode="auto">
              <a:xfrm>
                <a:off x="-1811" y="3730"/>
                <a:ext cx="46" cy="121"/>
              </a:xfrm>
              <a:custGeom>
                <a:avLst/>
                <a:gdLst>
                  <a:gd name="T0" fmla="*/ 117 w 232"/>
                  <a:gd name="T1" fmla="*/ 0 h 607"/>
                  <a:gd name="T2" fmla="*/ 143 w 232"/>
                  <a:gd name="T3" fmla="*/ 3 h 607"/>
                  <a:gd name="T4" fmla="*/ 168 w 232"/>
                  <a:gd name="T5" fmla="*/ 12 h 607"/>
                  <a:gd name="T6" fmla="*/ 190 w 232"/>
                  <a:gd name="T7" fmla="*/ 25 h 607"/>
                  <a:gd name="T8" fmla="*/ 207 w 232"/>
                  <a:gd name="T9" fmla="*/ 43 h 607"/>
                  <a:gd name="T10" fmla="*/ 221 w 232"/>
                  <a:gd name="T11" fmla="*/ 64 h 607"/>
                  <a:gd name="T12" fmla="*/ 229 w 232"/>
                  <a:gd name="T13" fmla="*/ 88 h 607"/>
                  <a:gd name="T14" fmla="*/ 232 w 232"/>
                  <a:gd name="T15" fmla="*/ 114 h 607"/>
                  <a:gd name="T16" fmla="*/ 232 w 232"/>
                  <a:gd name="T17" fmla="*/ 494 h 607"/>
                  <a:gd name="T18" fmla="*/ 229 w 232"/>
                  <a:gd name="T19" fmla="*/ 520 h 607"/>
                  <a:gd name="T20" fmla="*/ 221 w 232"/>
                  <a:gd name="T21" fmla="*/ 544 h 607"/>
                  <a:gd name="T22" fmla="*/ 207 w 232"/>
                  <a:gd name="T23" fmla="*/ 565 h 607"/>
                  <a:gd name="T24" fmla="*/ 190 w 232"/>
                  <a:gd name="T25" fmla="*/ 583 h 607"/>
                  <a:gd name="T26" fmla="*/ 168 w 232"/>
                  <a:gd name="T27" fmla="*/ 596 h 607"/>
                  <a:gd name="T28" fmla="*/ 143 w 232"/>
                  <a:gd name="T29" fmla="*/ 605 h 607"/>
                  <a:gd name="T30" fmla="*/ 117 w 232"/>
                  <a:gd name="T31" fmla="*/ 607 h 607"/>
                  <a:gd name="T32" fmla="*/ 90 w 232"/>
                  <a:gd name="T33" fmla="*/ 605 h 607"/>
                  <a:gd name="T34" fmla="*/ 66 w 232"/>
                  <a:gd name="T35" fmla="*/ 596 h 607"/>
                  <a:gd name="T36" fmla="*/ 44 w 232"/>
                  <a:gd name="T37" fmla="*/ 583 h 607"/>
                  <a:gd name="T38" fmla="*/ 26 w 232"/>
                  <a:gd name="T39" fmla="*/ 565 h 607"/>
                  <a:gd name="T40" fmla="*/ 13 w 232"/>
                  <a:gd name="T41" fmla="*/ 544 h 607"/>
                  <a:gd name="T42" fmla="*/ 4 w 232"/>
                  <a:gd name="T43" fmla="*/ 520 h 607"/>
                  <a:gd name="T44" fmla="*/ 0 w 232"/>
                  <a:gd name="T45" fmla="*/ 494 h 607"/>
                  <a:gd name="T46" fmla="*/ 0 w 232"/>
                  <a:gd name="T47" fmla="*/ 114 h 607"/>
                  <a:gd name="T48" fmla="*/ 4 w 232"/>
                  <a:gd name="T49" fmla="*/ 88 h 607"/>
                  <a:gd name="T50" fmla="*/ 13 w 232"/>
                  <a:gd name="T51" fmla="*/ 64 h 607"/>
                  <a:gd name="T52" fmla="*/ 26 w 232"/>
                  <a:gd name="T53" fmla="*/ 43 h 607"/>
                  <a:gd name="T54" fmla="*/ 44 w 232"/>
                  <a:gd name="T55" fmla="*/ 25 h 607"/>
                  <a:gd name="T56" fmla="*/ 66 w 232"/>
                  <a:gd name="T57" fmla="*/ 12 h 607"/>
                  <a:gd name="T58" fmla="*/ 90 w 232"/>
                  <a:gd name="T59" fmla="*/ 3 h 607"/>
                  <a:gd name="T60" fmla="*/ 117 w 232"/>
                  <a:gd name="T61" fmla="*/ 0 h 6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2" h="607">
                    <a:moveTo>
                      <a:pt x="117" y="0"/>
                    </a:moveTo>
                    <a:lnTo>
                      <a:pt x="143" y="3"/>
                    </a:lnTo>
                    <a:lnTo>
                      <a:pt x="168" y="12"/>
                    </a:lnTo>
                    <a:lnTo>
                      <a:pt x="190" y="25"/>
                    </a:lnTo>
                    <a:lnTo>
                      <a:pt x="207" y="43"/>
                    </a:lnTo>
                    <a:lnTo>
                      <a:pt x="221" y="64"/>
                    </a:lnTo>
                    <a:lnTo>
                      <a:pt x="229" y="88"/>
                    </a:lnTo>
                    <a:lnTo>
                      <a:pt x="232" y="114"/>
                    </a:lnTo>
                    <a:lnTo>
                      <a:pt x="232" y="494"/>
                    </a:lnTo>
                    <a:lnTo>
                      <a:pt x="229" y="520"/>
                    </a:lnTo>
                    <a:lnTo>
                      <a:pt x="221" y="544"/>
                    </a:lnTo>
                    <a:lnTo>
                      <a:pt x="207" y="565"/>
                    </a:lnTo>
                    <a:lnTo>
                      <a:pt x="190" y="583"/>
                    </a:lnTo>
                    <a:lnTo>
                      <a:pt x="168" y="596"/>
                    </a:lnTo>
                    <a:lnTo>
                      <a:pt x="143" y="605"/>
                    </a:lnTo>
                    <a:lnTo>
                      <a:pt x="117" y="607"/>
                    </a:lnTo>
                    <a:lnTo>
                      <a:pt x="90" y="605"/>
                    </a:lnTo>
                    <a:lnTo>
                      <a:pt x="66" y="596"/>
                    </a:lnTo>
                    <a:lnTo>
                      <a:pt x="44" y="583"/>
                    </a:lnTo>
                    <a:lnTo>
                      <a:pt x="26" y="565"/>
                    </a:lnTo>
                    <a:lnTo>
                      <a:pt x="13" y="544"/>
                    </a:lnTo>
                    <a:lnTo>
                      <a:pt x="4" y="520"/>
                    </a:lnTo>
                    <a:lnTo>
                      <a:pt x="0" y="494"/>
                    </a:lnTo>
                    <a:lnTo>
                      <a:pt x="0" y="114"/>
                    </a:lnTo>
                    <a:lnTo>
                      <a:pt x="4" y="88"/>
                    </a:lnTo>
                    <a:lnTo>
                      <a:pt x="13" y="64"/>
                    </a:lnTo>
                    <a:lnTo>
                      <a:pt x="26" y="43"/>
                    </a:lnTo>
                    <a:lnTo>
                      <a:pt x="44" y="25"/>
                    </a:lnTo>
                    <a:lnTo>
                      <a:pt x="66" y="12"/>
                    </a:lnTo>
                    <a:lnTo>
                      <a:pt x="90" y="3"/>
                    </a:lnTo>
                    <a:lnTo>
                      <a:pt x="11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90" name="Freeform 169"/>
              <p:cNvSpPr>
                <a:spLocks/>
              </p:cNvSpPr>
              <p:nvPr/>
            </p:nvSpPr>
            <p:spPr bwMode="auto">
              <a:xfrm>
                <a:off x="-1734" y="3699"/>
                <a:ext cx="46" cy="152"/>
              </a:xfrm>
              <a:custGeom>
                <a:avLst/>
                <a:gdLst>
                  <a:gd name="T0" fmla="*/ 116 w 232"/>
                  <a:gd name="T1" fmla="*/ 0 h 759"/>
                  <a:gd name="T2" fmla="*/ 142 w 232"/>
                  <a:gd name="T3" fmla="*/ 3 h 759"/>
                  <a:gd name="T4" fmla="*/ 167 w 232"/>
                  <a:gd name="T5" fmla="*/ 12 h 759"/>
                  <a:gd name="T6" fmla="*/ 188 w 232"/>
                  <a:gd name="T7" fmla="*/ 25 h 759"/>
                  <a:gd name="T8" fmla="*/ 207 w 232"/>
                  <a:gd name="T9" fmla="*/ 43 h 759"/>
                  <a:gd name="T10" fmla="*/ 220 w 232"/>
                  <a:gd name="T11" fmla="*/ 64 h 759"/>
                  <a:gd name="T12" fmla="*/ 229 w 232"/>
                  <a:gd name="T13" fmla="*/ 88 h 759"/>
                  <a:gd name="T14" fmla="*/ 232 w 232"/>
                  <a:gd name="T15" fmla="*/ 115 h 759"/>
                  <a:gd name="T16" fmla="*/ 232 w 232"/>
                  <a:gd name="T17" fmla="*/ 646 h 759"/>
                  <a:gd name="T18" fmla="*/ 229 w 232"/>
                  <a:gd name="T19" fmla="*/ 672 h 759"/>
                  <a:gd name="T20" fmla="*/ 220 w 232"/>
                  <a:gd name="T21" fmla="*/ 696 h 759"/>
                  <a:gd name="T22" fmla="*/ 207 w 232"/>
                  <a:gd name="T23" fmla="*/ 717 h 759"/>
                  <a:gd name="T24" fmla="*/ 188 w 232"/>
                  <a:gd name="T25" fmla="*/ 735 h 759"/>
                  <a:gd name="T26" fmla="*/ 167 w 232"/>
                  <a:gd name="T27" fmla="*/ 748 h 759"/>
                  <a:gd name="T28" fmla="*/ 142 w 232"/>
                  <a:gd name="T29" fmla="*/ 757 h 759"/>
                  <a:gd name="T30" fmla="*/ 116 w 232"/>
                  <a:gd name="T31" fmla="*/ 759 h 759"/>
                  <a:gd name="T32" fmla="*/ 89 w 232"/>
                  <a:gd name="T33" fmla="*/ 757 h 759"/>
                  <a:gd name="T34" fmla="*/ 66 w 232"/>
                  <a:gd name="T35" fmla="*/ 748 h 759"/>
                  <a:gd name="T36" fmla="*/ 44 w 232"/>
                  <a:gd name="T37" fmla="*/ 735 h 759"/>
                  <a:gd name="T38" fmla="*/ 26 w 232"/>
                  <a:gd name="T39" fmla="*/ 717 h 759"/>
                  <a:gd name="T40" fmla="*/ 13 w 232"/>
                  <a:gd name="T41" fmla="*/ 696 h 759"/>
                  <a:gd name="T42" fmla="*/ 3 w 232"/>
                  <a:gd name="T43" fmla="*/ 672 h 759"/>
                  <a:gd name="T44" fmla="*/ 0 w 232"/>
                  <a:gd name="T45" fmla="*/ 646 h 759"/>
                  <a:gd name="T46" fmla="*/ 0 w 232"/>
                  <a:gd name="T47" fmla="*/ 115 h 759"/>
                  <a:gd name="T48" fmla="*/ 3 w 232"/>
                  <a:gd name="T49" fmla="*/ 88 h 759"/>
                  <a:gd name="T50" fmla="*/ 13 w 232"/>
                  <a:gd name="T51" fmla="*/ 64 h 759"/>
                  <a:gd name="T52" fmla="*/ 26 w 232"/>
                  <a:gd name="T53" fmla="*/ 43 h 759"/>
                  <a:gd name="T54" fmla="*/ 44 w 232"/>
                  <a:gd name="T55" fmla="*/ 25 h 759"/>
                  <a:gd name="T56" fmla="*/ 66 w 232"/>
                  <a:gd name="T57" fmla="*/ 12 h 759"/>
                  <a:gd name="T58" fmla="*/ 89 w 232"/>
                  <a:gd name="T59" fmla="*/ 3 h 759"/>
                  <a:gd name="T60" fmla="*/ 116 w 232"/>
                  <a:gd name="T61" fmla="*/ 0 h 7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2" h="759">
                    <a:moveTo>
                      <a:pt x="116" y="0"/>
                    </a:moveTo>
                    <a:lnTo>
                      <a:pt x="142" y="3"/>
                    </a:lnTo>
                    <a:lnTo>
                      <a:pt x="167" y="12"/>
                    </a:lnTo>
                    <a:lnTo>
                      <a:pt x="188" y="25"/>
                    </a:lnTo>
                    <a:lnTo>
                      <a:pt x="207" y="43"/>
                    </a:lnTo>
                    <a:lnTo>
                      <a:pt x="220" y="64"/>
                    </a:lnTo>
                    <a:lnTo>
                      <a:pt x="229" y="88"/>
                    </a:lnTo>
                    <a:lnTo>
                      <a:pt x="232" y="115"/>
                    </a:lnTo>
                    <a:lnTo>
                      <a:pt x="232" y="646"/>
                    </a:lnTo>
                    <a:lnTo>
                      <a:pt x="229" y="672"/>
                    </a:lnTo>
                    <a:lnTo>
                      <a:pt x="220" y="696"/>
                    </a:lnTo>
                    <a:lnTo>
                      <a:pt x="207" y="717"/>
                    </a:lnTo>
                    <a:lnTo>
                      <a:pt x="188" y="735"/>
                    </a:lnTo>
                    <a:lnTo>
                      <a:pt x="167" y="748"/>
                    </a:lnTo>
                    <a:lnTo>
                      <a:pt x="142" y="757"/>
                    </a:lnTo>
                    <a:lnTo>
                      <a:pt x="116" y="759"/>
                    </a:lnTo>
                    <a:lnTo>
                      <a:pt x="89" y="757"/>
                    </a:lnTo>
                    <a:lnTo>
                      <a:pt x="66" y="748"/>
                    </a:lnTo>
                    <a:lnTo>
                      <a:pt x="44" y="735"/>
                    </a:lnTo>
                    <a:lnTo>
                      <a:pt x="26" y="717"/>
                    </a:lnTo>
                    <a:lnTo>
                      <a:pt x="13" y="696"/>
                    </a:lnTo>
                    <a:lnTo>
                      <a:pt x="3" y="672"/>
                    </a:lnTo>
                    <a:lnTo>
                      <a:pt x="0" y="646"/>
                    </a:lnTo>
                    <a:lnTo>
                      <a:pt x="0" y="115"/>
                    </a:lnTo>
                    <a:lnTo>
                      <a:pt x="3" y="88"/>
                    </a:lnTo>
                    <a:lnTo>
                      <a:pt x="13" y="64"/>
                    </a:lnTo>
                    <a:lnTo>
                      <a:pt x="26" y="43"/>
                    </a:lnTo>
                    <a:lnTo>
                      <a:pt x="44" y="25"/>
                    </a:lnTo>
                    <a:lnTo>
                      <a:pt x="66" y="12"/>
                    </a:lnTo>
                    <a:lnTo>
                      <a:pt x="89" y="3"/>
                    </a:lnTo>
                    <a:lnTo>
                      <a:pt x="11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91" name="Freeform 170"/>
              <p:cNvSpPr>
                <a:spLocks/>
              </p:cNvSpPr>
              <p:nvPr/>
            </p:nvSpPr>
            <p:spPr bwMode="auto">
              <a:xfrm>
                <a:off x="-1657" y="3669"/>
                <a:ext cx="46" cy="182"/>
              </a:xfrm>
              <a:custGeom>
                <a:avLst/>
                <a:gdLst>
                  <a:gd name="T0" fmla="*/ 115 w 230"/>
                  <a:gd name="T1" fmla="*/ 0 h 911"/>
                  <a:gd name="T2" fmla="*/ 141 w 230"/>
                  <a:gd name="T3" fmla="*/ 3 h 911"/>
                  <a:gd name="T4" fmla="*/ 166 w 230"/>
                  <a:gd name="T5" fmla="*/ 12 h 911"/>
                  <a:gd name="T6" fmla="*/ 187 w 230"/>
                  <a:gd name="T7" fmla="*/ 25 h 911"/>
                  <a:gd name="T8" fmla="*/ 206 w 230"/>
                  <a:gd name="T9" fmla="*/ 43 h 911"/>
                  <a:gd name="T10" fmla="*/ 219 w 230"/>
                  <a:gd name="T11" fmla="*/ 64 h 911"/>
                  <a:gd name="T12" fmla="*/ 227 w 230"/>
                  <a:gd name="T13" fmla="*/ 88 h 911"/>
                  <a:gd name="T14" fmla="*/ 230 w 230"/>
                  <a:gd name="T15" fmla="*/ 114 h 911"/>
                  <a:gd name="T16" fmla="*/ 230 w 230"/>
                  <a:gd name="T17" fmla="*/ 798 h 911"/>
                  <a:gd name="T18" fmla="*/ 227 w 230"/>
                  <a:gd name="T19" fmla="*/ 824 h 911"/>
                  <a:gd name="T20" fmla="*/ 219 w 230"/>
                  <a:gd name="T21" fmla="*/ 848 h 911"/>
                  <a:gd name="T22" fmla="*/ 206 w 230"/>
                  <a:gd name="T23" fmla="*/ 869 h 911"/>
                  <a:gd name="T24" fmla="*/ 187 w 230"/>
                  <a:gd name="T25" fmla="*/ 887 h 911"/>
                  <a:gd name="T26" fmla="*/ 166 w 230"/>
                  <a:gd name="T27" fmla="*/ 900 h 911"/>
                  <a:gd name="T28" fmla="*/ 141 w 230"/>
                  <a:gd name="T29" fmla="*/ 909 h 911"/>
                  <a:gd name="T30" fmla="*/ 115 w 230"/>
                  <a:gd name="T31" fmla="*/ 911 h 911"/>
                  <a:gd name="T32" fmla="*/ 88 w 230"/>
                  <a:gd name="T33" fmla="*/ 909 h 911"/>
                  <a:gd name="T34" fmla="*/ 64 w 230"/>
                  <a:gd name="T35" fmla="*/ 900 h 911"/>
                  <a:gd name="T36" fmla="*/ 42 w 230"/>
                  <a:gd name="T37" fmla="*/ 887 h 911"/>
                  <a:gd name="T38" fmla="*/ 25 w 230"/>
                  <a:gd name="T39" fmla="*/ 869 h 911"/>
                  <a:gd name="T40" fmla="*/ 11 w 230"/>
                  <a:gd name="T41" fmla="*/ 848 h 911"/>
                  <a:gd name="T42" fmla="*/ 3 w 230"/>
                  <a:gd name="T43" fmla="*/ 824 h 911"/>
                  <a:gd name="T44" fmla="*/ 0 w 230"/>
                  <a:gd name="T45" fmla="*/ 798 h 911"/>
                  <a:gd name="T46" fmla="*/ 0 w 230"/>
                  <a:gd name="T47" fmla="*/ 114 h 911"/>
                  <a:gd name="T48" fmla="*/ 3 w 230"/>
                  <a:gd name="T49" fmla="*/ 88 h 911"/>
                  <a:gd name="T50" fmla="*/ 11 w 230"/>
                  <a:gd name="T51" fmla="*/ 64 h 911"/>
                  <a:gd name="T52" fmla="*/ 25 w 230"/>
                  <a:gd name="T53" fmla="*/ 43 h 911"/>
                  <a:gd name="T54" fmla="*/ 42 w 230"/>
                  <a:gd name="T55" fmla="*/ 25 h 911"/>
                  <a:gd name="T56" fmla="*/ 64 w 230"/>
                  <a:gd name="T57" fmla="*/ 12 h 911"/>
                  <a:gd name="T58" fmla="*/ 88 w 230"/>
                  <a:gd name="T59" fmla="*/ 3 h 911"/>
                  <a:gd name="T60" fmla="*/ 115 w 230"/>
                  <a:gd name="T61" fmla="*/ 0 h 9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0" h="911">
                    <a:moveTo>
                      <a:pt x="115" y="0"/>
                    </a:moveTo>
                    <a:lnTo>
                      <a:pt x="141" y="3"/>
                    </a:lnTo>
                    <a:lnTo>
                      <a:pt x="166" y="12"/>
                    </a:lnTo>
                    <a:lnTo>
                      <a:pt x="187" y="25"/>
                    </a:lnTo>
                    <a:lnTo>
                      <a:pt x="206" y="43"/>
                    </a:lnTo>
                    <a:lnTo>
                      <a:pt x="219" y="64"/>
                    </a:lnTo>
                    <a:lnTo>
                      <a:pt x="227" y="88"/>
                    </a:lnTo>
                    <a:lnTo>
                      <a:pt x="230" y="114"/>
                    </a:lnTo>
                    <a:lnTo>
                      <a:pt x="230" y="798"/>
                    </a:lnTo>
                    <a:lnTo>
                      <a:pt x="227" y="824"/>
                    </a:lnTo>
                    <a:lnTo>
                      <a:pt x="219" y="848"/>
                    </a:lnTo>
                    <a:lnTo>
                      <a:pt x="206" y="869"/>
                    </a:lnTo>
                    <a:lnTo>
                      <a:pt x="187" y="887"/>
                    </a:lnTo>
                    <a:lnTo>
                      <a:pt x="166" y="900"/>
                    </a:lnTo>
                    <a:lnTo>
                      <a:pt x="141" y="909"/>
                    </a:lnTo>
                    <a:lnTo>
                      <a:pt x="115" y="911"/>
                    </a:lnTo>
                    <a:lnTo>
                      <a:pt x="88" y="909"/>
                    </a:lnTo>
                    <a:lnTo>
                      <a:pt x="64" y="900"/>
                    </a:lnTo>
                    <a:lnTo>
                      <a:pt x="42" y="887"/>
                    </a:lnTo>
                    <a:lnTo>
                      <a:pt x="25" y="869"/>
                    </a:lnTo>
                    <a:lnTo>
                      <a:pt x="11" y="848"/>
                    </a:lnTo>
                    <a:lnTo>
                      <a:pt x="3" y="824"/>
                    </a:lnTo>
                    <a:lnTo>
                      <a:pt x="0" y="798"/>
                    </a:lnTo>
                    <a:lnTo>
                      <a:pt x="0" y="114"/>
                    </a:lnTo>
                    <a:lnTo>
                      <a:pt x="3" y="88"/>
                    </a:lnTo>
                    <a:lnTo>
                      <a:pt x="11" y="64"/>
                    </a:lnTo>
                    <a:lnTo>
                      <a:pt x="25" y="43"/>
                    </a:lnTo>
                    <a:lnTo>
                      <a:pt x="42" y="25"/>
                    </a:lnTo>
                    <a:lnTo>
                      <a:pt x="64" y="12"/>
                    </a:lnTo>
                    <a:lnTo>
                      <a:pt x="88" y="3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92" name="Freeform 171"/>
              <p:cNvSpPr>
                <a:spLocks/>
              </p:cNvSpPr>
              <p:nvPr/>
            </p:nvSpPr>
            <p:spPr bwMode="auto">
              <a:xfrm>
                <a:off x="-1919" y="3510"/>
                <a:ext cx="679" cy="440"/>
              </a:xfrm>
              <a:custGeom>
                <a:avLst/>
                <a:gdLst>
                  <a:gd name="T0" fmla="*/ 3240 w 3394"/>
                  <a:gd name="T1" fmla="*/ 0 h 2203"/>
                  <a:gd name="T2" fmla="*/ 3300 w 3394"/>
                  <a:gd name="T3" fmla="*/ 11 h 2203"/>
                  <a:gd name="T4" fmla="*/ 3349 w 3394"/>
                  <a:gd name="T5" fmla="*/ 44 h 2203"/>
                  <a:gd name="T6" fmla="*/ 3382 w 3394"/>
                  <a:gd name="T7" fmla="*/ 92 h 2203"/>
                  <a:gd name="T8" fmla="*/ 3394 w 3394"/>
                  <a:gd name="T9" fmla="*/ 152 h 2203"/>
                  <a:gd name="T10" fmla="*/ 3187 w 3394"/>
                  <a:gd name="T11" fmla="*/ 1669 h 2203"/>
                  <a:gd name="T12" fmla="*/ 3245 w 3394"/>
                  <a:gd name="T13" fmla="*/ 1543 h 2203"/>
                  <a:gd name="T14" fmla="*/ 3281 w 3394"/>
                  <a:gd name="T15" fmla="*/ 1409 h 2203"/>
                  <a:gd name="T16" fmla="*/ 3294 w 3394"/>
                  <a:gd name="T17" fmla="*/ 1271 h 2203"/>
                  <a:gd name="T18" fmla="*/ 3282 w 3394"/>
                  <a:gd name="T19" fmla="*/ 1139 h 2203"/>
                  <a:gd name="T20" fmla="*/ 3251 w 3394"/>
                  <a:gd name="T21" fmla="*/ 1012 h 2203"/>
                  <a:gd name="T22" fmla="*/ 3199 w 3394"/>
                  <a:gd name="T23" fmla="*/ 894 h 2203"/>
                  <a:gd name="T24" fmla="*/ 3128 w 3394"/>
                  <a:gd name="T25" fmla="*/ 783 h 2203"/>
                  <a:gd name="T26" fmla="*/ 3085 w 3394"/>
                  <a:gd name="T27" fmla="*/ 304 h 2203"/>
                  <a:gd name="T28" fmla="*/ 309 w 3394"/>
                  <a:gd name="T29" fmla="*/ 1899 h 2203"/>
                  <a:gd name="T30" fmla="*/ 1989 w 3394"/>
                  <a:gd name="T31" fmla="*/ 1937 h 2203"/>
                  <a:gd name="T32" fmla="*/ 2097 w 3394"/>
                  <a:gd name="T33" fmla="*/ 2001 h 2203"/>
                  <a:gd name="T34" fmla="*/ 2214 w 3394"/>
                  <a:gd name="T35" fmla="*/ 2048 h 2203"/>
                  <a:gd name="T36" fmla="*/ 2338 w 3394"/>
                  <a:gd name="T37" fmla="*/ 2077 h 2203"/>
                  <a:gd name="T38" fmla="*/ 2465 w 3394"/>
                  <a:gd name="T39" fmla="*/ 2086 h 2203"/>
                  <a:gd name="T40" fmla="*/ 2607 w 3394"/>
                  <a:gd name="T41" fmla="*/ 2074 h 2203"/>
                  <a:gd name="T42" fmla="*/ 2743 w 3394"/>
                  <a:gd name="T43" fmla="*/ 2039 h 2203"/>
                  <a:gd name="T44" fmla="*/ 2871 w 3394"/>
                  <a:gd name="T45" fmla="*/ 1980 h 2203"/>
                  <a:gd name="T46" fmla="*/ 3089 w 3394"/>
                  <a:gd name="T47" fmla="*/ 2195 h 2203"/>
                  <a:gd name="T48" fmla="*/ 3098 w 3394"/>
                  <a:gd name="T49" fmla="*/ 2203 h 2203"/>
                  <a:gd name="T50" fmla="*/ 124 w 3394"/>
                  <a:gd name="T51" fmla="*/ 2199 h 2203"/>
                  <a:gd name="T52" fmla="*/ 69 w 3394"/>
                  <a:gd name="T53" fmla="*/ 2177 h 2203"/>
                  <a:gd name="T54" fmla="*/ 26 w 3394"/>
                  <a:gd name="T55" fmla="*/ 2135 h 2203"/>
                  <a:gd name="T56" fmla="*/ 3 w 3394"/>
                  <a:gd name="T57" fmla="*/ 2081 h 2203"/>
                  <a:gd name="T58" fmla="*/ 0 w 3394"/>
                  <a:gd name="T59" fmla="*/ 152 h 2203"/>
                  <a:gd name="T60" fmla="*/ 12 w 3394"/>
                  <a:gd name="T61" fmla="*/ 93 h 2203"/>
                  <a:gd name="T62" fmla="*/ 46 w 3394"/>
                  <a:gd name="T63" fmla="*/ 44 h 2203"/>
                  <a:gd name="T64" fmla="*/ 95 w 3394"/>
                  <a:gd name="T65" fmla="*/ 11 h 2203"/>
                  <a:gd name="T66" fmla="*/ 155 w 3394"/>
                  <a:gd name="T67" fmla="*/ 0 h 2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394" h="2203">
                    <a:moveTo>
                      <a:pt x="155" y="0"/>
                    </a:moveTo>
                    <a:lnTo>
                      <a:pt x="3240" y="0"/>
                    </a:lnTo>
                    <a:lnTo>
                      <a:pt x="3271" y="3"/>
                    </a:lnTo>
                    <a:lnTo>
                      <a:pt x="3300" y="11"/>
                    </a:lnTo>
                    <a:lnTo>
                      <a:pt x="3326" y="26"/>
                    </a:lnTo>
                    <a:lnTo>
                      <a:pt x="3349" y="44"/>
                    </a:lnTo>
                    <a:lnTo>
                      <a:pt x="3368" y="67"/>
                    </a:lnTo>
                    <a:lnTo>
                      <a:pt x="3382" y="92"/>
                    </a:lnTo>
                    <a:lnTo>
                      <a:pt x="3391" y="121"/>
                    </a:lnTo>
                    <a:lnTo>
                      <a:pt x="3394" y="152"/>
                    </a:lnTo>
                    <a:lnTo>
                      <a:pt x="3394" y="1874"/>
                    </a:lnTo>
                    <a:lnTo>
                      <a:pt x="3187" y="1669"/>
                    </a:lnTo>
                    <a:lnTo>
                      <a:pt x="3219" y="1608"/>
                    </a:lnTo>
                    <a:lnTo>
                      <a:pt x="3245" y="1543"/>
                    </a:lnTo>
                    <a:lnTo>
                      <a:pt x="3266" y="1478"/>
                    </a:lnTo>
                    <a:lnTo>
                      <a:pt x="3281" y="1409"/>
                    </a:lnTo>
                    <a:lnTo>
                      <a:pt x="3291" y="1341"/>
                    </a:lnTo>
                    <a:lnTo>
                      <a:pt x="3294" y="1271"/>
                    </a:lnTo>
                    <a:lnTo>
                      <a:pt x="3291" y="1205"/>
                    </a:lnTo>
                    <a:lnTo>
                      <a:pt x="3282" y="1139"/>
                    </a:lnTo>
                    <a:lnTo>
                      <a:pt x="3269" y="1075"/>
                    </a:lnTo>
                    <a:lnTo>
                      <a:pt x="3251" y="1012"/>
                    </a:lnTo>
                    <a:lnTo>
                      <a:pt x="3227" y="952"/>
                    </a:lnTo>
                    <a:lnTo>
                      <a:pt x="3199" y="894"/>
                    </a:lnTo>
                    <a:lnTo>
                      <a:pt x="3166" y="836"/>
                    </a:lnTo>
                    <a:lnTo>
                      <a:pt x="3128" y="783"/>
                    </a:lnTo>
                    <a:lnTo>
                      <a:pt x="3085" y="732"/>
                    </a:lnTo>
                    <a:lnTo>
                      <a:pt x="3085" y="304"/>
                    </a:lnTo>
                    <a:lnTo>
                      <a:pt x="309" y="304"/>
                    </a:lnTo>
                    <a:lnTo>
                      <a:pt x="309" y="1899"/>
                    </a:lnTo>
                    <a:lnTo>
                      <a:pt x="1938" y="1899"/>
                    </a:lnTo>
                    <a:lnTo>
                      <a:pt x="1989" y="1937"/>
                    </a:lnTo>
                    <a:lnTo>
                      <a:pt x="2042" y="1971"/>
                    </a:lnTo>
                    <a:lnTo>
                      <a:pt x="2097" y="2001"/>
                    </a:lnTo>
                    <a:lnTo>
                      <a:pt x="2155" y="2027"/>
                    </a:lnTo>
                    <a:lnTo>
                      <a:pt x="2214" y="2048"/>
                    </a:lnTo>
                    <a:lnTo>
                      <a:pt x="2275" y="2064"/>
                    </a:lnTo>
                    <a:lnTo>
                      <a:pt x="2338" y="2077"/>
                    </a:lnTo>
                    <a:lnTo>
                      <a:pt x="2401" y="2084"/>
                    </a:lnTo>
                    <a:lnTo>
                      <a:pt x="2465" y="2086"/>
                    </a:lnTo>
                    <a:lnTo>
                      <a:pt x="2537" y="2083"/>
                    </a:lnTo>
                    <a:lnTo>
                      <a:pt x="2607" y="2074"/>
                    </a:lnTo>
                    <a:lnTo>
                      <a:pt x="2675" y="2059"/>
                    </a:lnTo>
                    <a:lnTo>
                      <a:pt x="2743" y="2039"/>
                    </a:lnTo>
                    <a:lnTo>
                      <a:pt x="2808" y="2012"/>
                    </a:lnTo>
                    <a:lnTo>
                      <a:pt x="2871" y="1980"/>
                    </a:lnTo>
                    <a:lnTo>
                      <a:pt x="3085" y="2191"/>
                    </a:lnTo>
                    <a:lnTo>
                      <a:pt x="3089" y="2195"/>
                    </a:lnTo>
                    <a:lnTo>
                      <a:pt x="3094" y="2198"/>
                    </a:lnTo>
                    <a:lnTo>
                      <a:pt x="3098" y="2203"/>
                    </a:lnTo>
                    <a:lnTo>
                      <a:pt x="155" y="2203"/>
                    </a:lnTo>
                    <a:lnTo>
                      <a:pt x="124" y="2199"/>
                    </a:lnTo>
                    <a:lnTo>
                      <a:pt x="95" y="2190"/>
                    </a:lnTo>
                    <a:lnTo>
                      <a:pt x="69" y="2177"/>
                    </a:lnTo>
                    <a:lnTo>
                      <a:pt x="46" y="2158"/>
                    </a:lnTo>
                    <a:lnTo>
                      <a:pt x="26" y="2135"/>
                    </a:lnTo>
                    <a:lnTo>
                      <a:pt x="12" y="2109"/>
                    </a:lnTo>
                    <a:lnTo>
                      <a:pt x="3" y="2081"/>
                    </a:lnTo>
                    <a:lnTo>
                      <a:pt x="0" y="2051"/>
                    </a:lnTo>
                    <a:lnTo>
                      <a:pt x="0" y="152"/>
                    </a:lnTo>
                    <a:lnTo>
                      <a:pt x="3" y="121"/>
                    </a:lnTo>
                    <a:lnTo>
                      <a:pt x="12" y="93"/>
                    </a:lnTo>
                    <a:lnTo>
                      <a:pt x="26" y="67"/>
                    </a:lnTo>
                    <a:lnTo>
                      <a:pt x="46" y="44"/>
                    </a:lnTo>
                    <a:lnTo>
                      <a:pt x="69" y="26"/>
                    </a:lnTo>
                    <a:lnTo>
                      <a:pt x="95" y="11"/>
                    </a:lnTo>
                    <a:lnTo>
                      <a:pt x="124" y="3"/>
                    </a:lnTo>
                    <a:lnTo>
                      <a:pt x="1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93" name="Freeform 172"/>
              <p:cNvSpPr>
                <a:spLocks noEditPoints="1"/>
              </p:cNvSpPr>
              <p:nvPr/>
            </p:nvSpPr>
            <p:spPr bwMode="auto">
              <a:xfrm>
                <a:off x="-1561" y="3631"/>
                <a:ext cx="304" cy="299"/>
              </a:xfrm>
              <a:custGeom>
                <a:avLst/>
                <a:gdLst>
                  <a:gd name="T0" fmla="*/ 568 w 1520"/>
                  <a:gd name="T1" fmla="*/ 146 h 1495"/>
                  <a:gd name="T2" fmla="*/ 422 w 1520"/>
                  <a:gd name="T3" fmla="*/ 198 h 1495"/>
                  <a:gd name="T4" fmla="*/ 295 w 1520"/>
                  <a:gd name="T5" fmla="*/ 291 h 1495"/>
                  <a:gd name="T6" fmla="*/ 202 w 1520"/>
                  <a:gd name="T7" fmla="*/ 415 h 1495"/>
                  <a:gd name="T8" fmla="*/ 149 w 1520"/>
                  <a:gd name="T9" fmla="*/ 560 h 1495"/>
                  <a:gd name="T10" fmla="*/ 141 w 1520"/>
                  <a:gd name="T11" fmla="*/ 715 h 1495"/>
                  <a:gd name="T12" fmla="*/ 179 w 1520"/>
                  <a:gd name="T13" fmla="*/ 865 h 1495"/>
                  <a:gd name="T14" fmla="*/ 260 w 1520"/>
                  <a:gd name="T15" fmla="*/ 997 h 1495"/>
                  <a:gd name="T16" fmla="*/ 377 w 1520"/>
                  <a:gd name="T17" fmla="*/ 1101 h 1495"/>
                  <a:gd name="T18" fmla="*/ 518 w 1520"/>
                  <a:gd name="T19" fmla="*/ 1168 h 1495"/>
                  <a:gd name="T20" fmla="*/ 673 w 1520"/>
                  <a:gd name="T21" fmla="*/ 1190 h 1495"/>
                  <a:gd name="T22" fmla="*/ 829 w 1520"/>
                  <a:gd name="T23" fmla="*/ 1168 h 1495"/>
                  <a:gd name="T24" fmla="*/ 971 w 1520"/>
                  <a:gd name="T25" fmla="*/ 1101 h 1495"/>
                  <a:gd name="T26" fmla="*/ 1088 w 1520"/>
                  <a:gd name="T27" fmla="*/ 997 h 1495"/>
                  <a:gd name="T28" fmla="*/ 1168 w 1520"/>
                  <a:gd name="T29" fmla="*/ 865 h 1495"/>
                  <a:gd name="T30" fmla="*/ 1207 w 1520"/>
                  <a:gd name="T31" fmla="*/ 715 h 1495"/>
                  <a:gd name="T32" fmla="*/ 1198 w 1520"/>
                  <a:gd name="T33" fmla="*/ 560 h 1495"/>
                  <a:gd name="T34" fmla="*/ 1146 w 1520"/>
                  <a:gd name="T35" fmla="*/ 415 h 1495"/>
                  <a:gd name="T36" fmla="*/ 1053 w 1520"/>
                  <a:gd name="T37" fmla="*/ 291 h 1495"/>
                  <a:gd name="T38" fmla="*/ 926 w 1520"/>
                  <a:gd name="T39" fmla="*/ 198 h 1495"/>
                  <a:gd name="T40" fmla="*/ 779 w 1520"/>
                  <a:gd name="T41" fmla="*/ 146 h 1495"/>
                  <a:gd name="T42" fmla="*/ 673 w 1520"/>
                  <a:gd name="T43" fmla="*/ 0 h 1495"/>
                  <a:gd name="T44" fmla="*/ 849 w 1520"/>
                  <a:gd name="T45" fmla="*/ 23 h 1495"/>
                  <a:gd name="T46" fmla="*/ 1010 w 1520"/>
                  <a:gd name="T47" fmla="*/ 88 h 1495"/>
                  <a:gd name="T48" fmla="*/ 1151 w 1520"/>
                  <a:gd name="T49" fmla="*/ 195 h 1495"/>
                  <a:gd name="T50" fmla="*/ 1258 w 1520"/>
                  <a:gd name="T51" fmla="*/ 332 h 1495"/>
                  <a:gd name="T52" fmla="*/ 1324 w 1520"/>
                  <a:gd name="T53" fmla="*/ 490 h 1495"/>
                  <a:gd name="T54" fmla="*/ 1347 w 1520"/>
                  <a:gd name="T55" fmla="*/ 663 h 1495"/>
                  <a:gd name="T56" fmla="*/ 1322 w 1520"/>
                  <a:gd name="T57" fmla="*/ 841 h 1495"/>
                  <a:gd name="T58" fmla="*/ 1251 w 1520"/>
                  <a:gd name="T59" fmla="*/ 1004 h 1495"/>
                  <a:gd name="T60" fmla="*/ 1211 w 1520"/>
                  <a:gd name="T61" fmla="*/ 1132 h 1495"/>
                  <a:gd name="T62" fmla="*/ 1256 w 1520"/>
                  <a:gd name="T63" fmla="*/ 1142 h 1495"/>
                  <a:gd name="T64" fmla="*/ 1511 w 1520"/>
                  <a:gd name="T65" fmla="*/ 1395 h 1495"/>
                  <a:gd name="T66" fmla="*/ 1517 w 1520"/>
                  <a:gd name="T67" fmla="*/ 1445 h 1495"/>
                  <a:gd name="T68" fmla="*/ 1485 w 1520"/>
                  <a:gd name="T69" fmla="*/ 1487 h 1495"/>
                  <a:gd name="T70" fmla="*/ 1433 w 1520"/>
                  <a:gd name="T71" fmla="*/ 1493 h 1495"/>
                  <a:gd name="T72" fmla="*/ 1170 w 1520"/>
                  <a:gd name="T73" fmla="*/ 1248 h 1495"/>
                  <a:gd name="T74" fmla="*/ 1151 w 1520"/>
                  <a:gd name="T75" fmla="*/ 1208 h 1495"/>
                  <a:gd name="T76" fmla="*/ 1070 w 1520"/>
                  <a:gd name="T77" fmla="*/ 1198 h 1495"/>
                  <a:gd name="T78" fmla="*/ 911 w 1520"/>
                  <a:gd name="T79" fmla="*/ 1283 h 1495"/>
                  <a:gd name="T80" fmla="*/ 735 w 1520"/>
                  <a:gd name="T81" fmla="*/ 1323 h 1495"/>
                  <a:gd name="T82" fmla="*/ 556 w 1520"/>
                  <a:gd name="T83" fmla="*/ 1316 h 1495"/>
                  <a:gd name="T84" fmla="*/ 390 w 1520"/>
                  <a:gd name="T85" fmla="*/ 1264 h 1495"/>
                  <a:gd name="T86" fmla="*/ 242 w 1520"/>
                  <a:gd name="T87" fmla="*/ 1172 h 1495"/>
                  <a:gd name="T88" fmla="*/ 122 w 1520"/>
                  <a:gd name="T89" fmla="*/ 1043 h 1495"/>
                  <a:gd name="T90" fmla="*/ 40 w 1520"/>
                  <a:gd name="T91" fmla="*/ 890 h 1495"/>
                  <a:gd name="T92" fmla="*/ 3 w 1520"/>
                  <a:gd name="T93" fmla="*/ 722 h 1495"/>
                  <a:gd name="T94" fmla="*/ 10 w 1520"/>
                  <a:gd name="T95" fmla="*/ 547 h 1495"/>
                  <a:gd name="T96" fmla="*/ 63 w 1520"/>
                  <a:gd name="T97" fmla="*/ 383 h 1495"/>
                  <a:gd name="T98" fmla="*/ 157 w 1520"/>
                  <a:gd name="T99" fmla="*/ 238 h 1495"/>
                  <a:gd name="T100" fmla="*/ 288 w 1520"/>
                  <a:gd name="T101" fmla="*/ 119 h 1495"/>
                  <a:gd name="T102" fmla="*/ 443 w 1520"/>
                  <a:gd name="T103" fmla="*/ 40 h 1495"/>
                  <a:gd name="T104" fmla="*/ 614 w 1520"/>
                  <a:gd name="T105" fmla="*/ 2 h 1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20" h="1495">
                    <a:moveTo>
                      <a:pt x="673" y="136"/>
                    </a:moveTo>
                    <a:lnTo>
                      <a:pt x="620" y="138"/>
                    </a:lnTo>
                    <a:lnTo>
                      <a:pt x="568" y="146"/>
                    </a:lnTo>
                    <a:lnTo>
                      <a:pt x="518" y="159"/>
                    </a:lnTo>
                    <a:lnTo>
                      <a:pt x="469" y="176"/>
                    </a:lnTo>
                    <a:lnTo>
                      <a:pt x="422" y="198"/>
                    </a:lnTo>
                    <a:lnTo>
                      <a:pt x="377" y="224"/>
                    </a:lnTo>
                    <a:lnTo>
                      <a:pt x="335" y="255"/>
                    </a:lnTo>
                    <a:lnTo>
                      <a:pt x="295" y="291"/>
                    </a:lnTo>
                    <a:lnTo>
                      <a:pt x="260" y="330"/>
                    </a:lnTo>
                    <a:lnTo>
                      <a:pt x="229" y="371"/>
                    </a:lnTo>
                    <a:lnTo>
                      <a:pt x="202" y="415"/>
                    </a:lnTo>
                    <a:lnTo>
                      <a:pt x="179" y="462"/>
                    </a:lnTo>
                    <a:lnTo>
                      <a:pt x="161" y="510"/>
                    </a:lnTo>
                    <a:lnTo>
                      <a:pt x="149" y="560"/>
                    </a:lnTo>
                    <a:lnTo>
                      <a:pt x="141" y="611"/>
                    </a:lnTo>
                    <a:lnTo>
                      <a:pt x="138" y="663"/>
                    </a:lnTo>
                    <a:lnTo>
                      <a:pt x="141" y="715"/>
                    </a:lnTo>
                    <a:lnTo>
                      <a:pt x="149" y="767"/>
                    </a:lnTo>
                    <a:lnTo>
                      <a:pt x="161" y="817"/>
                    </a:lnTo>
                    <a:lnTo>
                      <a:pt x="179" y="865"/>
                    </a:lnTo>
                    <a:lnTo>
                      <a:pt x="202" y="911"/>
                    </a:lnTo>
                    <a:lnTo>
                      <a:pt x="229" y="955"/>
                    </a:lnTo>
                    <a:lnTo>
                      <a:pt x="260" y="997"/>
                    </a:lnTo>
                    <a:lnTo>
                      <a:pt x="295" y="1036"/>
                    </a:lnTo>
                    <a:lnTo>
                      <a:pt x="335" y="1071"/>
                    </a:lnTo>
                    <a:lnTo>
                      <a:pt x="377" y="1101"/>
                    </a:lnTo>
                    <a:lnTo>
                      <a:pt x="422" y="1128"/>
                    </a:lnTo>
                    <a:lnTo>
                      <a:pt x="469" y="1150"/>
                    </a:lnTo>
                    <a:lnTo>
                      <a:pt x="518" y="1168"/>
                    </a:lnTo>
                    <a:lnTo>
                      <a:pt x="568" y="1180"/>
                    </a:lnTo>
                    <a:lnTo>
                      <a:pt x="620" y="1187"/>
                    </a:lnTo>
                    <a:lnTo>
                      <a:pt x="673" y="1190"/>
                    </a:lnTo>
                    <a:lnTo>
                      <a:pt x="726" y="1187"/>
                    </a:lnTo>
                    <a:lnTo>
                      <a:pt x="779" y="1180"/>
                    </a:lnTo>
                    <a:lnTo>
                      <a:pt x="829" y="1168"/>
                    </a:lnTo>
                    <a:lnTo>
                      <a:pt x="879" y="1150"/>
                    </a:lnTo>
                    <a:lnTo>
                      <a:pt x="926" y="1128"/>
                    </a:lnTo>
                    <a:lnTo>
                      <a:pt x="971" y="1101"/>
                    </a:lnTo>
                    <a:lnTo>
                      <a:pt x="1013" y="1071"/>
                    </a:lnTo>
                    <a:lnTo>
                      <a:pt x="1053" y="1036"/>
                    </a:lnTo>
                    <a:lnTo>
                      <a:pt x="1088" y="997"/>
                    </a:lnTo>
                    <a:lnTo>
                      <a:pt x="1119" y="955"/>
                    </a:lnTo>
                    <a:lnTo>
                      <a:pt x="1146" y="911"/>
                    </a:lnTo>
                    <a:lnTo>
                      <a:pt x="1168" y="865"/>
                    </a:lnTo>
                    <a:lnTo>
                      <a:pt x="1186" y="817"/>
                    </a:lnTo>
                    <a:lnTo>
                      <a:pt x="1198" y="767"/>
                    </a:lnTo>
                    <a:lnTo>
                      <a:pt x="1207" y="715"/>
                    </a:lnTo>
                    <a:lnTo>
                      <a:pt x="1209" y="663"/>
                    </a:lnTo>
                    <a:lnTo>
                      <a:pt x="1207" y="611"/>
                    </a:lnTo>
                    <a:lnTo>
                      <a:pt x="1198" y="560"/>
                    </a:lnTo>
                    <a:lnTo>
                      <a:pt x="1186" y="510"/>
                    </a:lnTo>
                    <a:lnTo>
                      <a:pt x="1168" y="462"/>
                    </a:lnTo>
                    <a:lnTo>
                      <a:pt x="1146" y="415"/>
                    </a:lnTo>
                    <a:lnTo>
                      <a:pt x="1119" y="371"/>
                    </a:lnTo>
                    <a:lnTo>
                      <a:pt x="1088" y="330"/>
                    </a:lnTo>
                    <a:lnTo>
                      <a:pt x="1053" y="291"/>
                    </a:lnTo>
                    <a:lnTo>
                      <a:pt x="1013" y="255"/>
                    </a:lnTo>
                    <a:lnTo>
                      <a:pt x="971" y="224"/>
                    </a:lnTo>
                    <a:lnTo>
                      <a:pt x="926" y="198"/>
                    </a:lnTo>
                    <a:lnTo>
                      <a:pt x="879" y="176"/>
                    </a:lnTo>
                    <a:lnTo>
                      <a:pt x="829" y="159"/>
                    </a:lnTo>
                    <a:lnTo>
                      <a:pt x="779" y="146"/>
                    </a:lnTo>
                    <a:lnTo>
                      <a:pt x="726" y="138"/>
                    </a:lnTo>
                    <a:lnTo>
                      <a:pt x="673" y="136"/>
                    </a:lnTo>
                    <a:close/>
                    <a:moveTo>
                      <a:pt x="673" y="0"/>
                    </a:moveTo>
                    <a:lnTo>
                      <a:pt x="734" y="2"/>
                    </a:lnTo>
                    <a:lnTo>
                      <a:pt x="792" y="10"/>
                    </a:lnTo>
                    <a:lnTo>
                      <a:pt x="849" y="23"/>
                    </a:lnTo>
                    <a:lnTo>
                      <a:pt x="904" y="40"/>
                    </a:lnTo>
                    <a:lnTo>
                      <a:pt x="958" y="61"/>
                    </a:lnTo>
                    <a:lnTo>
                      <a:pt x="1010" y="88"/>
                    </a:lnTo>
                    <a:lnTo>
                      <a:pt x="1059" y="119"/>
                    </a:lnTo>
                    <a:lnTo>
                      <a:pt x="1106" y="155"/>
                    </a:lnTo>
                    <a:lnTo>
                      <a:pt x="1151" y="195"/>
                    </a:lnTo>
                    <a:lnTo>
                      <a:pt x="1190" y="238"/>
                    </a:lnTo>
                    <a:lnTo>
                      <a:pt x="1226" y="284"/>
                    </a:lnTo>
                    <a:lnTo>
                      <a:pt x="1258" y="332"/>
                    </a:lnTo>
                    <a:lnTo>
                      <a:pt x="1285" y="383"/>
                    </a:lnTo>
                    <a:lnTo>
                      <a:pt x="1306" y="436"/>
                    </a:lnTo>
                    <a:lnTo>
                      <a:pt x="1324" y="490"/>
                    </a:lnTo>
                    <a:lnTo>
                      <a:pt x="1337" y="547"/>
                    </a:lnTo>
                    <a:lnTo>
                      <a:pt x="1345" y="604"/>
                    </a:lnTo>
                    <a:lnTo>
                      <a:pt x="1347" y="663"/>
                    </a:lnTo>
                    <a:lnTo>
                      <a:pt x="1344" y="724"/>
                    </a:lnTo>
                    <a:lnTo>
                      <a:pt x="1337" y="783"/>
                    </a:lnTo>
                    <a:lnTo>
                      <a:pt x="1322" y="841"/>
                    </a:lnTo>
                    <a:lnTo>
                      <a:pt x="1303" y="898"/>
                    </a:lnTo>
                    <a:lnTo>
                      <a:pt x="1279" y="952"/>
                    </a:lnTo>
                    <a:lnTo>
                      <a:pt x="1251" y="1004"/>
                    </a:lnTo>
                    <a:lnTo>
                      <a:pt x="1217" y="1053"/>
                    </a:lnTo>
                    <a:lnTo>
                      <a:pt x="1179" y="1100"/>
                    </a:lnTo>
                    <a:lnTo>
                      <a:pt x="1211" y="1132"/>
                    </a:lnTo>
                    <a:lnTo>
                      <a:pt x="1226" y="1132"/>
                    </a:lnTo>
                    <a:lnTo>
                      <a:pt x="1241" y="1135"/>
                    </a:lnTo>
                    <a:lnTo>
                      <a:pt x="1256" y="1142"/>
                    </a:lnTo>
                    <a:lnTo>
                      <a:pt x="1268" y="1151"/>
                    </a:lnTo>
                    <a:lnTo>
                      <a:pt x="1500" y="1381"/>
                    </a:lnTo>
                    <a:lnTo>
                      <a:pt x="1511" y="1395"/>
                    </a:lnTo>
                    <a:lnTo>
                      <a:pt x="1517" y="1411"/>
                    </a:lnTo>
                    <a:lnTo>
                      <a:pt x="1520" y="1428"/>
                    </a:lnTo>
                    <a:lnTo>
                      <a:pt x="1517" y="1445"/>
                    </a:lnTo>
                    <a:lnTo>
                      <a:pt x="1511" y="1462"/>
                    </a:lnTo>
                    <a:lnTo>
                      <a:pt x="1500" y="1476"/>
                    </a:lnTo>
                    <a:lnTo>
                      <a:pt x="1485" y="1487"/>
                    </a:lnTo>
                    <a:lnTo>
                      <a:pt x="1469" y="1493"/>
                    </a:lnTo>
                    <a:lnTo>
                      <a:pt x="1451" y="1495"/>
                    </a:lnTo>
                    <a:lnTo>
                      <a:pt x="1433" y="1493"/>
                    </a:lnTo>
                    <a:lnTo>
                      <a:pt x="1417" y="1487"/>
                    </a:lnTo>
                    <a:lnTo>
                      <a:pt x="1402" y="1476"/>
                    </a:lnTo>
                    <a:lnTo>
                      <a:pt x="1170" y="1248"/>
                    </a:lnTo>
                    <a:lnTo>
                      <a:pt x="1160" y="1235"/>
                    </a:lnTo>
                    <a:lnTo>
                      <a:pt x="1154" y="1222"/>
                    </a:lnTo>
                    <a:lnTo>
                      <a:pt x="1151" y="1208"/>
                    </a:lnTo>
                    <a:lnTo>
                      <a:pt x="1151" y="1192"/>
                    </a:lnTo>
                    <a:lnTo>
                      <a:pt x="1118" y="1161"/>
                    </a:lnTo>
                    <a:lnTo>
                      <a:pt x="1070" y="1198"/>
                    </a:lnTo>
                    <a:lnTo>
                      <a:pt x="1020" y="1231"/>
                    </a:lnTo>
                    <a:lnTo>
                      <a:pt x="967" y="1260"/>
                    </a:lnTo>
                    <a:lnTo>
                      <a:pt x="911" y="1283"/>
                    </a:lnTo>
                    <a:lnTo>
                      <a:pt x="854" y="1302"/>
                    </a:lnTo>
                    <a:lnTo>
                      <a:pt x="796" y="1315"/>
                    </a:lnTo>
                    <a:lnTo>
                      <a:pt x="735" y="1323"/>
                    </a:lnTo>
                    <a:lnTo>
                      <a:pt x="673" y="1326"/>
                    </a:lnTo>
                    <a:lnTo>
                      <a:pt x="614" y="1323"/>
                    </a:lnTo>
                    <a:lnTo>
                      <a:pt x="556" y="1316"/>
                    </a:lnTo>
                    <a:lnTo>
                      <a:pt x="499" y="1304"/>
                    </a:lnTo>
                    <a:lnTo>
                      <a:pt x="443" y="1287"/>
                    </a:lnTo>
                    <a:lnTo>
                      <a:pt x="390" y="1264"/>
                    </a:lnTo>
                    <a:lnTo>
                      <a:pt x="338" y="1238"/>
                    </a:lnTo>
                    <a:lnTo>
                      <a:pt x="288" y="1207"/>
                    </a:lnTo>
                    <a:lnTo>
                      <a:pt x="242" y="1172"/>
                    </a:lnTo>
                    <a:lnTo>
                      <a:pt x="197" y="1132"/>
                    </a:lnTo>
                    <a:lnTo>
                      <a:pt x="157" y="1089"/>
                    </a:lnTo>
                    <a:lnTo>
                      <a:pt x="122" y="1043"/>
                    </a:lnTo>
                    <a:lnTo>
                      <a:pt x="90" y="994"/>
                    </a:lnTo>
                    <a:lnTo>
                      <a:pt x="63" y="943"/>
                    </a:lnTo>
                    <a:lnTo>
                      <a:pt x="40" y="890"/>
                    </a:lnTo>
                    <a:lnTo>
                      <a:pt x="23" y="835"/>
                    </a:lnTo>
                    <a:lnTo>
                      <a:pt x="10" y="779"/>
                    </a:lnTo>
                    <a:lnTo>
                      <a:pt x="3" y="722"/>
                    </a:lnTo>
                    <a:lnTo>
                      <a:pt x="0" y="663"/>
                    </a:lnTo>
                    <a:lnTo>
                      <a:pt x="3" y="604"/>
                    </a:lnTo>
                    <a:lnTo>
                      <a:pt x="10" y="547"/>
                    </a:lnTo>
                    <a:lnTo>
                      <a:pt x="23" y="490"/>
                    </a:lnTo>
                    <a:lnTo>
                      <a:pt x="40" y="436"/>
                    </a:lnTo>
                    <a:lnTo>
                      <a:pt x="63" y="383"/>
                    </a:lnTo>
                    <a:lnTo>
                      <a:pt x="90" y="332"/>
                    </a:lnTo>
                    <a:lnTo>
                      <a:pt x="122" y="284"/>
                    </a:lnTo>
                    <a:lnTo>
                      <a:pt x="157" y="238"/>
                    </a:lnTo>
                    <a:lnTo>
                      <a:pt x="197" y="195"/>
                    </a:lnTo>
                    <a:lnTo>
                      <a:pt x="242" y="155"/>
                    </a:lnTo>
                    <a:lnTo>
                      <a:pt x="288" y="119"/>
                    </a:lnTo>
                    <a:lnTo>
                      <a:pt x="338" y="88"/>
                    </a:lnTo>
                    <a:lnTo>
                      <a:pt x="390" y="61"/>
                    </a:lnTo>
                    <a:lnTo>
                      <a:pt x="443" y="40"/>
                    </a:lnTo>
                    <a:lnTo>
                      <a:pt x="499" y="23"/>
                    </a:lnTo>
                    <a:lnTo>
                      <a:pt x="556" y="10"/>
                    </a:lnTo>
                    <a:lnTo>
                      <a:pt x="614" y="2"/>
                    </a:lnTo>
                    <a:lnTo>
                      <a:pt x="6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135" name="Rectangle 134"/>
          <p:cNvSpPr/>
          <p:nvPr/>
        </p:nvSpPr>
        <p:spPr bwMode="ltGray">
          <a:xfrm>
            <a:off x="6174395" y="-2"/>
            <a:ext cx="2969606" cy="36852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  <a:latin typeface="+mj-lt"/>
              </a:rPr>
              <a:t>Промышленное производство, транспорт, розничные сети</a:t>
            </a:r>
            <a:endParaRPr lang="ru-RU" sz="9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8389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97102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1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i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i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721190"/>
            <a:ext cx="7389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rgbClr val="FFFFFF"/>
                </a:solidFill>
                <a:latin typeface="+mj-lt"/>
                <a:sym typeface="Helvetica Neue" charset="0"/>
              </a:rPr>
              <a:t>Машинное обучение</a:t>
            </a:r>
            <a:endParaRPr lang="ru-RU" sz="800" i="1" dirty="0">
              <a:solidFill>
                <a:srgbClr val="FFFFFF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0" name="Rectangle 17"/>
          <p:cNvSpPr>
            <a:spLocks/>
          </p:cNvSpPr>
          <p:nvPr/>
        </p:nvSpPr>
        <p:spPr bwMode="auto">
          <a:xfrm>
            <a:off x="246467" y="3233224"/>
            <a:ext cx="578356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050" i="1" dirty="0" smtClean="0">
                <a:solidFill>
                  <a:srgbClr val="FFFFFF"/>
                </a:solidFill>
                <a:latin typeface="+mj-lt"/>
                <a:sym typeface="Helvetica Neue" charset="0"/>
              </a:rPr>
              <a:t>Данные</a:t>
            </a:r>
            <a:endParaRPr lang="ru-RU" sz="1050" i="1" dirty="0">
              <a:solidFill>
                <a:srgbClr val="FFFFFF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i="1" dirty="0" smtClean="0">
                <a:solidFill>
                  <a:srgbClr val="FFFFFF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rgbClr val="FFFFFF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472895" y="5355801"/>
            <a:ext cx="3983138" cy="8002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i="1" dirty="0" smtClean="0">
                <a:solidFill>
                  <a:srgbClr val="A32020">
                    <a:lumMod val="40000"/>
                    <a:lumOff val="60000"/>
                  </a:srgbClr>
                </a:solidFill>
                <a:latin typeface="+mj-lt"/>
              </a:rPr>
              <a:t>Выявление мошеннических действий</a:t>
            </a:r>
          </a:p>
          <a:p>
            <a:r>
              <a:rPr lang="ru-RU" sz="1200" i="1" dirty="0" smtClean="0">
                <a:solidFill>
                  <a:srgbClr val="FFFFFF"/>
                </a:solidFill>
                <a:latin typeface="+mj-lt"/>
              </a:rPr>
              <a:t>анализ данных по закупкам на предмет выявления типичных тревожных сигналов в информационных отчетах внутреннего аудита</a:t>
            </a:r>
            <a:endParaRPr lang="ru-RU" sz="1200" i="1" dirty="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65" name="Straight Connector 64"/>
          <p:cNvCxnSpPr>
            <a:stCxn id="68" idx="5"/>
            <a:endCxn id="71" idx="1"/>
          </p:cNvCxnSpPr>
          <p:nvPr/>
        </p:nvCxnSpPr>
        <p:spPr>
          <a:xfrm>
            <a:off x="2848203" y="3379049"/>
            <a:ext cx="177295" cy="186110"/>
          </a:xfrm>
          <a:prstGeom prst="line">
            <a:avLst/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>
            <a:stCxn id="68" idx="6"/>
            <a:endCxn id="70" idx="2"/>
          </p:cNvCxnSpPr>
          <p:nvPr/>
        </p:nvCxnSpPr>
        <p:spPr>
          <a:xfrm flipV="1">
            <a:off x="3084168" y="2806064"/>
            <a:ext cx="258068" cy="3314"/>
          </a:xfrm>
          <a:prstGeom prst="line">
            <a:avLst/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stCxn id="68" idx="7"/>
            <a:endCxn id="69" idx="3"/>
          </p:cNvCxnSpPr>
          <p:nvPr/>
        </p:nvCxnSpPr>
        <p:spPr>
          <a:xfrm flipV="1">
            <a:off x="2848203" y="2046970"/>
            <a:ext cx="177295" cy="192736"/>
          </a:xfrm>
          <a:prstGeom prst="line">
            <a:avLst/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Oval 67"/>
          <p:cNvSpPr/>
          <p:nvPr/>
        </p:nvSpPr>
        <p:spPr bwMode="ltGray">
          <a:xfrm>
            <a:off x="1472895" y="2003741"/>
            <a:ext cx="1611273" cy="1611273"/>
          </a:xfrm>
          <a:prstGeom prst="ellipse">
            <a:avLst/>
          </a:prstGeom>
          <a:solidFill>
            <a:srgbClr val="8A867A"/>
          </a:solidFill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ru-RU" sz="1400" i="1" dirty="0" smtClean="0">
                <a:solidFill>
                  <a:srgbClr val="FFFFFF"/>
                </a:solidFill>
                <a:latin typeface="+mj-lt"/>
              </a:rPr>
              <a:t>Кадровая </a:t>
            </a:r>
            <a:r>
              <a:rPr i="1">
                <a:latin typeface="+mj-lt"/>
              </a:rPr>
              <a:t/>
            </a:r>
            <a:br>
              <a:rPr i="1">
                <a:latin typeface="+mj-lt"/>
              </a:rPr>
            </a:br>
            <a:r>
              <a:rPr lang="ru-RU" sz="1400" i="1" dirty="0" smtClean="0">
                <a:solidFill>
                  <a:srgbClr val="FFFFFF"/>
                </a:solidFill>
                <a:latin typeface="+mj-lt"/>
              </a:rPr>
              <a:t>оптимизация</a:t>
            </a:r>
            <a:endParaRPr lang="ru-RU" sz="1400" i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3874809" y="3615527"/>
            <a:ext cx="1096586" cy="4847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50" i="1" dirty="0" smtClean="0">
                <a:solidFill>
                  <a:srgbClr val="FFFFFF"/>
                </a:solidFill>
                <a:latin typeface="+mj-lt"/>
              </a:rPr>
              <a:t>Моделирование удержания персонала</a:t>
            </a:r>
            <a:endParaRPr lang="ru-RU" sz="1050" i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4325061" y="2644482"/>
            <a:ext cx="1412163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50" i="1" dirty="0" smtClean="0">
                <a:solidFill>
                  <a:srgbClr val="FFFFFF"/>
                </a:solidFill>
                <a:latin typeface="+mj-lt"/>
              </a:rPr>
              <a:t>Анализ производительности</a:t>
            </a:r>
            <a:endParaRPr lang="ru-RU" sz="1050" i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863327" y="1511854"/>
            <a:ext cx="1275985" cy="8079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50" i="1" dirty="0" smtClean="0">
                <a:solidFill>
                  <a:srgbClr val="FFFFFF"/>
                </a:solidFill>
                <a:latin typeface="+mj-lt"/>
              </a:rPr>
              <a:t>Анализ распределения ресурсов в сравнении со спросом</a:t>
            </a:r>
            <a:endParaRPr lang="ru-RU" sz="1050" i="1" dirty="0">
              <a:solidFill>
                <a:srgbClr val="FFFFFF"/>
              </a:solidFill>
              <a:latin typeface="+mj-lt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2904240" y="3443901"/>
            <a:ext cx="828000" cy="828000"/>
            <a:chOff x="2904240" y="3443901"/>
            <a:chExt cx="828000" cy="828000"/>
          </a:xfrm>
        </p:grpSpPr>
        <p:sp>
          <p:nvSpPr>
            <p:cNvPr id="71" name="Oval 70"/>
            <p:cNvSpPr/>
            <p:nvPr/>
          </p:nvSpPr>
          <p:spPr bwMode="ltGray">
            <a:xfrm>
              <a:off x="2904240" y="3443901"/>
              <a:ext cx="828000" cy="82800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smtClean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76" name="Freeform 4851"/>
            <p:cNvSpPr>
              <a:spLocks noEditPoints="1"/>
            </p:cNvSpPr>
            <p:nvPr/>
          </p:nvSpPr>
          <p:spPr bwMode="auto">
            <a:xfrm>
              <a:off x="3040997" y="3583544"/>
              <a:ext cx="554487" cy="585291"/>
            </a:xfrm>
            <a:custGeom>
              <a:avLst/>
              <a:gdLst>
                <a:gd name="T0" fmla="*/ 248 w 360"/>
                <a:gd name="T1" fmla="*/ 8 h 380"/>
                <a:gd name="T2" fmla="*/ 274 w 360"/>
                <a:gd name="T3" fmla="*/ 0 h 380"/>
                <a:gd name="T4" fmla="*/ 298 w 360"/>
                <a:gd name="T5" fmla="*/ 28 h 380"/>
                <a:gd name="T6" fmla="*/ 280 w 360"/>
                <a:gd name="T7" fmla="*/ 56 h 380"/>
                <a:gd name="T8" fmla="*/ 258 w 360"/>
                <a:gd name="T9" fmla="*/ 56 h 380"/>
                <a:gd name="T10" fmla="*/ 240 w 360"/>
                <a:gd name="T11" fmla="*/ 28 h 380"/>
                <a:gd name="T12" fmla="*/ 344 w 360"/>
                <a:gd name="T13" fmla="*/ 88 h 380"/>
                <a:gd name="T14" fmla="*/ 288 w 360"/>
                <a:gd name="T15" fmla="*/ 68 h 380"/>
                <a:gd name="T16" fmla="*/ 214 w 360"/>
                <a:gd name="T17" fmla="*/ 70 h 380"/>
                <a:gd name="T18" fmla="*/ 194 w 360"/>
                <a:gd name="T19" fmla="*/ 90 h 380"/>
                <a:gd name="T20" fmla="*/ 224 w 360"/>
                <a:gd name="T21" fmla="*/ 114 h 380"/>
                <a:gd name="T22" fmla="*/ 248 w 360"/>
                <a:gd name="T23" fmla="*/ 166 h 380"/>
                <a:gd name="T24" fmla="*/ 234 w 360"/>
                <a:gd name="T25" fmla="*/ 208 h 380"/>
                <a:gd name="T26" fmla="*/ 278 w 360"/>
                <a:gd name="T27" fmla="*/ 214 h 380"/>
                <a:gd name="T28" fmla="*/ 310 w 360"/>
                <a:gd name="T29" fmla="*/ 244 h 380"/>
                <a:gd name="T30" fmla="*/ 332 w 360"/>
                <a:gd name="T31" fmla="*/ 200 h 380"/>
                <a:gd name="T32" fmla="*/ 348 w 360"/>
                <a:gd name="T33" fmla="*/ 208 h 380"/>
                <a:gd name="T34" fmla="*/ 360 w 360"/>
                <a:gd name="T35" fmla="*/ 190 h 380"/>
                <a:gd name="T36" fmla="*/ 102 w 360"/>
                <a:gd name="T37" fmla="*/ 56 h 380"/>
                <a:gd name="T38" fmla="*/ 120 w 360"/>
                <a:gd name="T39" fmla="*/ 28 h 380"/>
                <a:gd name="T40" fmla="*/ 98 w 360"/>
                <a:gd name="T41" fmla="*/ 0 h 380"/>
                <a:gd name="T42" fmla="*/ 70 w 360"/>
                <a:gd name="T43" fmla="*/ 8 h 380"/>
                <a:gd name="T44" fmla="*/ 62 w 360"/>
                <a:gd name="T45" fmla="*/ 34 h 380"/>
                <a:gd name="T46" fmla="*/ 92 w 360"/>
                <a:gd name="T47" fmla="*/ 58 h 380"/>
                <a:gd name="T48" fmla="*/ 50 w 360"/>
                <a:gd name="T49" fmla="*/ 244 h 380"/>
                <a:gd name="T50" fmla="*/ 74 w 360"/>
                <a:gd name="T51" fmla="*/ 218 h 380"/>
                <a:gd name="T52" fmla="*/ 126 w 360"/>
                <a:gd name="T53" fmla="*/ 208 h 380"/>
                <a:gd name="T54" fmla="*/ 112 w 360"/>
                <a:gd name="T55" fmla="*/ 166 h 380"/>
                <a:gd name="T56" fmla="*/ 128 w 360"/>
                <a:gd name="T57" fmla="*/ 122 h 380"/>
                <a:gd name="T58" fmla="*/ 166 w 360"/>
                <a:gd name="T59" fmla="*/ 90 h 380"/>
                <a:gd name="T60" fmla="*/ 154 w 360"/>
                <a:gd name="T61" fmla="*/ 74 h 380"/>
                <a:gd name="T62" fmla="*/ 72 w 360"/>
                <a:gd name="T63" fmla="*/ 68 h 380"/>
                <a:gd name="T64" fmla="*/ 20 w 360"/>
                <a:gd name="T65" fmla="*/ 80 h 380"/>
                <a:gd name="T66" fmla="*/ 0 w 360"/>
                <a:gd name="T67" fmla="*/ 190 h 380"/>
                <a:gd name="T68" fmla="*/ 12 w 360"/>
                <a:gd name="T69" fmla="*/ 208 h 380"/>
                <a:gd name="T70" fmla="*/ 28 w 360"/>
                <a:gd name="T71" fmla="*/ 200 h 380"/>
                <a:gd name="T72" fmla="*/ 170 w 360"/>
                <a:gd name="T73" fmla="*/ 118 h 380"/>
                <a:gd name="T74" fmla="*/ 136 w 360"/>
                <a:gd name="T75" fmla="*/ 146 h 380"/>
                <a:gd name="T76" fmla="*/ 136 w 360"/>
                <a:gd name="T77" fmla="*/ 184 h 380"/>
                <a:gd name="T78" fmla="*/ 170 w 360"/>
                <a:gd name="T79" fmla="*/ 214 h 380"/>
                <a:gd name="T80" fmla="*/ 208 w 360"/>
                <a:gd name="T81" fmla="*/ 206 h 380"/>
                <a:gd name="T82" fmla="*/ 228 w 360"/>
                <a:gd name="T83" fmla="*/ 166 h 380"/>
                <a:gd name="T84" fmla="*/ 214 w 360"/>
                <a:gd name="T85" fmla="*/ 132 h 380"/>
                <a:gd name="T86" fmla="*/ 296 w 360"/>
                <a:gd name="T87" fmla="*/ 260 h 380"/>
                <a:gd name="T88" fmla="*/ 288 w 360"/>
                <a:gd name="T89" fmla="*/ 246 h 380"/>
                <a:gd name="T90" fmla="*/ 180 w 360"/>
                <a:gd name="T91" fmla="*/ 278 h 380"/>
                <a:gd name="T92" fmla="*/ 82 w 360"/>
                <a:gd name="T93" fmla="*/ 236 h 380"/>
                <a:gd name="T94" fmla="*/ 64 w 360"/>
                <a:gd name="T95" fmla="*/ 260 h 380"/>
                <a:gd name="T96" fmla="*/ 106 w 360"/>
                <a:gd name="T97" fmla="*/ 304 h 380"/>
                <a:gd name="T98" fmla="*/ 146 w 360"/>
                <a:gd name="T99" fmla="*/ 378 h 380"/>
                <a:gd name="T100" fmla="*/ 214 w 360"/>
                <a:gd name="T101" fmla="*/ 378 h 380"/>
                <a:gd name="T102" fmla="*/ 264 w 360"/>
                <a:gd name="T103" fmla="*/ 36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0" h="380">
                  <a:moveTo>
                    <a:pt x="240" y="28"/>
                  </a:moveTo>
                  <a:lnTo>
                    <a:pt x="240" y="28"/>
                  </a:lnTo>
                  <a:lnTo>
                    <a:pt x="240" y="22"/>
                  </a:lnTo>
                  <a:lnTo>
                    <a:pt x="242" y="18"/>
                  </a:lnTo>
                  <a:lnTo>
                    <a:pt x="248" y="8"/>
                  </a:lnTo>
                  <a:lnTo>
                    <a:pt x="258" y="2"/>
                  </a:lnTo>
                  <a:lnTo>
                    <a:pt x="262" y="0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274" y="0"/>
                  </a:lnTo>
                  <a:lnTo>
                    <a:pt x="280" y="2"/>
                  </a:lnTo>
                  <a:lnTo>
                    <a:pt x="290" y="8"/>
                  </a:lnTo>
                  <a:lnTo>
                    <a:pt x="296" y="18"/>
                  </a:lnTo>
                  <a:lnTo>
                    <a:pt x="298" y="22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98" y="34"/>
                  </a:lnTo>
                  <a:lnTo>
                    <a:pt x="296" y="40"/>
                  </a:lnTo>
                  <a:lnTo>
                    <a:pt x="290" y="50"/>
                  </a:lnTo>
                  <a:lnTo>
                    <a:pt x="280" y="56"/>
                  </a:lnTo>
                  <a:lnTo>
                    <a:pt x="274" y="58"/>
                  </a:lnTo>
                  <a:lnTo>
                    <a:pt x="268" y="58"/>
                  </a:lnTo>
                  <a:lnTo>
                    <a:pt x="268" y="58"/>
                  </a:lnTo>
                  <a:lnTo>
                    <a:pt x="262" y="58"/>
                  </a:lnTo>
                  <a:lnTo>
                    <a:pt x="258" y="56"/>
                  </a:lnTo>
                  <a:lnTo>
                    <a:pt x="248" y="50"/>
                  </a:lnTo>
                  <a:lnTo>
                    <a:pt x="242" y="40"/>
                  </a:lnTo>
                  <a:lnTo>
                    <a:pt x="240" y="34"/>
                  </a:lnTo>
                  <a:lnTo>
                    <a:pt x="240" y="28"/>
                  </a:lnTo>
                  <a:lnTo>
                    <a:pt x="240" y="28"/>
                  </a:lnTo>
                  <a:close/>
                  <a:moveTo>
                    <a:pt x="360" y="190"/>
                  </a:moveTo>
                  <a:lnTo>
                    <a:pt x="344" y="90"/>
                  </a:lnTo>
                  <a:lnTo>
                    <a:pt x="344" y="90"/>
                  </a:lnTo>
                  <a:lnTo>
                    <a:pt x="344" y="88"/>
                  </a:lnTo>
                  <a:lnTo>
                    <a:pt x="344" y="88"/>
                  </a:lnTo>
                  <a:lnTo>
                    <a:pt x="340" y="80"/>
                  </a:lnTo>
                  <a:lnTo>
                    <a:pt x="332" y="74"/>
                  </a:lnTo>
                  <a:lnTo>
                    <a:pt x="324" y="70"/>
                  </a:lnTo>
                  <a:lnTo>
                    <a:pt x="314" y="68"/>
                  </a:lnTo>
                  <a:lnTo>
                    <a:pt x="288" y="68"/>
                  </a:lnTo>
                  <a:lnTo>
                    <a:pt x="270" y="102"/>
                  </a:lnTo>
                  <a:lnTo>
                    <a:pt x="250" y="68"/>
                  </a:lnTo>
                  <a:lnTo>
                    <a:pt x="222" y="68"/>
                  </a:lnTo>
                  <a:lnTo>
                    <a:pt x="222" y="68"/>
                  </a:lnTo>
                  <a:lnTo>
                    <a:pt x="214" y="70"/>
                  </a:lnTo>
                  <a:lnTo>
                    <a:pt x="206" y="74"/>
                  </a:lnTo>
                  <a:lnTo>
                    <a:pt x="198" y="80"/>
                  </a:lnTo>
                  <a:lnTo>
                    <a:pt x="194" y="88"/>
                  </a:lnTo>
                  <a:lnTo>
                    <a:pt x="194" y="88"/>
                  </a:lnTo>
                  <a:lnTo>
                    <a:pt x="194" y="90"/>
                  </a:lnTo>
                  <a:lnTo>
                    <a:pt x="192" y="98"/>
                  </a:lnTo>
                  <a:lnTo>
                    <a:pt x="192" y="98"/>
                  </a:lnTo>
                  <a:lnTo>
                    <a:pt x="204" y="102"/>
                  </a:lnTo>
                  <a:lnTo>
                    <a:pt x="214" y="106"/>
                  </a:lnTo>
                  <a:lnTo>
                    <a:pt x="224" y="114"/>
                  </a:lnTo>
                  <a:lnTo>
                    <a:pt x="232" y="122"/>
                  </a:lnTo>
                  <a:lnTo>
                    <a:pt x="240" y="132"/>
                  </a:lnTo>
                  <a:lnTo>
                    <a:pt x="244" y="142"/>
                  </a:lnTo>
                  <a:lnTo>
                    <a:pt x="248" y="154"/>
                  </a:lnTo>
                  <a:lnTo>
                    <a:pt x="248" y="166"/>
                  </a:lnTo>
                  <a:lnTo>
                    <a:pt x="248" y="166"/>
                  </a:lnTo>
                  <a:lnTo>
                    <a:pt x="248" y="178"/>
                  </a:lnTo>
                  <a:lnTo>
                    <a:pt x="246" y="188"/>
                  </a:lnTo>
                  <a:lnTo>
                    <a:pt x="240" y="198"/>
                  </a:lnTo>
                  <a:lnTo>
                    <a:pt x="234" y="208"/>
                  </a:lnTo>
                  <a:lnTo>
                    <a:pt x="250" y="208"/>
                  </a:lnTo>
                  <a:lnTo>
                    <a:pt x="250" y="208"/>
                  </a:lnTo>
                  <a:lnTo>
                    <a:pt x="260" y="208"/>
                  </a:lnTo>
                  <a:lnTo>
                    <a:pt x="270" y="210"/>
                  </a:lnTo>
                  <a:lnTo>
                    <a:pt x="278" y="214"/>
                  </a:lnTo>
                  <a:lnTo>
                    <a:pt x="286" y="218"/>
                  </a:lnTo>
                  <a:lnTo>
                    <a:pt x="294" y="222"/>
                  </a:lnTo>
                  <a:lnTo>
                    <a:pt x="300" y="228"/>
                  </a:lnTo>
                  <a:lnTo>
                    <a:pt x="306" y="236"/>
                  </a:lnTo>
                  <a:lnTo>
                    <a:pt x="310" y="244"/>
                  </a:lnTo>
                  <a:lnTo>
                    <a:pt x="308" y="118"/>
                  </a:lnTo>
                  <a:lnTo>
                    <a:pt x="318" y="118"/>
                  </a:lnTo>
                  <a:lnTo>
                    <a:pt x="330" y="196"/>
                  </a:lnTo>
                  <a:lnTo>
                    <a:pt x="330" y="196"/>
                  </a:lnTo>
                  <a:lnTo>
                    <a:pt x="332" y="200"/>
                  </a:lnTo>
                  <a:lnTo>
                    <a:pt x="336" y="204"/>
                  </a:lnTo>
                  <a:lnTo>
                    <a:pt x="340" y="208"/>
                  </a:lnTo>
                  <a:lnTo>
                    <a:pt x="346" y="208"/>
                  </a:lnTo>
                  <a:lnTo>
                    <a:pt x="346" y="208"/>
                  </a:lnTo>
                  <a:lnTo>
                    <a:pt x="348" y="208"/>
                  </a:lnTo>
                  <a:lnTo>
                    <a:pt x="348" y="208"/>
                  </a:lnTo>
                  <a:lnTo>
                    <a:pt x="354" y="206"/>
                  </a:lnTo>
                  <a:lnTo>
                    <a:pt x="358" y="202"/>
                  </a:lnTo>
                  <a:lnTo>
                    <a:pt x="360" y="196"/>
                  </a:lnTo>
                  <a:lnTo>
                    <a:pt x="360" y="190"/>
                  </a:lnTo>
                  <a:lnTo>
                    <a:pt x="360" y="190"/>
                  </a:lnTo>
                  <a:close/>
                  <a:moveTo>
                    <a:pt x="92" y="58"/>
                  </a:moveTo>
                  <a:lnTo>
                    <a:pt x="92" y="58"/>
                  </a:lnTo>
                  <a:lnTo>
                    <a:pt x="98" y="58"/>
                  </a:lnTo>
                  <a:lnTo>
                    <a:pt x="102" y="56"/>
                  </a:lnTo>
                  <a:lnTo>
                    <a:pt x="112" y="50"/>
                  </a:lnTo>
                  <a:lnTo>
                    <a:pt x="118" y="40"/>
                  </a:lnTo>
                  <a:lnTo>
                    <a:pt x="120" y="34"/>
                  </a:lnTo>
                  <a:lnTo>
                    <a:pt x="120" y="28"/>
                  </a:lnTo>
                  <a:lnTo>
                    <a:pt x="120" y="28"/>
                  </a:lnTo>
                  <a:lnTo>
                    <a:pt x="120" y="22"/>
                  </a:lnTo>
                  <a:lnTo>
                    <a:pt x="118" y="18"/>
                  </a:lnTo>
                  <a:lnTo>
                    <a:pt x="112" y="8"/>
                  </a:lnTo>
                  <a:lnTo>
                    <a:pt x="102" y="2"/>
                  </a:lnTo>
                  <a:lnTo>
                    <a:pt x="98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86" y="0"/>
                  </a:lnTo>
                  <a:lnTo>
                    <a:pt x="80" y="2"/>
                  </a:lnTo>
                  <a:lnTo>
                    <a:pt x="70" y="8"/>
                  </a:lnTo>
                  <a:lnTo>
                    <a:pt x="64" y="18"/>
                  </a:lnTo>
                  <a:lnTo>
                    <a:pt x="62" y="22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34"/>
                  </a:lnTo>
                  <a:lnTo>
                    <a:pt x="64" y="40"/>
                  </a:lnTo>
                  <a:lnTo>
                    <a:pt x="70" y="50"/>
                  </a:lnTo>
                  <a:lnTo>
                    <a:pt x="80" y="56"/>
                  </a:lnTo>
                  <a:lnTo>
                    <a:pt x="86" y="58"/>
                  </a:lnTo>
                  <a:lnTo>
                    <a:pt x="92" y="58"/>
                  </a:lnTo>
                  <a:lnTo>
                    <a:pt x="92" y="58"/>
                  </a:lnTo>
                  <a:close/>
                  <a:moveTo>
                    <a:pt x="30" y="196"/>
                  </a:moveTo>
                  <a:lnTo>
                    <a:pt x="42" y="118"/>
                  </a:lnTo>
                  <a:lnTo>
                    <a:pt x="52" y="118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4" y="236"/>
                  </a:lnTo>
                  <a:lnTo>
                    <a:pt x="60" y="228"/>
                  </a:lnTo>
                  <a:lnTo>
                    <a:pt x="66" y="222"/>
                  </a:lnTo>
                  <a:lnTo>
                    <a:pt x="74" y="218"/>
                  </a:lnTo>
                  <a:lnTo>
                    <a:pt x="82" y="214"/>
                  </a:lnTo>
                  <a:lnTo>
                    <a:pt x="90" y="210"/>
                  </a:lnTo>
                  <a:lnTo>
                    <a:pt x="100" y="208"/>
                  </a:lnTo>
                  <a:lnTo>
                    <a:pt x="110" y="208"/>
                  </a:lnTo>
                  <a:lnTo>
                    <a:pt x="126" y="208"/>
                  </a:lnTo>
                  <a:lnTo>
                    <a:pt x="126" y="208"/>
                  </a:lnTo>
                  <a:lnTo>
                    <a:pt x="120" y="198"/>
                  </a:lnTo>
                  <a:lnTo>
                    <a:pt x="114" y="188"/>
                  </a:lnTo>
                  <a:lnTo>
                    <a:pt x="112" y="178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54"/>
                  </a:lnTo>
                  <a:lnTo>
                    <a:pt x="116" y="142"/>
                  </a:lnTo>
                  <a:lnTo>
                    <a:pt x="120" y="132"/>
                  </a:lnTo>
                  <a:lnTo>
                    <a:pt x="128" y="122"/>
                  </a:lnTo>
                  <a:lnTo>
                    <a:pt x="136" y="114"/>
                  </a:lnTo>
                  <a:lnTo>
                    <a:pt x="146" y="106"/>
                  </a:lnTo>
                  <a:lnTo>
                    <a:pt x="156" y="102"/>
                  </a:lnTo>
                  <a:lnTo>
                    <a:pt x="168" y="98"/>
                  </a:lnTo>
                  <a:lnTo>
                    <a:pt x="166" y="90"/>
                  </a:lnTo>
                  <a:lnTo>
                    <a:pt x="166" y="90"/>
                  </a:lnTo>
                  <a:lnTo>
                    <a:pt x="166" y="88"/>
                  </a:lnTo>
                  <a:lnTo>
                    <a:pt x="166" y="88"/>
                  </a:lnTo>
                  <a:lnTo>
                    <a:pt x="162" y="80"/>
                  </a:lnTo>
                  <a:lnTo>
                    <a:pt x="154" y="74"/>
                  </a:lnTo>
                  <a:lnTo>
                    <a:pt x="146" y="70"/>
                  </a:lnTo>
                  <a:lnTo>
                    <a:pt x="138" y="68"/>
                  </a:lnTo>
                  <a:lnTo>
                    <a:pt x="110" y="68"/>
                  </a:lnTo>
                  <a:lnTo>
                    <a:pt x="90" y="102"/>
                  </a:lnTo>
                  <a:lnTo>
                    <a:pt x="72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36" y="70"/>
                  </a:lnTo>
                  <a:lnTo>
                    <a:pt x="28" y="74"/>
                  </a:lnTo>
                  <a:lnTo>
                    <a:pt x="20" y="80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90"/>
                  </a:lnTo>
                  <a:lnTo>
                    <a:pt x="0" y="190"/>
                  </a:lnTo>
                  <a:lnTo>
                    <a:pt x="0" y="190"/>
                  </a:lnTo>
                  <a:lnTo>
                    <a:pt x="0" y="196"/>
                  </a:lnTo>
                  <a:lnTo>
                    <a:pt x="2" y="202"/>
                  </a:lnTo>
                  <a:lnTo>
                    <a:pt x="6" y="206"/>
                  </a:lnTo>
                  <a:lnTo>
                    <a:pt x="12" y="208"/>
                  </a:lnTo>
                  <a:lnTo>
                    <a:pt x="12" y="208"/>
                  </a:lnTo>
                  <a:lnTo>
                    <a:pt x="14" y="208"/>
                  </a:lnTo>
                  <a:lnTo>
                    <a:pt x="14" y="208"/>
                  </a:lnTo>
                  <a:lnTo>
                    <a:pt x="20" y="208"/>
                  </a:lnTo>
                  <a:lnTo>
                    <a:pt x="24" y="204"/>
                  </a:lnTo>
                  <a:lnTo>
                    <a:pt x="28" y="200"/>
                  </a:lnTo>
                  <a:lnTo>
                    <a:pt x="30" y="196"/>
                  </a:lnTo>
                  <a:lnTo>
                    <a:pt x="30" y="196"/>
                  </a:lnTo>
                  <a:close/>
                  <a:moveTo>
                    <a:pt x="180" y="118"/>
                  </a:moveTo>
                  <a:lnTo>
                    <a:pt x="180" y="118"/>
                  </a:lnTo>
                  <a:lnTo>
                    <a:pt x="170" y="118"/>
                  </a:lnTo>
                  <a:lnTo>
                    <a:pt x="162" y="120"/>
                  </a:lnTo>
                  <a:lnTo>
                    <a:pt x="152" y="126"/>
                  </a:lnTo>
                  <a:lnTo>
                    <a:pt x="146" y="132"/>
                  </a:lnTo>
                  <a:lnTo>
                    <a:pt x="140" y="138"/>
                  </a:lnTo>
                  <a:lnTo>
                    <a:pt x="136" y="146"/>
                  </a:lnTo>
                  <a:lnTo>
                    <a:pt x="132" y="156"/>
                  </a:lnTo>
                  <a:lnTo>
                    <a:pt x="132" y="166"/>
                  </a:lnTo>
                  <a:lnTo>
                    <a:pt x="132" y="166"/>
                  </a:lnTo>
                  <a:lnTo>
                    <a:pt x="132" y="176"/>
                  </a:lnTo>
                  <a:lnTo>
                    <a:pt x="136" y="184"/>
                  </a:lnTo>
                  <a:lnTo>
                    <a:pt x="140" y="194"/>
                  </a:lnTo>
                  <a:lnTo>
                    <a:pt x="146" y="200"/>
                  </a:lnTo>
                  <a:lnTo>
                    <a:pt x="152" y="206"/>
                  </a:lnTo>
                  <a:lnTo>
                    <a:pt x="162" y="210"/>
                  </a:lnTo>
                  <a:lnTo>
                    <a:pt x="170" y="214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90" y="214"/>
                  </a:lnTo>
                  <a:lnTo>
                    <a:pt x="200" y="210"/>
                  </a:lnTo>
                  <a:lnTo>
                    <a:pt x="208" y="206"/>
                  </a:lnTo>
                  <a:lnTo>
                    <a:pt x="214" y="200"/>
                  </a:lnTo>
                  <a:lnTo>
                    <a:pt x="220" y="194"/>
                  </a:lnTo>
                  <a:lnTo>
                    <a:pt x="224" y="184"/>
                  </a:lnTo>
                  <a:lnTo>
                    <a:pt x="228" y="176"/>
                  </a:lnTo>
                  <a:lnTo>
                    <a:pt x="228" y="166"/>
                  </a:lnTo>
                  <a:lnTo>
                    <a:pt x="228" y="166"/>
                  </a:lnTo>
                  <a:lnTo>
                    <a:pt x="228" y="156"/>
                  </a:lnTo>
                  <a:lnTo>
                    <a:pt x="224" y="146"/>
                  </a:lnTo>
                  <a:lnTo>
                    <a:pt x="220" y="138"/>
                  </a:lnTo>
                  <a:lnTo>
                    <a:pt x="214" y="132"/>
                  </a:lnTo>
                  <a:lnTo>
                    <a:pt x="208" y="126"/>
                  </a:lnTo>
                  <a:lnTo>
                    <a:pt x="200" y="120"/>
                  </a:lnTo>
                  <a:lnTo>
                    <a:pt x="190" y="118"/>
                  </a:lnTo>
                  <a:lnTo>
                    <a:pt x="180" y="118"/>
                  </a:lnTo>
                  <a:close/>
                  <a:moveTo>
                    <a:pt x="296" y="260"/>
                  </a:moveTo>
                  <a:lnTo>
                    <a:pt x="296" y="260"/>
                  </a:lnTo>
                  <a:lnTo>
                    <a:pt x="294" y="258"/>
                  </a:lnTo>
                  <a:lnTo>
                    <a:pt x="294" y="258"/>
                  </a:lnTo>
                  <a:lnTo>
                    <a:pt x="292" y="252"/>
                  </a:lnTo>
                  <a:lnTo>
                    <a:pt x="288" y="246"/>
                  </a:lnTo>
                  <a:lnTo>
                    <a:pt x="278" y="236"/>
                  </a:lnTo>
                  <a:lnTo>
                    <a:pt x="266" y="230"/>
                  </a:lnTo>
                  <a:lnTo>
                    <a:pt x="250" y="228"/>
                  </a:lnTo>
                  <a:lnTo>
                    <a:pt x="210" y="228"/>
                  </a:lnTo>
                  <a:lnTo>
                    <a:pt x="180" y="278"/>
                  </a:lnTo>
                  <a:lnTo>
                    <a:pt x="150" y="228"/>
                  </a:lnTo>
                  <a:lnTo>
                    <a:pt x="110" y="228"/>
                  </a:lnTo>
                  <a:lnTo>
                    <a:pt x="110" y="228"/>
                  </a:lnTo>
                  <a:lnTo>
                    <a:pt x="94" y="230"/>
                  </a:lnTo>
                  <a:lnTo>
                    <a:pt x="82" y="236"/>
                  </a:lnTo>
                  <a:lnTo>
                    <a:pt x="72" y="246"/>
                  </a:lnTo>
                  <a:lnTo>
                    <a:pt x="68" y="252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4" y="260"/>
                  </a:lnTo>
                  <a:lnTo>
                    <a:pt x="52" y="336"/>
                  </a:lnTo>
                  <a:lnTo>
                    <a:pt x="52" y="336"/>
                  </a:lnTo>
                  <a:lnTo>
                    <a:pt x="72" y="352"/>
                  </a:lnTo>
                  <a:lnTo>
                    <a:pt x="96" y="362"/>
                  </a:lnTo>
                  <a:lnTo>
                    <a:pt x="106" y="304"/>
                  </a:lnTo>
                  <a:lnTo>
                    <a:pt x="118" y="304"/>
                  </a:lnTo>
                  <a:lnTo>
                    <a:pt x="114" y="370"/>
                  </a:lnTo>
                  <a:lnTo>
                    <a:pt x="114" y="370"/>
                  </a:lnTo>
                  <a:lnTo>
                    <a:pt x="130" y="374"/>
                  </a:lnTo>
                  <a:lnTo>
                    <a:pt x="146" y="378"/>
                  </a:lnTo>
                  <a:lnTo>
                    <a:pt x="162" y="380"/>
                  </a:lnTo>
                  <a:lnTo>
                    <a:pt x="180" y="380"/>
                  </a:lnTo>
                  <a:lnTo>
                    <a:pt x="180" y="380"/>
                  </a:lnTo>
                  <a:lnTo>
                    <a:pt x="196" y="380"/>
                  </a:lnTo>
                  <a:lnTo>
                    <a:pt x="214" y="378"/>
                  </a:lnTo>
                  <a:lnTo>
                    <a:pt x="230" y="374"/>
                  </a:lnTo>
                  <a:lnTo>
                    <a:pt x="246" y="370"/>
                  </a:lnTo>
                  <a:lnTo>
                    <a:pt x="242" y="304"/>
                  </a:lnTo>
                  <a:lnTo>
                    <a:pt x="254" y="304"/>
                  </a:lnTo>
                  <a:lnTo>
                    <a:pt x="264" y="362"/>
                  </a:lnTo>
                  <a:lnTo>
                    <a:pt x="264" y="362"/>
                  </a:lnTo>
                  <a:lnTo>
                    <a:pt x="288" y="350"/>
                  </a:lnTo>
                  <a:lnTo>
                    <a:pt x="308" y="336"/>
                  </a:lnTo>
                  <a:lnTo>
                    <a:pt x="296" y="26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rgbClr val="000000"/>
                </a:solidFill>
                <a:latin typeface="+mj-lt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342236" y="2392064"/>
            <a:ext cx="844076" cy="828000"/>
            <a:chOff x="3658221" y="2395377"/>
            <a:chExt cx="844076" cy="828000"/>
          </a:xfrm>
        </p:grpSpPr>
        <p:sp>
          <p:nvSpPr>
            <p:cNvPr id="70" name="Oval 69"/>
            <p:cNvSpPr/>
            <p:nvPr/>
          </p:nvSpPr>
          <p:spPr bwMode="ltGray">
            <a:xfrm>
              <a:off x="3658221" y="2395377"/>
              <a:ext cx="844076" cy="82800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smtClean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77" name="Freeform 4849"/>
            <p:cNvSpPr>
              <a:spLocks noEditPoints="1"/>
            </p:cNvSpPr>
            <p:nvPr/>
          </p:nvSpPr>
          <p:spPr bwMode="auto">
            <a:xfrm>
              <a:off x="3828805" y="2606041"/>
              <a:ext cx="502908" cy="406672"/>
            </a:xfrm>
            <a:custGeom>
              <a:avLst/>
              <a:gdLst>
                <a:gd name="T0" fmla="*/ 0 w 324"/>
                <a:gd name="T1" fmla="*/ 136 h 262"/>
                <a:gd name="T2" fmla="*/ 0 w 324"/>
                <a:gd name="T3" fmla="*/ 132 h 262"/>
                <a:gd name="T4" fmla="*/ 6 w 324"/>
                <a:gd name="T5" fmla="*/ 126 h 262"/>
                <a:gd name="T6" fmla="*/ 46 w 324"/>
                <a:gd name="T7" fmla="*/ 126 h 262"/>
                <a:gd name="T8" fmla="*/ 50 w 324"/>
                <a:gd name="T9" fmla="*/ 126 h 262"/>
                <a:gd name="T10" fmla="*/ 56 w 324"/>
                <a:gd name="T11" fmla="*/ 132 h 262"/>
                <a:gd name="T12" fmla="*/ 56 w 324"/>
                <a:gd name="T13" fmla="*/ 212 h 262"/>
                <a:gd name="T14" fmla="*/ 56 w 324"/>
                <a:gd name="T15" fmla="*/ 216 h 262"/>
                <a:gd name="T16" fmla="*/ 50 w 324"/>
                <a:gd name="T17" fmla="*/ 220 h 262"/>
                <a:gd name="T18" fmla="*/ 10 w 324"/>
                <a:gd name="T19" fmla="*/ 222 h 262"/>
                <a:gd name="T20" fmla="*/ 6 w 324"/>
                <a:gd name="T21" fmla="*/ 220 h 262"/>
                <a:gd name="T22" fmla="*/ 0 w 324"/>
                <a:gd name="T23" fmla="*/ 216 h 262"/>
                <a:gd name="T24" fmla="*/ 0 w 324"/>
                <a:gd name="T25" fmla="*/ 212 h 262"/>
                <a:gd name="T26" fmla="*/ 136 w 324"/>
                <a:gd name="T27" fmla="*/ 222 h 262"/>
                <a:gd name="T28" fmla="*/ 140 w 324"/>
                <a:gd name="T29" fmla="*/ 220 h 262"/>
                <a:gd name="T30" fmla="*/ 144 w 324"/>
                <a:gd name="T31" fmla="*/ 216 h 262"/>
                <a:gd name="T32" fmla="*/ 146 w 324"/>
                <a:gd name="T33" fmla="*/ 58 h 262"/>
                <a:gd name="T34" fmla="*/ 144 w 324"/>
                <a:gd name="T35" fmla="*/ 54 h 262"/>
                <a:gd name="T36" fmla="*/ 140 w 324"/>
                <a:gd name="T37" fmla="*/ 50 h 262"/>
                <a:gd name="T38" fmla="*/ 100 w 324"/>
                <a:gd name="T39" fmla="*/ 48 h 262"/>
                <a:gd name="T40" fmla="*/ 96 w 324"/>
                <a:gd name="T41" fmla="*/ 50 h 262"/>
                <a:gd name="T42" fmla="*/ 90 w 324"/>
                <a:gd name="T43" fmla="*/ 54 h 262"/>
                <a:gd name="T44" fmla="*/ 90 w 324"/>
                <a:gd name="T45" fmla="*/ 212 h 262"/>
                <a:gd name="T46" fmla="*/ 90 w 324"/>
                <a:gd name="T47" fmla="*/ 216 h 262"/>
                <a:gd name="T48" fmla="*/ 96 w 324"/>
                <a:gd name="T49" fmla="*/ 220 h 262"/>
                <a:gd name="T50" fmla="*/ 100 w 324"/>
                <a:gd name="T51" fmla="*/ 222 h 262"/>
                <a:gd name="T52" fmla="*/ 224 w 324"/>
                <a:gd name="T53" fmla="*/ 222 h 262"/>
                <a:gd name="T54" fmla="*/ 228 w 324"/>
                <a:gd name="T55" fmla="*/ 220 h 262"/>
                <a:gd name="T56" fmla="*/ 234 w 324"/>
                <a:gd name="T57" fmla="*/ 216 h 262"/>
                <a:gd name="T58" fmla="*/ 234 w 324"/>
                <a:gd name="T59" fmla="*/ 86 h 262"/>
                <a:gd name="T60" fmla="*/ 234 w 324"/>
                <a:gd name="T61" fmla="*/ 82 h 262"/>
                <a:gd name="T62" fmla="*/ 228 w 324"/>
                <a:gd name="T63" fmla="*/ 76 h 262"/>
                <a:gd name="T64" fmla="*/ 188 w 324"/>
                <a:gd name="T65" fmla="*/ 76 h 262"/>
                <a:gd name="T66" fmla="*/ 184 w 324"/>
                <a:gd name="T67" fmla="*/ 76 h 262"/>
                <a:gd name="T68" fmla="*/ 180 w 324"/>
                <a:gd name="T69" fmla="*/ 82 h 262"/>
                <a:gd name="T70" fmla="*/ 178 w 324"/>
                <a:gd name="T71" fmla="*/ 212 h 262"/>
                <a:gd name="T72" fmla="*/ 180 w 324"/>
                <a:gd name="T73" fmla="*/ 216 h 262"/>
                <a:gd name="T74" fmla="*/ 184 w 324"/>
                <a:gd name="T75" fmla="*/ 220 h 262"/>
                <a:gd name="T76" fmla="*/ 188 w 324"/>
                <a:gd name="T77" fmla="*/ 222 h 262"/>
                <a:gd name="T78" fmla="*/ 278 w 324"/>
                <a:gd name="T79" fmla="*/ 0 h 262"/>
                <a:gd name="T80" fmla="*/ 274 w 324"/>
                <a:gd name="T81" fmla="*/ 0 h 262"/>
                <a:gd name="T82" fmla="*/ 268 w 324"/>
                <a:gd name="T83" fmla="*/ 6 h 262"/>
                <a:gd name="T84" fmla="*/ 268 w 324"/>
                <a:gd name="T85" fmla="*/ 212 h 262"/>
                <a:gd name="T86" fmla="*/ 268 w 324"/>
                <a:gd name="T87" fmla="*/ 216 h 262"/>
                <a:gd name="T88" fmla="*/ 274 w 324"/>
                <a:gd name="T89" fmla="*/ 220 h 262"/>
                <a:gd name="T90" fmla="*/ 314 w 324"/>
                <a:gd name="T91" fmla="*/ 222 h 262"/>
                <a:gd name="T92" fmla="*/ 318 w 324"/>
                <a:gd name="T93" fmla="*/ 220 h 262"/>
                <a:gd name="T94" fmla="*/ 324 w 324"/>
                <a:gd name="T95" fmla="*/ 216 h 262"/>
                <a:gd name="T96" fmla="*/ 324 w 324"/>
                <a:gd name="T97" fmla="*/ 10 h 262"/>
                <a:gd name="T98" fmla="*/ 324 w 324"/>
                <a:gd name="T99" fmla="*/ 6 h 262"/>
                <a:gd name="T100" fmla="*/ 318 w 324"/>
                <a:gd name="T101" fmla="*/ 0 h 262"/>
                <a:gd name="T102" fmla="*/ 314 w 324"/>
                <a:gd name="T103" fmla="*/ 0 h 262"/>
                <a:gd name="T104" fmla="*/ 0 w 324"/>
                <a:gd name="T105" fmla="*/ 242 h 262"/>
                <a:gd name="T106" fmla="*/ 324 w 324"/>
                <a:gd name="T107" fmla="*/ 26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4" h="262">
                  <a:moveTo>
                    <a:pt x="0" y="212"/>
                  </a:moveTo>
                  <a:lnTo>
                    <a:pt x="0" y="136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2" y="128"/>
                  </a:lnTo>
                  <a:lnTo>
                    <a:pt x="6" y="126"/>
                  </a:lnTo>
                  <a:lnTo>
                    <a:pt x="10" y="126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50" y="126"/>
                  </a:lnTo>
                  <a:lnTo>
                    <a:pt x="54" y="128"/>
                  </a:lnTo>
                  <a:lnTo>
                    <a:pt x="56" y="132"/>
                  </a:lnTo>
                  <a:lnTo>
                    <a:pt x="56" y="136"/>
                  </a:lnTo>
                  <a:lnTo>
                    <a:pt x="56" y="212"/>
                  </a:lnTo>
                  <a:lnTo>
                    <a:pt x="56" y="212"/>
                  </a:lnTo>
                  <a:lnTo>
                    <a:pt x="56" y="216"/>
                  </a:lnTo>
                  <a:lnTo>
                    <a:pt x="54" y="218"/>
                  </a:lnTo>
                  <a:lnTo>
                    <a:pt x="50" y="220"/>
                  </a:lnTo>
                  <a:lnTo>
                    <a:pt x="46" y="222"/>
                  </a:lnTo>
                  <a:lnTo>
                    <a:pt x="10" y="222"/>
                  </a:lnTo>
                  <a:lnTo>
                    <a:pt x="10" y="222"/>
                  </a:lnTo>
                  <a:lnTo>
                    <a:pt x="6" y="220"/>
                  </a:lnTo>
                  <a:lnTo>
                    <a:pt x="2" y="218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12"/>
                  </a:lnTo>
                  <a:close/>
                  <a:moveTo>
                    <a:pt x="100" y="222"/>
                  </a:moveTo>
                  <a:lnTo>
                    <a:pt x="136" y="222"/>
                  </a:lnTo>
                  <a:lnTo>
                    <a:pt x="136" y="222"/>
                  </a:lnTo>
                  <a:lnTo>
                    <a:pt x="140" y="220"/>
                  </a:lnTo>
                  <a:lnTo>
                    <a:pt x="142" y="218"/>
                  </a:lnTo>
                  <a:lnTo>
                    <a:pt x="144" y="216"/>
                  </a:lnTo>
                  <a:lnTo>
                    <a:pt x="146" y="212"/>
                  </a:lnTo>
                  <a:lnTo>
                    <a:pt x="146" y="58"/>
                  </a:lnTo>
                  <a:lnTo>
                    <a:pt x="146" y="58"/>
                  </a:lnTo>
                  <a:lnTo>
                    <a:pt x="144" y="54"/>
                  </a:lnTo>
                  <a:lnTo>
                    <a:pt x="142" y="52"/>
                  </a:lnTo>
                  <a:lnTo>
                    <a:pt x="140" y="50"/>
                  </a:lnTo>
                  <a:lnTo>
                    <a:pt x="136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96" y="50"/>
                  </a:lnTo>
                  <a:lnTo>
                    <a:pt x="92" y="52"/>
                  </a:lnTo>
                  <a:lnTo>
                    <a:pt x="90" y="54"/>
                  </a:lnTo>
                  <a:lnTo>
                    <a:pt x="90" y="58"/>
                  </a:lnTo>
                  <a:lnTo>
                    <a:pt x="90" y="212"/>
                  </a:lnTo>
                  <a:lnTo>
                    <a:pt x="90" y="212"/>
                  </a:lnTo>
                  <a:lnTo>
                    <a:pt x="90" y="216"/>
                  </a:lnTo>
                  <a:lnTo>
                    <a:pt x="92" y="218"/>
                  </a:lnTo>
                  <a:lnTo>
                    <a:pt x="96" y="220"/>
                  </a:lnTo>
                  <a:lnTo>
                    <a:pt x="100" y="222"/>
                  </a:lnTo>
                  <a:lnTo>
                    <a:pt x="100" y="222"/>
                  </a:lnTo>
                  <a:close/>
                  <a:moveTo>
                    <a:pt x="188" y="222"/>
                  </a:moveTo>
                  <a:lnTo>
                    <a:pt x="224" y="222"/>
                  </a:lnTo>
                  <a:lnTo>
                    <a:pt x="224" y="222"/>
                  </a:lnTo>
                  <a:lnTo>
                    <a:pt x="228" y="220"/>
                  </a:lnTo>
                  <a:lnTo>
                    <a:pt x="232" y="218"/>
                  </a:lnTo>
                  <a:lnTo>
                    <a:pt x="234" y="216"/>
                  </a:lnTo>
                  <a:lnTo>
                    <a:pt x="234" y="212"/>
                  </a:lnTo>
                  <a:lnTo>
                    <a:pt x="234" y="86"/>
                  </a:lnTo>
                  <a:lnTo>
                    <a:pt x="234" y="86"/>
                  </a:lnTo>
                  <a:lnTo>
                    <a:pt x="234" y="82"/>
                  </a:lnTo>
                  <a:lnTo>
                    <a:pt x="232" y="78"/>
                  </a:lnTo>
                  <a:lnTo>
                    <a:pt x="228" y="76"/>
                  </a:lnTo>
                  <a:lnTo>
                    <a:pt x="224" y="76"/>
                  </a:lnTo>
                  <a:lnTo>
                    <a:pt x="188" y="76"/>
                  </a:lnTo>
                  <a:lnTo>
                    <a:pt x="188" y="76"/>
                  </a:lnTo>
                  <a:lnTo>
                    <a:pt x="184" y="76"/>
                  </a:lnTo>
                  <a:lnTo>
                    <a:pt x="182" y="78"/>
                  </a:lnTo>
                  <a:lnTo>
                    <a:pt x="180" y="82"/>
                  </a:lnTo>
                  <a:lnTo>
                    <a:pt x="178" y="86"/>
                  </a:lnTo>
                  <a:lnTo>
                    <a:pt x="178" y="212"/>
                  </a:lnTo>
                  <a:lnTo>
                    <a:pt x="178" y="212"/>
                  </a:lnTo>
                  <a:lnTo>
                    <a:pt x="180" y="216"/>
                  </a:lnTo>
                  <a:lnTo>
                    <a:pt x="182" y="218"/>
                  </a:lnTo>
                  <a:lnTo>
                    <a:pt x="184" y="220"/>
                  </a:lnTo>
                  <a:lnTo>
                    <a:pt x="188" y="222"/>
                  </a:lnTo>
                  <a:lnTo>
                    <a:pt x="188" y="222"/>
                  </a:lnTo>
                  <a:close/>
                  <a:moveTo>
                    <a:pt x="314" y="0"/>
                  </a:moveTo>
                  <a:lnTo>
                    <a:pt x="278" y="0"/>
                  </a:lnTo>
                  <a:lnTo>
                    <a:pt x="278" y="0"/>
                  </a:lnTo>
                  <a:lnTo>
                    <a:pt x="274" y="0"/>
                  </a:lnTo>
                  <a:lnTo>
                    <a:pt x="270" y="2"/>
                  </a:lnTo>
                  <a:lnTo>
                    <a:pt x="268" y="6"/>
                  </a:lnTo>
                  <a:lnTo>
                    <a:pt x="268" y="10"/>
                  </a:lnTo>
                  <a:lnTo>
                    <a:pt x="268" y="212"/>
                  </a:lnTo>
                  <a:lnTo>
                    <a:pt x="268" y="212"/>
                  </a:lnTo>
                  <a:lnTo>
                    <a:pt x="268" y="216"/>
                  </a:lnTo>
                  <a:lnTo>
                    <a:pt x="270" y="218"/>
                  </a:lnTo>
                  <a:lnTo>
                    <a:pt x="274" y="220"/>
                  </a:lnTo>
                  <a:lnTo>
                    <a:pt x="278" y="222"/>
                  </a:lnTo>
                  <a:lnTo>
                    <a:pt x="314" y="222"/>
                  </a:lnTo>
                  <a:lnTo>
                    <a:pt x="314" y="222"/>
                  </a:lnTo>
                  <a:lnTo>
                    <a:pt x="318" y="220"/>
                  </a:lnTo>
                  <a:lnTo>
                    <a:pt x="322" y="218"/>
                  </a:lnTo>
                  <a:lnTo>
                    <a:pt x="324" y="216"/>
                  </a:lnTo>
                  <a:lnTo>
                    <a:pt x="324" y="212"/>
                  </a:lnTo>
                  <a:lnTo>
                    <a:pt x="324" y="10"/>
                  </a:lnTo>
                  <a:lnTo>
                    <a:pt x="324" y="10"/>
                  </a:lnTo>
                  <a:lnTo>
                    <a:pt x="324" y="6"/>
                  </a:lnTo>
                  <a:lnTo>
                    <a:pt x="322" y="2"/>
                  </a:lnTo>
                  <a:lnTo>
                    <a:pt x="318" y="0"/>
                  </a:lnTo>
                  <a:lnTo>
                    <a:pt x="314" y="0"/>
                  </a:lnTo>
                  <a:lnTo>
                    <a:pt x="314" y="0"/>
                  </a:lnTo>
                  <a:close/>
                  <a:moveTo>
                    <a:pt x="324" y="242"/>
                  </a:moveTo>
                  <a:lnTo>
                    <a:pt x="0" y="242"/>
                  </a:lnTo>
                  <a:lnTo>
                    <a:pt x="0" y="262"/>
                  </a:lnTo>
                  <a:lnTo>
                    <a:pt x="324" y="262"/>
                  </a:lnTo>
                  <a:lnTo>
                    <a:pt x="324" y="24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rgbClr val="000000"/>
                </a:solidFill>
                <a:latin typeface="+mj-lt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904240" y="1340228"/>
            <a:ext cx="828000" cy="828000"/>
            <a:chOff x="3148473" y="1340228"/>
            <a:chExt cx="828000" cy="828000"/>
          </a:xfrm>
        </p:grpSpPr>
        <p:sp>
          <p:nvSpPr>
            <p:cNvPr id="69" name="Oval 68"/>
            <p:cNvSpPr/>
            <p:nvPr/>
          </p:nvSpPr>
          <p:spPr bwMode="ltGray">
            <a:xfrm>
              <a:off x="3148473" y="1340228"/>
              <a:ext cx="828000" cy="82800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smtClean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3246895" y="1474808"/>
              <a:ext cx="631157" cy="558840"/>
              <a:chOff x="3271164" y="1494411"/>
              <a:chExt cx="631157" cy="558840"/>
            </a:xfrm>
          </p:grpSpPr>
          <p:sp>
            <p:nvSpPr>
              <p:cNvPr id="54" name="Freeform 50"/>
              <p:cNvSpPr>
                <a:spLocks/>
              </p:cNvSpPr>
              <p:nvPr/>
            </p:nvSpPr>
            <p:spPr bwMode="auto">
              <a:xfrm>
                <a:off x="3736582" y="1817165"/>
                <a:ext cx="106084" cy="148292"/>
              </a:xfrm>
              <a:custGeom>
                <a:avLst/>
                <a:gdLst>
                  <a:gd name="T0" fmla="*/ 533 w 754"/>
                  <a:gd name="T1" fmla="*/ 0 h 1055"/>
                  <a:gd name="T2" fmla="*/ 570 w 754"/>
                  <a:gd name="T3" fmla="*/ 36 h 1055"/>
                  <a:gd name="T4" fmla="*/ 611 w 754"/>
                  <a:gd name="T5" fmla="*/ 66 h 1055"/>
                  <a:gd name="T6" fmla="*/ 656 w 754"/>
                  <a:gd name="T7" fmla="*/ 92 h 1055"/>
                  <a:gd name="T8" fmla="*/ 704 w 754"/>
                  <a:gd name="T9" fmla="*/ 113 h 1055"/>
                  <a:gd name="T10" fmla="*/ 754 w 754"/>
                  <a:gd name="T11" fmla="*/ 128 h 1055"/>
                  <a:gd name="T12" fmla="*/ 220 w 754"/>
                  <a:gd name="T13" fmla="*/ 1055 h 1055"/>
                  <a:gd name="T14" fmla="*/ 183 w 754"/>
                  <a:gd name="T15" fmla="*/ 1019 h 1055"/>
                  <a:gd name="T16" fmla="*/ 142 w 754"/>
                  <a:gd name="T17" fmla="*/ 988 h 1055"/>
                  <a:gd name="T18" fmla="*/ 98 w 754"/>
                  <a:gd name="T19" fmla="*/ 961 h 1055"/>
                  <a:gd name="T20" fmla="*/ 51 w 754"/>
                  <a:gd name="T21" fmla="*/ 939 h 1055"/>
                  <a:gd name="T22" fmla="*/ 0 w 754"/>
                  <a:gd name="T23" fmla="*/ 924 h 1055"/>
                  <a:gd name="T24" fmla="*/ 533 w 754"/>
                  <a:gd name="T25" fmla="*/ 0 h 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54" h="1055">
                    <a:moveTo>
                      <a:pt x="533" y="0"/>
                    </a:moveTo>
                    <a:lnTo>
                      <a:pt x="570" y="36"/>
                    </a:lnTo>
                    <a:lnTo>
                      <a:pt x="611" y="66"/>
                    </a:lnTo>
                    <a:lnTo>
                      <a:pt x="656" y="92"/>
                    </a:lnTo>
                    <a:lnTo>
                      <a:pt x="704" y="113"/>
                    </a:lnTo>
                    <a:lnTo>
                      <a:pt x="754" y="128"/>
                    </a:lnTo>
                    <a:lnTo>
                      <a:pt x="220" y="1055"/>
                    </a:lnTo>
                    <a:lnTo>
                      <a:pt x="183" y="1019"/>
                    </a:lnTo>
                    <a:lnTo>
                      <a:pt x="142" y="988"/>
                    </a:lnTo>
                    <a:lnTo>
                      <a:pt x="98" y="961"/>
                    </a:lnTo>
                    <a:lnTo>
                      <a:pt x="51" y="939"/>
                    </a:lnTo>
                    <a:lnTo>
                      <a:pt x="0" y="924"/>
                    </a:lnTo>
                    <a:lnTo>
                      <a:pt x="533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00817" tIns="50408" rIns="100817" bIns="504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205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55" name="Freeform 51"/>
              <p:cNvSpPr>
                <a:spLocks/>
              </p:cNvSpPr>
              <p:nvPr/>
            </p:nvSpPr>
            <p:spPr bwMode="auto">
              <a:xfrm>
                <a:off x="3330819" y="1582205"/>
                <a:ext cx="106084" cy="148292"/>
              </a:xfrm>
              <a:custGeom>
                <a:avLst/>
                <a:gdLst>
                  <a:gd name="T0" fmla="*/ 535 w 754"/>
                  <a:gd name="T1" fmla="*/ 0 h 1055"/>
                  <a:gd name="T2" fmla="*/ 571 w 754"/>
                  <a:gd name="T3" fmla="*/ 36 h 1055"/>
                  <a:gd name="T4" fmla="*/ 612 w 754"/>
                  <a:gd name="T5" fmla="*/ 67 h 1055"/>
                  <a:gd name="T6" fmla="*/ 657 w 754"/>
                  <a:gd name="T7" fmla="*/ 94 h 1055"/>
                  <a:gd name="T8" fmla="*/ 705 w 754"/>
                  <a:gd name="T9" fmla="*/ 116 h 1055"/>
                  <a:gd name="T10" fmla="*/ 754 w 754"/>
                  <a:gd name="T11" fmla="*/ 131 h 1055"/>
                  <a:gd name="T12" fmla="*/ 222 w 754"/>
                  <a:gd name="T13" fmla="*/ 1055 h 1055"/>
                  <a:gd name="T14" fmla="*/ 184 w 754"/>
                  <a:gd name="T15" fmla="*/ 1019 h 1055"/>
                  <a:gd name="T16" fmla="*/ 143 w 754"/>
                  <a:gd name="T17" fmla="*/ 989 h 1055"/>
                  <a:gd name="T18" fmla="*/ 98 w 754"/>
                  <a:gd name="T19" fmla="*/ 963 h 1055"/>
                  <a:gd name="T20" fmla="*/ 51 w 754"/>
                  <a:gd name="T21" fmla="*/ 942 h 1055"/>
                  <a:gd name="T22" fmla="*/ 0 w 754"/>
                  <a:gd name="T23" fmla="*/ 927 h 1055"/>
                  <a:gd name="T24" fmla="*/ 535 w 754"/>
                  <a:gd name="T25" fmla="*/ 0 h 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54" h="1055">
                    <a:moveTo>
                      <a:pt x="535" y="0"/>
                    </a:moveTo>
                    <a:lnTo>
                      <a:pt x="571" y="36"/>
                    </a:lnTo>
                    <a:lnTo>
                      <a:pt x="612" y="67"/>
                    </a:lnTo>
                    <a:lnTo>
                      <a:pt x="657" y="94"/>
                    </a:lnTo>
                    <a:lnTo>
                      <a:pt x="705" y="116"/>
                    </a:lnTo>
                    <a:lnTo>
                      <a:pt x="754" y="131"/>
                    </a:lnTo>
                    <a:lnTo>
                      <a:pt x="222" y="1055"/>
                    </a:lnTo>
                    <a:lnTo>
                      <a:pt x="184" y="1019"/>
                    </a:lnTo>
                    <a:lnTo>
                      <a:pt x="143" y="989"/>
                    </a:lnTo>
                    <a:lnTo>
                      <a:pt x="98" y="963"/>
                    </a:lnTo>
                    <a:lnTo>
                      <a:pt x="51" y="942"/>
                    </a:lnTo>
                    <a:lnTo>
                      <a:pt x="0" y="927"/>
                    </a:lnTo>
                    <a:lnTo>
                      <a:pt x="53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00817" tIns="50408" rIns="100817" bIns="504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205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56" name="Freeform 52"/>
              <p:cNvSpPr>
                <a:spLocks/>
              </p:cNvSpPr>
              <p:nvPr/>
            </p:nvSpPr>
            <p:spPr bwMode="auto">
              <a:xfrm>
                <a:off x="3736582" y="1582205"/>
                <a:ext cx="106084" cy="148292"/>
              </a:xfrm>
              <a:custGeom>
                <a:avLst/>
                <a:gdLst>
                  <a:gd name="T0" fmla="*/ 220 w 754"/>
                  <a:gd name="T1" fmla="*/ 0 h 1055"/>
                  <a:gd name="T2" fmla="*/ 754 w 754"/>
                  <a:gd name="T3" fmla="*/ 927 h 1055"/>
                  <a:gd name="T4" fmla="*/ 704 w 754"/>
                  <a:gd name="T5" fmla="*/ 942 h 1055"/>
                  <a:gd name="T6" fmla="*/ 656 w 754"/>
                  <a:gd name="T7" fmla="*/ 963 h 1055"/>
                  <a:gd name="T8" fmla="*/ 611 w 754"/>
                  <a:gd name="T9" fmla="*/ 989 h 1055"/>
                  <a:gd name="T10" fmla="*/ 570 w 754"/>
                  <a:gd name="T11" fmla="*/ 1019 h 1055"/>
                  <a:gd name="T12" fmla="*/ 533 w 754"/>
                  <a:gd name="T13" fmla="*/ 1055 h 1055"/>
                  <a:gd name="T14" fmla="*/ 0 w 754"/>
                  <a:gd name="T15" fmla="*/ 131 h 1055"/>
                  <a:gd name="T16" fmla="*/ 51 w 754"/>
                  <a:gd name="T17" fmla="*/ 116 h 1055"/>
                  <a:gd name="T18" fmla="*/ 98 w 754"/>
                  <a:gd name="T19" fmla="*/ 94 h 1055"/>
                  <a:gd name="T20" fmla="*/ 142 w 754"/>
                  <a:gd name="T21" fmla="*/ 67 h 1055"/>
                  <a:gd name="T22" fmla="*/ 183 w 754"/>
                  <a:gd name="T23" fmla="*/ 36 h 1055"/>
                  <a:gd name="T24" fmla="*/ 220 w 754"/>
                  <a:gd name="T25" fmla="*/ 0 h 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54" h="1055">
                    <a:moveTo>
                      <a:pt x="220" y="0"/>
                    </a:moveTo>
                    <a:lnTo>
                      <a:pt x="754" y="927"/>
                    </a:lnTo>
                    <a:lnTo>
                      <a:pt x="704" y="942"/>
                    </a:lnTo>
                    <a:lnTo>
                      <a:pt x="656" y="963"/>
                    </a:lnTo>
                    <a:lnTo>
                      <a:pt x="611" y="989"/>
                    </a:lnTo>
                    <a:lnTo>
                      <a:pt x="570" y="1019"/>
                    </a:lnTo>
                    <a:lnTo>
                      <a:pt x="533" y="1055"/>
                    </a:lnTo>
                    <a:lnTo>
                      <a:pt x="0" y="131"/>
                    </a:lnTo>
                    <a:lnTo>
                      <a:pt x="51" y="116"/>
                    </a:lnTo>
                    <a:lnTo>
                      <a:pt x="98" y="94"/>
                    </a:lnTo>
                    <a:lnTo>
                      <a:pt x="142" y="67"/>
                    </a:lnTo>
                    <a:lnTo>
                      <a:pt x="183" y="36"/>
                    </a:lnTo>
                    <a:lnTo>
                      <a:pt x="22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00817" tIns="50408" rIns="100817" bIns="504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205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57" name="Freeform 53"/>
              <p:cNvSpPr>
                <a:spLocks/>
              </p:cNvSpPr>
              <p:nvPr/>
            </p:nvSpPr>
            <p:spPr bwMode="auto">
              <a:xfrm>
                <a:off x="3330819" y="1817165"/>
                <a:ext cx="106084" cy="148292"/>
              </a:xfrm>
              <a:custGeom>
                <a:avLst/>
                <a:gdLst>
                  <a:gd name="T0" fmla="*/ 222 w 754"/>
                  <a:gd name="T1" fmla="*/ 0 h 1055"/>
                  <a:gd name="T2" fmla="*/ 754 w 754"/>
                  <a:gd name="T3" fmla="*/ 924 h 1055"/>
                  <a:gd name="T4" fmla="*/ 705 w 754"/>
                  <a:gd name="T5" fmla="*/ 939 h 1055"/>
                  <a:gd name="T6" fmla="*/ 657 w 754"/>
                  <a:gd name="T7" fmla="*/ 961 h 1055"/>
                  <a:gd name="T8" fmla="*/ 612 w 754"/>
                  <a:gd name="T9" fmla="*/ 988 h 1055"/>
                  <a:gd name="T10" fmla="*/ 571 w 754"/>
                  <a:gd name="T11" fmla="*/ 1019 h 1055"/>
                  <a:gd name="T12" fmla="*/ 535 w 754"/>
                  <a:gd name="T13" fmla="*/ 1055 h 1055"/>
                  <a:gd name="T14" fmla="*/ 0 w 754"/>
                  <a:gd name="T15" fmla="*/ 128 h 1055"/>
                  <a:gd name="T16" fmla="*/ 51 w 754"/>
                  <a:gd name="T17" fmla="*/ 113 h 1055"/>
                  <a:gd name="T18" fmla="*/ 98 w 754"/>
                  <a:gd name="T19" fmla="*/ 92 h 1055"/>
                  <a:gd name="T20" fmla="*/ 143 w 754"/>
                  <a:gd name="T21" fmla="*/ 66 h 1055"/>
                  <a:gd name="T22" fmla="*/ 184 w 754"/>
                  <a:gd name="T23" fmla="*/ 36 h 1055"/>
                  <a:gd name="T24" fmla="*/ 222 w 754"/>
                  <a:gd name="T25" fmla="*/ 0 h 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54" h="1055">
                    <a:moveTo>
                      <a:pt x="222" y="0"/>
                    </a:moveTo>
                    <a:lnTo>
                      <a:pt x="754" y="924"/>
                    </a:lnTo>
                    <a:lnTo>
                      <a:pt x="705" y="939"/>
                    </a:lnTo>
                    <a:lnTo>
                      <a:pt x="657" y="961"/>
                    </a:lnTo>
                    <a:lnTo>
                      <a:pt x="612" y="988"/>
                    </a:lnTo>
                    <a:lnTo>
                      <a:pt x="571" y="1019"/>
                    </a:lnTo>
                    <a:lnTo>
                      <a:pt x="535" y="1055"/>
                    </a:lnTo>
                    <a:lnTo>
                      <a:pt x="0" y="128"/>
                    </a:lnTo>
                    <a:lnTo>
                      <a:pt x="51" y="113"/>
                    </a:lnTo>
                    <a:lnTo>
                      <a:pt x="98" y="92"/>
                    </a:lnTo>
                    <a:lnTo>
                      <a:pt x="143" y="66"/>
                    </a:lnTo>
                    <a:lnTo>
                      <a:pt x="184" y="36"/>
                    </a:lnTo>
                    <a:lnTo>
                      <a:pt x="22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00817" tIns="50408" rIns="100817" bIns="504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205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58" name="Freeform 54"/>
              <p:cNvSpPr>
                <a:spLocks noEditPoints="1"/>
              </p:cNvSpPr>
              <p:nvPr/>
            </p:nvSpPr>
            <p:spPr bwMode="auto">
              <a:xfrm>
                <a:off x="3371057" y="1521424"/>
                <a:ext cx="431652" cy="504813"/>
              </a:xfrm>
              <a:custGeom>
                <a:avLst/>
                <a:gdLst>
                  <a:gd name="T0" fmla="*/ 2006 w 3070"/>
                  <a:gd name="T1" fmla="*/ 3331 h 3588"/>
                  <a:gd name="T2" fmla="*/ 1193 w 3070"/>
                  <a:gd name="T3" fmla="*/ 2571 h 3588"/>
                  <a:gd name="T4" fmla="*/ 1531 w 3070"/>
                  <a:gd name="T5" fmla="*/ 1980 h 3588"/>
                  <a:gd name="T6" fmla="*/ 2910 w 3070"/>
                  <a:gd name="T7" fmla="*/ 1889 h 3588"/>
                  <a:gd name="T8" fmla="*/ 2033 w 3070"/>
                  <a:gd name="T9" fmla="*/ 2464 h 3588"/>
                  <a:gd name="T10" fmla="*/ 1702 w 3070"/>
                  <a:gd name="T11" fmla="*/ 1889 h 3588"/>
                  <a:gd name="T12" fmla="*/ 1032 w 3070"/>
                  <a:gd name="T13" fmla="*/ 2465 h 3588"/>
                  <a:gd name="T14" fmla="*/ 153 w 3070"/>
                  <a:gd name="T15" fmla="*/ 1889 h 3588"/>
                  <a:gd name="T16" fmla="*/ 153 w 3070"/>
                  <a:gd name="T17" fmla="*/ 1889 h 3588"/>
                  <a:gd name="T18" fmla="*/ 2910 w 3070"/>
                  <a:gd name="T19" fmla="*/ 1699 h 3588"/>
                  <a:gd name="T20" fmla="*/ 153 w 3070"/>
                  <a:gd name="T21" fmla="*/ 1699 h 3588"/>
                  <a:gd name="T22" fmla="*/ 1035 w 3070"/>
                  <a:gd name="T23" fmla="*/ 1120 h 3588"/>
                  <a:gd name="T24" fmla="*/ 1369 w 3070"/>
                  <a:gd name="T25" fmla="*/ 1699 h 3588"/>
                  <a:gd name="T26" fmla="*/ 1692 w 3070"/>
                  <a:gd name="T27" fmla="*/ 1699 h 3588"/>
                  <a:gd name="T28" fmla="*/ 2024 w 3070"/>
                  <a:gd name="T29" fmla="*/ 1119 h 3588"/>
                  <a:gd name="T30" fmla="*/ 1530 w 3070"/>
                  <a:gd name="T31" fmla="*/ 1593 h 3588"/>
                  <a:gd name="T32" fmla="*/ 1057 w 3070"/>
                  <a:gd name="T33" fmla="*/ 257 h 3588"/>
                  <a:gd name="T34" fmla="*/ 1057 w 3070"/>
                  <a:gd name="T35" fmla="*/ 257 h 3588"/>
                  <a:gd name="T36" fmla="*/ 2050 w 3070"/>
                  <a:gd name="T37" fmla="*/ 41 h 3588"/>
                  <a:gd name="T38" fmla="*/ 2046 w 3070"/>
                  <a:gd name="T39" fmla="*/ 189 h 3588"/>
                  <a:gd name="T40" fmla="*/ 2103 w 3070"/>
                  <a:gd name="T41" fmla="*/ 354 h 3588"/>
                  <a:gd name="T42" fmla="*/ 1958 w 3070"/>
                  <a:gd name="T43" fmla="*/ 846 h 3588"/>
                  <a:gd name="T44" fmla="*/ 2258 w 3070"/>
                  <a:gd name="T45" fmla="*/ 512 h 3588"/>
                  <a:gd name="T46" fmla="*/ 2119 w 3070"/>
                  <a:gd name="T47" fmla="*/ 951 h 3588"/>
                  <a:gd name="T48" fmla="*/ 2441 w 3070"/>
                  <a:gd name="T49" fmla="*/ 575 h 3588"/>
                  <a:gd name="T50" fmla="*/ 2587 w 3070"/>
                  <a:gd name="T51" fmla="*/ 566 h 3588"/>
                  <a:gd name="T52" fmla="*/ 3044 w 3070"/>
                  <a:gd name="T53" fmla="*/ 1623 h 3588"/>
                  <a:gd name="T54" fmla="*/ 3011 w 3070"/>
                  <a:gd name="T55" fmla="*/ 1794 h 3588"/>
                  <a:gd name="T56" fmla="*/ 3044 w 3070"/>
                  <a:gd name="T57" fmla="*/ 1965 h 3588"/>
                  <a:gd name="T58" fmla="*/ 2587 w 3070"/>
                  <a:gd name="T59" fmla="*/ 3022 h 3588"/>
                  <a:gd name="T60" fmla="*/ 2441 w 3070"/>
                  <a:gd name="T61" fmla="*/ 3013 h 3588"/>
                  <a:gd name="T62" fmla="*/ 2129 w 3070"/>
                  <a:gd name="T63" fmla="*/ 2630 h 3588"/>
                  <a:gd name="T64" fmla="*/ 2271 w 3070"/>
                  <a:gd name="T65" fmla="*/ 3069 h 3588"/>
                  <a:gd name="T66" fmla="*/ 1968 w 3070"/>
                  <a:gd name="T67" fmla="*/ 2735 h 3588"/>
                  <a:gd name="T68" fmla="*/ 2103 w 3070"/>
                  <a:gd name="T69" fmla="*/ 3234 h 3588"/>
                  <a:gd name="T70" fmla="*/ 2046 w 3070"/>
                  <a:gd name="T71" fmla="*/ 3399 h 3588"/>
                  <a:gd name="T72" fmla="*/ 2050 w 3070"/>
                  <a:gd name="T73" fmla="*/ 3547 h 3588"/>
                  <a:gd name="T74" fmla="*/ 1021 w 3070"/>
                  <a:gd name="T75" fmla="*/ 3547 h 3588"/>
                  <a:gd name="T76" fmla="*/ 1026 w 3070"/>
                  <a:gd name="T77" fmla="*/ 3398 h 3588"/>
                  <a:gd name="T78" fmla="*/ 967 w 3070"/>
                  <a:gd name="T79" fmla="*/ 3230 h 3588"/>
                  <a:gd name="T80" fmla="*/ 1098 w 3070"/>
                  <a:gd name="T81" fmla="*/ 2738 h 3588"/>
                  <a:gd name="T82" fmla="*/ 799 w 3070"/>
                  <a:gd name="T83" fmla="*/ 3068 h 3588"/>
                  <a:gd name="T84" fmla="*/ 937 w 3070"/>
                  <a:gd name="T85" fmla="*/ 2633 h 3588"/>
                  <a:gd name="T86" fmla="*/ 625 w 3070"/>
                  <a:gd name="T87" fmla="*/ 3013 h 3588"/>
                  <a:gd name="T88" fmla="*/ 476 w 3070"/>
                  <a:gd name="T89" fmla="*/ 3024 h 3588"/>
                  <a:gd name="T90" fmla="*/ 26 w 3070"/>
                  <a:gd name="T91" fmla="*/ 1969 h 3588"/>
                  <a:gd name="T92" fmla="*/ 61 w 3070"/>
                  <a:gd name="T93" fmla="*/ 1794 h 3588"/>
                  <a:gd name="T94" fmla="*/ 26 w 3070"/>
                  <a:gd name="T95" fmla="*/ 1619 h 3588"/>
                  <a:gd name="T96" fmla="*/ 476 w 3070"/>
                  <a:gd name="T97" fmla="*/ 564 h 3588"/>
                  <a:gd name="T98" fmla="*/ 625 w 3070"/>
                  <a:gd name="T99" fmla="*/ 575 h 3588"/>
                  <a:gd name="T100" fmla="*/ 940 w 3070"/>
                  <a:gd name="T101" fmla="*/ 954 h 3588"/>
                  <a:gd name="T102" fmla="*/ 801 w 3070"/>
                  <a:gd name="T103" fmla="*/ 519 h 3588"/>
                  <a:gd name="T104" fmla="*/ 1101 w 3070"/>
                  <a:gd name="T105" fmla="*/ 847 h 3588"/>
                  <a:gd name="T106" fmla="*/ 967 w 3070"/>
                  <a:gd name="T107" fmla="*/ 358 h 3588"/>
                  <a:gd name="T108" fmla="*/ 1026 w 3070"/>
                  <a:gd name="T109" fmla="*/ 190 h 3588"/>
                  <a:gd name="T110" fmla="*/ 1021 w 3070"/>
                  <a:gd name="T111" fmla="*/ 41 h 3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070" h="3588">
                    <a:moveTo>
                      <a:pt x="1531" y="3022"/>
                    </a:moveTo>
                    <a:lnTo>
                      <a:pt x="1057" y="3331"/>
                    </a:lnTo>
                    <a:lnTo>
                      <a:pt x="2006" y="3331"/>
                    </a:lnTo>
                    <a:lnTo>
                      <a:pt x="1531" y="3022"/>
                    </a:lnTo>
                    <a:close/>
                    <a:moveTo>
                      <a:pt x="1531" y="1980"/>
                    </a:moveTo>
                    <a:lnTo>
                      <a:pt x="1193" y="2571"/>
                    </a:lnTo>
                    <a:lnTo>
                      <a:pt x="1531" y="2792"/>
                    </a:lnTo>
                    <a:lnTo>
                      <a:pt x="1872" y="2569"/>
                    </a:lnTo>
                    <a:lnTo>
                      <a:pt x="1531" y="1980"/>
                    </a:lnTo>
                    <a:close/>
                    <a:moveTo>
                      <a:pt x="2587" y="1889"/>
                    </a:moveTo>
                    <a:lnTo>
                      <a:pt x="2587" y="2102"/>
                    </a:lnTo>
                    <a:lnTo>
                      <a:pt x="2910" y="1889"/>
                    </a:lnTo>
                    <a:lnTo>
                      <a:pt x="2587" y="1889"/>
                    </a:lnTo>
                    <a:close/>
                    <a:moveTo>
                      <a:pt x="1702" y="1889"/>
                    </a:moveTo>
                    <a:lnTo>
                      <a:pt x="2033" y="2464"/>
                    </a:lnTo>
                    <a:lnTo>
                      <a:pt x="2395" y="2228"/>
                    </a:lnTo>
                    <a:lnTo>
                      <a:pt x="2395" y="1889"/>
                    </a:lnTo>
                    <a:lnTo>
                      <a:pt x="1702" y="1889"/>
                    </a:lnTo>
                    <a:close/>
                    <a:moveTo>
                      <a:pt x="668" y="1889"/>
                    </a:moveTo>
                    <a:lnTo>
                      <a:pt x="668" y="2228"/>
                    </a:lnTo>
                    <a:lnTo>
                      <a:pt x="1032" y="2465"/>
                    </a:lnTo>
                    <a:lnTo>
                      <a:pt x="1361" y="1889"/>
                    </a:lnTo>
                    <a:lnTo>
                      <a:pt x="668" y="1889"/>
                    </a:lnTo>
                    <a:close/>
                    <a:moveTo>
                      <a:pt x="153" y="1889"/>
                    </a:moveTo>
                    <a:lnTo>
                      <a:pt x="476" y="2102"/>
                    </a:lnTo>
                    <a:lnTo>
                      <a:pt x="476" y="1889"/>
                    </a:lnTo>
                    <a:lnTo>
                      <a:pt x="153" y="1889"/>
                    </a:lnTo>
                    <a:close/>
                    <a:moveTo>
                      <a:pt x="2587" y="1486"/>
                    </a:moveTo>
                    <a:lnTo>
                      <a:pt x="2587" y="1699"/>
                    </a:lnTo>
                    <a:lnTo>
                      <a:pt x="2910" y="1699"/>
                    </a:lnTo>
                    <a:lnTo>
                      <a:pt x="2587" y="1486"/>
                    </a:lnTo>
                    <a:close/>
                    <a:moveTo>
                      <a:pt x="476" y="1486"/>
                    </a:moveTo>
                    <a:lnTo>
                      <a:pt x="153" y="1699"/>
                    </a:lnTo>
                    <a:lnTo>
                      <a:pt x="476" y="1699"/>
                    </a:lnTo>
                    <a:lnTo>
                      <a:pt x="476" y="1486"/>
                    </a:lnTo>
                    <a:close/>
                    <a:moveTo>
                      <a:pt x="1035" y="1120"/>
                    </a:moveTo>
                    <a:lnTo>
                      <a:pt x="668" y="1360"/>
                    </a:lnTo>
                    <a:lnTo>
                      <a:pt x="668" y="1699"/>
                    </a:lnTo>
                    <a:lnTo>
                      <a:pt x="1369" y="1699"/>
                    </a:lnTo>
                    <a:lnTo>
                      <a:pt x="1035" y="1120"/>
                    </a:lnTo>
                    <a:close/>
                    <a:moveTo>
                      <a:pt x="2024" y="1119"/>
                    </a:moveTo>
                    <a:lnTo>
                      <a:pt x="1692" y="1699"/>
                    </a:lnTo>
                    <a:lnTo>
                      <a:pt x="2395" y="1699"/>
                    </a:lnTo>
                    <a:lnTo>
                      <a:pt x="2395" y="1360"/>
                    </a:lnTo>
                    <a:lnTo>
                      <a:pt x="2024" y="1119"/>
                    </a:lnTo>
                    <a:close/>
                    <a:moveTo>
                      <a:pt x="1531" y="796"/>
                    </a:moveTo>
                    <a:lnTo>
                      <a:pt x="1197" y="1015"/>
                    </a:lnTo>
                    <a:lnTo>
                      <a:pt x="1530" y="1593"/>
                    </a:lnTo>
                    <a:lnTo>
                      <a:pt x="1863" y="1012"/>
                    </a:lnTo>
                    <a:lnTo>
                      <a:pt x="1531" y="796"/>
                    </a:lnTo>
                    <a:close/>
                    <a:moveTo>
                      <a:pt x="1057" y="257"/>
                    </a:moveTo>
                    <a:lnTo>
                      <a:pt x="1531" y="566"/>
                    </a:lnTo>
                    <a:lnTo>
                      <a:pt x="2006" y="257"/>
                    </a:lnTo>
                    <a:lnTo>
                      <a:pt x="1057" y="257"/>
                    </a:lnTo>
                    <a:close/>
                    <a:moveTo>
                      <a:pt x="1011" y="0"/>
                    </a:moveTo>
                    <a:lnTo>
                      <a:pt x="2061" y="0"/>
                    </a:lnTo>
                    <a:lnTo>
                      <a:pt x="2050" y="41"/>
                    </a:lnTo>
                    <a:lnTo>
                      <a:pt x="2044" y="84"/>
                    </a:lnTo>
                    <a:lnTo>
                      <a:pt x="2041" y="129"/>
                    </a:lnTo>
                    <a:lnTo>
                      <a:pt x="2046" y="189"/>
                    </a:lnTo>
                    <a:lnTo>
                      <a:pt x="2058" y="247"/>
                    </a:lnTo>
                    <a:lnTo>
                      <a:pt x="2077" y="302"/>
                    </a:lnTo>
                    <a:lnTo>
                      <a:pt x="2103" y="354"/>
                    </a:lnTo>
                    <a:lnTo>
                      <a:pt x="2134" y="401"/>
                    </a:lnTo>
                    <a:lnTo>
                      <a:pt x="1706" y="681"/>
                    </a:lnTo>
                    <a:lnTo>
                      <a:pt x="1958" y="846"/>
                    </a:lnTo>
                    <a:lnTo>
                      <a:pt x="2182" y="453"/>
                    </a:lnTo>
                    <a:lnTo>
                      <a:pt x="2219" y="485"/>
                    </a:lnTo>
                    <a:lnTo>
                      <a:pt x="2258" y="512"/>
                    </a:lnTo>
                    <a:lnTo>
                      <a:pt x="2302" y="535"/>
                    </a:lnTo>
                    <a:lnTo>
                      <a:pt x="2347" y="553"/>
                    </a:lnTo>
                    <a:lnTo>
                      <a:pt x="2119" y="951"/>
                    </a:lnTo>
                    <a:lnTo>
                      <a:pt x="2395" y="1131"/>
                    </a:lnTo>
                    <a:lnTo>
                      <a:pt x="2395" y="566"/>
                    </a:lnTo>
                    <a:lnTo>
                      <a:pt x="2441" y="575"/>
                    </a:lnTo>
                    <a:lnTo>
                      <a:pt x="2490" y="576"/>
                    </a:lnTo>
                    <a:lnTo>
                      <a:pt x="2539" y="575"/>
                    </a:lnTo>
                    <a:lnTo>
                      <a:pt x="2587" y="566"/>
                    </a:lnTo>
                    <a:lnTo>
                      <a:pt x="2587" y="1257"/>
                    </a:lnTo>
                    <a:lnTo>
                      <a:pt x="3070" y="1573"/>
                    </a:lnTo>
                    <a:lnTo>
                      <a:pt x="3044" y="1623"/>
                    </a:lnTo>
                    <a:lnTo>
                      <a:pt x="3026" y="1678"/>
                    </a:lnTo>
                    <a:lnTo>
                      <a:pt x="3014" y="1734"/>
                    </a:lnTo>
                    <a:lnTo>
                      <a:pt x="3011" y="1794"/>
                    </a:lnTo>
                    <a:lnTo>
                      <a:pt x="3014" y="1854"/>
                    </a:lnTo>
                    <a:lnTo>
                      <a:pt x="3026" y="1910"/>
                    </a:lnTo>
                    <a:lnTo>
                      <a:pt x="3044" y="1965"/>
                    </a:lnTo>
                    <a:lnTo>
                      <a:pt x="3070" y="2015"/>
                    </a:lnTo>
                    <a:lnTo>
                      <a:pt x="2587" y="2331"/>
                    </a:lnTo>
                    <a:lnTo>
                      <a:pt x="2587" y="3022"/>
                    </a:lnTo>
                    <a:lnTo>
                      <a:pt x="2539" y="3013"/>
                    </a:lnTo>
                    <a:lnTo>
                      <a:pt x="2490" y="3012"/>
                    </a:lnTo>
                    <a:lnTo>
                      <a:pt x="2441" y="3013"/>
                    </a:lnTo>
                    <a:lnTo>
                      <a:pt x="2395" y="3022"/>
                    </a:lnTo>
                    <a:lnTo>
                      <a:pt x="2395" y="2457"/>
                    </a:lnTo>
                    <a:lnTo>
                      <a:pt x="2129" y="2630"/>
                    </a:lnTo>
                    <a:lnTo>
                      <a:pt x="2361" y="3031"/>
                    </a:lnTo>
                    <a:lnTo>
                      <a:pt x="2314" y="3048"/>
                    </a:lnTo>
                    <a:lnTo>
                      <a:pt x="2271" y="3069"/>
                    </a:lnTo>
                    <a:lnTo>
                      <a:pt x="2231" y="3095"/>
                    </a:lnTo>
                    <a:lnTo>
                      <a:pt x="2193" y="3125"/>
                    </a:lnTo>
                    <a:lnTo>
                      <a:pt x="1968" y="2735"/>
                    </a:lnTo>
                    <a:lnTo>
                      <a:pt x="1706" y="2907"/>
                    </a:lnTo>
                    <a:lnTo>
                      <a:pt x="2134" y="3187"/>
                    </a:lnTo>
                    <a:lnTo>
                      <a:pt x="2103" y="3234"/>
                    </a:lnTo>
                    <a:lnTo>
                      <a:pt x="2077" y="3286"/>
                    </a:lnTo>
                    <a:lnTo>
                      <a:pt x="2058" y="3341"/>
                    </a:lnTo>
                    <a:lnTo>
                      <a:pt x="2046" y="3399"/>
                    </a:lnTo>
                    <a:lnTo>
                      <a:pt x="2041" y="3459"/>
                    </a:lnTo>
                    <a:lnTo>
                      <a:pt x="2044" y="3504"/>
                    </a:lnTo>
                    <a:lnTo>
                      <a:pt x="2050" y="3547"/>
                    </a:lnTo>
                    <a:lnTo>
                      <a:pt x="2061" y="3588"/>
                    </a:lnTo>
                    <a:lnTo>
                      <a:pt x="1011" y="3588"/>
                    </a:lnTo>
                    <a:lnTo>
                      <a:pt x="1021" y="3547"/>
                    </a:lnTo>
                    <a:lnTo>
                      <a:pt x="1027" y="3504"/>
                    </a:lnTo>
                    <a:lnTo>
                      <a:pt x="1030" y="3459"/>
                    </a:lnTo>
                    <a:lnTo>
                      <a:pt x="1026" y="3398"/>
                    </a:lnTo>
                    <a:lnTo>
                      <a:pt x="1013" y="3339"/>
                    </a:lnTo>
                    <a:lnTo>
                      <a:pt x="993" y="3284"/>
                    </a:lnTo>
                    <a:lnTo>
                      <a:pt x="967" y="3230"/>
                    </a:lnTo>
                    <a:lnTo>
                      <a:pt x="933" y="3183"/>
                    </a:lnTo>
                    <a:lnTo>
                      <a:pt x="1356" y="2907"/>
                    </a:lnTo>
                    <a:lnTo>
                      <a:pt x="1098" y="2738"/>
                    </a:lnTo>
                    <a:lnTo>
                      <a:pt x="877" y="3124"/>
                    </a:lnTo>
                    <a:lnTo>
                      <a:pt x="840" y="3094"/>
                    </a:lnTo>
                    <a:lnTo>
                      <a:pt x="799" y="3068"/>
                    </a:lnTo>
                    <a:lnTo>
                      <a:pt x="756" y="3046"/>
                    </a:lnTo>
                    <a:lnTo>
                      <a:pt x="709" y="3030"/>
                    </a:lnTo>
                    <a:lnTo>
                      <a:pt x="937" y="2633"/>
                    </a:lnTo>
                    <a:lnTo>
                      <a:pt x="668" y="2457"/>
                    </a:lnTo>
                    <a:lnTo>
                      <a:pt x="668" y="3020"/>
                    </a:lnTo>
                    <a:lnTo>
                      <a:pt x="625" y="3013"/>
                    </a:lnTo>
                    <a:lnTo>
                      <a:pt x="581" y="3012"/>
                    </a:lnTo>
                    <a:lnTo>
                      <a:pt x="528" y="3015"/>
                    </a:lnTo>
                    <a:lnTo>
                      <a:pt x="476" y="3024"/>
                    </a:lnTo>
                    <a:lnTo>
                      <a:pt x="476" y="2331"/>
                    </a:lnTo>
                    <a:lnTo>
                      <a:pt x="0" y="2020"/>
                    </a:lnTo>
                    <a:lnTo>
                      <a:pt x="26" y="1969"/>
                    </a:lnTo>
                    <a:lnTo>
                      <a:pt x="45" y="1913"/>
                    </a:lnTo>
                    <a:lnTo>
                      <a:pt x="57" y="1855"/>
                    </a:lnTo>
                    <a:lnTo>
                      <a:pt x="61" y="1794"/>
                    </a:lnTo>
                    <a:lnTo>
                      <a:pt x="57" y="1733"/>
                    </a:lnTo>
                    <a:lnTo>
                      <a:pt x="45" y="1675"/>
                    </a:lnTo>
                    <a:lnTo>
                      <a:pt x="26" y="1619"/>
                    </a:lnTo>
                    <a:lnTo>
                      <a:pt x="0" y="1568"/>
                    </a:lnTo>
                    <a:lnTo>
                      <a:pt x="476" y="1257"/>
                    </a:lnTo>
                    <a:lnTo>
                      <a:pt x="476" y="564"/>
                    </a:lnTo>
                    <a:lnTo>
                      <a:pt x="528" y="573"/>
                    </a:lnTo>
                    <a:lnTo>
                      <a:pt x="581" y="576"/>
                    </a:lnTo>
                    <a:lnTo>
                      <a:pt x="625" y="575"/>
                    </a:lnTo>
                    <a:lnTo>
                      <a:pt x="668" y="568"/>
                    </a:lnTo>
                    <a:lnTo>
                      <a:pt x="668" y="1131"/>
                    </a:lnTo>
                    <a:lnTo>
                      <a:pt x="940" y="954"/>
                    </a:lnTo>
                    <a:lnTo>
                      <a:pt x="711" y="557"/>
                    </a:lnTo>
                    <a:lnTo>
                      <a:pt x="757" y="540"/>
                    </a:lnTo>
                    <a:lnTo>
                      <a:pt x="801" y="519"/>
                    </a:lnTo>
                    <a:lnTo>
                      <a:pt x="841" y="493"/>
                    </a:lnTo>
                    <a:lnTo>
                      <a:pt x="878" y="463"/>
                    </a:lnTo>
                    <a:lnTo>
                      <a:pt x="1101" y="847"/>
                    </a:lnTo>
                    <a:lnTo>
                      <a:pt x="1356" y="681"/>
                    </a:lnTo>
                    <a:lnTo>
                      <a:pt x="933" y="405"/>
                    </a:lnTo>
                    <a:lnTo>
                      <a:pt x="967" y="358"/>
                    </a:lnTo>
                    <a:lnTo>
                      <a:pt x="993" y="305"/>
                    </a:lnTo>
                    <a:lnTo>
                      <a:pt x="1013" y="249"/>
                    </a:lnTo>
                    <a:lnTo>
                      <a:pt x="1026" y="190"/>
                    </a:lnTo>
                    <a:lnTo>
                      <a:pt x="1030" y="129"/>
                    </a:lnTo>
                    <a:lnTo>
                      <a:pt x="1027" y="84"/>
                    </a:lnTo>
                    <a:lnTo>
                      <a:pt x="1021" y="41"/>
                    </a:lnTo>
                    <a:lnTo>
                      <a:pt x="1011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00817" tIns="50408" rIns="100817" bIns="504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205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59" name="Freeform 55"/>
              <p:cNvSpPr>
                <a:spLocks/>
              </p:cNvSpPr>
              <p:nvPr/>
            </p:nvSpPr>
            <p:spPr bwMode="auto">
              <a:xfrm>
                <a:off x="3407357" y="1494411"/>
                <a:ext cx="90326" cy="90326"/>
              </a:xfrm>
              <a:custGeom>
                <a:avLst/>
                <a:gdLst>
                  <a:gd name="T0" fmla="*/ 321 w 641"/>
                  <a:gd name="T1" fmla="*/ 0 h 641"/>
                  <a:gd name="T2" fmla="*/ 372 w 641"/>
                  <a:gd name="T3" fmla="*/ 4 h 641"/>
                  <a:gd name="T4" fmla="*/ 422 w 641"/>
                  <a:gd name="T5" fmla="*/ 16 h 641"/>
                  <a:gd name="T6" fmla="*/ 468 w 641"/>
                  <a:gd name="T7" fmla="*/ 35 h 641"/>
                  <a:gd name="T8" fmla="*/ 510 w 641"/>
                  <a:gd name="T9" fmla="*/ 61 h 641"/>
                  <a:gd name="T10" fmla="*/ 547 w 641"/>
                  <a:gd name="T11" fmla="*/ 94 h 641"/>
                  <a:gd name="T12" fmla="*/ 580 w 641"/>
                  <a:gd name="T13" fmla="*/ 131 h 641"/>
                  <a:gd name="T14" fmla="*/ 606 w 641"/>
                  <a:gd name="T15" fmla="*/ 173 h 641"/>
                  <a:gd name="T16" fmla="*/ 625 w 641"/>
                  <a:gd name="T17" fmla="*/ 218 h 641"/>
                  <a:gd name="T18" fmla="*/ 637 w 641"/>
                  <a:gd name="T19" fmla="*/ 269 h 641"/>
                  <a:gd name="T20" fmla="*/ 641 w 641"/>
                  <a:gd name="T21" fmla="*/ 321 h 641"/>
                  <a:gd name="T22" fmla="*/ 637 w 641"/>
                  <a:gd name="T23" fmla="*/ 372 h 641"/>
                  <a:gd name="T24" fmla="*/ 625 w 641"/>
                  <a:gd name="T25" fmla="*/ 421 h 641"/>
                  <a:gd name="T26" fmla="*/ 606 w 641"/>
                  <a:gd name="T27" fmla="*/ 468 h 641"/>
                  <a:gd name="T28" fmla="*/ 580 w 641"/>
                  <a:gd name="T29" fmla="*/ 509 h 641"/>
                  <a:gd name="T30" fmla="*/ 547 w 641"/>
                  <a:gd name="T31" fmla="*/ 547 h 641"/>
                  <a:gd name="T32" fmla="*/ 510 w 641"/>
                  <a:gd name="T33" fmla="*/ 578 h 641"/>
                  <a:gd name="T34" fmla="*/ 468 w 641"/>
                  <a:gd name="T35" fmla="*/ 604 h 641"/>
                  <a:gd name="T36" fmla="*/ 422 w 641"/>
                  <a:gd name="T37" fmla="*/ 625 h 641"/>
                  <a:gd name="T38" fmla="*/ 372 w 641"/>
                  <a:gd name="T39" fmla="*/ 636 h 641"/>
                  <a:gd name="T40" fmla="*/ 321 w 641"/>
                  <a:gd name="T41" fmla="*/ 641 h 641"/>
                  <a:gd name="T42" fmla="*/ 269 w 641"/>
                  <a:gd name="T43" fmla="*/ 636 h 641"/>
                  <a:gd name="T44" fmla="*/ 220 w 641"/>
                  <a:gd name="T45" fmla="*/ 625 h 641"/>
                  <a:gd name="T46" fmla="*/ 173 w 641"/>
                  <a:gd name="T47" fmla="*/ 604 h 641"/>
                  <a:gd name="T48" fmla="*/ 132 w 641"/>
                  <a:gd name="T49" fmla="*/ 578 h 641"/>
                  <a:gd name="T50" fmla="*/ 94 w 641"/>
                  <a:gd name="T51" fmla="*/ 547 h 641"/>
                  <a:gd name="T52" fmla="*/ 63 w 641"/>
                  <a:gd name="T53" fmla="*/ 509 h 641"/>
                  <a:gd name="T54" fmla="*/ 37 w 641"/>
                  <a:gd name="T55" fmla="*/ 468 h 641"/>
                  <a:gd name="T56" fmla="*/ 17 w 641"/>
                  <a:gd name="T57" fmla="*/ 421 h 641"/>
                  <a:gd name="T58" fmla="*/ 4 w 641"/>
                  <a:gd name="T59" fmla="*/ 372 h 641"/>
                  <a:gd name="T60" fmla="*/ 0 w 641"/>
                  <a:gd name="T61" fmla="*/ 321 h 641"/>
                  <a:gd name="T62" fmla="*/ 4 w 641"/>
                  <a:gd name="T63" fmla="*/ 269 h 641"/>
                  <a:gd name="T64" fmla="*/ 17 w 641"/>
                  <a:gd name="T65" fmla="*/ 218 h 641"/>
                  <a:gd name="T66" fmla="*/ 37 w 641"/>
                  <a:gd name="T67" fmla="*/ 173 h 641"/>
                  <a:gd name="T68" fmla="*/ 63 w 641"/>
                  <a:gd name="T69" fmla="*/ 131 h 641"/>
                  <a:gd name="T70" fmla="*/ 94 w 641"/>
                  <a:gd name="T71" fmla="*/ 94 h 641"/>
                  <a:gd name="T72" fmla="*/ 132 w 641"/>
                  <a:gd name="T73" fmla="*/ 61 h 641"/>
                  <a:gd name="T74" fmla="*/ 173 w 641"/>
                  <a:gd name="T75" fmla="*/ 35 h 641"/>
                  <a:gd name="T76" fmla="*/ 220 w 641"/>
                  <a:gd name="T77" fmla="*/ 16 h 641"/>
                  <a:gd name="T78" fmla="*/ 269 w 641"/>
                  <a:gd name="T79" fmla="*/ 4 h 641"/>
                  <a:gd name="T80" fmla="*/ 321 w 641"/>
                  <a:gd name="T81" fmla="*/ 0 h 641"/>
                  <a:gd name="T82" fmla="*/ 321 w 641"/>
                  <a:gd name="T83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41" h="641">
                    <a:moveTo>
                      <a:pt x="321" y="0"/>
                    </a:moveTo>
                    <a:lnTo>
                      <a:pt x="372" y="4"/>
                    </a:lnTo>
                    <a:lnTo>
                      <a:pt x="422" y="16"/>
                    </a:lnTo>
                    <a:lnTo>
                      <a:pt x="468" y="35"/>
                    </a:lnTo>
                    <a:lnTo>
                      <a:pt x="510" y="61"/>
                    </a:lnTo>
                    <a:lnTo>
                      <a:pt x="547" y="94"/>
                    </a:lnTo>
                    <a:lnTo>
                      <a:pt x="580" y="131"/>
                    </a:lnTo>
                    <a:lnTo>
                      <a:pt x="606" y="173"/>
                    </a:lnTo>
                    <a:lnTo>
                      <a:pt x="625" y="218"/>
                    </a:lnTo>
                    <a:lnTo>
                      <a:pt x="637" y="269"/>
                    </a:lnTo>
                    <a:lnTo>
                      <a:pt x="641" y="321"/>
                    </a:lnTo>
                    <a:lnTo>
                      <a:pt x="637" y="372"/>
                    </a:lnTo>
                    <a:lnTo>
                      <a:pt x="625" y="421"/>
                    </a:lnTo>
                    <a:lnTo>
                      <a:pt x="606" y="468"/>
                    </a:lnTo>
                    <a:lnTo>
                      <a:pt x="580" y="509"/>
                    </a:lnTo>
                    <a:lnTo>
                      <a:pt x="547" y="547"/>
                    </a:lnTo>
                    <a:lnTo>
                      <a:pt x="510" y="578"/>
                    </a:lnTo>
                    <a:lnTo>
                      <a:pt x="468" y="604"/>
                    </a:lnTo>
                    <a:lnTo>
                      <a:pt x="422" y="625"/>
                    </a:lnTo>
                    <a:lnTo>
                      <a:pt x="372" y="636"/>
                    </a:lnTo>
                    <a:lnTo>
                      <a:pt x="321" y="641"/>
                    </a:lnTo>
                    <a:lnTo>
                      <a:pt x="269" y="636"/>
                    </a:lnTo>
                    <a:lnTo>
                      <a:pt x="220" y="625"/>
                    </a:lnTo>
                    <a:lnTo>
                      <a:pt x="173" y="604"/>
                    </a:lnTo>
                    <a:lnTo>
                      <a:pt x="132" y="578"/>
                    </a:lnTo>
                    <a:lnTo>
                      <a:pt x="94" y="547"/>
                    </a:lnTo>
                    <a:lnTo>
                      <a:pt x="63" y="509"/>
                    </a:lnTo>
                    <a:lnTo>
                      <a:pt x="37" y="468"/>
                    </a:lnTo>
                    <a:lnTo>
                      <a:pt x="17" y="421"/>
                    </a:lnTo>
                    <a:lnTo>
                      <a:pt x="4" y="372"/>
                    </a:lnTo>
                    <a:lnTo>
                      <a:pt x="0" y="321"/>
                    </a:lnTo>
                    <a:lnTo>
                      <a:pt x="4" y="269"/>
                    </a:lnTo>
                    <a:lnTo>
                      <a:pt x="17" y="218"/>
                    </a:lnTo>
                    <a:lnTo>
                      <a:pt x="37" y="173"/>
                    </a:lnTo>
                    <a:lnTo>
                      <a:pt x="63" y="131"/>
                    </a:lnTo>
                    <a:lnTo>
                      <a:pt x="94" y="94"/>
                    </a:lnTo>
                    <a:lnTo>
                      <a:pt x="132" y="61"/>
                    </a:lnTo>
                    <a:lnTo>
                      <a:pt x="173" y="35"/>
                    </a:lnTo>
                    <a:lnTo>
                      <a:pt x="220" y="16"/>
                    </a:lnTo>
                    <a:lnTo>
                      <a:pt x="269" y="4"/>
                    </a:lnTo>
                    <a:lnTo>
                      <a:pt x="321" y="0"/>
                    </a:lnTo>
                    <a:lnTo>
                      <a:pt x="321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00817" tIns="50408" rIns="100817" bIns="504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205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60" name="Freeform 56"/>
              <p:cNvSpPr>
                <a:spLocks/>
              </p:cNvSpPr>
              <p:nvPr/>
            </p:nvSpPr>
            <p:spPr bwMode="auto">
              <a:xfrm>
                <a:off x="3676084" y="1494411"/>
                <a:ext cx="90045" cy="90326"/>
              </a:xfrm>
              <a:custGeom>
                <a:avLst/>
                <a:gdLst>
                  <a:gd name="T0" fmla="*/ 321 w 641"/>
                  <a:gd name="T1" fmla="*/ 0 h 641"/>
                  <a:gd name="T2" fmla="*/ 373 w 641"/>
                  <a:gd name="T3" fmla="*/ 4 h 641"/>
                  <a:gd name="T4" fmla="*/ 422 w 641"/>
                  <a:gd name="T5" fmla="*/ 16 h 641"/>
                  <a:gd name="T6" fmla="*/ 468 w 641"/>
                  <a:gd name="T7" fmla="*/ 35 h 641"/>
                  <a:gd name="T8" fmla="*/ 510 w 641"/>
                  <a:gd name="T9" fmla="*/ 61 h 641"/>
                  <a:gd name="T10" fmla="*/ 547 w 641"/>
                  <a:gd name="T11" fmla="*/ 94 h 641"/>
                  <a:gd name="T12" fmla="*/ 580 w 641"/>
                  <a:gd name="T13" fmla="*/ 131 h 641"/>
                  <a:gd name="T14" fmla="*/ 606 w 641"/>
                  <a:gd name="T15" fmla="*/ 173 h 641"/>
                  <a:gd name="T16" fmla="*/ 625 w 641"/>
                  <a:gd name="T17" fmla="*/ 218 h 641"/>
                  <a:gd name="T18" fmla="*/ 637 w 641"/>
                  <a:gd name="T19" fmla="*/ 269 h 641"/>
                  <a:gd name="T20" fmla="*/ 641 w 641"/>
                  <a:gd name="T21" fmla="*/ 321 h 641"/>
                  <a:gd name="T22" fmla="*/ 637 w 641"/>
                  <a:gd name="T23" fmla="*/ 372 h 641"/>
                  <a:gd name="T24" fmla="*/ 625 w 641"/>
                  <a:gd name="T25" fmla="*/ 421 h 641"/>
                  <a:gd name="T26" fmla="*/ 606 w 641"/>
                  <a:gd name="T27" fmla="*/ 468 h 641"/>
                  <a:gd name="T28" fmla="*/ 580 w 641"/>
                  <a:gd name="T29" fmla="*/ 509 h 641"/>
                  <a:gd name="T30" fmla="*/ 547 w 641"/>
                  <a:gd name="T31" fmla="*/ 547 h 641"/>
                  <a:gd name="T32" fmla="*/ 510 w 641"/>
                  <a:gd name="T33" fmla="*/ 578 h 641"/>
                  <a:gd name="T34" fmla="*/ 468 w 641"/>
                  <a:gd name="T35" fmla="*/ 604 h 641"/>
                  <a:gd name="T36" fmla="*/ 422 w 641"/>
                  <a:gd name="T37" fmla="*/ 625 h 641"/>
                  <a:gd name="T38" fmla="*/ 373 w 641"/>
                  <a:gd name="T39" fmla="*/ 636 h 641"/>
                  <a:gd name="T40" fmla="*/ 321 w 641"/>
                  <a:gd name="T41" fmla="*/ 641 h 641"/>
                  <a:gd name="T42" fmla="*/ 269 w 641"/>
                  <a:gd name="T43" fmla="*/ 636 h 641"/>
                  <a:gd name="T44" fmla="*/ 220 w 641"/>
                  <a:gd name="T45" fmla="*/ 625 h 641"/>
                  <a:gd name="T46" fmla="*/ 173 w 641"/>
                  <a:gd name="T47" fmla="*/ 604 h 641"/>
                  <a:gd name="T48" fmla="*/ 131 w 641"/>
                  <a:gd name="T49" fmla="*/ 578 h 641"/>
                  <a:gd name="T50" fmla="*/ 94 w 641"/>
                  <a:gd name="T51" fmla="*/ 547 h 641"/>
                  <a:gd name="T52" fmla="*/ 63 w 641"/>
                  <a:gd name="T53" fmla="*/ 509 h 641"/>
                  <a:gd name="T54" fmla="*/ 36 w 641"/>
                  <a:gd name="T55" fmla="*/ 468 h 641"/>
                  <a:gd name="T56" fmla="*/ 17 w 641"/>
                  <a:gd name="T57" fmla="*/ 421 h 641"/>
                  <a:gd name="T58" fmla="*/ 4 w 641"/>
                  <a:gd name="T59" fmla="*/ 372 h 641"/>
                  <a:gd name="T60" fmla="*/ 0 w 641"/>
                  <a:gd name="T61" fmla="*/ 321 h 641"/>
                  <a:gd name="T62" fmla="*/ 4 w 641"/>
                  <a:gd name="T63" fmla="*/ 269 h 641"/>
                  <a:gd name="T64" fmla="*/ 17 w 641"/>
                  <a:gd name="T65" fmla="*/ 218 h 641"/>
                  <a:gd name="T66" fmla="*/ 36 w 641"/>
                  <a:gd name="T67" fmla="*/ 173 h 641"/>
                  <a:gd name="T68" fmla="*/ 63 w 641"/>
                  <a:gd name="T69" fmla="*/ 131 h 641"/>
                  <a:gd name="T70" fmla="*/ 94 w 641"/>
                  <a:gd name="T71" fmla="*/ 94 h 641"/>
                  <a:gd name="T72" fmla="*/ 131 w 641"/>
                  <a:gd name="T73" fmla="*/ 61 h 641"/>
                  <a:gd name="T74" fmla="*/ 173 w 641"/>
                  <a:gd name="T75" fmla="*/ 35 h 641"/>
                  <a:gd name="T76" fmla="*/ 220 w 641"/>
                  <a:gd name="T77" fmla="*/ 16 h 641"/>
                  <a:gd name="T78" fmla="*/ 269 w 641"/>
                  <a:gd name="T79" fmla="*/ 4 h 641"/>
                  <a:gd name="T80" fmla="*/ 321 w 641"/>
                  <a:gd name="T81" fmla="*/ 0 h 641"/>
                  <a:gd name="T82" fmla="*/ 321 w 641"/>
                  <a:gd name="T83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41" h="641">
                    <a:moveTo>
                      <a:pt x="321" y="0"/>
                    </a:moveTo>
                    <a:lnTo>
                      <a:pt x="373" y="4"/>
                    </a:lnTo>
                    <a:lnTo>
                      <a:pt x="422" y="16"/>
                    </a:lnTo>
                    <a:lnTo>
                      <a:pt x="468" y="35"/>
                    </a:lnTo>
                    <a:lnTo>
                      <a:pt x="510" y="61"/>
                    </a:lnTo>
                    <a:lnTo>
                      <a:pt x="547" y="94"/>
                    </a:lnTo>
                    <a:lnTo>
                      <a:pt x="580" y="131"/>
                    </a:lnTo>
                    <a:lnTo>
                      <a:pt x="606" y="173"/>
                    </a:lnTo>
                    <a:lnTo>
                      <a:pt x="625" y="218"/>
                    </a:lnTo>
                    <a:lnTo>
                      <a:pt x="637" y="269"/>
                    </a:lnTo>
                    <a:lnTo>
                      <a:pt x="641" y="321"/>
                    </a:lnTo>
                    <a:lnTo>
                      <a:pt x="637" y="372"/>
                    </a:lnTo>
                    <a:lnTo>
                      <a:pt x="625" y="421"/>
                    </a:lnTo>
                    <a:lnTo>
                      <a:pt x="606" y="468"/>
                    </a:lnTo>
                    <a:lnTo>
                      <a:pt x="580" y="509"/>
                    </a:lnTo>
                    <a:lnTo>
                      <a:pt x="547" y="547"/>
                    </a:lnTo>
                    <a:lnTo>
                      <a:pt x="510" y="578"/>
                    </a:lnTo>
                    <a:lnTo>
                      <a:pt x="468" y="604"/>
                    </a:lnTo>
                    <a:lnTo>
                      <a:pt x="422" y="625"/>
                    </a:lnTo>
                    <a:lnTo>
                      <a:pt x="373" y="636"/>
                    </a:lnTo>
                    <a:lnTo>
                      <a:pt x="321" y="641"/>
                    </a:lnTo>
                    <a:lnTo>
                      <a:pt x="269" y="636"/>
                    </a:lnTo>
                    <a:lnTo>
                      <a:pt x="220" y="625"/>
                    </a:lnTo>
                    <a:lnTo>
                      <a:pt x="173" y="604"/>
                    </a:lnTo>
                    <a:lnTo>
                      <a:pt x="131" y="578"/>
                    </a:lnTo>
                    <a:lnTo>
                      <a:pt x="94" y="547"/>
                    </a:lnTo>
                    <a:lnTo>
                      <a:pt x="63" y="509"/>
                    </a:lnTo>
                    <a:lnTo>
                      <a:pt x="36" y="468"/>
                    </a:lnTo>
                    <a:lnTo>
                      <a:pt x="17" y="421"/>
                    </a:lnTo>
                    <a:lnTo>
                      <a:pt x="4" y="372"/>
                    </a:lnTo>
                    <a:lnTo>
                      <a:pt x="0" y="321"/>
                    </a:lnTo>
                    <a:lnTo>
                      <a:pt x="4" y="269"/>
                    </a:lnTo>
                    <a:lnTo>
                      <a:pt x="17" y="218"/>
                    </a:lnTo>
                    <a:lnTo>
                      <a:pt x="36" y="173"/>
                    </a:lnTo>
                    <a:lnTo>
                      <a:pt x="63" y="131"/>
                    </a:lnTo>
                    <a:lnTo>
                      <a:pt x="94" y="94"/>
                    </a:lnTo>
                    <a:lnTo>
                      <a:pt x="131" y="61"/>
                    </a:lnTo>
                    <a:lnTo>
                      <a:pt x="173" y="35"/>
                    </a:lnTo>
                    <a:lnTo>
                      <a:pt x="220" y="16"/>
                    </a:lnTo>
                    <a:lnTo>
                      <a:pt x="269" y="4"/>
                    </a:lnTo>
                    <a:lnTo>
                      <a:pt x="321" y="0"/>
                    </a:lnTo>
                    <a:lnTo>
                      <a:pt x="321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00817" tIns="50408" rIns="100817" bIns="504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205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61" name="Freeform 57"/>
              <p:cNvSpPr>
                <a:spLocks/>
              </p:cNvSpPr>
              <p:nvPr/>
            </p:nvSpPr>
            <p:spPr bwMode="auto">
              <a:xfrm>
                <a:off x="3407357" y="1962925"/>
                <a:ext cx="90326" cy="90326"/>
              </a:xfrm>
              <a:custGeom>
                <a:avLst/>
                <a:gdLst>
                  <a:gd name="T0" fmla="*/ 321 w 641"/>
                  <a:gd name="T1" fmla="*/ 0 h 641"/>
                  <a:gd name="T2" fmla="*/ 372 w 641"/>
                  <a:gd name="T3" fmla="*/ 5 h 641"/>
                  <a:gd name="T4" fmla="*/ 422 w 641"/>
                  <a:gd name="T5" fmla="*/ 16 h 641"/>
                  <a:gd name="T6" fmla="*/ 468 w 641"/>
                  <a:gd name="T7" fmla="*/ 37 h 641"/>
                  <a:gd name="T8" fmla="*/ 510 w 641"/>
                  <a:gd name="T9" fmla="*/ 63 h 641"/>
                  <a:gd name="T10" fmla="*/ 547 w 641"/>
                  <a:gd name="T11" fmla="*/ 94 h 641"/>
                  <a:gd name="T12" fmla="*/ 580 w 641"/>
                  <a:gd name="T13" fmla="*/ 132 h 641"/>
                  <a:gd name="T14" fmla="*/ 606 w 641"/>
                  <a:gd name="T15" fmla="*/ 173 h 641"/>
                  <a:gd name="T16" fmla="*/ 625 w 641"/>
                  <a:gd name="T17" fmla="*/ 220 h 641"/>
                  <a:gd name="T18" fmla="*/ 637 w 641"/>
                  <a:gd name="T19" fmla="*/ 269 h 641"/>
                  <a:gd name="T20" fmla="*/ 641 w 641"/>
                  <a:gd name="T21" fmla="*/ 320 h 641"/>
                  <a:gd name="T22" fmla="*/ 637 w 641"/>
                  <a:gd name="T23" fmla="*/ 372 h 641"/>
                  <a:gd name="T24" fmla="*/ 625 w 641"/>
                  <a:gd name="T25" fmla="*/ 423 h 641"/>
                  <a:gd name="T26" fmla="*/ 606 w 641"/>
                  <a:gd name="T27" fmla="*/ 468 h 641"/>
                  <a:gd name="T28" fmla="*/ 580 w 641"/>
                  <a:gd name="T29" fmla="*/ 510 h 641"/>
                  <a:gd name="T30" fmla="*/ 547 w 641"/>
                  <a:gd name="T31" fmla="*/ 547 h 641"/>
                  <a:gd name="T32" fmla="*/ 510 w 641"/>
                  <a:gd name="T33" fmla="*/ 580 h 641"/>
                  <a:gd name="T34" fmla="*/ 468 w 641"/>
                  <a:gd name="T35" fmla="*/ 606 h 641"/>
                  <a:gd name="T36" fmla="*/ 422 w 641"/>
                  <a:gd name="T37" fmla="*/ 625 h 641"/>
                  <a:gd name="T38" fmla="*/ 372 w 641"/>
                  <a:gd name="T39" fmla="*/ 637 h 641"/>
                  <a:gd name="T40" fmla="*/ 321 w 641"/>
                  <a:gd name="T41" fmla="*/ 641 h 641"/>
                  <a:gd name="T42" fmla="*/ 269 w 641"/>
                  <a:gd name="T43" fmla="*/ 637 h 641"/>
                  <a:gd name="T44" fmla="*/ 220 w 641"/>
                  <a:gd name="T45" fmla="*/ 625 h 641"/>
                  <a:gd name="T46" fmla="*/ 173 w 641"/>
                  <a:gd name="T47" fmla="*/ 606 h 641"/>
                  <a:gd name="T48" fmla="*/ 132 w 641"/>
                  <a:gd name="T49" fmla="*/ 580 h 641"/>
                  <a:gd name="T50" fmla="*/ 94 w 641"/>
                  <a:gd name="T51" fmla="*/ 547 h 641"/>
                  <a:gd name="T52" fmla="*/ 63 w 641"/>
                  <a:gd name="T53" fmla="*/ 510 h 641"/>
                  <a:gd name="T54" fmla="*/ 37 w 641"/>
                  <a:gd name="T55" fmla="*/ 468 h 641"/>
                  <a:gd name="T56" fmla="*/ 17 w 641"/>
                  <a:gd name="T57" fmla="*/ 423 h 641"/>
                  <a:gd name="T58" fmla="*/ 4 w 641"/>
                  <a:gd name="T59" fmla="*/ 372 h 641"/>
                  <a:gd name="T60" fmla="*/ 0 w 641"/>
                  <a:gd name="T61" fmla="*/ 320 h 641"/>
                  <a:gd name="T62" fmla="*/ 4 w 641"/>
                  <a:gd name="T63" fmla="*/ 269 h 641"/>
                  <a:gd name="T64" fmla="*/ 17 w 641"/>
                  <a:gd name="T65" fmla="*/ 220 h 641"/>
                  <a:gd name="T66" fmla="*/ 37 w 641"/>
                  <a:gd name="T67" fmla="*/ 173 h 641"/>
                  <a:gd name="T68" fmla="*/ 63 w 641"/>
                  <a:gd name="T69" fmla="*/ 132 h 641"/>
                  <a:gd name="T70" fmla="*/ 94 w 641"/>
                  <a:gd name="T71" fmla="*/ 94 h 641"/>
                  <a:gd name="T72" fmla="*/ 132 w 641"/>
                  <a:gd name="T73" fmla="*/ 63 h 641"/>
                  <a:gd name="T74" fmla="*/ 173 w 641"/>
                  <a:gd name="T75" fmla="*/ 37 h 641"/>
                  <a:gd name="T76" fmla="*/ 220 w 641"/>
                  <a:gd name="T77" fmla="*/ 16 h 641"/>
                  <a:gd name="T78" fmla="*/ 269 w 641"/>
                  <a:gd name="T79" fmla="*/ 5 h 641"/>
                  <a:gd name="T80" fmla="*/ 321 w 641"/>
                  <a:gd name="T81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41" h="641">
                    <a:moveTo>
                      <a:pt x="321" y="0"/>
                    </a:moveTo>
                    <a:lnTo>
                      <a:pt x="372" y="5"/>
                    </a:lnTo>
                    <a:lnTo>
                      <a:pt x="422" y="16"/>
                    </a:lnTo>
                    <a:lnTo>
                      <a:pt x="468" y="37"/>
                    </a:lnTo>
                    <a:lnTo>
                      <a:pt x="510" y="63"/>
                    </a:lnTo>
                    <a:lnTo>
                      <a:pt x="547" y="94"/>
                    </a:lnTo>
                    <a:lnTo>
                      <a:pt x="580" y="132"/>
                    </a:lnTo>
                    <a:lnTo>
                      <a:pt x="606" y="173"/>
                    </a:lnTo>
                    <a:lnTo>
                      <a:pt x="625" y="220"/>
                    </a:lnTo>
                    <a:lnTo>
                      <a:pt x="637" y="269"/>
                    </a:lnTo>
                    <a:lnTo>
                      <a:pt x="641" y="320"/>
                    </a:lnTo>
                    <a:lnTo>
                      <a:pt x="637" y="372"/>
                    </a:lnTo>
                    <a:lnTo>
                      <a:pt x="625" y="423"/>
                    </a:lnTo>
                    <a:lnTo>
                      <a:pt x="606" y="468"/>
                    </a:lnTo>
                    <a:lnTo>
                      <a:pt x="580" y="510"/>
                    </a:lnTo>
                    <a:lnTo>
                      <a:pt x="547" y="547"/>
                    </a:lnTo>
                    <a:lnTo>
                      <a:pt x="510" y="580"/>
                    </a:lnTo>
                    <a:lnTo>
                      <a:pt x="468" y="606"/>
                    </a:lnTo>
                    <a:lnTo>
                      <a:pt x="422" y="625"/>
                    </a:lnTo>
                    <a:lnTo>
                      <a:pt x="372" y="637"/>
                    </a:lnTo>
                    <a:lnTo>
                      <a:pt x="321" y="641"/>
                    </a:lnTo>
                    <a:lnTo>
                      <a:pt x="269" y="637"/>
                    </a:lnTo>
                    <a:lnTo>
                      <a:pt x="220" y="625"/>
                    </a:lnTo>
                    <a:lnTo>
                      <a:pt x="173" y="606"/>
                    </a:lnTo>
                    <a:lnTo>
                      <a:pt x="132" y="580"/>
                    </a:lnTo>
                    <a:lnTo>
                      <a:pt x="94" y="547"/>
                    </a:lnTo>
                    <a:lnTo>
                      <a:pt x="63" y="510"/>
                    </a:lnTo>
                    <a:lnTo>
                      <a:pt x="37" y="468"/>
                    </a:lnTo>
                    <a:lnTo>
                      <a:pt x="17" y="423"/>
                    </a:lnTo>
                    <a:lnTo>
                      <a:pt x="4" y="372"/>
                    </a:lnTo>
                    <a:lnTo>
                      <a:pt x="0" y="320"/>
                    </a:lnTo>
                    <a:lnTo>
                      <a:pt x="4" y="269"/>
                    </a:lnTo>
                    <a:lnTo>
                      <a:pt x="17" y="220"/>
                    </a:lnTo>
                    <a:lnTo>
                      <a:pt x="37" y="173"/>
                    </a:lnTo>
                    <a:lnTo>
                      <a:pt x="63" y="132"/>
                    </a:lnTo>
                    <a:lnTo>
                      <a:pt x="94" y="94"/>
                    </a:lnTo>
                    <a:lnTo>
                      <a:pt x="132" y="63"/>
                    </a:lnTo>
                    <a:lnTo>
                      <a:pt x="173" y="37"/>
                    </a:lnTo>
                    <a:lnTo>
                      <a:pt x="220" y="16"/>
                    </a:lnTo>
                    <a:lnTo>
                      <a:pt x="269" y="5"/>
                    </a:lnTo>
                    <a:lnTo>
                      <a:pt x="321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00817" tIns="50408" rIns="100817" bIns="504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205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62" name="Freeform 58"/>
              <p:cNvSpPr>
                <a:spLocks/>
              </p:cNvSpPr>
              <p:nvPr/>
            </p:nvSpPr>
            <p:spPr bwMode="auto">
              <a:xfrm>
                <a:off x="3676084" y="1962925"/>
                <a:ext cx="90045" cy="90326"/>
              </a:xfrm>
              <a:custGeom>
                <a:avLst/>
                <a:gdLst>
                  <a:gd name="T0" fmla="*/ 321 w 641"/>
                  <a:gd name="T1" fmla="*/ 0 h 641"/>
                  <a:gd name="T2" fmla="*/ 373 w 641"/>
                  <a:gd name="T3" fmla="*/ 5 h 641"/>
                  <a:gd name="T4" fmla="*/ 422 w 641"/>
                  <a:gd name="T5" fmla="*/ 16 h 641"/>
                  <a:gd name="T6" fmla="*/ 468 w 641"/>
                  <a:gd name="T7" fmla="*/ 37 h 641"/>
                  <a:gd name="T8" fmla="*/ 510 w 641"/>
                  <a:gd name="T9" fmla="*/ 63 h 641"/>
                  <a:gd name="T10" fmla="*/ 547 w 641"/>
                  <a:gd name="T11" fmla="*/ 94 h 641"/>
                  <a:gd name="T12" fmla="*/ 580 w 641"/>
                  <a:gd name="T13" fmla="*/ 132 h 641"/>
                  <a:gd name="T14" fmla="*/ 606 w 641"/>
                  <a:gd name="T15" fmla="*/ 173 h 641"/>
                  <a:gd name="T16" fmla="*/ 625 w 641"/>
                  <a:gd name="T17" fmla="*/ 220 h 641"/>
                  <a:gd name="T18" fmla="*/ 637 w 641"/>
                  <a:gd name="T19" fmla="*/ 269 h 641"/>
                  <a:gd name="T20" fmla="*/ 641 w 641"/>
                  <a:gd name="T21" fmla="*/ 320 h 641"/>
                  <a:gd name="T22" fmla="*/ 637 w 641"/>
                  <a:gd name="T23" fmla="*/ 372 h 641"/>
                  <a:gd name="T24" fmla="*/ 625 w 641"/>
                  <a:gd name="T25" fmla="*/ 423 h 641"/>
                  <a:gd name="T26" fmla="*/ 606 w 641"/>
                  <a:gd name="T27" fmla="*/ 468 h 641"/>
                  <a:gd name="T28" fmla="*/ 580 w 641"/>
                  <a:gd name="T29" fmla="*/ 510 h 641"/>
                  <a:gd name="T30" fmla="*/ 547 w 641"/>
                  <a:gd name="T31" fmla="*/ 547 h 641"/>
                  <a:gd name="T32" fmla="*/ 510 w 641"/>
                  <a:gd name="T33" fmla="*/ 580 h 641"/>
                  <a:gd name="T34" fmla="*/ 468 w 641"/>
                  <a:gd name="T35" fmla="*/ 606 h 641"/>
                  <a:gd name="T36" fmla="*/ 422 w 641"/>
                  <a:gd name="T37" fmla="*/ 625 h 641"/>
                  <a:gd name="T38" fmla="*/ 373 w 641"/>
                  <a:gd name="T39" fmla="*/ 637 h 641"/>
                  <a:gd name="T40" fmla="*/ 321 w 641"/>
                  <a:gd name="T41" fmla="*/ 641 h 641"/>
                  <a:gd name="T42" fmla="*/ 269 w 641"/>
                  <a:gd name="T43" fmla="*/ 637 h 641"/>
                  <a:gd name="T44" fmla="*/ 220 w 641"/>
                  <a:gd name="T45" fmla="*/ 625 h 641"/>
                  <a:gd name="T46" fmla="*/ 173 w 641"/>
                  <a:gd name="T47" fmla="*/ 606 h 641"/>
                  <a:gd name="T48" fmla="*/ 131 w 641"/>
                  <a:gd name="T49" fmla="*/ 580 h 641"/>
                  <a:gd name="T50" fmla="*/ 94 w 641"/>
                  <a:gd name="T51" fmla="*/ 547 h 641"/>
                  <a:gd name="T52" fmla="*/ 63 w 641"/>
                  <a:gd name="T53" fmla="*/ 510 h 641"/>
                  <a:gd name="T54" fmla="*/ 36 w 641"/>
                  <a:gd name="T55" fmla="*/ 468 h 641"/>
                  <a:gd name="T56" fmla="*/ 17 w 641"/>
                  <a:gd name="T57" fmla="*/ 423 h 641"/>
                  <a:gd name="T58" fmla="*/ 4 w 641"/>
                  <a:gd name="T59" fmla="*/ 372 h 641"/>
                  <a:gd name="T60" fmla="*/ 0 w 641"/>
                  <a:gd name="T61" fmla="*/ 320 h 641"/>
                  <a:gd name="T62" fmla="*/ 4 w 641"/>
                  <a:gd name="T63" fmla="*/ 269 h 641"/>
                  <a:gd name="T64" fmla="*/ 17 w 641"/>
                  <a:gd name="T65" fmla="*/ 220 h 641"/>
                  <a:gd name="T66" fmla="*/ 36 w 641"/>
                  <a:gd name="T67" fmla="*/ 173 h 641"/>
                  <a:gd name="T68" fmla="*/ 63 w 641"/>
                  <a:gd name="T69" fmla="*/ 132 h 641"/>
                  <a:gd name="T70" fmla="*/ 94 w 641"/>
                  <a:gd name="T71" fmla="*/ 94 h 641"/>
                  <a:gd name="T72" fmla="*/ 131 w 641"/>
                  <a:gd name="T73" fmla="*/ 63 h 641"/>
                  <a:gd name="T74" fmla="*/ 173 w 641"/>
                  <a:gd name="T75" fmla="*/ 37 h 641"/>
                  <a:gd name="T76" fmla="*/ 220 w 641"/>
                  <a:gd name="T77" fmla="*/ 16 h 641"/>
                  <a:gd name="T78" fmla="*/ 269 w 641"/>
                  <a:gd name="T79" fmla="*/ 5 h 641"/>
                  <a:gd name="T80" fmla="*/ 321 w 641"/>
                  <a:gd name="T81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41" h="641">
                    <a:moveTo>
                      <a:pt x="321" y="0"/>
                    </a:moveTo>
                    <a:lnTo>
                      <a:pt x="373" y="5"/>
                    </a:lnTo>
                    <a:lnTo>
                      <a:pt x="422" y="16"/>
                    </a:lnTo>
                    <a:lnTo>
                      <a:pt x="468" y="37"/>
                    </a:lnTo>
                    <a:lnTo>
                      <a:pt x="510" y="63"/>
                    </a:lnTo>
                    <a:lnTo>
                      <a:pt x="547" y="94"/>
                    </a:lnTo>
                    <a:lnTo>
                      <a:pt x="580" y="132"/>
                    </a:lnTo>
                    <a:lnTo>
                      <a:pt x="606" y="173"/>
                    </a:lnTo>
                    <a:lnTo>
                      <a:pt x="625" y="220"/>
                    </a:lnTo>
                    <a:lnTo>
                      <a:pt x="637" y="269"/>
                    </a:lnTo>
                    <a:lnTo>
                      <a:pt x="641" y="320"/>
                    </a:lnTo>
                    <a:lnTo>
                      <a:pt x="637" y="372"/>
                    </a:lnTo>
                    <a:lnTo>
                      <a:pt x="625" y="423"/>
                    </a:lnTo>
                    <a:lnTo>
                      <a:pt x="606" y="468"/>
                    </a:lnTo>
                    <a:lnTo>
                      <a:pt x="580" y="510"/>
                    </a:lnTo>
                    <a:lnTo>
                      <a:pt x="547" y="547"/>
                    </a:lnTo>
                    <a:lnTo>
                      <a:pt x="510" y="580"/>
                    </a:lnTo>
                    <a:lnTo>
                      <a:pt x="468" y="606"/>
                    </a:lnTo>
                    <a:lnTo>
                      <a:pt x="422" y="625"/>
                    </a:lnTo>
                    <a:lnTo>
                      <a:pt x="373" y="637"/>
                    </a:lnTo>
                    <a:lnTo>
                      <a:pt x="321" y="641"/>
                    </a:lnTo>
                    <a:lnTo>
                      <a:pt x="269" y="637"/>
                    </a:lnTo>
                    <a:lnTo>
                      <a:pt x="220" y="625"/>
                    </a:lnTo>
                    <a:lnTo>
                      <a:pt x="173" y="606"/>
                    </a:lnTo>
                    <a:lnTo>
                      <a:pt x="131" y="580"/>
                    </a:lnTo>
                    <a:lnTo>
                      <a:pt x="94" y="547"/>
                    </a:lnTo>
                    <a:lnTo>
                      <a:pt x="63" y="510"/>
                    </a:lnTo>
                    <a:lnTo>
                      <a:pt x="36" y="468"/>
                    </a:lnTo>
                    <a:lnTo>
                      <a:pt x="17" y="423"/>
                    </a:lnTo>
                    <a:lnTo>
                      <a:pt x="4" y="372"/>
                    </a:lnTo>
                    <a:lnTo>
                      <a:pt x="0" y="320"/>
                    </a:lnTo>
                    <a:lnTo>
                      <a:pt x="4" y="269"/>
                    </a:lnTo>
                    <a:lnTo>
                      <a:pt x="17" y="220"/>
                    </a:lnTo>
                    <a:lnTo>
                      <a:pt x="36" y="173"/>
                    </a:lnTo>
                    <a:lnTo>
                      <a:pt x="63" y="132"/>
                    </a:lnTo>
                    <a:lnTo>
                      <a:pt x="94" y="94"/>
                    </a:lnTo>
                    <a:lnTo>
                      <a:pt x="131" y="63"/>
                    </a:lnTo>
                    <a:lnTo>
                      <a:pt x="173" y="37"/>
                    </a:lnTo>
                    <a:lnTo>
                      <a:pt x="220" y="16"/>
                    </a:lnTo>
                    <a:lnTo>
                      <a:pt x="269" y="5"/>
                    </a:lnTo>
                    <a:lnTo>
                      <a:pt x="321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00817" tIns="50408" rIns="100817" bIns="504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205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63" name="Freeform 59"/>
              <p:cNvSpPr>
                <a:spLocks/>
              </p:cNvSpPr>
              <p:nvPr/>
            </p:nvSpPr>
            <p:spPr bwMode="auto">
              <a:xfrm>
                <a:off x="3271164" y="1728809"/>
                <a:ext cx="90045" cy="90045"/>
              </a:xfrm>
              <a:custGeom>
                <a:avLst/>
                <a:gdLst>
                  <a:gd name="T0" fmla="*/ 320 w 641"/>
                  <a:gd name="T1" fmla="*/ 0 h 642"/>
                  <a:gd name="T2" fmla="*/ 372 w 641"/>
                  <a:gd name="T3" fmla="*/ 5 h 642"/>
                  <a:gd name="T4" fmla="*/ 421 w 641"/>
                  <a:gd name="T5" fmla="*/ 17 h 642"/>
                  <a:gd name="T6" fmla="*/ 468 w 641"/>
                  <a:gd name="T7" fmla="*/ 36 h 642"/>
                  <a:gd name="T8" fmla="*/ 510 w 641"/>
                  <a:gd name="T9" fmla="*/ 62 h 642"/>
                  <a:gd name="T10" fmla="*/ 547 w 641"/>
                  <a:gd name="T11" fmla="*/ 95 h 642"/>
                  <a:gd name="T12" fmla="*/ 578 w 641"/>
                  <a:gd name="T13" fmla="*/ 131 h 642"/>
                  <a:gd name="T14" fmla="*/ 605 w 641"/>
                  <a:gd name="T15" fmla="*/ 174 h 642"/>
                  <a:gd name="T16" fmla="*/ 625 w 641"/>
                  <a:gd name="T17" fmla="*/ 220 h 642"/>
                  <a:gd name="T18" fmla="*/ 637 w 641"/>
                  <a:gd name="T19" fmla="*/ 269 h 642"/>
                  <a:gd name="T20" fmla="*/ 641 w 641"/>
                  <a:gd name="T21" fmla="*/ 321 h 642"/>
                  <a:gd name="T22" fmla="*/ 637 w 641"/>
                  <a:gd name="T23" fmla="*/ 373 h 642"/>
                  <a:gd name="T24" fmla="*/ 625 w 641"/>
                  <a:gd name="T25" fmla="*/ 422 h 642"/>
                  <a:gd name="T26" fmla="*/ 605 w 641"/>
                  <a:gd name="T27" fmla="*/ 468 h 642"/>
                  <a:gd name="T28" fmla="*/ 578 w 641"/>
                  <a:gd name="T29" fmla="*/ 511 h 642"/>
                  <a:gd name="T30" fmla="*/ 547 w 641"/>
                  <a:gd name="T31" fmla="*/ 547 h 642"/>
                  <a:gd name="T32" fmla="*/ 510 w 641"/>
                  <a:gd name="T33" fmla="*/ 580 h 642"/>
                  <a:gd name="T34" fmla="*/ 468 w 641"/>
                  <a:gd name="T35" fmla="*/ 606 h 642"/>
                  <a:gd name="T36" fmla="*/ 421 w 641"/>
                  <a:gd name="T37" fmla="*/ 625 h 642"/>
                  <a:gd name="T38" fmla="*/ 372 w 641"/>
                  <a:gd name="T39" fmla="*/ 637 h 642"/>
                  <a:gd name="T40" fmla="*/ 320 w 641"/>
                  <a:gd name="T41" fmla="*/ 642 h 642"/>
                  <a:gd name="T42" fmla="*/ 269 w 641"/>
                  <a:gd name="T43" fmla="*/ 637 h 642"/>
                  <a:gd name="T44" fmla="*/ 220 w 641"/>
                  <a:gd name="T45" fmla="*/ 625 h 642"/>
                  <a:gd name="T46" fmla="*/ 173 w 641"/>
                  <a:gd name="T47" fmla="*/ 606 h 642"/>
                  <a:gd name="T48" fmla="*/ 131 w 641"/>
                  <a:gd name="T49" fmla="*/ 580 h 642"/>
                  <a:gd name="T50" fmla="*/ 94 w 641"/>
                  <a:gd name="T51" fmla="*/ 547 h 642"/>
                  <a:gd name="T52" fmla="*/ 61 w 641"/>
                  <a:gd name="T53" fmla="*/ 511 h 642"/>
                  <a:gd name="T54" fmla="*/ 35 w 641"/>
                  <a:gd name="T55" fmla="*/ 468 h 642"/>
                  <a:gd name="T56" fmla="*/ 16 w 641"/>
                  <a:gd name="T57" fmla="*/ 422 h 642"/>
                  <a:gd name="T58" fmla="*/ 4 w 641"/>
                  <a:gd name="T59" fmla="*/ 373 h 642"/>
                  <a:gd name="T60" fmla="*/ 0 w 641"/>
                  <a:gd name="T61" fmla="*/ 321 h 642"/>
                  <a:gd name="T62" fmla="*/ 4 w 641"/>
                  <a:gd name="T63" fmla="*/ 269 h 642"/>
                  <a:gd name="T64" fmla="*/ 16 w 641"/>
                  <a:gd name="T65" fmla="*/ 220 h 642"/>
                  <a:gd name="T66" fmla="*/ 35 w 641"/>
                  <a:gd name="T67" fmla="*/ 174 h 642"/>
                  <a:gd name="T68" fmla="*/ 61 w 641"/>
                  <a:gd name="T69" fmla="*/ 131 h 642"/>
                  <a:gd name="T70" fmla="*/ 94 w 641"/>
                  <a:gd name="T71" fmla="*/ 95 h 642"/>
                  <a:gd name="T72" fmla="*/ 131 w 641"/>
                  <a:gd name="T73" fmla="*/ 62 h 642"/>
                  <a:gd name="T74" fmla="*/ 173 w 641"/>
                  <a:gd name="T75" fmla="*/ 36 h 642"/>
                  <a:gd name="T76" fmla="*/ 220 w 641"/>
                  <a:gd name="T77" fmla="*/ 17 h 642"/>
                  <a:gd name="T78" fmla="*/ 269 w 641"/>
                  <a:gd name="T79" fmla="*/ 5 h 642"/>
                  <a:gd name="T80" fmla="*/ 320 w 641"/>
                  <a:gd name="T8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41" h="642">
                    <a:moveTo>
                      <a:pt x="320" y="0"/>
                    </a:moveTo>
                    <a:lnTo>
                      <a:pt x="372" y="5"/>
                    </a:lnTo>
                    <a:lnTo>
                      <a:pt x="421" y="17"/>
                    </a:lnTo>
                    <a:lnTo>
                      <a:pt x="468" y="36"/>
                    </a:lnTo>
                    <a:lnTo>
                      <a:pt x="510" y="62"/>
                    </a:lnTo>
                    <a:lnTo>
                      <a:pt x="547" y="95"/>
                    </a:lnTo>
                    <a:lnTo>
                      <a:pt x="578" y="131"/>
                    </a:lnTo>
                    <a:lnTo>
                      <a:pt x="605" y="174"/>
                    </a:lnTo>
                    <a:lnTo>
                      <a:pt x="625" y="220"/>
                    </a:lnTo>
                    <a:lnTo>
                      <a:pt x="637" y="269"/>
                    </a:lnTo>
                    <a:lnTo>
                      <a:pt x="641" y="321"/>
                    </a:lnTo>
                    <a:lnTo>
                      <a:pt x="637" y="373"/>
                    </a:lnTo>
                    <a:lnTo>
                      <a:pt x="625" y="422"/>
                    </a:lnTo>
                    <a:lnTo>
                      <a:pt x="605" y="468"/>
                    </a:lnTo>
                    <a:lnTo>
                      <a:pt x="578" y="511"/>
                    </a:lnTo>
                    <a:lnTo>
                      <a:pt x="547" y="547"/>
                    </a:lnTo>
                    <a:lnTo>
                      <a:pt x="510" y="580"/>
                    </a:lnTo>
                    <a:lnTo>
                      <a:pt x="468" y="606"/>
                    </a:lnTo>
                    <a:lnTo>
                      <a:pt x="421" y="625"/>
                    </a:lnTo>
                    <a:lnTo>
                      <a:pt x="372" y="637"/>
                    </a:lnTo>
                    <a:lnTo>
                      <a:pt x="320" y="642"/>
                    </a:lnTo>
                    <a:lnTo>
                      <a:pt x="269" y="637"/>
                    </a:lnTo>
                    <a:lnTo>
                      <a:pt x="220" y="625"/>
                    </a:lnTo>
                    <a:lnTo>
                      <a:pt x="173" y="606"/>
                    </a:lnTo>
                    <a:lnTo>
                      <a:pt x="131" y="580"/>
                    </a:lnTo>
                    <a:lnTo>
                      <a:pt x="94" y="547"/>
                    </a:lnTo>
                    <a:lnTo>
                      <a:pt x="61" y="511"/>
                    </a:lnTo>
                    <a:lnTo>
                      <a:pt x="35" y="468"/>
                    </a:lnTo>
                    <a:lnTo>
                      <a:pt x="16" y="422"/>
                    </a:lnTo>
                    <a:lnTo>
                      <a:pt x="4" y="373"/>
                    </a:lnTo>
                    <a:lnTo>
                      <a:pt x="0" y="321"/>
                    </a:lnTo>
                    <a:lnTo>
                      <a:pt x="4" y="269"/>
                    </a:lnTo>
                    <a:lnTo>
                      <a:pt x="16" y="220"/>
                    </a:lnTo>
                    <a:lnTo>
                      <a:pt x="35" y="174"/>
                    </a:lnTo>
                    <a:lnTo>
                      <a:pt x="61" y="131"/>
                    </a:lnTo>
                    <a:lnTo>
                      <a:pt x="94" y="95"/>
                    </a:lnTo>
                    <a:lnTo>
                      <a:pt x="131" y="62"/>
                    </a:lnTo>
                    <a:lnTo>
                      <a:pt x="173" y="36"/>
                    </a:lnTo>
                    <a:lnTo>
                      <a:pt x="220" y="17"/>
                    </a:lnTo>
                    <a:lnTo>
                      <a:pt x="269" y="5"/>
                    </a:lnTo>
                    <a:lnTo>
                      <a:pt x="32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00817" tIns="50408" rIns="100817" bIns="504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205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64" name="Freeform 60"/>
              <p:cNvSpPr>
                <a:spLocks/>
              </p:cNvSpPr>
              <p:nvPr/>
            </p:nvSpPr>
            <p:spPr bwMode="auto">
              <a:xfrm>
                <a:off x="3812276" y="1728809"/>
                <a:ext cx="90045" cy="90045"/>
              </a:xfrm>
              <a:custGeom>
                <a:avLst/>
                <a:gdLst>
                  <a:gd name="T0" fmla="*/ 319 w 639"/>
                  <a:gd name="T1" fmla="*/ 0 h 642"/>
                  <a:gd name="T2" fmla="*/ 372 w 639"/>
                  <a:gd name="T3" fmla="*/ 5 h 642"/>
                  <a:gd name="T4" fmla="*/ 421 w 639"/>
                  <a:gd name="T5" fmla="*/ 17 h 642"/>
                  <a:gd name="T6" fmla="*/ 466 w 639"/>
                  <a:gd name="T7" fmla="*/ 36 h 642"/>
                  <a:gd name="T8" fmla="*/ 508 w 639"/>
                  <a:gd name="T9" fmla="*/ 62 h 642"/>
                  <a:gd name="T10" fmla="*/ 547 w 639"/>
                  <a:gd name="T11" fmla="*/ 95 h 642"/>
                  <a:gd name="T12" fmla="*/ 578 w 639"/>
                  <a:gd name="T13" fmla="*/ 131 h 642"/>
                  <a:gd name="T14" fmla="*/ 604 w 639"/>
                  <a:gd name="T15" fmla="*/ 174 h 642"/>
                  <a:gd name="T16" fmla="*/ 623 w 639"/>
                  <a:gd name="T17" fmla="*/ 220 h 642"/>
                  <a:gd name="T18" fmla="*/ 635 w 639"/>
                  <a:gd name="T19" fmla="*/ 269 h 642"/>
                  <a:gd name="T20" fmla="*/ 639 w 639"/>
                  <a:gd name="T21" fmla="*/ 321 h 642"/>
                  <a:gd name="T22" fmla="*/ 635 w 639"/>
                  <a:gd name="T23" fmla="*/ 373 h 642"/>
                  <a:gd name="T24" fmla="*/ 623 w 639"/>
                  <a:gd name="T25" fmla="*/ 422 h 642"/>
                  <a:gd name="T26" fmla="*/ 604 w 639"/>
                  <a:gd name="T27" fmla="*/ 468 h 642"/>
                  <a:gd name="T28" fmla="*/ 578 w 639"/>
                  <a:gd name="T29" fmla="*/ 511 h 642"/>
                  <a:gd name="T30" fmla="*/ 547 w 639"/>
                  <a:gd name="T31" fmla="*/ 547 h 642"/>
                  <a:gd name="T32" fmla="*/ 508 w 639"/>
                  <a:gd name="T33" fmla="*/ 580 h 642"/>
                  <a:gd name="T34" fmla="*/ 466 w 639"/>
                  <a:gd name="T35" fmla="*/ 606 h 642"/>
                  <a:gd name="T36" fmla="*/ 421 w 639"/>
                  <a:gd name="T37" fmla="*/ 625 h 642"/>
                  <a:gd name="T38" fmla="*/ 372 w 639"/>
                  <a:gd name="T39" fmla="*/ 637 h 642"/>
                  <a:gd name="T40" fmla="*/ 319 w 639"/>
                  <a:gd name="T41" fmla="*/ 642 h 642"/>
                  <a:gd name="T42" fmla="*/ 267 w 639"/>
                  <a:gd name="T43" fmla="*/ 637 h 642"/>
                  <a:gd name="T44" fmla="*/ 218 w 639"/>
                  <a:gd name="T45" fmla="*/ 625 h 642"/>
                  <a:gd name="T46" fmla="*/ 173 w 639"/>
                  <a:gd name="T47" fmla="*/ 606 h 642"/>
                  <a:gd name="T48" fmla="*/ 131 w 639"/>
                  <a:gd name="T49" fmla="*/ 580 h 642"/>
                  <a:gd name="T50" fmla="*/ 93 w 639"/>
                  <a:gd name="T51" fmla="*/ 547 h 642"/>
                  <a:gd name="T52" fmla="*/ 61 w 639"/>
                  <a:gd name="T53" fmla="*/ 511 h 642"/>
                  <a:gd name="T54" fmla="*/ 35 w 639"/>
                  <a:gd name="T55" fmla="*/ 468 h 642"/>
                  <a:gd name="T56" fmla="*/ 16 w 639"/>
                  <a:gd name="T57" fmla="*/ 422 h 642"/>
                  <a:gd name="T58" fmla="*/ 4 w 639"/>
                  <a:gd name="T59" fmla="*/ 373 h 642"/>
                  <a:gd name="T60" fmla="*/ 0 w 639"/>
                  <a:gd name="T61" fmla="*/ 321 h 642"/>
                  <a:gd name="T62" fmla="*/ 4 w 639"/>
                  <a:gd name="T63" fmla="*/ 269 h 642"/>
                  <a:gd name="T64" fmla="*/ 16 w 639"/>
                  <a:gd name="T65" fmla="*/ 220 h 642"/>
                  <a:gd name="T66" fmla="*/ 35 w 639"/>
                  <a:gd name="T67" fmla="*/ 174 h 642"/>
                  <a:gd name="T68" fmla="*/ 61 w 639"/>
                  <a:gd name="T69" fmla="*/ 131 h 642"/>
                  <a:gd name="T70" fmla="*/ 93 w 639"/>
                  <a:gd name="T71" fmla="*/ 95 h 642"/>
                  <a:gd name="T72" fmla="*/ 131 w 639"/>
                  <a:gd name="T73" fmla="*/ 62 h 642"/>
                  <a:gd name="T74" fmla="*/ 173 w 639"/>
                  <a:gd name="T75" fmla="*/ 36 h 642"/>
                  <a:gd name="T76" fmla="*/ 218 w 639"/>
                  <a:gd name="T77" fmla="*/ 17 h 642"/>
                  <a:gd name="T78" fmla="*/ 267 w 639"/>
                  <a:gd name="T79" fmla="*/ 5 h 642"/>
                  <a:gd name="T80" fmla="*/ 319 w 639"/>
                  <a:gd name="T8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39" h="642">
                    <a:moveTo>
                      <a:pt x="319" y="0"/>
                    </a:moveTo>
                    <a:lnTo>
                      <a:pt x="372" y="5"/>
                    </a:lnTo>
                    <a:lnTo>
                      <a:pt x="421" y="17"/>
                    </a:lnTo>
                    <a:lnTo>
                      <a:pt x="466" y="36"/>
                    </a:lnTo>
                    <a:lnTo>
                      <a:pt x="508" y="62"/>
                    </a:lnTo>
                    <a:lnTo>
                      <a:pt x="547" y="95"/>
                    </a:lnTo>
                    <a:lnTo>
                      <a:pt x="578" y="131"/>
                    </a:lnTo>
                    <a:lnTo>
                      <a:pt x="604" y="174"/>
                    </a:lnTo>
                    <a:lnTo>
                      <a:pt x="623" y="220"/>
                    </a:lnTo>
                    <a:lnTo>
                      <a:pt x="635" y="269"/>
                    </a:lnTo>
                    <a:lnTo>
                      <a:pt x="639" y="321"/>
                    </a:lnTo>
                    <a:lnTo>
                      <a:pt x="635" y="373"/>
                    </a:lnTo>
                    <a:lnTo>
                      <a:pt x="623" y="422"/>
                    </a:lnTo>
                    <a:lnTo>
                      <a:pt x="604" y="468"/>
                    </a:lnTo>
                    <a:lnTo>
                      <a:pt x="578" y="511"/>
                    </a:lnTo>
                    <a:lnTo>
                      <a:pt x="547" y="547"/>
                    </a:lnTo>
                    <a:lnTo>
                      <a:pt x="508" y="580"/>
                    </a:lnTo>
                    <a:lnTo>
                      <a:pt x="466" y="606"/>
                    </a:lnTo>
                    <a:lnTo>
                      <a:pt x="421" y="625"/>
                    </a:lnTo>
                    <a:lnTo>
                      <a:pt x="372" y="637"/>
                    </a:lnTo>
                    <a:lnTo>
                      <a:pt x="319" y="642"/>
                    </a:lnTo>
                    <a:lnTo>
                      <a:pt x="267" y="637"/>
                    </a:lnTo>
                    <a:lnTo>
                      <a:pt x="218" y="625"/>
                    </a:lnTo>
                    <a:lnTo>
                      <a:pt x="173" y="606"/>
                    </a:lnTo>
                    <a:lnTo>
                      <a:pt x="131" y="580"/>
                    </a:lnTo>
                    <a:lnTo>
                      <a:pt x="93" y="547"/>
                    </a:lnTo>
                    <a:lnTo>
                      <a:pt x="61" y="511"/>
                    </a:lnTo>
                    <a:lnTo>
                      <a:pt x="35" y="468"/>
                    </a:lnTo>
                    <a:lnTo>
                      <a:pt x="16" y="422"/>
                    </a:lnTo>
                    <a:lnTo>
                      <a:pt x="4" y="373"/>
                    </a:lnTo>
                    <a:lnTo>
                      <a:pt x="0" y="321"/>
                    </a:lnTo>
                    <a:lnTo>
                      <a:pt x="4" y="269"/>
                    </a:lnTo>
                    <a:lnTo>
                      <a:pt x="16" y="220"/>
                    </a:lnTo>
                    <a:lnTo>
                      <a:pt x="35" y="174"/>
                    </a:lnTo>
                    <a:lnTo>
                      <a:pt x="61" y="131"/>
                    </a:lnTo>
                    <a:lnTo>
                      <a:pt x="93" y="95"/>
                    </a:lnTo>
                    <a:lnTo>
                      <a:pt x="131" y="62"/>
                    </a:lnTo>
                    <a:lnTo>
                      <a:pt x="173" y="36"/>
                    </a:lnTo>
                    <a:lnTo>
                      <a:pt x="218" y="17"/>
                    </a:lnTo>
                    <a:lnTo>
                      <a:pt x="267" y="5"/>
                    </a:lnTo>
                    <a:lnTo>
                      <a:pt x="319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00817" tIns="50408" rIns="100817" bIns="504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205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</p:grpSp>
      </p:grpSp>
      <p:sp>
        <p:nvSpPr>
          <p:cNvPr id="78" name="Freeform 77"/>
          <p:cNvSpPr/>
          <p:nvPr/>
        </p:nvSpPr>
        <p:spPr bwMode="ltGray">
          <a:xfrm rot="18457021">
            <a:off x="3600684" y="4338150"/>
            <a:ext cx="1816212" cy="935348"/>
          </a:xfrm>
          <a:custGeom>
            <a:avLst/>
            <a:gdLst>
              <a:gd name="connsiteX0" fmla="*/ 0 w 1366838"/>
              <a:gd name="connsiteY0" fmla="*/ 0 h 576263"/>
              <a:gd name="connsiteX1" fmla="*/ 1362075 w 1366838"/>
              <a:gd name="connsiteY1" fmla="*/ 571500 h 576263"/>
              <a:gd name="connsiteX2" fmla="*/ 1366838 w 1366838"/>
              <a:gd name="connsiteY2" fmla="*/ 576263 h 576263"/>
              <a:gd name="connsiteX0" fmla="*/ 0 w 1366838"/>
              <a:gd name="connsiteY0" fmla="*/ 0 h 576263"/>
              <a:gd name="connsiteX1" fmla="*/ 1362075 w 1366838"/>
              <a:gd name="connsiteY1" fmla="*/ 571500 h 576263"/>
              <a:gd name="connsiteX2" fmla="*/ 1366838 w 1366838"/>
              <a:gd name="connsiteY2" fmla="*/ 576263 h 576263"/>
              <a:gd name="connsiteX0" fmla="*/ 0 w 1362075"/>
              <a:gd name="connsiteY0" fmla="*/ 0 h 571500"/>
              <a:gd name="connsiteX1" fmla="*/ 1362075 w 1362075"/>
              <a:gd name="connsiteY1" fmla="*/ 571500 h 571500"/>
              <a:gd name="connsiteX0" fmla="*/ 0 w 1362075"/>
              <a:gd name="connsiteY0" fmla="*/ 0 h 588419"/>
              <a:gd name="connsiteX1" fmla="*/ 1362075 w 1362075"/>
              <a:gd name="connsiteY1" fmla="*/ 571500 h 588419"/>
              <a:gd name="connsiteX0" fmla="*/ 0 w 1457325"/>
              <a:gd name="connsiteY0" fmla="*/ 0 h 639420"/>
              <a:gd name="connsiteX1" fmla="*/ 1457325 w 1457325"/>
              <a:gd name="connsiteY1" fmla="*/ 623888 h 639420"/>
              <a:gd name="connsiteX0" fmla="*/ 0 w 1428750"/>
              <a:gd name="connsiteY0" fmla="*/ 0 h 770082"/>
              <a:gd name="connsiteX1" fmla="*/ 1428750 w 1428750"/>
              <a:gd name="connsiteY1" fmla="*/ 757238 h 770082"/>
              <a:gd name="connsiteX0" fmla="*/ 0 w 1428750"/>
              <a:gd name="connsiteY0" fmla="*/ 19 h 767540"/>
              <a:gd name="connsiteX1" fmla="*/ 1428750 w 1428750"/>
              <a:gd name="connsiteY1" fmla="*/ 757257 h 767540"/>
              <a:gd name="connsiteX0" fmla="*/ 0 w 1481137"/>
              <a:gd name="connsiteY0" fmla="*/ 22 h 654645"/>
              <a:gd name="connsiteX1" fmla="*/ 1481137 w 1481137"/>
              <a:gd name="connsiteY1" fmla="*/ 642960 h 654645"/>
              <a:gd name="connsiteX0" fmla="*/ 0 w 1481137"/>
              <a:gd name="connsiteY0" fmla="*/ 37 h 347333"/>
              <a:gd name="connsiteX1" fmla="*/ 1481137 w 1481137"/>
              <a:gd name="connsiteY1" fmla="*/ 328650 h 347333"/>
              <a:gd name="connsiteX0" fmla="*/ 0 w 1481137"/>
              <a:gd name="connsiteY0" fmla="*/ 27 h 414748"/>
              <a:gd name="connsiteX1" fmla="*/ 1481137 w 1481137"/>
              <a:gd name="connsiteY1" fmla="*/ 328640 h 414748"/>
              <a:gd name="connsiteX0" fmla="*/ 0 w 1541612"/>
              <a:gd name="connsiteY0" fmla="*/ 19 h 625315"/>
              <a:gd name="connsiteX1" fmla="*/ 1541612 w 1541612"/>
              <a:gd name="connsiteY1" fmla="*/ 557232 h 625315"/>
              <a:gd name="connsiteX0" fmla="*/ 0 w 1533388"/>
              <a:gd name="connsiteY0" fmla="*/ 19 h 603538"/>
              <a:gd name="connsiteX1" fmla="*/ 1533388 w 1533388"/>
              <a:gd name="connsiteY1" fmla="*/ 533973 h 603538"/>
              <a:gd name="connsiteX0" fmla="*/ 0 w 1533388"/>
              <a:gd name="connsiteY0" fmla="*/ 17 h 669183"/>
              <a:gd name="connsiteX1" fmla="*/ 1533388 w 1533388"/>
              <a:gd name="connsiteY1" fmla="*/ 533971 h 669183"/>
              <a:gd name="connsiteX0" fmla="*/ 0 w 1531716"/>
              <a:gd name="connsiteY0" fmla="*/ 15 h 700868"/>
              <a:gd name="connsiteX1" fmla="*/ 1531716 w 1531716"/>
              <a:gd name="connsiteY1" fmla="*/ 569005 h 700868"/>
              <a:gd name="connsiteX0" fmla="*/ 0 w 1602735"/>
              <a:gd name="connsiteY0" fmla="*/ 17 h 661245"/>
              <a:gd name="connsiteX1" fmla="*/ 1602735 w 1602735"/>
              <a:gd name="connsiteY1" fmla="*/ 525165 h 661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602735" h="661245">
                <a:moveTo>
                  <a:pt x="0" y="17"/>
                </a:moveTo>
                <a:cubicBezTo>
                  <a:pt x="568325" y="-4745"/>
                  <a:pt x="678648" y="1022764"/>
                  <a:pt x="1602735" y="525165"/>
                </a:cubicBezTo>
              </a:path>
            </a:pathLst>
          </a:custGeom>
          <a:noFill/>
          <a:ln w="38100" cap="rnd">
            <a:solidFill>
              <a:srgbClr val="A7A49B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89" name="Rectangle 88"/>
          <p:cNvSpPr/>
          <p:nvPr/>
        </p:nvSpPr>
        <p:spPr>
          <a:xfrm rot="16200000">
            <a:off x="6646863" y="4057650"/>
            <a:ext cx="1668463" cy="1837442"/>
          </a:xfrm>
          <a:prstGeom prst="rect">
            <a:avLst/>
          </a:prstGeom>
          <a:solidFill>
            <a:srgbClr val="8A867A"/>
          </a:solidFill>
        </p:spPr>
        <p:txBody>
          <a:bodyPr vert="vert" wrap="square" lIns="72000" tIns="72000" rIns="72000" bIns="72000">
            <a:noAutofit/>
          </a:bodyPr>
          <a:lstStyle/>
          <a:p>
            <a:pPr marL="0" lvl="1">
              <a:spcAft>
                <a:spcPts val="600"/>
              </a:spcAft>
            </a:pPr>
            <a:r>
              <a:rPr lang="ru-RU" sz="1400" i="1" dirty="0" smtClean="0">
                <a:solidFill>
                  <a:srgbClr val="FFFFFF"/>
                </a:solidFill>
                <a:latin typeface="+mj-lt"/>
              </a:rPr>
              <a:t>Анализ характерных ошибок в затратах и счетах, принятых сотрудниками</a:t>
            </a:r>
            <a:endParaRPr lang="ru-RU" sz="1400" i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95" name="Rectangle 94"/>
          <p:cNvSpPr/>
          <p:nvPr/>
        </p:nvSpPr>
        <p:spPr>
          <a:xfrm rot="16200000">
            <a:off x="5470198" y="4718290"/>
            <a:ext cx="1668696" cy="51671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0" lvl="1">
              <a:spcAft>
                <a:spcPts val="600"/>
              </a:spcAft>
            </a:pPr>
            <a:endParaRPr lang="en-US" sz="1200" i="1" dirty="0" smtClean="0">
              <a:solidFill>
                <a:srgbClr val="FFFFFF"/>
              </a:solidFill>
              <a:latin typeface="+mj-lt"/>
            </a:endParaRPr>
          </a:p>
        </p:txBody>
      </p:sp>
      <p:grpSp>
        <p:nvGrpSpPr>
          <p:cNvPr id="99" name="Group 98"/>
          <p:cNvGrpSpPr/>
          <p:nvPr/>
        </p:nvGrpSpPr>
        <p:grpSpPr>
          <a:xfrm>
            <a:off x="4972173" y="3473035"/>
            <a:ext cx="612000" cy="612000"/>
            <a:chOff x="9617181" y="3474401"/>
            <a:chExt cx="612000" cy="612000"/>
          </a:xfrm>
        </p:grpSpPr>
        <p:sp>
          <p:nvSpPr>
            <p:cNvPr id="100" name="Oval 99"/>
            <p:cNvSpPr/>
            <p:nvPr/>
          </p:nvSpPr>
          <p:spPr bwMode="ltGray">
            <a:xfrm>
              <a:off x="9617181" y="3474401"/>
              <a:ext cx="612000" cy="61200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smtClean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01" name="Freeform 4848"/>
            <p:cNvSpPr>
              <a:spLocks noEditPoints="1"/>
            </p:cNvSpPr>
            <p:nvPr/>
          </p:nvSpPr>
          <p:spPr bwMode="auto">
            <a:xfrm>
              <a:off x="9707113" y="3558784"/>
              <a:ext cx="431358" cy="382617"/>
            </a:xfrm>
            <a:custGeom>
              <a:avLst/>
              <a:gdLst>
                <a:gd name="T0" fmla="*/ 198 w 354"/>
                <a:gd name="T1" fmla="*/ 12 h 314"/>
                <a:gd name="T2" fmla="*/ 194 w 354"/>
                <a:gd name="T3" fmla="*/ 8 h 314"/>
                <a:gd name="T4" fmla="*/ 184 w 354"/>
                <a:gd name="T5" fmla="*/ 0 h 314"/>
                <a:gd name="T6" fmla="*/ 178 w 354"/>
                <a:gd name="T7" fmla="*/ 0 h 314"/>
                <a:gd name="T8" fmla="*/ 166 w 354"/>
                <a:gd name="T9" fmla="*/ 4 h 314"/>
                <a:gd name="T10" fmla="*/ 158 w 354"/>
                <a:gd name="T11" fmla="*/ 12 h 314"/>
                <a:gd name="T12" fmla="*/ 4 w 354"/>
                <a:gd name="T13" fmla="*/ 278 h 314"/>
                <a:gd name="T14" fmla="*/ 0 w 354"/>
                <a:gd name="T15" fmla="*/ 290 h 314"/>
                <a:gd name="T16" fmla="*/ 4 w 354"/>
                <a:gd name="T17" fmla="*/ 302 h 314"/>
                <a:gd name="T18" fmla="*/ 8 w 354"/>
                <a:gd name="T19" fmla="*/ 306 h 314"/>
                <a:gd name="T20" fmla="*/ 18 w 354"/>
                <a:gd name="T21" fmla="*/ 312 h 314"/>
                <a:gd name="T22" fmla="*/ 330 w 354"/>
                <a:gd name="T23" fmla="*/ 314 h 314"/>
                <a:gd name="T24" fmla="*/ 338 w 354"/>
                <a:gd name="T25" fmla="*/ 312 h 314"/>
                <a:gd name="T26" fmla="*/ 348 w 354"/>
                <a:gd name="T27" fmla="*/ 306 h 314"/>
                <a:gd name="T28" fmla="*/ 352 w 354"/>
                <a:gd name="T29" fmla="*/ 302 h 314"/>
                <a:gd name="T30" fmla="*/ 354 w 354"/>
                <a:gd name="T31" fmla="*/ 290 h 314"/>
                <a:gd name="T32" fmla="*/ 352 w 354"/>
                <a:gd name="T33" fmla="*/ 278 h 314"/>
                <a:gd name="T34" fmla="*/ 42 w 354"/>
                <a:gd name="T35" fmla="*/ 280 h 314"/>
                <a:gd name="T36" fmla="*/ 314 w 354"/>
                <a:gd name="T37" fmla="*/ 280 h 314"/>
                <a:gd name="T38" fmla="*/ 160 w 354"/>
                <a:gd name="T39" fmla="*/ 142 h 314"/>
                <a:gd name="T40" fmla="*/ 158 w 354"/>
                <a:gd name="T41" fmla="*/ 132 h 314"/>
                <a:gd name="T42" fmla="*/ 160 w 354"/>
                <a:gd name="T43" fmla="*/ 126 h 314"/>
                <a:gd name="T44" fmla="*/ 164 w 354"/>
                <a:gd name="T45" fmla="*/ 122 h 314"/>
                <a:gd name="T46" fmla="*/ 178 w 354"/>
                <a:gd name="T47" fmla="*/ 118 h 314"/>
                <a:gd name="T48" fmla="*/ 186 w 354"/>
                <a:gd name="T49" fmla="*/ 118 h 314"/>
                <a:gd name="T50" fmla="*/ 192 w 354"/>
                <a:gd name="T51" fmla="*/ 122 h 314"/>
                <a:gd name="T52" fmla="*/ 198 w 354"/>
                <a:gd name="T53" fmla="*/ 132 h 314"/>
                <a:gd name="T54" fmla="*/ 196 w 354"/>
                <a:gd name="T55" fmla="*/ 142 h 314"/>
                <a:gd name="T56" fmla="*/ 172 w 354"/>
                <a:gd name="T57" fmla="*/ 206 h 314"/>
                <a:gd name="T58" fmla="*/ 178 w 354"/>
                <a:gd name="T59" fmla="*/ 218 h 314"/>
                <a:gd name="T60" fmla="*/ 186 w 354"/>
                <a:gd name="T61" fmla="*/ 220 h 314"/>
                <a:gd name="T62" fmla="*/ 190 w 354"/>
                <a:gd name="T63" fmla="*/ 224 h 314"/>
                <a:gd name="T64" fmla="*/ 194 w 354"/>
                <a:gd name="T65" fmla="*/ 230 h 314"/>
                <a:gd name="T66" fmla="*/ 196 w 354"/>
                <a:gd name="T67" fmla="*/ 238 h 314"/>
                <a:gd name="T68" fmla="*/ 194 w 354"/>
                <a:gd name="T69" fmla="*/ 244 h 314"/>
                <a:gd name="T70" fmla="*/ 190 w 354"/>
                <a:gd name="T71" fmla="*/ 250 h 314"/>
                <a:gd name="T72" fmla="*/ 186 w 354"/>
                <a:gd name="T73" fmla="*/ 254 h 314"/>
                <a:gd name="T74" fmla="*/ 178 w 354"/>
                <a:gd name="T75" fmla="*/ 256 h 314"/>
                <a:gd name="T76" fmla="*/ 170 w 354"/>
                <a:gd name="T77" fmla="*/ 254 h 314"/>
                <a:gd name="T78" fmla="*/ 166 w 354"/>
                <a:gd name="T79" fmla="*/ 250 h 314"/>
                <a:gd name="T80" fmla="*/ 162 w 354"/>
                <a:gd name="T81" fmla="*/ 244 h 314"/>
                <a:gd name="T82" fmla="*/ 160 w 354"/>
                <a:gd name="T83" fmla="*/ 238 h 314"/>
                <a:gd name="T84" fmla="*/ 162 w 354"/>
                <a:gd name="T85" fmla="*/ 230 h 314"/>
                <a:gd name="T86" fmla="*/ 166 w 354"/>
                <a:gd name="T87" fmla="*/ 224 h 314"/>
                <a:gd name="T88" fmla="*/ 178 w 354"/>
                <a:gd name="T89" fmla="*/ 218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54" h="314">
                  <a:moveTo>
                    <a:pt x="352" y="278"/>
                  </a:moveTo>
                  <a:lnTo>
                    <a:pt x="198" y="12"/>
                  </a:lnTo>
                  <a:lnTo>
                    <a:pt x="198" y="12"/>
                  </a:lnTo>
                  <a:lnTo>
                    <a:pt x="194" y="8"/>
                  </a:lnTo>
                  <a:lnTo>
                    <a:pt x="190" y="4"/>
                  </a:lnTo>
                  <a:lnTo>
                    <a:pt x="184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2" y="0"/>
                  </a:lnTo>
                  <a:lnTo>
                    <a:pt x="166" y="4"/>
                  </a:lnTo>
                  <a:lnTo>
                    <a:pt x="162" y="8"/>
                  </a:lnTo>
                  <a:lnTo>
                    <a:pt x="158" y="12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2" y="282"/>
                  </a:lnTo>
                  <a:lnTo>
                    <a:pt x="0" y="290"/>
                  </a:lnTo>
                  <a:lnTo>
                    <a:pt x="2" y="296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8" y="306"/>
                  </a:lnTo>
                  <a:lnTo>
                    <a:pt x="12" y="310"/>
                  </a:lnTo>
                  <a:lnTo>
                    <a:pt x="18" y="312"/>
                  </a:lnTo>
                  <a:lnTo>
                    <a:pt x="26" y="314"/>
                  </a:lnTo>
                  <a:lnTo>
                    <a:pt x="330" y="314"/>
                  </a:lnTo>
                  <a:lnTo>
                    <a:pt x="330" y="314"/>
                  </a:lnTo>
                  <a:lnTo>
                    <a:pt x="338" y="312"/>
                  </a:lnTo>
                  <a:lnTo>
                    <a:pt x="342" y="310"/>
                  </a:lnTo>
                  <a:lnTo>
                    <a:pt x="348" y="306"/>
                  </a:lnTo>
                  <a:lnTo>
                    <a:pt x="352" y="302"/>
                  </a:lnTo>
                  <a:lnTo>
                    <a:pt x="352" y="302"/>
                  </a:lnTo>
                  <a:lnTo>
                    <a:pt x="354" y="296"/>
                  </a:lnTo>
                  <a:lnTo>
                    <a:pt x="354" y="290"/>
                  </a:lnTo>
                  <a:lnTo>
                    <a:pt x="354" y="282"/>
                  </a:lnTo>
                  <a:lnTo>
                    <a:pt x="352" y="278"/>
                  </a:lnTo>
                  <a:lnTo>
                    <a:pt x="352" y="278"/>
                  </a:lnTo>
                  <a:close/>
                  <a:moveTo>
                    <a:pt x="42" y="280"/>
                  </a:moveTo>
                  <a:lnTo>
                    <a:pt x="178" y="44"/>
                  </a:lnTo>
                  <a:lnTo>
                    <a:pt x="314" y="280"/>
                  </a:lnTo>
                  <a:lnTo>
                    <a:pt x="42" y="280"/>
                  </a:lnTo>
                  <a:close/>
                  <a:moveTo>
                    <a:pt x="160" y="142"/>
                  </a:moveTo>
                  <a:lnTo>
                    <a:pt x="160" y="142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60" y="126"/>
                  </a:lnTo>
                  <a:lnTo>
                    <a:pt x="164" y="122"/>
                  </a:lnTo>
                  <a:lnTo>
                    <a:pt x="164" y="122"/>
                  </a:lnTo>
                  <a:lnTo>
                    <a:pt x="170" y="118"/>
                  </a:lnTo>
                  <a:lnTo>
                    <a:pt x="178" y="118"/>
                  </a:lnTo>
                  <a:lnTo>
                    <a:pt x="178" y="118"/>
                  </a:lnTo>
                  <a:lnTo>
                    <a:pt x="186" y="118"/>
                  </a:lnTo>
                  <a:lnTo>
                    <a:pt x="192" y="122"/>
                  </a:lnTo>
                  <a:lnTo>
                    <a:pt x="192" y="122"/>
                  </a:lnTo>
                  <a:lnTo>
                    <a:pt x="196" y="126"/>
                  </a:lnTo>
                  <a:lnTo>
                    <a:pt x="198" y="132"/>
                  </a:lnTo>
                  <a:lnTo>
                    <a:pt x="198" y="132"/>
                  </a:lnTo>
                  <a:lnTo>
                    <a:pt x="196" y="142"/>
                  </a:lnTo>
                  <a:lnTo>
                    <a:pt x="184" y="206"/>
                  </a:lnTo>
                  <a:lnTo>
                    <a:pt x="172" y="206"/>
                  </a:lnTo>
                  <a:lnTo>
                    <a:pt x="160" y="142"/>
                  </a:lnTo>
                  <a:close/>
                  <a:moveTo>
                    <a:pt x="178" y="218"/>
                  </a:moveTo>
                  <a:lnTo>
                    <a:pt x="178" y="218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90" y="224"/>
                  </a:lnTo>
                  <a:lnTo>
                    <a:pt x="190" y="224"/>
                  </a:lnTo>
                  <a:lnTo>
                    <a:pt x="194" y="230"/>
                  </a:lnTo>
                  <a:lnTo>
                    <a:pt x="194" y="230"/>
                  </a:lnTo>
                  <a:lnTo>
                    <a:pt x="196" y="238"/>
                  </a:lnTo>
                  <a:lnTo>
                    <a:pt x="196" y="238"/>
                  </a:lnTo>
                  <a:lnTo>
                    <a:pt x="194" y="244"/>
                  </a:lnTo>
                  <a:lnTo>
                    <a:pt x="194" y="244"/>
                  </a:lnTo>
                  <a:lnTo>
                    <a:pt x="190" y="250"/>
                  </a:lnTo>
                  <a:lnTo>
                    <a:pt x="190" y="250"/>
                  </a:lnTo>
                  <a:lnTo>
                    <a:pt x="186" y="254"/>
                  </a:lnTo>
                  <a:lnTo>
                    <a:pt x="186" y="254"/>
                  </a:lnTo>
                  <a:lnTo>
                    <a:pt x="178" y="256"/>
                  </a:lnTo>
                  <a:lnTo>
                    <a:pt x="178" y="256"/>
                  </a:lnTo>
                  <a:lnTo>
                    <a:pt x="170" y="254"/>
                  </a:lnTo>
                  <a:lnTo>
                    <a:pt x="170" y="254"/>
                  </a:lnTo>
                  <a:lnTo>
                    <a:pt x="166" y="250"/>
                  </a:lnTo>
                  <a:lnTo>
                    <a:pt x="166" y="250"/>
                  </a:lnTo>
                  <a:lnTo>
                    <a:pt x="162" y="244"/>
                  </a:lnTo>
                  <a:lnTo>
                    <a:pt x="162" y="244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2" y="230"/>
                  </a:lnTo>
                  <a:lnTo>
                    <a:pt x="166" y="224"/>
                  </a:lnTo>
                  <a:lnTo>
                    <a:pt x="166" y="224"/>
                  </a:lnTo>
                  <a:lnTo>
                    <a:pt x="170" y="220"/>
                  </a:lnTo>
                  <a:lnTo>
                    <a:pt x="178" y="218"/>
                  </a:lnTo>
                  <a:lnTo>
                    <a:pt x="178" y="21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rgbClr val="000000"/>
                </a:solidFill>
                <a:latin typeface="+mj-lt"/>
              </a:endParaRPr>
            </a:p>
          </p:txBody>
        </p:sp>
      </p:grpSp>
      <p:grpSp>
        <p:nvGrpSpPr>
          <p:cNvPr id="117" name="Group 116"/>
          <p:cNvGrpSpPr/>
          <p:nvPr/>
        </p:nvGrpSpPr>
        <p:grpSpPr>
          <a:xfrm>
            <a:off x="7898719" y="5200073"/>
            <a:ext cx="750775" cy="822342"/>
            <a:chOff x="7695002" y="3527152"/>
            <a:chExt cx="883842" cy="968093"/>
          </a:xfrm>
        </p:grpSpPr>
        <p:sp>
          <p:nvSpPr>
            <p:cNvPr id="118" name="Freeform 4803"/>
            <p:cNvSpPr>
              <a:spLocks noEditPoints="1"/>
            </p:cNvSpPr>
            <p:nvPr/>
          </p:nvSpPr>
          <p:spPr bwMode="auto">
            <a:xfrm>
              <a:off x="7728652" y="3875691"/>
              <a:ext cx="850192" cy="619554"/>
            </a:xfrm>
            <a:custGeom>
              <a:avLst/>
              <a:gdLst>
                <a:gd name="T0" fmla="*/ 372 w 376"/>
                <a:gd name="T1" fmla="*/ 98 h 274"/>
                <a:gd name="T2" fmla="*/ 344 w 376"/>
                <a:gd name="T3" fmla="*/ 74 h 274"/>
                <a:gd name="T4" fmla="*/ 334 w 376"/>
                <a:gd name="T5" fmla="*/ 68 h 274"/>
                <a:gd name="T6" fmla="*/ 254 w 376"/>
                <a:gd name="T7" fmla="*/ 80 h 274"/>
                <a:gd name="T8" fmla="*/ 210 w 376"/>
                <a:gd name="T9" fmla="*/ 68 h 274"/>
                <a:gd name="T10" fmla="*/ 6 w 376"/>
                <a:gd name="T11" fmla="*/ 136 h 274"/>
                <a:gd name="T12" fmla="*/ 4 w 376"/>
                <a:gd name="T13" fmla="*/ 170 h 274"/>
                <a:gd name="T14" fmla="*/ 30 w 376"/>
                <a:gd name="T15" fmla="*/ 194 h 274"/>
                <a:gd name="T16" fmla="*/ 4 w 376"/>
                <a:gd name="T17" fmla="*/ 220 h 274"/>
                <a:gd name="T18" fmla="*/ 198 w 376"/>
                <a:gd name="T19" fmla="*/ 250 h 274"/>
                <a:gd name="T20" fmla="*/ 272 w 376"/>
                <a:gd name="T21" fmla="*/ 274 h 274"/>
                <a:gd name="T22" fmla="*/ 346 w 376"/>
                <a:gd name="T23" fmla="*/ 246 h 274"/>
                <a:gd name="T24" fmla="*/ 322 w 376"/>
                <a:gd name="T25" fmla="*/ 252 h 274"/>
                <a:gd name="T26" fmla="*/ 220 w 376"/>
                <a:gd name="T27" fmla="*/ 252 h 274"/>
                <a:gd name="T28" fmla="*/ 196 w 376"/>
                <a:gd name="T29" fmla="*/ 232 h 274"/>
                <a:gd name="T30" fmla="*/ 148 w 376"/>
                <a:gd name="T31" fmla="*/ 234 h 274"/>
                <a:gd name="T32" fmla="*/ 200 w 376"/>
                <a:gd name="T33" fmla="*/ 220 h 274"/>
                <a:gd name="T34" fmla="*/ 300 w 376"/>
                <a:gd name="T35" fmla="*/ 236 h 274"/>
                <a:gd name="T36" fmla="*/ 346 w 376"/>
                <a:gd name="T37" fmla="*/ 196 h 274"/>
                <a:gd name="T38" fmla="*/ 308 w 376"/>
                <a:gd name="T39" fmla="*/ 220 h 274"/>
                <a:gd name="T40" fmla="*/ 210 w 376"/>
                <a:gd name="T41" fmla="*/ 210 h 274"/>
                <a:gd name="T42" fmla="*/ 196 w 376"/>
                <a:gd name="T43" fmla="*/ 196 h 274"/>
                <a:gd name="T44" fmla="*/ 150 w 376"/>
                <a:gd name="T45" fmla="*/ 200 h 274"/>
                <a:gd name="T46" fmla="*/ 202 w 376"/>
                <a:gd name="T47" fmla="*/ 184 h 274"/>
                <a:gd name="T48" fmla="*/ 318 w 376"/>
                <a:gd name="T49" fmla="*/ 196 h 274"/>
                <a:gd name="T50" fmla="*/ 374 w 376"/>
                <a:gd name="T51" fmla="*/ 162 h 274"/>
                <a:gd name="T52" fmla="*/ 374 w 376"/>
                <a:gd name="T53" fmla="*/ 130 h 274"/>
                <a:gd name="T54" fmla="*/ 248 w 376"/>
                <a:gd name="T55" fmla="*/ 94 h 274"/>
                <a:gd name="T56" fmla="*/ 342 w 376"/>
                <a:gd name="T57" fmla="*/ 78 h 274"/>
                <a:gd name="T58" fmla="*/ 334 w 376"/>
                <a:gd name="T59" fmla="*/ 104 h 274"/>
                <a:gd name="T60" fmla="*/ 238 w 376"/>
                <a:gd name="T61" fmla="*/ 114 h 274"/>
                <a:gd name="T62" fmla="*/ 200 w 376"/>
                <a:gd name="T63" fmla="*/ 96 h 274"/>
                <a:gd name="T64" fmla="*/ 202 w 376"/>
                <a:gd name="T65" fmla="*/ 114 h 274"/>
                <a:gd name="T66" fmla="*/ 294 w 376"/>
                <a:gd name="T67" fmla="*/ 130 h 274"/>
                <a:gd name="T68" fmla="*/ 346 w 376"/>
                <a:gd name="T69" fmla="*/ 124 h 274"/>
                <a:gd name="T70" fmla="*/ 338 w 376"/>
                <a:gd name="T71" fmla="*/ 136 h 274"/>
                <a:gd name="T72" fmla="*/ 272 w 376"/>
                <a:gd name="T73" fmla="*/ 152 h 274"/>
                <a:gd name="T74" fmla="*/ 214 w 376"/>
                <a:gd name="T75" fmla="*/ 142 h 274"/>
                <a:gd name="T76" fmla="*/ 198 w 376"/>
                <a:gd name="T77" fmla="*/ 118 h 274"/>
                <a:gd name="T78" fmla="*/ 134 w 376"/>
                <a:gd name="T79" fmla="*/ 150 h 274"/>
                <a:gd name="T80" fmla="*/ 100 w 376"/>
                <a:gd name="T81" fmla="*/ 136 h 274"/>
                <a:gd name="T82" fmla="*/ 158 w 376"/>
                <a:gd name="T83" fmla="*/ 128 h 274"/>
                <a:gd name="T84" fmla="*/ 162 w 376"/>
                <a:gd name="T85" fmla="*/ 144 h 274"/>
                <a:gd name="T86" fmla="*/ 346 w 376"/>
                <a:gd name="T87" fmla="*/ 162 h 274"/>
                <a:gd name="T88" fmla="*/ 342 w 376"/>
                <a:gd name="T89" fmla="*/ 168 h 274"/>
                <a:gd name="T90" fmla="*/ 322 w 376"/>
                <a:gd name="T91" fmla="*/ 180 h 274"/>
                <a:gd name="T92" fmla="*/ 220 w 376"/>
                <a:gd name="T93" fmla="*/ 180 h 274"/>
                <a:gd name="T94" fmla="*/ 200 w 376"/>
                <a:gd name="T95" fmla="*/ 168 h 274"/>
                <a:gd name="T96" fmla="*/ 198 w 376"/>
                <a:gd name="T97" fmla="*/ 154 h 274"/>
                <a:gd name="T98" fmla="*/ 272 w 376"/>
                <a:gd name="T99" fmla="*/ 166 h 274"/>
                <a:gd name="T100" fmla="*/ 346 w 376"/>
                <a:gd name="T101" fmla="*/ 160 h 274"/>
                <a:gd name="T102" fmla="*/ 196 w 376"/>
                <a:gd name="T103" fmla="*/ 28 h 274"/>
                <a:gd name="T104" fmla="*/ 272 w 376"/>
                <a:gd name="T105" fmla="*/ 0 h 274"/>
                <a:gd name="T106" fmla="*/ 344 w 376"/>
                <a:gd name="T107" fmla="*/ 24 h 274"/>
                <a:gd name="T108" fmla="*/ 322 w 376"/>
                <a:gd name="T109" fmla="*/ 50 h 274"/>
                <a:gd name="T110" fmla="*/ 220 w 376"/>
                <a:gd name="T111" fmla="*/ 5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6" h="274">
                  <a:moveTo>
                    <a:pt x="376" y="126"/>
                  </a:moveTo>
                  <a:lnTo>
                    <a:pt x="376" y="126"/>
                  </a:lnTo>
                  <a:lnTo>
                    <a:pt x="374" y="122"/>
                  </a:lnTo>
                  <a:lnTo>
                    <a:pt x="370" y="120"/>
                  </a:lnTo>
                  <a:lnTo>
                    <a:pt x="346" y="110"/>
                  </a:lnTo>
                  <a:lnTo>
                    <a:pt x="372" y="98"/>
                  </a:lnTo>
                  <a:lnTo>
                    <a:pt x="372" y="98"/>
                  </a:lnTo>
                  <a:lnTo>
                    <a:pt x="376" y="96"/>
                  </a:lnTo>
                  <a:lnTo>
                    <a:pt x="376" y="92"/>
                  </a:lnTo>
                  <a:lnTo>
                    <a:pt x="376" y="92"/>
                  </a:lnTo>
                  <a:lnTo>
                    <a:pt x="376" y="86"/>
                  </a:lnTo>
                  <a:lnTo>
                    <a:pt x="372" y="84"/>
                  </a:lnTo>
                  <a:lnTo>
                    <a:pt x="344" y="74"/>
                  </a:lnTo>
                  <a:lnTo>
                    <a:pt x="344" y="74"/>
                  </a:lnTo>
                  <a:lnTo>
                    <a:pt x="346" y="70"/>
                  </a:lnTo>
                  <a:lnTo>
                    <a:pt x="346" y="66"/>
                  </a:lnTo>
                  <a:lnTo>
                    <a:pt x="346" y="52"/>
                  </a:lnTo>
                  <a:lnTo>
                    <a:pt x="346" y="52"/>
                  </a:lnTo>
                  <a:lnTo>
                    <a:pt x="346" y="56"/>
                  </a:lnTo>
                  <a:lnTo>
                    <a:pt x="344" y="60"/>
                  </a:lnTo>
                  <a:lnTo>
                    <a:pt x="334" y="68"/>
                  </a:lnTo>
                  <a:lnTo>
                    <a:pt x="334" y="68"/>
                  </a:lnTo>
                  <a:lnTo>
                    <a:pt x="322" y="72"/>
                  </a:lnTo>
                  <a:lnTo>
                    <a:pt x="308" y="76"/>
                  </a:lnTo>
                  <a:lnTo>
                    <a:pt x="290" y="80"/>
                  </a:lnTo>
                  <a:lnTo>
                    <a:pt x="272" y="80"/>
                  </a:lnTo>
                  <a:lnTo>
                    <a:pt x="272" y="80"/>
                  </a:lnTo>
                  <a:lnTo>
                    <a:pt x="254" y="80"/>
                  </a:lnTo>
                  <a:lnTo>
                    <a:pt x="238" y="78"/>
                  </a:lnTo>
                  <a:lnTo>
                    <a:pt x="226" y="74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0" y="68"/>
                  </a:lnTo>
                  <a:lnTo>
                    <a:pt x="210" y="68"/>
                  </a:lnTo>
                  <a:lnTo>
                    <a:pt x="200" y="60"/>
                  </a:lnTo>
                  <a:lnTo>
                    <a:pt x="198" y="56"/>
                  </a:lnTo>
                  <a:lnTo>
                    <a:pt x="196" y="52"/>
                  </a:lnTo>
                  <a:lnTo>
                    <a:pt x="196" y="52"/>
                  </a:lnTo>
                  <a:lnTo>
                    <a:pt x="198" y="4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2" y="138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2" y="148"/>
                  </a:lnTo>
                  <a:lnTo>
                    <a:pt x="6" y="150"/>
                  </a:lnTo>
                  <a:lnTo>
                    <a:pt x="30" y="158"/>
                  </a:lnTo>
                  <a:lnTo>
                    <a:pt x="4" y="170"/>
                  </a:lnTo>
                  <a:lnTo>
                    <a:pt x="4" y="170"/>
                  </a:lnTo>
                  <a:lnTo>
                    <a:pt x="2" y="174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30" y="194"/>
                  </a:lnTo>
                  <a:lnTo>
                    <a:pt x="4" y="206"/>
                  </a:lnTo>
                  <a:lnTo>
                    <a:pt x="4" y="206"/>
                  </a:lnTo>
                  <a:lnTo>
                    <a:pt x="0" y="208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8"/>
                  </a:lnTo>
                  <a:lnTo>
                    <a:pt x="4" y="220"/>
                  </a:lnTo>
                  <a:lnTo>
                    <a:pt x="148" y="270"/>
                  </a:lnTo>
                  <a:lnTo>
                    <a:pt x="148" y="270"/>
                  </a:lnTo>
                  <a:lnTo>
                    <a:pt x="150" y="270"/>
                  </a:lnTo>
                  <a:lnTo>
                    <a:pt x="150" y="270"/>
                  </a:lnTo>
                  <a:lnTo>
                    <a:pt x="154" y="270"/>
                  </a:lnTo>
                  <a:lnTo>
                    <a:pt x="198" y="250"/>
                  </a:lnTo>
                  <a:lnTo>
                    <a:pt x="198" y="250"/>
                  </a:lnTo>
                  <a:lnTo>
                    <a:pt x="200" y="254"/>
                  </a:lnTo>
                  <a:lnTo>
                    <a:pt x="206" y="258"/>
                  </a:lnTo>
                  <a:lnTo>
                    <a:pt x="212" y="264"/>
                  </a:lnTo>
                  <a:lnTo>
                    <a:pt x="222" y="266"/>
                  </a:lnTo>
                  <a:lnTo>
                    <a:pt x="244" y="272"/>
                  </a:lnTo>
                  <a:lnTo>
                    <a:pt x="272" y="274"/>
                  </a:lnTo>
                  <a:lnTo>
                    <a:pt x="272" y="274"/>
                  </a:lnTo>
                  <a:lnTo>
                    <a:pt x="300" y="272"/>
                  </a:lnTo>
                  <a:lnTo>
                    <a:pt x="314" y="270"/>
                  </a:lnTo>
                  <a:lnTo>
                    <a:pt x="324" y="266"/>
                  </a:lnTo>
                  <a:lnTo>
                    <a:pt x="334" y="262"/>
                  </a:lnTo>
                  <a:lnTo>
                    <a:pt x="340" y="256"/>
                  </a:lnTo>
                  <a:lnTo>
                    <a:pt x="344" y="252"/>
                  </a:lnTo>
                  <a:lnTo>
                    <a:pt x="346" y="246"/>
                  </a:lnTo>
                  <a:lnTo>
                    <a:pt x="346" y="230"/>
                  </a:lnTo>
                  <a:lnTo>
                    <a:pt x="346" y="230"/>
                  </a:lnTo>
                  <a:lnTo>
                    <a:pt x="346" y="236"/>
                  </a:lnTo>
                  <a:lnTo>
                    <a:pt x="344" y="240"/>
                  </a:lnTo>
                  <a:lnTo>
                    <a:pt x="334" y="246"/>
                  </a:lnTo>
                  <a:lnTo>
                    <a:pt x="334" y="246"/>
                  </a:lnTo>
                  <a:lnTo>
                    <a:pt x="322" y="252"/>
                  </a:lnTo>
                  <a:lnTo>
                    <a:pt x="308" y="256"/>
                  </a:lnTo>
                  <a:lnTo>
                    <a:pt x="290" y="258"/>
                  </a:lnTo>
                  <a:lnTo>
                    <a:pt x="272" y="260"/>
                  </a:lnTo>
                  <a:lnTo>
                    <a:pt x="272" y="260"/>
                  </a:lnTo>
                  <a:lnTo>
                    <a:pt x="252" y="258"/>
                  </a:lnTo>
                  <a:lnTo>
                    <a:pt x="236" y="256"/>
                  </a:lnTo>
                  <a:lnTo>
                    <a:pt x="220" y="252"/>
                  </a:lnTo>
                  <a:lnTo>
                    <a:pt x="210" y="246"/>
                  </a:lnTo>
                  <a:lnTo>
                    <a:pt x="210" y="246"/>
                  </a:lnTo>
                  <a:lnTo>
                    <a:pt x="206" y="244"/>
                  </a:lnTo>
                  <a:lnTo>
                    <a:pt x="206" y="244"/>
                  </a:lnTo>
                  <a:lnTo>
                    <a:pt x="206" y="244"/>
                  </a:lnTo>
                  <a:lnTo>
                    <a:pt x="200" y="238"/>
                  </a:lnTo>
                  <a:lnTo>
                    <a:pt x="196" y="232"/>
                  </a:lnTo>
                  <a:lnTo>
                    <a:pt x="196" y="232"/>
                  </a:lnTo>
                  <a:lnTo>
                    <a:pt x="196" y="230"/>
                  </a:lnTo>
                  <a:lnTo>
                    <a:pt x="196" y="232"/>
                  </a:lnTo>
                  <a:lnTo>
                    <a:pt x="150" y="254"/>
                  </a:lnTo>
                  <a:lnTo>
                    <a:pt x="28" y="212"/>
                  </a:lnTo>
                  <a:lnTo>
                    <a:pt x="52" y="200"/>
                  </a:lnTo>
                  <a:lnTo>
                    <a:pt x="148" y="234"/>
                  </a:lnTo>
                  <a:lnTo>
                    <a:pt x="148" y="234"/>
                  </a:lnTo>
                  <a:lnTo>
                    <a:pt x="152" y="234"/>
                  </a:lnTo>
                  <a:lnTo>
                    <a:pt x="152" y="234"/>
                  </a:lnTo>
                  <a:lnTo>
                    <a:pt x="154" y="234"/>
                  </a:lnTo>
                  <a:lnTo>
                    <a:pt x="198" y="214"/>
                  </a:lnTo>
                  <a:lnTo>
                    <a:pt x="198" y="214"/>
                  </a:lnTo>
                  <a:lnTo>
                    <a:pt x="200" y="220"/>
                  </a:lnTo>
                  <a:lnTo>
                    <a:pt x="206" y="224"/>
                  </a:lnTo>
                  <a:lnTo>
                    <a:pt x="214" y="228"/>
                  </a:lnTo>
                  <a:lnTo>
                    <a:pt x="222" y="232"/>
                  </a:lnTo>
                  <a:lnTo>
                    <a:pt x="246" y="236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300" y="236"/>
                  </a:lnTo>
                  <a:lnTo>
                    <a:pt x="314" y="234"/>
                  </a:lnTo>
                  <a:lnTo>
                    <a:pt x="324" y="230"/>
                  </a:lnTo>
                  <a:lnTo>
                    <a:pt x="334" y="226"/>
                  </a:lnTo>
                  <a:lnTo>
                    <a:pt x="340" y="220"/>
                  </a:lnTo>
                  <a:lnTo>
                    <a:pt x="344" y="216"/>
                  </a:lnTo>
                  <a:lnTo>
                    <a:pt x="346" y="210"/>
                  </a:lnTo>
                  <a:lnTo>
                    <a:pt x="346" y="196"/>
                  </a:lnTo>
                  <a:lnTo>
                    <a:pt x="346" y="196"/>
                  </a:lnTo>
                  <a:lnTo>
                    <a:pt x="346" y="200"/>
                  </a:lnTo>
                  <a:lnTo>
                    <a:pt x="344" y="204"/>
                  </a:lnTo>
                  <a:lnTo>
                    <a:pt x="334" y="210"/>
                  </a:lnTo>
                  <a:lnTo>
                    <a:pt x="334" y="210"/>
                  </a:lnTo>
                  <a:lnTo>
                    <a:pt x="322" y="216"/>
                  </a:lnTo>
                  <a:lnTo>
                    <a:pt x="308" y="220"/>
                  </a:lnTo>
                  <a:lnTo>
                    <a:pt x="290" y="222"/>
                  </a:lnTo>
                  <a:lnTo>
                    <a:pt x="272" y="224"/>
                  </a:lnTo>
                  <a:lnTo>
                    <a:pt x="272" y="224"/>
                  </a:lnTo>
                  <a:lnTo>
                    <a:pt x="252" y="222"/>
                  </a:lnTo>
                  <a:lnTo>
                    <a:pt x="236" y="220"/>
                  </a:lnTo>
                  <a:lnTo>
                    <a:pt x="220" y="216"/>
                  </a:lnTo>
                  <a:lnTo>
                    <a:pt x="210" y="210"/>
                  </a:lnTo>
                  <a:lnTo>
                    <a:pt x="210" y="210"/>
                  </a:lnTo>
                  <a:lnTo>
                    <a:pt x="208" y="210"/>
                  </a:lnTo>
                  <a:lnTo>
                    <a:pt x="208" y="210"/>
                  </a:lnTo>
                  <a:lnTo>
                    <a:pt x="200" y="204"/>
                  </a:lnTo>
                  <a:lnTo>
                    <a:pt x="198" y="198"/>
                  </a:lnTo>
                  <a:lnTo>
                    <a:pt x="198" y="198"/>
                  </a:lnTo>
                  <a:lnTo>
                    <a:pt x="196" y="196"/>
                  </a:lnTo>
                  <a:lnTo>
                    <a:pt x="196" y="198"/>
                  </a:lnTo>
                  <a:lnTo>
                    <a:pt x="152" y="218"/>
                  </a:lnTo>
                  <a:lnTo>
                    <a:pt x="72" y="192"/>
                  </a:lnTo>
                  <a:lnTo>
                    <a:pt x="50" y="184"/>
                  </a:lnTo>
                  <a:lnTo>
                    <a:pt x="28" y="176"/>
                  </a:lnTo>
                  <a:lnTo>
                    <a:pt x="52" y="166"/>
                  </a:lnTo>
                  <a:lnTo>
                    <a:pt x="150" y="200"/>
                  </a:lnTo>
                  <a:lnTo>
                    <a:pt x="150" y="200"/>
                  </a:lnTo>
                  <a:lnTo>
                    <a:pt x="152" y="200"/>
                  </a:lnTo>
                  <a:lnTo>
                    <a:pt x="152" y="200"/>
                  </a:lnTo>
                  <a:lnTo>
                    <a:pt x="156" y="200"/>
                  </a:lnTo>
                  <a:lnTo>
                    <a:pt x="198" y="180"/>
                  </a:lnTo>
                  <a:lnTo>
                    <a:pt x="198" y="180"/>
                  </a:lnTo>
                  <a:lnTo>
                    <a:pt x="202" y="184"/>
                  </a:lnTo>
                  <a:lnTo>
                    <a:pt x="208" y="188"/>
                  </a:lnTo>
                  <a:lnTo>
                    <a:pt x="224" y="196"/>
                  </a:lnTo>
                  <a:lnTo>
                    <a:pt x="246" y="200"/>
                  </a:lnTo>
                  <a:lnTo>
                    <a:pt x="272" y="202"/>
                  </a:lnTo>
                  <a:lnTo>
                    <a:pt x="272" y="202"/>
                  </a:lnTo>
                  <a:lnTo>
                    <a:pt x="296" y="200"/>
                  </a:lnTo>
                  <a:lnTo>
                    <a:pt x="318" y="196"/>
                  </a:lnTo>
                  <a:lnTo>
                    <a:pt x="334" y="190"/>
                  </a:lnTo>
                  <a:lnTo>
                    <a:pt x="340" y="186"/>
                  </a:lnTo>
                  <a:lnTo>
                    <a:pt x="344" y="180"/>
                  </a:lnTo>
                  <a:lnTo>
                    <a:pt x="370" y="168"/>
                  </a:lnTo>
                  <a:lnTo>
                    <a:pt x="370" y="168"/>
                  </a:lnTo>
                  <a:lnTo>
                    <a:pt x="374" y="166"/>
                  </a:lnTo>
                  <a:lnTo>
                    <a:pt x="374" y="162"/>
                  </a:lnTo>
                  <a:lnTo>
                    <a:pt x="374" y="162"/>
                  </a:lnTo>
                  <a:lnTo>
                    <a:pt x="374" y="156"/>
                  </a:lnTo>
                  <a:lnTo>
                    <a:pt x="370" y="154"/>
                  </a:lnTo>
                  <a:lnTo>
                    <a:pt x="346" y="146"/>
                  </a:lnTo>
                  <a:lnTo>
                    <a:pt x="372" y="134"/>
                  </a:lnTo>
                  <a:lnTo>
                    <a:pt x="372" y="134"/>
                  </a:lnTo>
                  <a:lnTo>
                    <a:pt x="374" y="130"/>
                  </a:lnTo>
                  <a:lnTo>
                    <a:pt x="376" y="126"/>
                  </a:lnTo>
                  <a:lnTo>
                    <a:pt x="376" y="126"/>
                  </a:lnTo>
                  <a:close/>
                  <a:moveTo>
                    <a:pt x="202" y="78"/>
                  </a:moveTo>
                  <a:lnTo>
                    <a:pt x="202" y="78"/>
                  </a:lnTo>
                  <a:lnTo>
                    <a:pt x="214" y="84"/>
                  </a:lnTo>
                  <a:lnTo>
                    <a:pt x="230" y="90"/>
                  </a:lnTo>
                  <a:lnTo>
                    <a:pt x="248" y="94"/>
                  </a:lnTo>
                  <a:lnTo>
                    <a:pt x="272" y="96"/>
                  </a:lnTo>
                  <a:lnTo>
                    <a:pt x="272" y="96"/>
                  </a:lnTo>
                  <a:lnTo>
                    <a:pt x="294" y="94"/>
                  </a:lnTo>
                  <a:lnTo>
                    <a:pt x="314" y="90"/>
                  </a:lnTo>
                  <a:lnTo>
                    <a:pt x="330" y="84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346" y="82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92"/>
                  </a:lnTo>
                  <a:lnTo>
                    <a:pt x="344" y="96"/>
                  </a:lnTo>
                  <a:lnTo>
                    <a:pt x="334" y="104"/>
                  </a:lnTo>
                  <a:lnTo>
                    <a:pt x="334" y="104"/>
                  </a:lnTo>
                  <a:lnTo>
                    <a:pt x="322" y="108"/>
                  </a:lnTo>
                  <a:lnTo>
                    <a:pt x="308" y="112"/>
                  </a:lnTo>
                  <a:lnTo>
                    <a:pt x="290" y="116"/>
                  </a:lnTo>
                  <a:lnTo>
                    <a:pt x="272" y="116"/>
                  </a:lnTo>
                  <a:lnTo>
                    <a:pt x="272" y="116"/>
                  </a:lnTo>
                  <a:lnTo>
                    <a:pt x="254" y="116"/>
                  </a:lnTo>
                  <a:lnTo>
                    <a:pt x="238" y="114"/>
                  </a:lnTo>
                  <a:lnTo>
                    <a:pt x="226" y="110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00" y="96"/>
                  </a:lnTo>
                  <a:lnTo>
                    <a:pt x="198" y="92"/>
                  </a:lnTo>
                  <a:lnTo>
                    <a:pt x="196" y="88"/>
                  </a:lnTo>
                  <a:lnTo>
                    <a:pt x="196" y="88"/>
                  </a:lnTo>
                  <a:lnTo>
                    <a:pt x="198" y="82"/>
                  </a:lnTo>
                  <a:lnTo>
                    <a:pt x="202" y="78"/>
                  </a:lnTo>
                  <a:lnTo>
                    <a:pt x="202" y="78"/>
                  </a:lnTo>
                  <a:close/>
                  <a:moveTo>
                    <a:pt x="202" y="114"/>
                  </a:moveTo>
                  <a:lnTo>
                    <a:pt x="202" y="114"/>
                  </a:lnTo>
                  <a:lnTo>
                    <a:pt x="214" y="120"/>
                  </a:lnTo>
                  <a:lnTo>
                    <a:pt x="230" y="126"/>
                  </a:lnTo>
                  <a:lnTo>
                    <a:pt x="248" y="130"/>
                  </a:lnTo>
                  <a:lnTo>
                    <a:pt x="272" y="130"/>
                  </a:lnTo>
                  <a:lnTo>
                    <a:pt x="272" y="130"/>
                  </a:lnTo>
                  <a:lnTo>
                    <a:pt x="294" y="130"/>
                  </a:lnTo>
                  <a:lnTo>
                    <a:pt x="314" y="126"/>
                  </a:lnTo>
                  <a:lnTo>
                    <a:pt x="330" y="120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6" y="118"/>
                  </a:lnTo>
                  <a:lnTo>
                    <a:pt x="346" y="124"/>
                  </a:lnTo>
                  <a:lnTo>
                    <a:pt x="346" y="124"/>
                  </a:lnTo>
                  <a:lnTo>
                    <a:pt x="346" y="128"/>
                  </a:lnTo>
                  <a:lnTo>
                    <a:pt x="346" y="128"/>
                  </a:lnTo>
                  <a:lnTo>
                    <a:pt x="342" y="132"/>
                  </a:lnTo>
                  <a:lnTo>
                    <a:pt x="342" y="132"/>
                  </a:lnTo>
                  <a:lnTo>
                    <a:pt x="340" y="134"/>
                  </a:lnTo>
                  <a:lnTo>
                    <a:pt x="340" y="134"/>
                  </a:lnTo>
                  <a:lnTo>
                    <a:pt x="338" y="136"/>
                  </a:lnTo>
                  <a:lnTo>
                    <a:pt x="338" y="136"/>
                  </a:lnTo>
                  <a:lnTo>
                    <a:pt x="334" y="140"/>
                  </a:lnTo>
                  <a:lnTo>
                    <a:pt x="334" y="140"/>
                  </a:lnTo>
                  <a:lnTo>
                    <a:pt x="322" y="144"/>
                  </a:lnTo>
                  <a:lnTo>
                    <a:pt x="308" y="148"/>
                  </a:lnTo>
                  <a:lnTo>
                    <a:pt x="290" y="150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54" y="152"/>
                  </a:lnTo>
                  <a:lnTo>
                    <a:pt x="238" y="148"/>
                  </a:lnTo>
                  <a:lnTo>
                    <a:pt x="226" y="146"/>
                  </a:lnTo>
                  <a:lnTo>
                    <a:pt x="214" y="142"/>
                  </a:lnTo>
                  <a:lnTo>
                    <a:pt x="214" y="142"/>
                  </a:lnTo>
                  <a:lnTo>
                    <a:pt x="214" y="142"/>
                  </a:lnTo>
                  <a:lnTo>
                    <a:pt x="210" y="140"/>
                  </a:lnTo>
                  <a:lnTo>
                    <a:pt x="210" y="140"/>
                  </a:lnTo>
                  <a:lnTo>
                    <a:pt x="200" y="132"/>
                  </a:lnTo>
                  <a:lnTo>
                    <a:pt x="198" y="128"/>
                  </a:lnTo>
                  <a:lnTo>
                    <a:pt x="196" y="124"/>
                  </a:lnTo>
                  <a:lnTo>
                    <a:pt x="196" y="124"/>
                  </a:lnTo>
                  <a:lnTo>
                    <a:pt x="198" y="118"/>
                  </a:lnTo>
                  <a:lnTo>
                    <a:pt x="202" y="114"/>
                  </a:lnTo>
                  <a:lnTo>
                    <a:pt x="202" y="114"/>
                  </a:lnTo>
                  <a:close/>
                  <a:moveTo>
                    <a:pt x="162" y="144"/>
                  </a:moveTo>
                  <a:lnTo>
                    <a:pt x="162" y="144"/>
                  </a:lnTo>
                  <a:lnTo>
                    <a:pt x="150" y="150"/>
                  </a:lnTo>
                  <a:lnTo>
                    <a:pt x="134" y="150"/>
                  </a:lnTo>
                  <a:lnTo>
                    <a:pt x="134" y="150"/>
                  </a:lnTo>
                  <a:lnTo>
                    <a:pt x="116" y="150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0" y="142"/>
                  </a:lnTo>
                  <a:lnTo>
                    <a:pt x="98" y="138"/>
                  </a:lnTo>
                  <a:lnTo>
                    <a:pt x="98" y="138"/>
                  </a:lnTo>
                  <a:lnTo>
                    <a:pt x="100" y="136"/>
                  </a:lnTo>
                  <a:lnTo>
                    <a:pt x="102" y="132"/>
                  </a:lnTo>
                  <a:lnTo>
                    <a:pt x="110" y="128"/>
                  </a:lnTo>
                  <a:lnTo>
                    <a:pt x="120" y="126"/>
                  </a:lnTo>
                  <a:lnTo>
                    <a:pt x="134" y="124"/>
                  </a:lnTo>
                  <a:lnTo>
                    <a:pt x="134" y="124"/>
                  </a:lnTo>
                  <a:lnTo>
                    <a:pt x="148" y="126"/>
                  </a:lnTo>
                  <a:lnTo>
                    <a:pt x="158" y="128"/>
                  </a:lnTo>
                  <a:lnTo>
                    <a:pt x="166" y="132"/>
                  </a:lnTo>
                  <a:lnTo>
                    <a:pt x="168" y="136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6" y="142"/>
                  </a:lnTo>
                  <a:lnTo>
                    <a:pt x="162" y="144"/>
                  </a:lnTo>
                  <a:lnTo>
                    <a:pt x="162" y="144"/>
                  </a:lnTo>
                  <a:close/>
                  <a:moveTo>
                    <a:pt x="346" y="160"/>
                  </a:moveTo>
                  <a:lnTo>
                    <a:pt x="346" y="160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2" y="168"/>
                  </a:lnTo>
                  <a:lnTo>
                    <a:pt x="342" y="168"/>
                  </a:lnTo>
                  <a:lnTo>
                    <a:pt x="340" y="170"/>
                  </a:lnTo>
                  <a:lnTo>
                    <a:pt x="340" y="170"/>
                  </a:lnTo>
                  <a:lnTo>
                    <a:pt x="338" y="172"/>
                  </a:lnTo>
                  <a:lnTo>
                    <a:pt x="338" y="172"/>
                  </a:lnTo>
                  <a:lnTo>
                    <a:pt x="334" y="174"/>
                  </a:lnTo>
                  <a:lnTo>
                    <a:pt x="334" y="174"/>
                  </a:lnTo>
                  <a:lnTo>
                    <a:pt x="322" y="180"/>
                  </a:lnTo>
                  <a:lnTo>
                    <a:pt x="308" y="184"/>
                  </a:lnTo>
                  <a:lnTo>
                    <a:pt x="290" y="186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52" y="186"/>
                  </a:lnTo>
                  <a:lnTo>
                    <a:pt x="236" y="184"/>
                  </a:lnTo>
                  <a:lnTo>
                    <a:pt x="220" y="180"/>
                  </a:lnTo>
                  <a:lnTo>
                    <a:pt x="210" y="174"/>
                  </a:lnTo>
                  <a:lnTo>
                    <a:pt x="210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196" y="160"/>
                  </a:lnTo>
                  <a:lnTo>
                    <a:pt x="196" y="160"/>
                  </a:lnTo>
                  <a:lnTo>
                    <a:pt x="198" y="154"/>
                  </a:lnTo>
                  <a:lnTo>
                    <a:pt x="202" y="148"/>
                  </a:lnTo>
                  <a:lnTo>
                    <a:pt x="202" y="148"/>
                  </a:lnTo>
                  <a:lnTo>
                    <a:pt x="214" y="156"/>
                  </a:lnTo>
                  <a:lnTo>
                    <a:pt x="230" y="162"/>
                  </a:lnTo>
                  <a:lnTo>
                    <a:pt x="248" y="166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94" y="166"/>
                  </a:lnTo>
                  <a:lnTo>
                    <a:pt x="314" y="162"/>
                  </a:lnTo>
                  <a:lnTo>
                    <a:pt x="330" y="156"/>
                  </a:lnTo>
                  <a:lnTo>
                    <a:pt x="342" y="148"/>
                  </a:lnTo>
                  <a:lnTo>
                    <a:pt x="342" y="148"/>
                  </a:lnTo>
                  <a:lnTo>
                    <a:pt x="346" y="154"/>
                  </a:lnTo>
                  <a:lnTo>
                    <a:pt x="346" y="160"/>
                  </a:lnTo>
                  <a:lnTo>
                    <a:pt x="346" y="160"/>
                  </a:lnTo>
                  <a:close/>
                  <a:moveTo>
                    <a:pt x="346" y="128"/>
                  </a:moveTo>
                  <a:lnTo>
                    <a:pt x="346" y="128"/>
                  </a:lnTo>
                  <a:lnTo>
                    <a:pt x="348" y="128"/>
                  </a:lnTo>
                  <a:lnTo>
                    <a:pt x="346" y="128"/>
                  </a:lnTo>
                  <a:close/>
                  <a:moveTo>
                    <a:pt x="196" y="28"/>
                  </a:moveTo>
                  <a:lnTo>
                    <a:pt x="196" y="28"/>
                  </a:lnTo>
                  <a:lnTo>
                    <a:pt x="198" y="24"/>
                  </a:lnTo>
                  <a:lnTo>
                    <a:pt x="202" y="18"/>
                  </a:lnTo>
                  <a:lnTo>
                    <a:pt x="210" y="14"/>
                  </a:lnTo>
                  <a:lnTo>
                    <a:pt x="218" y="8"/>
                  </a:lnTo>
                  <a:lnTo>
                    <a:pt x="230" y="6"/>
                  </a:lnTo>
                  <a:lnTo>
                    <a:pt x="242" y="2"/>
                  </a:lnTo>
                  <a:lnTo>
                    <a:pt x="272" y="0"/>
                  </a:lnTo>
                  <a:lnTo>
                    <a:pt x="272" y="0"/>
                  </a:lnTo>
                  <a:lnTo>
                    <a:pt x="300" y="2"/>
                  </a:lnTo>
                  <a:lnTo>
                    <a:pt x="314" y="6"/>
                  </a:lnTo>
                  <a:lnTo>
                    <a:pt x="324" y="8"/>
                  </a:lnTo>
                  <a:lnTo>
                    <a:pt x="334" y="14"/>
                  </a:lnTo>
                  <a:lnTo>
                    <a:pt x="340" y="18"/>
                  </a:lnTo>
                  <a:lnTo>
                    <a:pt x="344" y="24"/>
                  </a:lnTo>
                  <a:lnTo>
                    <a:pt x="346" y="28"/>
                  </a:lnTo>
                  <a:lnTo>
                    <a:pt x="346" y="28"/>
                  </a:lnTo>
                  <a:lnTo>
                    <a:pt x="346" y="34"/>
                  </a:lnTo>
                  <a:lnTo>
                    <a:pt x="344" y="38"/>
                  </a:lnTo>
                  <a:lnTo>
                    <a:pt x="334" y="44"/>
                  </a:lnTo>
                  <a:lnTo>
                    <a:pt x="334" y="44"/>
                  </a:lnTo>
                  <a:lnTo>
                    <a:pt x="322" y="50"/>
                  </a:lnTo>
                  <a:lnTo>
                    <a:pt x="308" y="54"/>
                  </a:lnTo>
                  <a:lnTo>
                    <a:pt x="290" y="56"/>
                  </a:lnTo>
                  <a:lnTo>
                    <a:pt x="272" y="58"/>
                  </a:lnTo>
                  <a:lnTo>
                    <a:pt x="272" y="58"/>
                  </a:lnTo>
                  <a:lnTo>
                    <a:pt x="252" y="56"/>
                  </a:lnTo>
                  <a:lnTo>
                    <a:pt x="236" y="54"/>
                  </a:lnTo>
                  <a:lnTo>
                    <a:pt x="220" y="50"/>
                  </a:lnTo>
                  <a:lnTo>
                    <a:pt x="210" y="44"/>
                  </a:lnTo>
                  <a:lnTo>
                    <a:pt x="210" y="44"/>
                  </a:lnTo>
                  <a:lnTo>
                    <a:pt x="200" y="38"/>
                  </a:lnTo>
                  <a:lnTo>
                    <a:pt x="198" y="34"/>
                  </a:lnTo>
                  <a:lnTo>
                    <a:pt x="196" y="28"/>
                  </a:lnTo>
                  <a:lnTo>
                    <a:pt x="196" y="28"/>
                  </a:lnTo>
                  <a:close/>
                </a:path>
              </a:pathLst>
            </a:custGeom>
            <a:solidFill>
              <a:srgbClr val="A7A49B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119" name="Freeform 4887"/>
            <p:cNvSpPr>
              <a:spLocks noEditPoints="1"/>
            </p:cNvSpPr>
            <p:nvPr/>
          </p:nvSpPr>
          <p:spPr bwMode="auto">
            <a:xfrm>
              <a:off x="7695002" y="3527152"/>
              <a:ext cx="356957" cy="478012"/>
            </a:xfrm>
            <a:custGeom>
              <a:avLst/>
              <a:gdLst>
                <a:gd name="T0" fmla="*/ 132 w 230"/>
                <a:gd name="T1" fmla="*/ 184 h 308"/>
                <a:gd name="T2" fmla="*/ 122 w 230"/>
                <a:gd name="T3" fmla="*/ 242 h 308"/>
                <a:gd name="T4" fmla="*/ 110 w 230"/>
                <a:gd name="T5" fmla="*/ 246 h 308"/>
                <a:gd name="T6" fmla="*/ 102 w 230"/>
                <a:gd name="T7" fmla="*/ 248 h 308"/>
                <a:gd name="T8" fmla="*/ 90 w 230"/>
                <a:gd name="T9" fmla="*/ 242 h 308"/>
                <a:gd name="T10" fmla="*/ 86 w 230"/>
                <a:gd name="T11" fmla="*/ 224 h 308"/>
                <a:gd name="T12" fmla="*/ 86 w 230"/>
                <a:gd name="T13" fmla="*/ 214 h 308"/>
                <a:gd name="T14" fmla="*/ 88 w 230"/>
                <a:gd name="T15" fmla="*/ 204 h 308"/>
                <a:gd name="T16" fmla="*/ 96 w 230"/>
                <a:gd name="T17" fmla="*/ 186 h 308"/>
                <a:gd name="T18" fmla="*/ 100 w 230"/>
                <a:gd name="T19" fmla="*/ 180 h 308"/>
                <a:gd name="T20" fmla="*/ 106 w 230"/>
                <a:gd name="T21" fmla="*/ 176 h 308"/>
                <a:gd name="T22" fmla="*/ 120 w 230"/>
                <a:gd name="T23" fmla="*/ 172 h 308"/>
                <a:gd name="T24" fmla="*/ 120 w 230"/>
                <a:gd name="T25" fmla="*/ 172 h 308"/>
                <a:gd name="T26" fmla="*/ 122 w 230"/>
                <a:gd name="T27" fmla="*/ 172 h 308"/>
                <a:gd name="T28" fmla="*/ 230 w 230"/>
                <a:gd name="T29" fmla="*/ 82 h 308"/>
                <a:gd name="T30" fmla="*/ 230 w 230"/>
                <a:gd name="T31" fmla="*/ 292 h 308"/>
                <a:gd name="T32" fmla="*/ 224 w 230"/>
                <a:gd name="T33" fmla="*/ 304 h 308"/>
                <a:gd name="T34" fmla="*/ 214 w 230"/>
                <a:gd name="T35" fmla="*/ 308 h 308"/>
                <a:gd name="T36" fmla="*/ 16 w 230"/>
                <a:gd name="T37" fmla="*/ 308 h 308"/>
                <a:gd name="T38" fmla="*/ 4 w 230"/>
                <a:gd name="T39" fmla="*/ 304 h 308"/>
                <a:gd name="T40" fmla="*/ 0 w 230"/>
                <a:gd name="T41" fmla="*/ 292 h 308"/>
                <a:gd name="T42" fmla="*/ 0 w 230"/>
                <a:gd name="T43" fmla="*/ 16 h 308"/>
                <a:gd name="T44" fmla="*/ 4 w 230"/>
                <a:gd name="T45" fmla="*/ 4 h 308"/>
                <a:gd name="T46" fmla="*/ 16 w 230"/>
                <a:gd name="T47" fmla="*/ 0 h 308"/>
                <a:gd name="T48" fmla="*/ 164 w 230"/>
                <a:gd name="T49" fmla="*/ 16 h 308"/>
                <a:gd name="T50" fmla="*/ 230 w 230"/>
                <a:gd name="T51" fmla="*/ 82 h 308"/>
                <a:gd name="T52" fmla="*/ 182 w 230"/>
                <a:gd name="T53" fmla="*/ 250 h 308"/>
                <a:gd name="T54" fmla="*/ 166 w 230"/>
                <a:gd name="T55" fmla="*/ 254 h 308"/>
                <a:gd name="T56" fmla="*/ 162 w 230"/>
                <a:gd name="T57" fmla="*/ 254 h 308"/>
                <a:gd name="T58" fmla="*/ 158 w 230"/>
                <a:gd name="T59" fmla="*/ 250 h 308"/>
                <a:gd name="T60" fmla="*/ 156 w 230"/>
                <a:gd name="T61" fmla="*/ 242 h 308"/>
                <a:gd name="T62" fmla="*/ 156 w 230"/>
                <a:gd name="T63" fmla="*/ 236 h 308"/>
                <a:gd name="T64" fmla="*/ 158 w 230"/>
                <a:gd name="T65" fmla="*/ 230 h 308"/>
                <a:gd name="T66" fmla="*/ 158 w 230"/>
                <a:gd name="T67" fmla="*/ 160 h 308"/>
                <a:gd name="T68" fmla="*/ 144 w 230"/>
                <a:gd name="T69" fmla="*/ 166 h 308"/>
                <a:gd name="T70" fmla="*/ 134 w 230"/>
                <a:gd name="T71" fmla="*/ 162 h 308"/>
                <a:gd name="T72" fmla="*/ 128 w 230"/>
                <a:gd name="T73" fmla="*/ 160 h 308"/>
                <a:gd name="T74" fmla="*/ 120 w 230"/>
                <a:gd name="T75" fmla="*/ 160 h 308"/>
                <a:gd name="T76" fmla="*/ 114 w 230"/>
                <a:gd name="T77" fmla="*/ 158 h 308"/>
                <a:gd name="T78" fmla="*/ 88 w 230"/>
                <a:gd name="T79" fmla="*/ 164 h 308"/>
                <a:gd name="T80" fmla="*/ 76 w 230"/>
                <a:gd name="T81" fmla="*/ 170 h 308"/>
                <a:gd name="T82" fmla="*/ 66 w 230"/>
                <a:gd name="T83" fmla="*/ 178 h 308"/>
                <a:gd name="T84" fmla="*/ 52 w 230"/>
                <a:gd name="T85" fmla="*/ 202 h 308"/>
                <a:gd name="T86" fmla="*/ 50 w 230"/>
                <a:gd name="T87" fmla="*/ 214 h 308"/>
                <a:gd name="T88" fmla="*/ 48 w 230"/>
                <a:gd name="T89" fmla="*/ 228 h 308"/>
                <a:gd name="T90" fmla="*/ 50 w 230"/>
                <a:gd name="T91" fmla="*/ 246 h 308"/>
                <a:gd name="T92" fmla="*/ 56 w 230"/>
                <a:gd name="T93" fmla="*/ 258 h 308"/>
                <a:gd name="T94" fmla="*/ 62 w 230"/>
                <a:gd name="T95" fmla="*/ 264 h 308"/>
                <a:gd name="T96" fmla="*/ 74 w 230"/>
                <a:gd name="T97" fmla="*/ 270 h 308"/>
                <a:gd name="T98" fmla="*/ 82 w 230"/>
                <a:gd name="T99" fmla="*/ 270 h 308"/>
                <a:gd name="T100" fmla="*/ 100 w 230"/>
                <a:gd name="T101" fmla="*/ 266 h 308"/>
                <a:gd name="T102" fmla="*/ 110 w 230"/>
                <a:gd name="T103" fmla="*/ 260 h 308"/>
                <a:gd name="T104" fmla="*/ 122 w 230"/>
                <a:gd name="T105" fmla="*/ 254 h 308"/>
                <a:gd name="T106" fmla="*/ 126 w 230"/>
                <a:gd name="T107" fmla="*/ 266 h 308"/>
                <a:gd name="T108" fmla="*/ 142 w 230"/>
                <a:gd name="T109" fmla="*/ 270 h 308"/>
                <a:gd name="T110" fmla="*/ 160 w 230"/>
                <a:gd name="T111" fmla="*/ 268 h 308"/>
                <a:gd name="T112" fmla="*/ 182 w 230"/>
                <a:gd name="T113" fmla="*/ 262 h 308"/>
                <a:gd name="T114" fmla="*/ 204 w 230"/>
                <a:gd name="T115" fmla="*/ 84 h 308"/>
                <a:gd name="T116" fmla="*/ 164 w 230"/>
                <a:gd name="T117" fmla="*/ 66 h 308"/>
                <a:gd name="T118" fmla="*/ 146 w 230"/>
                <a:gd name="T119" fmla="*/ 24 h 308"/>
                <a:gd name="T120" fmla="*/ 204 w 230"/>
                <a:gd name="T121" fmla="*/ 8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0" h="308">
                  <a:moveTo>
                    <a:pt x="122" y="172"/>
                  </a:moveTo>
                  <a:lnTo>
                    <a:pt x="132" y="184"/>
                  </a:lnTo>
                  <a:lnTo>
                    <a:pt x="122" y="242"/>
                  </a:lnTo>
                  <a:lnTo>
                    <a:pt x="122" y="242"/>
                  </a:lnTo>
                  <a:lnTo>
                    <a:pt x="110" y="246"/>
                  </a:lnTo>
                  <a:lnTo>
                    <a:pt x="110" y="246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94" y="246"/>
                  </a:lnTo>
                  <a:lnTo>
                    <a:pt x="90" y="242"/>
                  </a:lnTo>
                  <a:lnTo>
                    <a:pt x="86" y="234"/>
                  </a:lnTo>
                  <a:lnTo>
                    <a:pt x="86" y="224"/>
                  </a:lnTo>
                  <a:lnTo>
                    <a:pt x="86" y="224"/>
                  </a:lnTo>
                  <a:lnTo>
                    <a:pt x="86" y="214"/>
                  </a:lnTo>
                  <a:lnTo>
                    <a:pt x="88" y="204"/>
                  </a:lnTo>
                  <a:lnTo>
                    <a:pt x="88" y="204"/>
                  </a:lnTo>
                  <a:lnTo>
                    <a:pt x="92" y="194"/>
                  </a:lnTo>
                  <a:lnTo>
                    <a:pt x="96" y="186"/>
                  </a:lnTo>
                  <a:lnTo>
                    <a:pt x="96" y="186"/>
                  </a:lnTo>
                  <a:lnTo>
                    <a:pt x="100" y="180"/>
                  </a:lnTo>
                  <a:lnTo>
                    <a:pt x="106" y="176"/>
                  </a:lnTo>
                  <a:lnTo>
                    <a:pt x="106" y="176"/>
                  </a:lnTo>
                  <a:lnTo>
                    <a:pt x="112" y="172"/>
                  </a:lnTo>
                  <a:lnTo>
                    <a:pt x="120" y="172"/>
                  </a:lnTo>
                  <a:lnTo>
                    <a:pt x="120" y="172"/>
                  </a:lnTo>
                  <a:lnTo>
                    <a:pt x="120" y="172"/>
                  </a:lnTo>
                  <a:lnTo>
                    <a:pt x="120" y="172"/>
                  </a:lnTo>
                  <a:lnTo>
                    <a:pt x="122" y="172"/>
                  </a:lnTo>
                  <a:lnTo>
                    <a:pt x="122" y="172"/>
                  </a:lnTo>
                  <a:close/>
                  <a:moveTo>
                    <a:pt x="230" y="82"/>
                  </a:moveTo>
                  <a:lnTo>
                    <a:pt x="230" y="292"/>
                  </a:lnTo>
                  <a:lnTo>
                    <a:pt x="230" y="292"/>
                  </a:lnTo>
                  <a:lnTo>
                    <a:pt x="228" y="298"/>
                  </a:lnTo>
                  <a:lnTo>
                    <a:pt x="224" y="304"/>
                  </a:lnTo>
                  <a:lnTo>
                    <a:pt x="220" y="308"/>
                  </a:lnTo>
                  <a:lnTo>
                    <a:pt x="214" y="308"/>
                  </a:lnTo>
                  <a:lnTo>
                    <a:pt x="16" y="308"/>
                  </a:lnTo>
                  <a:lnTo>
                    <a:pt x="16" y="308"/>
                  </a:lnTo>
                  <a:lnTo>
                    <a:pt x="8" y="308"/>
                  </a:lnTo>
                  <a:lnTo>
                    <a:pt x="4" y="304"/>
                  </a:lnTo>
                  <a:lnTo>
                    <a:pt x="0" y="298"/>
                  </a:lnTo>
                  <a:lnTo>
                    <a:pt x="0" y="292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0"/>
                  </a:lnTo>
                  <a:lnTo>
                    <a:pt x="4" y="4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48" y="0"/>
                  </a:lnTo>
                  <a:lnTo>
                    <a:pt x="164" y="16"/>
                  </a:lnTo>
                  <a:lnTo>
                    <a:pt x="212" y="66"/>
                  </a:lnTo>
                  <a:lnTo>
                    <a:pt x="230" y="82"/>
                  </a:lnTo>
                  <a:close/>
                  <a:moveTo>
                    <a:pt x="182" y="250"/>
                  </a:moveTo>
                  <a:lnTo>
                    <a:pt x="182" y="250"/>
                  </a:lnTo>
                  <a:lnTo>
                    <a:pt x="174" y="254"/>
                  </a:lnTo>
                  <a:lnTo>
                    <a:pt x="166" y="254"/>
                  </a:lnTo>
                  <a:lnTo>
                    <a:pt x="166" y="254"/>
                  </a:lnTo>
                  <a:lnTo>
                    <a:pt x="162" y="254"/>
                  </a:lnTo>
                  <a:lnTo>
                    <a:pt x="158" y="250"/>
                  </a:lnTo>
                  <a:lnTo>
                    <a:pt x="158" y="250"/>
                  </a:lnTo>
                  <a:lnTo>
                    <a:pt x="156" y="246"/>
                  </a:lnTo>
                  <a:lnTo>
                    <a:pt x="156" y="242"/>
                  </a:lnTo>
                  <a:lnTo>
                    <a:pt x="156" y="242"/>
                  </a:lnTo>
                  <a:lnTo>
                    <a:pt x="156" y="236"/>
                  </a:lnTo>
                  <a:lnTo>
                    <a:pt x="156" y="236"/>
                  </a:lnTo>
                  <a:lnTo>
                    <a:pt x="158" y="230"/>
                  </a:lnTo>
                  <a:lnTo>
                    <a:pt x="172" y="160"/>
                  </a:lnTo>
                  <a:lnTo>
                    <a:pt x="158" y="160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28" y="160"/>
                  </a:lnTo>
                  <a:lnTo>
                    <a:pt x="128" y="160"/>
                  </a:lnTo>
                  <a:lnTo>
                    <a:pt x="120" y="160"/>
                  </a:lnTo>
                  <a:lnTo>
                    <a:pt x="120" y="160"/>
                  </a:lnTo>
                  <a:lnTo>
                    <a:pt x="114" y="158"/>
                  </a:lnTo>
                  <a:lnTo>
                    <a:pt x="114" y="158"/>
                  </a:lnTo>
                  <a:lnTo>
                    <a:pt x="100" y="160"/>
                  </a:lnTo>
                  <a:lnTo>
                    <a:pt x="88" y="164"/>
                  </a:lnTo>
                  <a:lnTo>
                    <a:pt x="88" y="164"/>
                  </a:lnTo>
                  <a:lnTo>
                    <a:pt x="76" y="170"/>
                  </a:lnTo>
                  <a:lnTo>
                    <a:pt x="66" y="178"/>
                  </a:lnTo>
                  <a:lnTo>
                    <a:pt x="66" y="178"/>
                  </a:lnTo>
                  <a:lnTo>
                    <a:pt x="58" y="190"/>
                  </a:lnTo>
                  <a:lnTo>
                    <a:pt x="52" y="202"/>
                  </a:lnTo>
                  <a:lnTo>
                    <a:pt x="52" y="202"/>
                  </a:lnTo>
                  <a:lnTo>
                    <a:pt x="50" y="214"/>
                  </a:lnTo>
                  <a:lnTo>
                    <a:pt x="48" y="228"/>
                  </a:lnTo>
                  <a:lnTo>
                    <a:pt x="48" y="228"/>
                  </a:lnTo>
                  <a:lnTo>
                    <a:pt x="48" y="238"/>
                  </a:lnTo>
                  <a:lnTo>
                    <a:pt x="50" y="246"/>
                  </a:lnTo>
                  <a:lnTo>
                    <a:pt x="52" y="252"/>
                  </a:lnTo>
                  <a:lnTo>
                    <a:pt x="56" y="258"/>
                  </a:lnTo>
                  <a:lnTo>
                    <a:pt x="56" y="258"/>
                  </a:lnTo>
                  <a:lnTo>
                    <a:pt x="62" y="264"/>
                  </a:lnTo>
                  <a:lnTo>
                    <a:pt x="68" y="268"/>
                  </a:lnTo>
                  <a:lnTo>
                    <a:pt x="74" y="270"/>
                  </a:lnTo>
                  <a:lnTo>
                    <a:pt x="82" y="270"/>
                  </a:lnTo>
                  <a:lnTo>
                    <a:pt x="82" y="270"/>
                  </a:lnTo>
                  <a:lnTo>
                    <a:pt x="92" y="268"/>
                  </a:lnTo>
                  <a:lnTo>
                    <a:pt x="100" y="266"/>
                  </a:lnTo>
                  <a:lnTo>
                    <a:pt x="100" y="266"/>
                  </a:lnTo>
                  <a:lnTo>
                    <a:pt x="110" y="260"/>
                  </a:lnTo>
                  <a:lnTo>
                    <a:pt x="122" y="254"/>
                  </a:lnTo>
                  <a:lnTo>
                    <a:pt x="122" y="254"/>
                  </a:lnTo>
                  <a:lnTo>
                    <a:pt x="122" y="262"/>
                  </a:lnTo>
                  <a:lnTo>
                    <a:pt x="126" y="266"/>
                  </a:lnTo>
                  <a:lnTo>
                    <a:pt x="132" y="270"/>
                  </a:lnTo>
                  <a:lnTo>
                    <a:pt x="142" y="270"/>
                  </a:lnTo>
                  <a:lnTo>
                    <a:pt x="142" y="270"/>
                  </a:lnTo>
                  <a:lnTo>
                    <a:pt x="160" y="268"/>
                  </a:lnTo>
                  <a:lnTo>
                    <a:pt x="160" y="268"/>
                  </a:lnTo>
                  <a:lnTo>
                    <a:pt x="182" y="262"/>
                  </a:lnTo>
                  <a:lnTo>
                    <a:pt x="182" y="250"/>
                  </a:lnTo>
                  <a:close/>
                  <a:moveTo>
                    <a:pt x="204" y="84"/>
                  </a:moveTo>
                  <a:lnTo>
                    <a:pt x="186" y="66"/>
                  </a:lnTo>
                  <a:lnTo>
                    <a:pt x="164" y="66"/>
                  </a:lnTo>
                  <a:lnTo>
                    <a:pt x="164" y="42"/>
                  </a:lnTo>
                  <a:lnTo>
                    <a:pt x="146" y="24"/>
                  </a:lnTo>
                  <a:lnTo>
                    <a:pt x="146" y="84"/>
                  </a:lnTo>
                  <a:lnTo>
                    <a:pt x="204" y="84"/>
                  </a:lnTo>
                  <a:close/>
                </a:path>
              </a:pathLst>
            </a:custGeom>
            <a:solidFill>
              <a:srgbClr val="A7A49B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rgbClr val="000000"/>
                </a:solidFill>
                <a:latin typeface="+mj-lt"/>
              </a:endParaRPr>
            </a:p>
          </p:txBody>
        </p:sp>
      </p:grp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птимизация кадровых ресурсов путем оценки производительности и выявления мошеннических действий</a:t>
            </a:r>
            <a:r>
              <a:rPr dirty="0"/>
              <a:t/>
            </a:r>
            <a:br>
              <a:rPr dirty="0"/>
            </a:br>
            <a:endParaRPr lang="ru-RU" dirty="0"/>
          </a:p>
        </p:txBody>
      </p:sp>
      <p:sp>
        <p:nvSpPr>
          <p:cNvPr id="98" name="Rectangle 97"/>
          <p:cNvSpPr/>
          <p:nvPr/>
        </p:nvSpPr>
        <p:spPr>
          <a:xfrm rot="16200000">
            <a:off x="6646863" y="1662113"/>
            <a:ext cx="1668463" cy="1837443"/>
          </a:xfrm>
          <a:prstGeom prst="rect">
            <a:avLst/>
          </a:prstGeom>
          <a:solidFill>
            <a:srgbClr val="8A867A"/>
          </a:solidFill>
        </p:spPr>
        <p:txBody>
          <a:bodyPr vert="vert" wrap="square" lIns="72000" tIns="72000" rIns="72000" bIns="72000">
            <a:noAutofit/>
          </a:bodyPr>
          <a:lstStyle/>
          <a:p>
            <a:pPr marL="0" lvl="1">
              <a:spcAft>
                <a:spcPts val="600"/>
              </a:spcAft>
            </a:pPr>
            <a:r>
              <a:rPr lang="ru-RU" sz="1400" i="1" dirty="0" smtClean="0">
                <a:solidFill>
                  <a:srgbClr val="FFFFFF"/>
                </a:solidFill>
                <a:latin typeface="+mj-lt"/>
              </a:rPr>
              <a:t>Статистический анализ счетов</a:t>
            </a:r>
            <a:r>
              <a:rPr i="1">
                <a:latin typeface="+mj-lt"/>
              </a:rPr>
              <a:t/>
            </a:r>
            <a:br>
              <a:rPr i="1">
                <a:latin typeface="+mj-lt"/>
              </a:rPr>
            </a:br>
            <a:r>
              <a:rPr lang="ru-RU" sz="1400" i="1" dirty="0" smtClean="0">
                <a:solidFill>
                  <a:srgbClr val="FFFFFF"/>
                </a:solidFill>
                <a:latin typeface="+mj-lt"/>
              </a:rPr>
              <a:t>для выявления поддельных счетов </a:t>
            </a:r>
            <a:endParaRPr lang="ru-RU" sz="1400" i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0" name="Rectangle 109"/>
          <p:cNvSpPr/>
          <p:nvPr/>
        </p:nvSpPr>
        <p:spPr>
          <a:xfrm rot="16200000">
            <a:off x="5470198" y="2323064"/>
            <a:ext cx="1668696" cy="51671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0" lvl="1">
              <a:spcAft>
                <a:spcPts val="600"/>
              </a:spcAft>
            </a:pPr>
            <a:endParaRPr lang="en-US" sz="1200" i="1" dirty="0" smtClean="0">
              <a:solidFill>
                <a:srgbClr val="FFFFFF"/>
              </a:solidFill>
              <a:latin typeface="+mj-lt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7808293" y="2907312"/>
            <a:ext cx="841201" cy="657847"/>
            <a:chOff x="7571138" y="2300896"/>
            <a:chExt cx="990295" cy="774443"/>
          </a:xfrm>
        </p:grpSpPr>
        <p:grpSp>
          <p:nvGrpSpPr>
            <p:cNvPr id="102" name="Group 165"/>
            <p:cNvGrpSpPr>
              <a:grpSpLocks noChangeAspect="1"/>
            </p:cNvGrpSpPr>
            <p:nvPr/>
          </p:nvGrpSpPr>
          <p:grpSpPr bwMode="auto">
            <a:xfrm>
              <a:off x="7571138" y="2300896"/>
              <a:ext cx="990295" cy="774443"/>
              <a:chOff x="-1919" y="3510"/>
              <a:chExt cx="679" cy="531"/>
            </a:xfrm>
            <a:solidFill>
              <a:srgbClr val="A7A49B"/>
            </a:solidFill>
          </p:grpSpPr>
          <p:sp>
            <p:nvSpPr>
              <p:cNvPr id="103" name="Freeform 167"/>
              <p:cNvSpPr>
                <a:spLocks/>
              </p:cNvSpPr>
              <p:nvPr/>
            </p:nvSpPr>
            <p:spPr bwMode="auto">
              <a:xfrm>
                <a:off x="-1803" y="3980"/>
                <a:ext cx="447" cy="61"/>
              </a:xfrm>
              <a:custGeom>
                <a:avLst/>
                <a:gdLst>
                  <a:gd name="T0" fmla="*/ 154 w 2237"/>
                  <a:gd name="T1" fmla="*/ 0 h 304"/>
                  <a:gd name="T2" fmla="*/ 2082 w 2237"/>
                  <a:gd name="T3" fmla="*/ 0 h 304"/>
                  <a:gd name="T4" fmla="*/ 2113 w 2237"/>
                  <a:gd name="T5" fmla="*/ 3 h 304"/>
                  <a:gd name="T6" fmla="*/ 2142 w 2237"/>
                  <a:gd name="T7" fmla="*/ 12 h 304"/>
                  <a:gd name="T8" fmla="*/ 2168 w 2237"/>
                  <a:gd name="T9" fmla="*/ 27 h 304"/>
                  <a:gd name="T10" fmla="*/ 2191 w 2237"/>
                  <a:gd name="T11" fmla="*/ 45 h 304"/>
                  <a:gd name="T12" fmla="*/ 2210 w 2237"/>
                  <a:gd name="T13" fmla="*/ 68 h 304"/>
                  <a:gd name="T14" fmla="*/ 2224 w 2237"/>
                  <a:gd name="T15" fmla="*/ 93 h 304"/>
                  <a:gd name="T16" fmla="*/ 2234 w 2237"/>
                  <a:gd name="T17" fmla="*/ 122 h 304"/>
                  <a:gd name="T18" fmla="*/ 2237 w 2237"/>
                  <a:gd name="T19" fmla="*/ 153 h 304"/>
                  <a:gd name="T20" fmla="*/ 2234 w 2237"/>
                  <a:gd name="T21" fmla="*/ 183 h 304"/>
                  <a:gd name="T22" fmla="*/ 2224 w 2237"/>
                  <a:gd name="T23" fmla="*/ 212 h 304"/>
                  <a:gd name="T24" fmla="*/ 2210 w 2237"/>
                  <a:gd name="T25" fmla="*/ 237 h 304"/>
                  <a:gd name="T26" fmla="*/ 2191 w 2237"/>
                  <a:gd name="T27" fmla="*/ 260 h 304"/>
                  <a:gd name="T28" fmla="*/ 2168 w 2237"/>
                  <a:gd name="T29" fmla="*/ 278 h 304"/>
                  <a:gd name="T30" fmla="*/ 2142 w 2237"/>
                  <a:gd name="T31" fmla="*/ 293 h 304"/>
                  <a:gd name="T32" fmla="*/ 2113 w 2237"/>
                  <a:gd name="T33" fmla="*/ 301 h 304"/>
                  <a:gd name="T34" fmla="*/ 2082 w 2237"/>
                  <a:gd name="T35" fmla="*/ 304 h 304"/>
                  <a:gd name="T36" fmla="*/ 154 w 2237"/>
                  <a:gd name="T37" fmla="*/ 304 h 304"/>
                  <a:gd name="T38" fmla="*/ 123 w 2237"/>
                  <a:gd name="T39" fmla="*/ 301 h 304"/>
                  <a:gd name="T40" fmla="*/ 93 w 2237"/>
                  <a:gd name="T41" fmla="*/ 293 h 304"/>
                  <a:gd name="T42" fmla="*/ 68 w 2237"/>
                  <a:gd name="T43" fmla="*/ 278 h 304"/>
                  <a:gd name="T44" fmla="*/ 45 w 2237"/>
                  <a:gd name="T45" fmla="*/ 260 h 304"/>
                  <a:gd name="T46" fmla="*/ 26 w 2237"/>
                  <a:gd name="T47" fmla="*/ 237 h 304"/>
                  <a:gd name="T48" fmla="*/ 11 w 2237"/>
                  <a:gd name="T49" fmla="*/ 212 h 304"/>
                  <a:gd name="T50" fmla="*/ 3 w 2237"/>
                  <a:gd name="T51" fmla="*/ 183 h 304"/>
                  <a:gd name="T52" fmla="*/ 0 w 2237"/>
                  <a:gd name="T53" fmla="*/ 153 h 304"/>
                  <a:gd name="T54" fmla="*/ 3 w 2237"/>
                  <a:gd name="T55" fmla="*/ 122 h 304"/>
                  <a:gd name="T56" fmla="*/ 11 w 2237"/>
                  <a:gd name="T57" fmla="*/ 93 h 304"/>
                  <a:gd name="T58" fmla="*/ 26 w 2237"/>
                  <a:gd name="T59" fmla="*/ 68 h 304"/>
                  <a:gd name="T60" fmla="*/ 45 w 2237"/>
                  <a:gd name="T61" fmla="*/ 45 h 304"/>
                  <a:gd name="T62" fmla="*/ 68 w 2237"/>
                  <a:gd name="T63" fmla="*/ 27 h 304"/>
                  <a:gd name="T64" fmla="*/ 93 w 2237"/>
                  <a:gd name="T65" fmla="*/ 12 h 304"/>
                  <a:gd name="T66" fmla="*/ 123 w 2237"/>
                  <a:gd name="T67" fmla="*/ 3 h 304"/>
                  <a:gd name="T68" fmla="*/ 154 w 2237"/>
                  <a:gd name="T69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37" h="304">
                    <a:moveTo>
                      <a:pt x="154" y="0"/>
                    </a:moveTo>
                    <a:lnTo>
                      <a:pt x="2082" y="0"/>
                    </a:lnTo>
                    <a:lnTo>
                      <a:pt x="2113" y="3"/>
                    </a:lnTo>
                    <a:lnTo>
                      <a:pt x="2142" y="12"/>
                    </a:lnTo>
                    <a:lnTo>
                      <a:pt x="2168" y="27"/>
                    </a:lnTo>
                    <a:lnTo>
                      <a:pt x="2191" y="45"/>
                    </a:lnTo>
                    <a:lnTo>
                      <a:pt x="2210" y="68"/>
                    </a:lnTo>
                    <a:lnTo>
                      <a:pt x="2224" y="93"/>
                    </a:lnTo>
                    <a:lnTo>
                      <a:pt x="2234" y="122"/>
                    </a:lnTo>
                    <a:lnTo>
                      <a:pt x="2237" y="153"/>
                    </a:lnTo>
                    <a:lnTo>
                      <a:pt x="2234" y="183"/>
                    </a:lnTo>
                    <a:lnTo>
                      <a:pt x="2224" y="212"/>
                    </a:lnTo>
                    <a:lnTo>
                      <a:pt x="2210" y="237"/>
                    </a:lnTo>
                    <a:lnTo>
                      <a:pt x="2191" y="260"/>
                    </a:lnTo>
                    <a:lnTo>
                      <a:pt x="2168" y="278"/>
                    </a:lnTo>
                    <a:lnTo>
                      <a:pt x="2142" y="293"/>
                    </a:lnTo>
                    <a:lnTo>
                      <a:pt x="2113" y="301"/>
                    </a:lnTo>
                    <a:lnTo>
                      <a:pt x="2082" y="304"/>
                    </a:lnTo>
                    <a:lnTo>
                      <a:pt x="154" y="304"/>
                    </a:lnTo>
                    <a:lnTo>
                      <a:pt x="123" y="301"/>
                    </a:lnTo>
                    <a:lnTo>
                      <a:pt x="93" y="293"/>
                    </a:lnTo>
                    <a:lnTo>
                      <a:pt x="68" y="278"/>
                    </a:lnTo>
                    <a:lnTo>
                      <a:pt x="45" y="260"/>
                    </a:lnTo>
                    <a:lnTo>
                      <a:pt x="26" y="237"/>
                    </a:lnTo>
                    <a:lnTo>
                      <a:pt x="11" y="212"/>
                    </a:lnTo>
                    <a:lnTo>
                      <a:pt x="3" y="183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5" y="45"/>
                    </a:lnTo>
                    <a:lnTo>
                      <a:pt x="68" y="27"/>
                    </a:lnTo>
                    <a:lnTo>
                      <a:pt x="93" y="12"/>
                    </a:lnTo>
                    <a:lnTo>
                      <a:pt x="123" y="3"/>
                    </a:lnTo>
                    <a:lnTo>
                      <a:pt x="1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04" name="Freeform 168"/>
              <p:cNvSpPr>
                <a:spLocks/>
              </p:cNvSpPr>
              <p:nvPr/>
            </p:nvSpPr>
            <p:spPr bwMode="auto">
              <a:xfrm>
                <a:off x="-1811" y="3730"/>
                <a:ext cx="46" cy="121"/>
              </a:xfrm>
              <a:custGeom>
                <a:avLst/>
                <a:gdLst>
                  <a:gd name="T0" fmla="*/ 117 w 232"/>
                  <a:gd name="T1" fmla="*/ 0 h 607"/>
                  <a:gd name="T2" fmla="*/ 143 w 232"/>
                  <a:gd name="T3" fmla="*/ 3 h 607"/>
                  <a:gd name="T4" fmla="*/ 168 w 232"/>
                  <a:gd name="T5" fmla="*/ 12 h 607"/>
                  <a:gd name="T6" fmla="*/ 190 w 232"/>
                  <a:gd name="T7" fmla="*/ 25 h 607"/>
                  <a:gd name="T8" fmla="*/ 207 w 232"/>
                  <a:gd name="T9" fmla="*/ 43 h 607"/>
                  <a:gd name="T10" fmla="*/ 221 w 232"/>
                  <a:gd name="T11" fmla="*/ 64 h 607"/>
                  <a:gd name="T12" fmla="*/ 229 w 232"/>
                  <a:gd name="T13" fmla="*/ 88 h 607"/>
                  <a:gd name="T14" fmla="*/ 232 w 232"/>
                  <a:gd name="T15" fmla="*/ 114 h 607"/>
                  <a:gd name="T16" fmla="*/ 232 w 232"/>
                  <a:gd name="T17" fmla="*/ 494 h 607"/>
                  <a:gd name="T18" fmla="*/ 229 w 232"/>
                  <a:gd name="T19" fmla="*/ 520 h 607"/>
                  <a:gd name="T20" fmla="*/ 221 w 232"/>
                  <a:gd name="T21" fmla="*/ 544 h 607"/>
                  <a:gd name="T22" fmla="*/ 207 w 232"/>
                  <a:gd name="T23" fmla="*/ 565 h 607"/>
                  <a:gd name="T24" fmla="*/ 190 w 232"/>
                  <a:gd name="T25" fmla="*/ 583 h 607"/>
                  <a:gd name="T26" fmla="*/ 168 w 232"/>
                  <a:gd name="T27" fmla="*/ 596 h 607"/>
                  <a:gd name="T28" fmla="*/ 143 w 232"/>
                  <a:gd name="T29" fmla="*/ 605 h 607"/>
                  <a:gd name="T30" fmla="*/ 117 w 232"/>
                  <a:gd name="T31" fmla="*/ 607 h 607"/>
                  <a:gd name="T32" fmla="*/ 90 w 232"/>
                  <a:gd name="T33" fmla="*/ 605 h 607"/>
                  <a:gd name="T34" fmla="*/ 66 w 232"/>
                  <a:gd name="T35" fmla="*/ 596 h 607"/>
                  <a:gd name="T36" fmla="*/ 44 w 232"/>
                  <a:gd name="T37" fmla="*/ 583 h 607"/>
                  <a:gd name="T38" fmla="*/ 26 w 232"/>
                  <a:gd name="T39" fmla="*/ 565 h 607"/>
                  <a:gd name="T40" fmla="*/ 13 w 232"/>
                  <a:gd name="T41" fmla="*/ 544 h 607"/>
                  <a:gd name="T42" fmla="*/ 4 w 232"/>
                  <a:gd name="T43" fmla="*/ 520 h 607"/>
                  <a:gd name="T44" fmla="*/ 0 w 232"/>
                  <a:gd name="T45" fmla="*/ 494 h 607"/>
                  <a:gd name="T46" fmla="*/ 0 w 232"/>
                  <a:gd name="T47" fmla="*/ 114 h 607"/>
                  <a:gd name="T48" fmla="*/ 4 w 232"/>
                  <a:gd name="T49" fmla="*/ 88 h 607"/>
                  <a:gd name="T50" fmla="*/ 13 w 232"/>
                  <a:gd name="T51" fmla="*/ 64 h 607"/>
                  <a:gd name="T52" fmla="*/ 26 w 232"/>
                  <a:gd name="T53" fmla="*/ 43 h 607"/>
                  <a:gd name="T54" fmla="*/ 44 w 232"/>
                  <a:gd name="T55" fmla="*/ 25 h 607"/>
                  <a:gd name="T56" fmla="*/ 66 w 232"/>
                  <a:gd name="T57" fmla="*/ 12 h 607"/>
                  <a:gd name="T58" fmla="*/ 90 w 232"/>
                  <a:gd name="T59" fmla="*/ 3 h 607"/>
                  <a:gd name="T60" fmla="*/ 117 w 232"/>
                  <a:gd name="T61" fmla="*/ 0 h 6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2" h="607">
                    <a:moveTo>
                      <a:pt x="117" y="0"/>
                    </a:moveTo>
                    <a:lnTo>
                      <a:pt x="143" y="3"/>
                    </a:lnTo>
                    <a:lnTo>
                      <a:pt x="168" y="12"/>
                    </a:lnTo>
                    <a:lnTo>
                      <a:pt x="190" y="25"/>
                    </a:lnTo>
                    <a:lnTo>
                      <a:pt x="207" y="43"/>
                    </a:lnTo>
                    <a:lnTo>
                      <a:pt x="221" y="64"/>
                    </a:lnTo>
                    <a:lnTo>
                      <a:pt x="229" y="88"/>
                    </a:lnTo>
                    <a:lnTo>
                      <a:pt x="232" y="114"/>
                    </a:lnTo>
                    <a:lnTo>
                      <a:pt x="232" y="494"/>
                    </a:lnTo>
                    <a:lnTo>
                      <a:pt x="229" y="520"/>
                    </a:lnTo>
                    <a:lnTo>
                      <a:pt x="221" y="544"/>
                    </a:lnTo>
                    <a:lnTo>
                      <a:pt x="207" y="565"/>
                    </a:lnTo>
                    <a:lnTo>
                      <a:pt x="190" y="583"/>
                    </a:lnTo>
                    <a:lnTo>
                      <a:pt x="168" y="596"/>
                    </a:lnTo>
                    <a:lnTo>
                      <a:pt x="143" y="605"/>
                    </a:lnTo>
                    <a:lnTo>
                      <a:pt x="117" y="607"/>
                    </a:lnTo>
                    <a:lnTo>
                      <a:pt x="90" y="605"/>
                    </a:lnTo>
                    <a:lnTo>
                      <a:pt x="66" y="596"/>
                    </a:lnTo>
                    <a:lnTo>
                      <a:pt x="44" y="583"/>
                    </a:lnTo>
                    <a:lnTo>
                      <a:pt x="26" y="565"/>
                    </a:lnTo>
                    <a:lnTo>
                      <a:pt x="13" y="544"/>
                    </a:lnTo>
                    <a:lnTo>
                      <a:pt x="4" y="520"/>
                    </a:lnTo>
                    <a:lnTo>
                      <a:pt x="0" y="494"/>
                    </a:lnTo>
                    <a:lnTo>
                      <a:pt x="0" y="114"/>
                    </a:lnTo>
                    <a:lnTo>
                      <a:pt x="4" y="88"/>
                    </a:lnTo>
                    <a:lnTo>
                      <a:pt x="13" y="64"/>
                    </a:lnTo>
                    <a:lnTo>
                      <a:pt x="26" y="43"/>
                    </a:lnTo>
                    <a:lnTo>
                      <a:pt x="44" y="25"/>
                    </a:lnTo>
                    <a:lnTo>
                      <a:pt x="66" y="12"/>
                    </a:lnTo>
                    <a:lnTo>
                      <a:pt x="90" y="3"/>
                    </a:lnTo>
                    <a:lnTo>
                      <a:pt x="11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05" name="Freeform 169"/>
              <p:cNvSpPr>
                <a:spLocks/>
              </p:cNvSpPr>
              <p:nvPr/>
            </p:nvSpPr>
            <p:spPr bwMode="auto">
              <a:xfrm>
                <a:off x="-1734" y="3699"/>
                <a:ext cx="46" cy="152"/>
              </a:xfrm>
              <a:custGeom>
                <a:avLst/>
                <a:gdLst>
                  <a:gd name="T0" fmla="*/ 116 w 232"/>
                  <a:gd name="T1" fmla="*/ 0 h 759"/>
                  <a:gd name="T2" fmla="*/ 142 w 232"/>
                  <a:gd name="T3" fmla="*/ 3 h 759"/>
                  <a:gd name="T4" fmla="*/ 167 w 232"/>
                  <a:gd name="T5" fmla="*/ 12 h 759"/>
                  <a:gd name="T6" fmla="*/ 188 w 232"/>
                  <a:gd name="T7" fmla="*/ 25 h 759"/>
                  <a:gd name="T8" fmla="*/ 207 w 232"/>
                  <a:gd name="T9" fmla="*/ 43 h 759"/>
                  <a:gd name="T10" fmla="*/ 220 w 232"/>
                  <a:gd name="T11" fmla="*/ 64 h 759"/>
                  <a:gd name="T12" fmla="*/ 229 w 232"/>
                  <a:gd name="T13" fmla="*/ 88 h 759"/>
                  <a:gd name="T14" fmla="*/ 232 w 232"/>
                  <a:gd name="T15" fmla="*/ 115 h 759"/>
                  <a:gd name="T16" fmla="*/ 232 w 232"/>
                  <a:gd name="T17" fmla="*/ 646 h 759"/>
                  <a:gd name="T18" fmla="*/ 229 w 232"/>
                  <a:gd name="T19" fmla="*/ 672 h 759"/>
                  <a:gd name="T20" fmla="*/ 220 w 232"/>
                  <a:gd name="T21" fmla="*/ 696 h 759"/>
                  <a:gd name="T22" fmla="*/ 207 w 232"/>
                  <a:gd name="T23" fmla="*/ 717 h 759"/>
                  <a:gd name="T24" fmla="*/ 188 w 232"/>
                  <a:gd name="T25" fmla="*/ 735 h 759"/>
                  <a:gd name="T26" fmla="*/ 167 w 232"/>
                  <a:gd name="T27" fmla="*/ 748 h 759"/>
                  <a:gd name="T28" fmla="*/ 142 w 232"/>
                  <a:gd name="T29" fmla="*/ 757 h 759"/>
                  <a:gd name="T30" fmla="*/ 116 w 232"/>
                  <a:gd name="T31" fmla="*/ 759 h 759"/>
                  <a:gd name="T32" fmla="*/ 89 w 232"/>
                  <a:gd name="T33" fmla="*/ 757 h 759"/>
                  <a:gd name="T34" fmla="*/ 66 w 232"/>
                  <a:gd name="T35" fmla="*/ 748 h 759"/>
                  <a:gd name="T36" fmla="*/ 44 w 232"/>
                  <a:gd name="T37" fmla="*/ 735 h 759"/>
                  <a:gd name="T38" fmla="*/ 26 w 232"/>
                  <a:gd name="T39" fmla="*/ 717 h 759"/>
                  <a:gd name="T40" fmla="*/ 13 w 232"/>
                  <a:gd name="T41" fmla="*/ 696 h 759"/>
                  <a:gd name="T42" fmla="*/ 3 w 232"/>
                  <a:gd name="T43" fmla="*/ 672 h 759"/>
                  <a:gd name="T44" fmla="*/ 0 w 232"/>
                  <a:gd name="T45" fmla="*/ 646 h 759"/>
                  <a:gd name="T46" fmla="*/ 0 w 232"/>
                  <a:gd name="T47" fmla="*/ 115 h 759"/>
                  <a:gd name="T48" fmla="*/ 3 w 232"/>
                  <a:gd name="T49" fmla="*/ 88 h 759"/>
                  <a:gd name="T50" fmla="*/ 13 w 232"/>
                  <a:gd name="T51" fmla="*/ 64 h 759"/>
                  <a:gd name="T52" fmla="*/ 26 w 232"/>
                  <a:gd name="T53" fmla="*/ 43 h 759"/>
                  <a:gd name="T54" fmla="*/ 44 w 232"/>
                  <a:gd name="T55" fmla="*/ 25 h 759"/>
                  <a:gd name="T56" fmla="*/ 66 w 232"/>
                  <a:gd name="T57" fmla="*/ 12 h 759"/>
                  <a:gd name="T58" fmla="*/ 89 w 232"/>
                  <a:gd name="T59" fmla="*/ 3 h 759"/>
                  <a:gd name="T60" fmla="*/ 116 w 232"/>
                  <a:gd name="T61" fmla="*/ 0 h 7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2" h="759">
                    <a:moveTo>
                      <a:pt x="116" y="0"/>
                    </a:moveTo>
                    <a:lnTo>
                      <a:pt x="142" y="3"/>
                    </a:lnTo>
                    <a:lnTo>
                      <a:pt x="167" y="12"/>
                    </a:lnTo>
                    <a:lnTo>
                      <a:pt x="188" y="25"/>
                    </a:lnTo>
                    <a:lnTo>
                      <a:pt x="207" y="43"/>
                    </a:lnTo>
                    <a:lnTo>
                      <a:pt x="220" y="64"/>
                    </a:lnTo>
                    <a:lnTo>
                      <a:pt x="229" y="88"/>
                    </a:lnTo>
                    <a:lnTo>
                      <a:pt x="232" y="115"/>
                    </a:lnTo>
                    <a:lnTo>
                      <a:pt x="232" y="646"/>
                    </a:lnTo>
                    <a:lnTo>
                      <a:pt x="229" y="672"/>
                    </a:lnTo>
                    <a:lnTo>
                      <a:pt x="220" y="696"/>
                    </a:lnTo>
                    <a:lnTo>
                      <a:pt x="207" y="717"/>
                    </a:lnTo>
                    <a:lnTo>
                      <a:pt x="188" y="735"/>
                    </a:lnTo>
                    <a:lnTo>
                      <a:pt x="167" y="748"/>
                    </a:lnTo>
                    <a:lnTo>
                      <a:pt x="142" y="757"/>
                    </a:lnTo>
                    <a:lnTo>
                      <a:pt x="116" y="759"/>
                    </a:lnTo>
                    <a:lnTo>
                      <a:pt x="89" y="757"/>
                    </a:lnTo>
                    <a:lnTo>
                      <a:pt x="66" y="748"/>
                    </a:lnTo>
                    <a:lnTo>
                      <a:pt x="44" y="735"/>
                    </a:lnTo>
                    <a:lnTo>
                      <a:pt x="26" y="717"/>
                    </a:lnTo>
                    <a:lnTo>
                      <a:pt x="13" y="696"/>
                    </a:lnTo>
                    <a:lnTo>
                      <a:pt x="3" y="672"/>
                    </a:lnTo>
                    <a:lnTo>
                      <a:pt x="0" y="646"/>
                    </a:lnTo>
                    <a:lnTo>
                      <a:pt x="0" y="115"/>
                    </a:lnTo>
                    <a:lnTo>
                      <a:pt x="3" y="88"/>
                    </a:lnTo>
                    <a:lnTo>
                      <a:pt x="13" y="64"/>
                    </a:lnTo>
                    <a:lnTo>
                      <a:pt x="26" y="43"/>
                    </a:lnTo>
                    <a:lnTo>
                      <a:pt x="44" y="25"/>
                    </a:lnTo>
                    <a:lnTo>
                      <a:pt x="66" y="12"/>
                    </a:lnTo>
                    <a:lnTo>
                      <a:pt x="89" y="3"/>
                    </a:lnTo>
                    <a:lnTo>
                      <a:pt x="11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06" name="Freeform 170"/>
              <p:cNvSpPr>
                <a:spLocks/>
              </p:cNvSpPr>
              <p:nvPr/>
            </p:nvSpPr>
            <p:spPr bwMode="auto">
              <a:xfrm>
                <a:off x="-1657" y="3669"/>
                <a:ext cx="46" cy="182"/>
              </a:xfrm>
              <a:custGeom>
                <a:avLst/>
                <a:gdLst>
                  <a:gd name="T0" fmla="*/ 115 w 230"/>
                  <a:gd name="T1" fmla="*/ 0 h 911"/>
                  <a:gd name="T2" fmla="*/ 141 w 230"/>
                  <a:gd name="T3" fmla="*/ 3 h 911"/>
                  <a:gd name="T4" fmla="*/ 166 w 230"/>
                  <a:gd name="T5" fmla="*/ 12 h 911"/>
                  <a:gd name="T6" fmla="*/ 187 w 230"/>
                  <a:gd name="T7" fmla="*/ 25 h 911"/>
                  <a:gd name="T8" fmla="*/ 206 w 230"/>
                  <a:gd name="T9" fmla="*/ 43 h 911"/>
                  <a:gd name="T10" fmla="*/ 219 w 230"/>
                  <a:gd name="T11" fmla="*/ 64 h 911"/>
                  <a:gd name="T12" fmla="*/ 227 w 230"/>
                  <a:gd name="T13" fmla="*/ 88 h 911"/>
                  <a:gd name="T14" fmla="*/ 230 w 230"/>
                  <a:gd name="T15" fmla="*/ 114 h 911"/>
                  <a:gd name="T16" fmla="*/ 230 w 230"/>
                  <a:gd name="T17" fmla="*/ 798 h 911"/>
                  <a:gd name="T18" fmla="*/ 227 w 230"/>
                  <a:gd name="T19" fmla="*/ 824 h 911"/>
                  <a:gd name="T20" fmla="*/ 219 w 230"/>
                  <a:gd name="T21" fmla="*/ 848 h 911"/>
                  <a:gd name="T22" fmla="*/ 206 w 230"/>
                  <a:gd name="T23" fmla="*/ 869 h 911"/>
                  <a:gd name="T24" fmla="*/ 187 w 230"/>
                  <a:gd name="T25" fmla="*/ 887 h 911"/>
                  <a:gd name="T26" fmla="*/ 166 w 230"/>
                  <a:gd name="T27" fmla="*/ 900 h 911"/>
                  <a:gd name="T28" fmla="*/ 141 w 230"/>
                  <a:gd name="T29" fmla="*/ 909 h 911"/>
                  <a:gd name="T30" fmla="*/ 115 w 230"/>
                  <a:gd name="T31" fmla="*/ 911 h 911"/>
                  <a:gd name="T32" fmla="*/ 88 w 230"/>
                  <a:gd name="T33" fmla="*/ 909 h 911"/>
                  <a:gd name="T34" fmla="*/ 64 w 230"/>
                  <a:gd name="T35" fmla="*/ 900 h 911"/>
                  <a:gd name="T36" fmla="*/ 42 w 230"/>
                  <a:gd name="T37" fmla="*/ 887 h 911"/>
                  <a:gd name="T38" fmla="*/ 25 w 230"/>
                  <a:gd name="T39" fmla="*/ 869 h 911"/>
                  <a:gd name="T40" fmla="*/ 11 w 230"/>
                  <a:gd name="T41" fmla="*/ 848 h 911"/>
                  <a:gd name="T42" fmla="*/ 3 w 230"/>
                  <a:gd name="T43" fmla="*/ 824 h 911"/>
                  <a:gd name="T44" fmla="*/ 0 w 230"/>
                  <a:gd name="T45" fmla="*/ 798 h 911"/>
                  <a:gd name="T46" fmla="*/ 0 w 230"/>
                  <a:gd name="T47" fmla="*/ 114 h 911"/>
                  <a:gd name="T48" fmla="*/ 3 w 230"/>
                  <a:gd name="T49" fmla="*/ 88 h 911"/>
                  <a:gd name="T50" fmla="*/ 11 w 230"/>
                  <a:gd name="T51" fmla="*/ 64 h 911"/>
                  <a:gd name="T52" fmla="*/ 25 w 230"/>
                  <a:gd name="T53" fmla="*/ 43 h 911"/>
                  <a:gd name="T54" fmla="*/ 42 w 230"/>
                  <a:gd name="T55" fmla="*/ 25 h 911"/>
                  <a:gd name="T56" fmla="*/ 64 w 230"/>
                  <a:gd name="T57" fmla="*/ 12 h 911"/>
                  <a:gd name="T58" fmla="*/ 88 w 230"/>
                  <a:gd name="T59" fmla="*/ 3 h 911"/>
                  <a:gd name="T60" fmla="*/ 115 w 230"/>
                  <a:gd name="T61" fmla="*/ 0 h 9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0" h="911">
                    <a:moveTo>
                      <a:pt x="115" y="0"/>
                    </a:moveTo>
                    <a:lnTo>
                      <a:pt x="141" y="3"/>
                    </a:lnTo>
                    <a:lnTo>
                      <a:pt x="166" y="12"/>
                    </a:lnTo>
                    <a:lnTo>
                      <a:pt x="187" y="25"/>
                    </a:lnTo>
                    <a:lnTo>
                      <a:pt x="206" y="43"/>
                    </a:lnTo>
                    <a:lnTo>
                      <a:pt x="219" y="64"/>
                    </a:lnTo>
                    <a:lnTo>
                      <a:pt x="227" y="88"/>
                    </a:lnTo>
                    <a:lnTo>
                      <a:pt x="230" y="114"/>
                    </a:lnTo>
                    <a:lnTo>
                      <a:pt x="230" y="798"/>
                    </a:lnTo>
                    <a:lnTo>
                      <a:pt x="227" y="824"/>
                    </a:lnTo>
                    <a:lnTo>
                      <a:pt x="219" y="848"/>
                    </a:lnTo>
                    <a:lnTo>
                      <a:pt x="206" y="869"/>
                    </a:lnTo>
                    <a:lnTo>
                      <a:pt x="187" y="887"/>
                    </a:lnTo>
                    <a:lnTo>
                      <a:pt x="166" y="900"/>
                    </a:lnTo>
                    <a:lnTo>
                      <a:pt x="141" y="909"/>
                    </a:lnTo>
                    <a:lnTo>
                      <a:pt x="115" y="911"/>
                    </a:lnTo>
                    <a:lnTo>
                      <a:pt x="88" y="909"/>
                    </a:lnTo>
                    <a:lnTo>
                      <a:pt x="64" y="900"/>
                    </a:lnTo>
                    <a:lnTo>
                      <a:pt x="42" y="887"/>
                    </a:lnTo>
                    <a:lnTo>
                      <a:pt x="25" y="869"/>
                    </a:lnTo>
                    <a:lnTo>
                      <a:pt x="11" y="848"/>
                    </a:lnTo>
                    <a:lnTo>
                      <a:pt x="3" y="824"/>
                    </a:lnTo>
                    <a:lnTo>
                      <a:pt x="0" y="798"/>
                    </a:lnTo>
                    <a:lnTo>
                      <a:pt x="0" y="114"/>
                    </a:lnTo>
                    <a:lnTo>
                      <a:pt x="3" y="88"/>
                    </a:lnTo>
                    <a:lnTo>
                      <a:pt x="11" y="64"/>
                    </a:lnTo>
                    <a:lnTo>
                      <a:pt x="25" y="43"/>
                    </a:lnTo>
                    <a:lnTo>
                      <a:pt x="42" y="25"/>
                    </a:lnTo>
                    <a:lnTo>
                      <a:pt x="64" y="12"/>
                    </a:lnTo>
                    <a:lnTo>
                      <a:pt x="88" y="3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07" name="Freeform 171"/>
              <p:cNvSpPr>
                <a:spLocks/>
              </p:cNvSpPr>
              <p:nvPr/>
            </p:nvSpPr>
            <p:spPr bwMode="auto">
              <a:xfrm>
                <a:off x="-1919" y="3510"/>
                <a:ext cx="679" cy="440"/>
              </a:xfrm>
              <a:custGeom>
                <a:avLst/>
                <a:gdLst>
                  <a:gd name="T0" fmla="*/ 3240 w 3394"/>
                  <a:gd name="T1" fmla="*/ 0 h 2203"/>
                  <a:gd name="T2" fmla="*/ 3300 w 3394"/>
                  <a:gd name="T3" fmla="*/ 11 h 2203"/>
                  <a:gd name="T4" fmla="*/ 3349 w 3394"/>
                  <a:gd name="T5" fmla="*/ 44 h 2203"/>
                  <a:gd name="T6" fmla="*/ 3382 w 3394"/>
                  <a:gd name="T7" fmla="*/ 92 h 2203"/>
                  <a:gd name="T8" fmla="*/ 3394 w 3394"/>
                  <a:gd name="T9" fmla="*/ 152 h 2203"/>
                  <a:gd name="T10" fmla="*/ 3187 w 3394"/>
                  <a:gd name="T11" fmla="*/ 1669 h 2203"/>
                  <a:gd name="T12" fmla="*/ 3245 w 3394"/>
                  <a:gd name="T13" fmla="*/ 1543 h 2203"/>
                  <a:gd name="T14" fmla="*/ 3281 w 3394"/>
                  <a:gd name="T15" fmla="*/ 1409 h 2203"/>
                  <a:gd name="T16" fmla="*/ 3294 w 3394"/>
                  <a:gd name="T17" fmla="*/ 1271 h 2203"/>
                  <a:gd name="T18" fmla="*/ 3282 w 3394"/>
                  <a:gd name="T19" fmla="*/ 1139 h 2203"/>
                  <a:gd name="T20" fmla="*/ 3251 w 3394"/>
                  <a:gd name="T21" fmla="*/ 1012 h 2203"/>
                  <a:gd name="T22" fmla="*/ 3199 w 3394"/>
                  <a:gd name="T23" fmla="*/ 894 h 2203"/>
                  <a:gd name="T24" fmla="*/ 3128 w 3394"/>
                  <a:gd name="T25" fmla="*/ 783 h 2203"/>
                  <a:gd name="T26" fmla="*/ 3085 w 3394"/>
                  <a:gd name="T27" fmla="*/ 304 h 2203"/>
                  <a:gd name="T28" fmla="*/ 309 w 3394"/>
                  <a:gd name="T29" fmla="*/ 1899 h 2203"/>
                  <a:gd name="T30" fmla="*/ 1989 w 3394"/>
                  <a:gd name="T31" fmla="*/ 1937 h 2203"/>
                  <a:gd name="T32" fmla="*/ 2097 w 3394"/>
                  <a:gd name="T33" fmla="*/ 2001 h 2203"/>
                  <a:gd name="T34" fmla="*/ 2214 w 3394"/>
                  <a:gd name="T35" fmla="*/ 2048 h 2203"/>
                  <a:gd name="T36" fmla="*/ 2338 w 3394"/>
                  <a:gd name="T37" fmla="*/ 2077 h 2203"/>
                  <a:gd name="T38" fmla="*/ 2465 w 3394"/>
                  <a:gd name="T39" fmla="*/ 2086 h 2203"/>
                  <a:gd name="T40" fmla="*/ 2607 w 3394"/>
                  <a:gd name="T41" fmla="*/ 2074 h 2203"/>
                  <a:gd name="T42" fmla="*/ 2743 w 3394"/>
                  <a:gd name="T43" fmla="*/ 2039 h 2203"/>
                  <a:gd name="T44" fmla="*/ 2871 w 3394"/>
                  <a:gd name="T45" fmla="*/ 1980 h 2203"/>
                  <a:gd name="T46" fmla="*/ 3089 w 3394"/>
                  <a:gd name="T47" fmla="*/ 2195 h 2203"/>
                  <a:gd name="T48" fmla="*/ 3098 w 3394"/>
                  <a:gd name="T49" fmla="*/ 2203 h 2203"/>
                  <a:gd name="T50" fmla="*/ 124 w 3394"/>
                  <a:gd name="T51" fmla="*/ 2199 h 2203"/>
                  <a:gd name="T52" fmla="*/ 69 w 3394"/>
                  <a:gd name="T53" fmla="*/ 2177 h 2203"/>
                  <a:gd name="T54" fmla="*/ 26 w 3394"/>
                  <a:gd name="T55" fmla="*/ 2135 h 2203"/>
                  <a:gd name="T56" fmla="*/ 3 w 3394"/>
                  <a:gd name="T57" fmla="*/ 2081 h 2203"/>
                  <a:gd name="T58" fmla="*/ 0 w 3394"/>
                  <a:gd name="T59" fmla="*/ 152 h 2203"/>
                  <a:gd name="T60" fmla="*/ 12 w 3394"/>
                  <a:gd name="T61" fmla="*/ 93 h 2203"/>
                  <a:gd name="T62" fmla="*/ 46 w 3394"/>
                  <a:gd name="T63" fmla="*/ 44 h 2203"/>
                  <a:gd name="T64" fmla="*/ 95 w 3394"/>
                  <a:gd name="T65" fmla="*/ 11 h 2203"/>
                  <a:gd name="T66" fmla="*/ 155 w 3394"/>
                  <a:gd name="T67" fmla="*/ 0 h 2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394" h="2203">
                    <a:moveTo>
                      <a:pt x="155" y="0"/>
                    </a:moveTo>
                    <a:lnTo>
                      <a:pt x="3240" y="0"/>
                    </a:lnTo>
                    <a:lnTo>
                      <a:pt x="3271" y="3"/>
                    </a:lnTo>
                    <a:lnTo>
                      <a:pt x="3300" y="11"/>
                    </a:lnTo>
                    <a:lnTo>
                      <a:pt x="3326" y="26"/>
                    </a:lnTo>
                    <a:lnTo>
                      <a:pt x="3349" y="44"/>
                    </a:lnTo>
                    <a:lnTo>
                      <a:pt x="3368" y="67"/>
                    </a:lnTo>
                    <a:lnTo>
                      <a:pt x="3382" y="92"/>
                    </a:lnTo>
                    <a:lnTo>
                      <a:pt x="3391" y="121"/>
                    </a:lnTo>
                    <a:lnTo>
                      <a:pt x="3394" y="152"/>
                    </a:lnTo>
                    <a:lnTo>
                      <a:pt x="3394" y="1874"/>
                    </a:lnTo>
                    <a:lnTo>
                      <a:pt x="3187" y="1669"/>
                    </a:lnTo>
                    <a:lnTo>
                      <a:pt x="3219" y="1608"/>
                    </a:lnTo>
                    <a:lnTo>
                      <a:pt x="3245" y="1543"/>
                    </a:lnTo>
                    <a:lnTo>
                      <a:pt x="3266" y="1478"/>
                    </a:lnTo>
                    <a:lnTo>
                      <a:pt x="3281" y="1409"/>
                    </a:lnTo>
                    <a:lnTo>
                      <a:pt x="3291" y="1341"/>
                    </a:lnTo>
                    <a:lnTo>
                      <a:pt x="3294" y="1271"/>
                    </a:lnTo>
                    <a:lnTo>
                      <a:pt x="3291" y="1205"/>
                    </a:lnTo>
                    <a:lnTo>
                      <a:pt x="3282" y="1139"/>
                    </a:lnTo>
                    <a:lnTo>
                      <a:pt x="3269" y="1075"/>
                    </a:lnTo>
                    <a:lnTo>
                      <a:pt x="3251" y="1012"/>
                    </a:lnTo>
                    <a:lnTo>
                      <a:pt x="3227" y="952"/>
                    </a:lnTo>
                    <a:lnTo>
                      <a:pt x="3199" y="894"/>
                    </a:lnTo>
                    <a:lnTo>
                      <a:pt x="3166" y="836"/>
                    </a:lnTo>
                    <a:lnTo>
                      <a:pt x="3128" y="783"/>
                    </a:lnTo>
                    <a:lnTo>
                      <a:pt x="3085" y="732"/>
                    </a:lnTo>
                    <a:lnTo>
                      <a:pt x="3085" y="304"/>
                    </a:lnTo>
                    <a:lnTo>
                      <a:pt x="309" y="304"/>
                    </a:lnTo>
                    <a:lnTo>
                      <a:pt x="309" y="1899"/>
                    </a:lnTo>
                    <a:lnTo>
                      <a:pt x="1938" y="1899"/>
                    </a:lnTo>
                    <a:lnTo>
                      <a:pt x="1989" y="1937"/>
                    </a:lnTo>
                    <a:lnTo>
                      <a:pt x="2042" y="1971"/>
                    </a:lnTo>
                    <a:lnTo>
                      <a:pt x="2097" y="2001"/>
                    </a:lnTo>
                    <a:lnTo>
                      <a:pt x="2155" y="2027"/>
                    </a:lnTo>
                    <a:lnTo>
                      <a:pt x="2214" y="2048"/>
                    </a:lnTo>
                    <a:lnTo>
                      <a:pt x="2275" y="2064"/>
                    </a:lnTo>
                    <a:lnTo>
                      <a:pt x="2338" y="2077"/>
                    </a:lnTo>
                    <a:lnTo>
                      <a:pt x="2401" y="2084"/>
                    </a:lnTo>
                    <a:lnTo>
                      <a:pt x="2465" y="2086"/>
                    </a:lnTo>
                    <a:lnTo>
                      <a:pt x="2537" y="2083"/>
                    </a:lnTo>
                    <a:lnTo>
                      <a:pt x="2607" y="2074"/>
                    </a:lnTo>
                    <a:lnTo>
                      <a:pt x="2675" y="2059"/>
                    </a:lnTo>
                    <a:lnTo>
                      <a:pt x="2743" y="2039"/>
                    </a:lnTo>
                    <a:lnTo>
                      <a:pt x="2808" y="2012"/>
                    </a:lnTo>
                    <a:lnTo>
                      <a:pt x="2871" y="1980"/>
                    </a:lnTo>
                    <a:lnTo>
                      <a:pt x="3085" y="2191"/>
                    </a:lnTo>
                    <a:lnTo>
                      <a:pt x="3089" y="2195"/>
                    </a:lnTo>
                    <a:lnTo>
                      <a:pt x="3094" y="2198"/>
                    </a:lnTo>
                    <a:lnTo>
                      <a:pt x="3098" y="2203"/>
                    </a:lnTo>
                    <a:lnTo>
                      <a:pt x="155" y="2203"/>
                    </a:lnTo>
                    <a:lnTo>
                      <a:pt x="124" y="2199"/>
                    </a:lnTo>
                    <a:lnTo>
                      <a:pt x="95" y="2190"/>
                    </a:lnTo>
                    <a:lnTo>
                      <a:pt x="69" y="2177"/>
                    </a:lnTo>
                    <a:lnTo>
                      <a:pt x="46" y="2158"/>
                    </a:lnTo>
                    <a:lnTo>
                      <a:pt x="26" y="2135"/>
                    </a:lnTo>
                    <a:lnTo>
                      <a:pt x="12" y="2109"/>
                    </a:lnTo>
                    <a:lnTo>
                      <a:pt x="3" y="2081"/>
                    </a:lnTo>
                    <a:lnTo>
                      <a:pt x="0" y="2051"/>
                    </a:lnTo>
                    <a:lnTo>
                      <a:pt x="0" y="152"/>
                    </a:lnTo>
                    <a:lnTo>
                      <a:pt x="3" y="121"/>
                    </a:lnTo>
                    <a:lnTo>
                      <a:pt x="12" y="93"/>
                    </a:lnTo>
                    <a:lnTo>
                      <a:pt x="26" y="67"/>
                    </a:lnTo>
                    <a:lnTo>
                      <a:pt x="46" y="44"/>
                    </a:lnTo>
                    <a:lnTo>
                      <a:pt x="69" y="26"/>
                    </a:lnTo>
                    <a:lnTo>
                      <a:pt x="95" y="11"/>
                    </a:lnTo>
                    <a:lnTo>
                      <a:pt x="124" y="3"/>
                    </a:lnTo>
                    <a:lnTo>
                      <a:pt x="1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08" name="Freeform 172"/>
              <p:cNvSpPr>
                <a:spLocks noEditPoints="1"/>
              </p:cNvSpPr>
              <p:nvPr/>
            </p:nvSpPr>
            <p:spPr bwMode="auto">
              <a:xfrm>
                <a:off x="-1561" y="3631"/>
                <a:ext cx="304" cy="299"/>
              </a:xfrm>
              <a:custGeom>
                <a:avLst/>
                <a:gdLst>
                  <a:gd name="T0" fmla="*/ 568 w 1520"/>
                  <a:gd name="T1" fmla="*/ 146 h 1495"/>
                  <a:gd name="T2" fmla="*/ 422 w 1520"/>
                  <a:gd name="T3" fmla="*/ 198 h 1495"/>
                  <a:gd name="T4" fmla="*/ 295 w 1520"/>
                  <a:gd name="T5" fmla="*/ 291 h 1495"/>
                  <a:gd name="T6" fmla="*/ 202 w 1520"/>
                  <a:gd name="T7" fmla="*/ 415 h 1495"/>
                  <a:gd name="T8" fmla="*/ 149 w 1520"/>
                  <a:gd name="T9" fmla="*/ 560 h 1495"/>
                  <a:gd name="T10" fmla="*/ 141 w 1520"/>
                  <a:gd name="T11" fmla="*/ 715 h 1495"/>
                  <a:gd name="T12" fmla="*/ 179 w 1520"/>
                  <a:gd name="T13" fmla="*/ 865 h 1495"/>
                  <a:gd name="T14" fmla="*/ 260 w 1520"/>
                  <a:gd name="T15" fmla="*/ 997 h 1495"/>
                  <a:gd name="T16" fmla="*/ 377 w 1520"/>
                  <a:gd name="T17" fmla="*/ 1101 h 1495"/>
                  <a:gd name="T18" fmla="*/ 518 w 1520"/>
                  <a:gd name="T19" fmla="*/ 1168 h 1495"/>
                  <a:gd name="T20" fmla="*/ 673 w 1520"/>
                  <a:gd name="T21" fmla="*/ 1190 h 1495"/>
                  <a:gd name="T22" fmla="*/ 829 w 1520"/>
                  <a:gd name="T23" fmla="*/ 1168 h 1495"/>
                  <a:gd name="T24" fmla="*/ 971 w 1520"/>
                  <a:gd name="T25" fmla="*/ 1101 h 1495"/>
                  <a:gd name="T26" fmla="*/ 1088 w 1520"/>
                  <a:gd name="T27" fmla="*/ 997 h 1495"/>
                  <a:gd name="T28" fmla="*/ 1168 w 1520"/>
                  <a:gd name="T29" fmla="*/ 865 h 1495"/>
                  <a:gd name="T30" fmla="*/ 1207 w 1520"/>
                  <a:gd name="T31" fmla="*/ 715 h 1495"/>
                  <a:gd name="T32" fmla="*/ 1198 w 1520"/>
                  <a:gd name="T33" fmla="*/ 560 h 1495"/>
                  <a:gd name="T34" fmla="*/ 1146 w 1520"/>
                  <a:gd name="T35" fmla="*/ 415 h 1495"/>
                  <a:gd name="T36" fmla="*/ 1053 w 1520"/>
                  <a:gd name="T37" fmla="*/ 291 h 1495"/>
                  <a:gd name="T38" fmla="*/ 926 w 1520"/>
                  <a:gd name="T39" fmla="*/ 198 h 1495"/>
                  <a:gd name="T40" fmla="*/ 779 w 1520"/>
                  <a:gd name="T41" fmla="*/ 146 h 1495"/>
                  <a:gd name="T42" fmla="*/ 673 w 1520"/>
                  <a:gd name="T43" fmla="*/ 0 h 1495"/>
                  <a:gd name="T44" fmla="*/ 849 w 1520"/>
                  <a:gd name="T45" fmla="*/ 23 h 1495"/>
                  <a:gd name="T46" fmla="*/ 1010 w 1520"/>
                  <a:gd name="T47" fmla="*/ 88 h 1495"/>
                  <a:gd name="T48" fmla="*/ 1151 w 1520"/>
                  <a:gd name="T49" fmla="*/ 195 h 1495"/>
                  <a:gd name="T50" fmla="*/ 1258 w 1520"/>
                  <a:gd name="T51" fmla="*/ 332 h 1495"/>
                  <a:gd name="T52" fmla="*/ 1324 w 1520"/>
                  <a:gd name="T53" fmla="*/ 490 h 1495"/>
                  <a:gd name="T54" fmla="*/ 1347 w 1520"/>
                  <a:gd name="T55" fmla="*/ 663 h 1495"/>
                  <a:gd name="T56" fmla="*/ 1322 w 1520"/>
                  <a:gd name="T57" fmla="*/ 841 h 1495"/>
                  <a:gd name="T58" fmla="*/ 1251 w 1520"/>
                  <a:gd name="T59" fmla="*/ 1004 h 1495"/>
                  <a:gd name="T60" fmla="*/ 1211 w 1520"/>
                  <a:gd name="T61" fmla="*/ 1132 h 1495"/>
                  <a:gd name="T62" fmla="*/ 1256 w 1520"/>
                  <a:gd name="T63" fmla="*/ 1142 h 1495"/>
                  <a:gd name="T64" fmla="*/ 1511 w 1520"/>
                  <a:gd name="T65" fmla="*/ 1395 h 1495"/>
                  <a:gd name="T66" fmla="*/ 1517 w 1520"/>
                  <a:gd name="T67" fmla="*/ 1445 h 1495"/>
                  <a:gd name="T68" fmla="*/ 1485 w 1520"/>
                  <a:gd name="T69" fmla="*/ 1487 h 1495"/>
                  <a:gd name="T70" fmla="*/ 1433 w 1520"/>
                  <a:gd name="T71" fmla="*/ 1493 h 1495"/>
                  <a:gd name="T72" fmla="*/ 1170 w 1520"/>
                  <a:gd name="T73" fmla="*/ 1248 h 1495"/>
                  <a:gd name="T74" fmla="*/ 1151 w 1520"/>
                  <a:gd name="T75" fmla="*/ 1208 h 1495"/>
                  <a:gd name="T76" fmla="*/ 1070 w 1520"/>
                  <a:gd name="T77" fmla="*/ 1198 h 1495"/>
                  <a:gd name="T78" fmla="*/ 911 w 1520"/>
                  <a:gd name="T79" fmla="*/ 1283 h 1495"/>
                  <a:gd name="T80" fmla="*/ 735 w 1520"/>
                  <a:gd name="T81" fmla="*/ 1323 h 1495"/>
                  <a:gd name="T82" fmla="*/ 556 w 1520"/>
                  <a:gd name="T83" fmla="*/ 1316 h 1495"/>
                  <a:gd name="T84" fmla="*/ 390 w 1520"/>
                  <a:gd name="T85" fmla="*/ 1264 h 1495"/>
                  <a:gd name="T86" fmla="*/ 242 w 1520"/>
                  <a:gd name="T87" fmla="*/ 1172 h 1495"/>
                  <a:gd name="T88" fmla="*/ 122 w 1520"/>
                  <a:gd name="T89" fmla="*/ 1043 h 1495"/>
                  <a:gd name="T90" fmla="*/ 40 w 1520"/>
                  <a:gd name="T91" fmla="*/ 890 h 1495"/>
                  <a:gd name="T92" fmla="*/ 3 w 1520"/>
                  <a:gd name="T93" fmla="*/ 722 h 1495"/>
                  <a:gd name="T94" fmla="*/ 10 w 1520"/>
                  <a:gd name="T95" fmla="*/ 547 h 1495"/>
                  <a:gd name="T96" fmla="*/ 63 w 1520"/>
                  <a:gd name="T97" fmla="*/ 383 h 1495"/>
                  <a:gd name="T98" fmla="*/ 157 w 1520"/>
                  <a:gd name="T99" fmla="*/ 238 h 1495"/>
                  <a:gd name="T100" fmla="*/ 288 w 1520"/>
                  <a:gd name="T101" fmla="*/ 119 h 1495"/>
                  <a:gd name="T102" fmla="*/ 443 w 1520"/>
                  <a:gd name="T103" fmla="*/ 40 h 1495"/>
                  <a:gd name="T104" fmla="*/ 614 w 1520"/>
                  <a:gd name="T105" fmla="*/ 2 h 1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20" h="1495">
                    <a:moveTo>
                      <a:pt x="673" y="136"/>
                    </a:moveTo>
                    <a:lnTo>
                      <a:pt x="620" y="138"/>
                    </a:lnTo>
                    <a:lnTo>
                      <a:pt x="568" y="146"/>
                    </a:lnTo>
                    <a:lnTo>
                      <a:pt x="518" y="159"/>
                    </a:lnTo>
                    <a:lnTo>
                      <a:pt x="469" y="176"/>
                    </a:lnTo>
                    <a:lnTo>
                      <a:pt x="422" y="198"/>
                    </a:lnTo>
                    <a:lnTo>
                      <a:pt x="377" y="224"/>
                    </a:lnTo>
                    <a:lnTo>
                      <a:pt x="335" y="255"/>
                    </a:lnTo>
                    <a:lnTo>
                      <a:pt x="295" y="291"/>
                    </a:lnTo>
                    <a:lnTo>
                      <a:pt x="260" y="330"/>
                    </a:lnTo>
                    <a:lnTo>
                      <a:pt x="229" y="371"/>
                    </a:lnTo>
                    <a:lnTo>
                      <a:pt x="202" y="415"/>
                    </a:lnTo>
                    <a:lnTo>
                      <a:pt x="179" y="462"/>
                    </a:lnTo>
                    <a:lnTo>
                      <a:pt x="161" y="510"/>
                    </a:lnTo>
                    <a:lnTo>
                      <a:pt x="149" y="560"/>
                    </a:lnTo>
                    <a:lnTo>
                      <a:pt x="141" y="611"/>
                    </a:lnTo>
                    <a:lnTo>
                      <a:pt x="138" y="663"/>
                    </a:lnTo>
                    <a:lnTo>
                      <a:pt x="141" y="715"/>
                    </a:lnTo>
                    <a:lnTo>
                      <a:pt x="149" y="767"/>
                    </a:lnTo>
                    <a:lnTo>
                      <a:pt x="161" y="817"/>
                    </a:lnTo>
                    <a:lnTo>
                      <a:pt x="179" y="865"/>
                    </a:lnTo>
                    <a:lnTo>
                      <a:pt x="202" y="911"/>
                    </a:lnTo>
                    <a:lnTo>
                      <a:pt x="229" y="955"/>
                    </a:lnTo>
                    <a:lnTo>
                      <a:pt x="260" y="997"/>
                    </a:lnTo>
                    <a:lnTo>
                      <a:pt x="295" y="1036"/>
                    </a:lnTo>
                    <a:lnTo>
                      <a:pt x="335" y="1071"/>
                    </a:lnTo>
                    <a:lnTo>
                      <a:pt x="377" y="1101"/>
                    </a:lnTo>
                    <a:lnTo>
                      <a:pt x="422" y="1128"/>
                    </a:lnTo>
                    <a:lnTo>
                      <a:pt x="469" y="1150"/>
                    </a:lnTo>
                    <a:lnTo>
                      <a:pt x="518" y="1168"/>
                    </a:lnTo>
                    <a:lnTo>
                      <a:pt x="568" y="1180"/>
                    </a:lnTo>
                    <a:lnTo>
                      <a:pt x="620" y="1187"/>
                    </a:lnTo>
                    <a:lnTo>
                      <a:pt x="673" y="1190"/>
                    </a:lnTo>
                    <a:lnTo>
                      <a:pt x="726" y="1187"/>
                    </a:lnTo>
                    <a:lnTo>
                      <a:pt x="779" y="1180"/>
                    </a:lnTo>
                    <a:lnTo>
                      <a:pt x="829" y="1168"/>
                    </a:lnTo>
                    <a:lnTo>
                      <a:pt x="879" y="1150"/>
                    </a:lnTo>
                    <a:lnTo>
                      <a:pt x="926" y="1128"/>
                    </a:lnTo>
                    <a:lnTo>
                      <a:pt x="971" y="1101"/>
                    </a:lnTo>
                    <a:lnTo>
                      <a:pt x="1013" y="1071"/>
                    </a:lnTo>
                    <a:lnTo>
                      <a:pt x="1053" y="1036"/>
                    </a:lnTo>
                    <a:lnTo>
                      <a:pt x="1088" y="997"/>
                    </a:lnTo>
                    <a:lnTo>
                      <a:pt x="1119" y="955"/>
                    </a:lnTo>
                    <a:lnTo>
                      <a:pt x="1146" y="911"/>
                    </a:lnTo>
                    <a:lnTo>
                      <a:pt x="1168" y="865"/>
                    </a:lnTo>
                    <a:lnTo>
                      <a:pt x="1186" y="817"/>
                    </a:lnTo>
                    <a:lnTo>
                      <a:pt x="1198" y="767"/>
                    </a:lnTo>
                    <a:lnTo>
                      <a:pt x="1207" y="715"/>
                    </a:lnTo>
                    <a:lnTo>
                      <a:pt x="1209" y="663"/>
                    </a:lnTo>
                    <a:lnTo>
                      <a:pt x="1207" y="611"/>
                    </a:lnTo>
                    <a:lnTo>
                      <a:pt x="1198" y="560"/>
                    </a:lnTo>
                    <a:lnTo>
                      <a:pt x="1186" y="510"/>
                    </a:lnTo>
                    <a:lnTo>
                      <a:pt x="1168" y="462"/>
                    </a:lnTo>
                    <a:lnTo>
                      <a:pt x="1146" y="415"/>
                    </a:lnTo>
                    <a:lnTo>
                      <a:pt x="1119" y="371"/>
                    </a:lnTo>
                    <a:lnTo>
                      <a:pt x="1088" y="330"/>
                    </a:lnTo>
                    <a:lnTo>
                      <a:pt x="1053" y="291"/>
                    </a:lnTo>
                    <a:lnTo>
                      <a:pt x="1013" y="255"/>
                    </a:lnTo>
                    <a:lnTo>
                      <a:pt x="971" y="224"/>
                    </a:lnTo>
                    <a:lnTo>
                      <a:pt x="926" y="198"/>
                    </a:lnTo>
                    <a:lnTo>
                      <a:pt x="879" y="176"/>
                    </a:lnTo>
                    <a:lnTo>
                      <a:pt x="829" y="159"/>
                    </a:lnTo>
                    <a:lnTo>
                      <a:pt x="779" y="146"/>
                    </a:lnTo>
                    <a:lnTo>
                      <a:pt x="726" y="138"/>
                    </a:lnTo>
                    <a:lnTo>
                      <a:pt x="673" y="136"/>
                    </a:lnTo>
                    <a:close/>
                    <a:moveTo>
                      <a:pt x="673" y="0"/>
                    </a:moveTo>
                    <a:lnTo>
                      <a:pt x="734" y="2"/>
                    </a:lnTo>
                    <a:lnTo>
                      <a:pt x="792" y="10"/>
                    </a:lnTo>
                    <a:lnTo>
                      <a:pt x="849" y="23"/>
                    </a:lnTo>
                    <a:lnTo>
                      <a:pt x="904" y="40"/>
                    </a:lnTo>
                    <a:lnTo>
                      <a:pt x="958" y="61"/>
                    </a:lnTo>
                    <a:lnTo>
                      <a:pt x="1010" y="88"/>
                    </a:lnTo>
                    <a:lnTo>
                      <a:pt x="1059" y="119"/>
                    </a:lnTo>
                    <a:lnTo>
                      <a:pt x="1106" y="155"/>
                    </a:lnTo>
                    <a:lnTo>
                      <a:pt x="1151" y="195"/>
                    </a:lnTo>
                    <a:lnTo>
                      <a:pt x="1190" y="238"/>
                    </a:lnTo>
                    <a:lnTo>
                      <a:pt x="1226" y="284"/>
                    </a:lnTo>
                    <a:lnTo>
                      <a:pt x="1258" y="332"/>
                    </a:lnTo>
                    <a:lnTo>
                      <a:pt x="1285" y="383"/>
                    </a:lnTo>
                    <a:lnTo>
                      <a:pt x="1306" y="436"/>
                    </a:lnTo>
                    <a:lnTo>
                      <a:pt x="1324" y="490"/>
                    </a:lnTo>
                    <a:lnTo>
                      <a:pt x="1337" y="547"/>
                    </a:lnTo>
                    <a:lnTo>
                      <a:pt x="1345" y="604"/>
                    </a:lnTo>
                    <a:lnTo>
                      <a:pt x="1347" y="663"/>
                    </a:lnTo>
                    <a:lnTo>
                      <a:pt x="1344" y="724"/>
                    </a:lnTo>
                    <a:lnTo>
                      <a:pt x="1337" y="783"/>
                    </a:lnTo>
                    <a:lnTo>
                      <a:pt x="1322" y="841"/>
                    </a:lnTo>
                    <a:lnTo>
                      <a:pt x="1303" y="898"/>
                    </a:lnTo>
                    <a:lnTo>
                      <a:pt x="1279" y="952"/>
                    </a:lnTo>
                    <a:lnTo>
                      <a:pt x="1251" y="1004"/>
                    </a:lnTo>
                    <a:lnTo>
                      <a:pt x="1217" y="1053"/>
                    </a:lnTo>
                    <a:lnTo>
                      <a:pt x="1179" y="1100"/>
                    </a:lnTo>
                    <a:lnTo>
                      <a:pt x="1211" y="1132"/>
                    </a:lnTo>
                    <a:lnTo>
                      <a:pt x="1226" y="1132"/>
                    </a:lnTo>
                    <a:lnTo>
                      <a:pt x="1241" y="1135"/>
                    </a:lnTo>
                    <a:lnTo>
                      <a:pt x="1256" y="1142"/>
                    </a:lnTo>
                    <a:lnTo>
                      <a:pt x="1268" y="1151"/>
                    </a:lnTo>
                    <a:lnTo>
                      <a:pt x="1500" y="1381"/>
                    </a:lnTo>
                    <a:lnTo>
                      <a:pt x="1511" y="1395"/>
                    </a:lnTo>
                    <a:lnTo>
                      <a:pt x="1517" y="1411"/>
                    </a:lnTo>
                    <a:lnTo>
                      <a:pt x="1520" y="1428"/>
                    </a:lnTo>
                    <a:lnTo>
                      <a:pt x="1517" y="1445"/>
                    </a:lnTo>
                    <a:lnTo>
                      <a:pt x="1511" y="1462"/>
                    </a:lnTo>
                    <a:lnTo>
                      <a:pt x="1500" y="1476"/>
                    </a:lnTo>
                    <a:lnTo>
                      <a:pt x="1485" y="1487"/>
                    </a:lnTo>
                    <a:lnTo>
                      <a:pt x="1469" y="1493"/>
                    </a:lnTo>
                    <a:lnTo>
                      <a:pt x="1451" y="1495"/>
                    </a:lnTo>
                    <a:lnTo>
                      <a:pt x="1433" y="1493"/>
                    </a:lnTo>
                    <a:lnTo>
                      <a:pt x="1417" y="1487"/>
                    </a:lnTo>
                    <a:lnTo>
                      <a:pt x="1402" y="1476"/>
                    </a:lnTo>
                    <a:lnTo>
                      <a:pt x="1170" y="1248"/>
                    </a:lnTo>
                    <a:lnTo>
                      <a:pt x="1160" y="1235"/>
                    </a:lnTo>
                    <a:lnTo>
                      <a:pt x="1154" y="1222"/>
                    </a:lnTo>
                    <a:lnTo>
                      <a:pt x="1151" y="1208"/>
                    </a:lnTo>
                    <a:lnTo>
                      <a:pt x="1151" y="1192"/>
                    </a:lnTo>
                    <a:lnTo>
                      <a:pt x="1118" y="1161"/>
                    </a:lnTo>
                    <a:lnTo>
                      <a:pt x="1070" y="1198"/>
                    </a:lnTo>
                    <a:lnTo>
                      <a:pt x="1020" y="1231"/>
                    </a:lnTo>
                    <a:lnTo>
                      <a:pt x="967" y="1260"/>
                    </a:lnTo>
                    <a:lnTo>
                      <a:pt x="911" y="1283"/>
                    </a:lnTo>
                    <a:lnTo>
                      <a:pt x="854" y="1302"/>
                    </a:lnTo>
                    <a:lnTo>
                      <a:pt x="796" y="1315"/>
                    </a:lnTo>
                    <a:lnTo>
                      <a:pt x="735" y="1323"/>
                    </a:lnTo>
                    <a:lnTo>
                      <a:pt x="673" y="1326"/>
                    </a:lnTo>
                    <a:lnTo>
                      <a:pt x="614" y="1323"/>
                    </a:lnTo>
                    <a:lnTo>
                      <a:pt x="556" y="1316"/>
                    </a:lnTo>
                    <a:lnTo>
                      <a:pt x="499" y="1304"/>
                    </a:lnTo>
                    <a:lnTo>
                      <a:pt x="443" y="1287"/>
                    </a:lnTo>
                    <a:lnTo>
                      <a:pt x="390" y="1264"/>
                    </a:lnTo>
                    <a:lnTo>
                      <a:pt x="338" y="1238"/>
                    </a:lnTo>
                    <a:lnTo>
                      <a:pt x="288" y="1207"/>
                    </a:lnTo>
                    <a:lnTo>
                      <a:pt x="242" y="1172"/>
                    </a:lnTo>
                    <a:lnTo>
                      <a:pt x="197" y="1132"/>
                    </a:lnTo>
                    <a:lnTo>
                      <a:pt x="157" y="1089"/>
                    </a:lnTo>
                    <a:lnTo>
                      <a:pt x="122" y="1043"/>
                    </a:lnTo>
                    <a:lnTo>
                      <a:pt x="90" y="994"/>
                    </a:lnTo>
                    <a:lnTo>
                      <a:pt x="63" y="943"/>
                    </a:lnTo>
                    <a:lnTo>
                      <a:pt x="40" y="890"/>
                    </a:lnTo>
                    <a:lnTo>
                      <a:pt x="23" y="835"/>
                    </a:lnTo>
                    <a:lnTo>
                      <a:pt x="10" y="779"/>
                    </a:lnTo>
                    <a:lnTo>
                      <a:pt x="3" y="722"/>
                    </a:lnTo>
                    <a:lnTo>
                      <a:pt x="0" y="663"/>
                    </a:lnTo>
                    <a:lnTo>
                      <a:pt x="3" y="604"/>
                    </a:lnTo>
                    <a:lnTo>
                      <a:pt x="10" y="547"/>
                    </a:lnTo>
                    <a:lnTo>
                      <a:pt x="23" y="490"/>
                    </a:lnTo>
                    <a:lnTo>
                      <a:pt x="40" y="436"/>
                    </a:lnTo>
                    <a:lnTo>
                      <a:pt x="63" y="383"/>
                    </a:lnTo>
                    <a:lnTo>
                      <a:pt x="90" y="332"/>
                    </a:lnTo>
                    <a:lnTo>
                      <a:pt x="122" y="284"/>
                    </a:lnTo>
                    <a:lnTo>
                      <a:pt x="157" y="238"/>
                    </a:lnTo>
                    <a:lnTo>
                      <a:pt x="197" y="195"/>
                    </a:lnTo>
                    <a:lnTo>
                      <a:pt x="242" y="155"/>
                    </a:lnTo>
                    <a:lnTo>
                      <a:pt x="288" y="119"/>
                    </a:lnTo>
                    <a:lnTo>
                      <a:pt x="338" y="88"/>
                    </a:lnTo>
                    <a:lnTo>
                      <a:pt x="390" y="61"/>
                    </a:lnTo>
                    <a:lnTo>
                      <a:pt x="443" y="40"/>
                    </a:lnTo>
                    <a:lnTo>
                      <a:pt x="499" y="23"/>
                    </a:lnTo>
                    <a:lnTo>
                      <a:pt x="556" y="10"/>
                    </a:lnTo>
                    <a:lnTo>
                      <a:pt x="614" y="2"/>
                    </a:lnTo>
                    <a:lnTo>
                      <a:pt x="6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</p:grpSp>
        <p:sp>
          <p:nvSpPr>
            <p:cNvPr id="109" name="Freeform 4848"/>
            <p:cNvSpPr>
              <a:spLocks noEditPoints="1"/>
            </p:cNvSpPr>
            <p:nvPr/>
          </p:nvSpPr>
          <p:spPr bwMode="auto">
            <a:xfrm>
              <a:off x="8186941" y="2562823"/>
              <a:ext cx="214688" cy="190430"/>
            </a:xfrm>
            <a:custGeom>
              <a:avLst/>
              <a:gdLst>
                <a:gd name="T0" fmla="*/ 198 w 354"/>
                <a:gd name="T1" fmla="*/ 12 h 314"/>
                <a:gd name="T2" fmla="*/ 194 w 354"/>
                <a:gd name="T3" fmla="*/ 8 h 314"/>
                <a:gd name="T4" fmla="*/ 184 w 354"/>
                <a:gd name="T5" fmla="*/ 0 h 314"/>
                <a:gd name="T6" fmla="*/ 178 w 354"/>
                <a:gd name="T7" fmla="*/ 0 h 314"/>
                <a:gd name="T8" fmla="*/ 166 w 354"/>
                <a:gd name="T9" fmla="*/ 4 h 314"/>
                <a:gd name="T10" fmla="*/ 158 w 354"/>
                <a:gd name="T11" fmla="*/ 12 h 314"/>
                <a:gd name="T12" fmla="*/ 4 w 354"/>
                <a:gd name="T13" fmla="*/ 278 h 314"/>
                <a:gd name="T14" fmla="*/ 0 w 354"/>
                <a:gd name="T15" fmla="*/ 290 h 314"/>
                <a:gd name="T16" fmla="*/ 4 w 354"/>
                <a:gd name="T17" fmla="*/ 302 h 314"/>
                <a:gd name="T18" fmla="*/ 8 w 354"/>
                <a:gd name="T19" fmla="*/ 306 h 314"/>
                <a:gd name="T20" fmla="*/ 18 w 354"/>
                <a:gd name="T21" fmla="*/ 312 h 314"/>
                <a:gd name="T22" fmla="*/ 330 w 354"/>
                <a:gd name="T23" fmla="*/ 314 h 314"/>
                <a:gd name="T24" fmla="*/ 338 w 354"/>
                <a:gd name="T25" fmla="*/ 312 h 314"/>
                <a:gd name="T26" fmla="*/ 348 w 354"/>
                <a:gd name="T27" fmla="*/ 306 h 314"/>
                <a:gd name="T28" fmla="*/ 352 w 354"/>
                <a:gd name="T29" fmla="*/ 302 h 314"/>
                <a:gd name="T30" fmla="*/ 354 w 354"/>
                <a:gd name="T31" fmla="*/ 290 h 314"/>
                <a:gd name="T32" fmla="*/ 352 w 354"/>
                <a:gd name="T33" fmla="*/ 278 h 314"/>
                <a:gd name="T34" fmla="*/ 42 w 354"/>
                <a:gd name="T35" fmla="*/ 280 h 314"/>
                <a:gd name="T36" fmla="*/ 314 w 354"/>
                <a:gd name="T37" fmla="*/ 280 h 314"/>
                <a:gd name="T38" fmla="*/ 160 w 354"/>
                <a:gd name="T39" fmla="*/ 142 h 314"/>
                <a:gd name="T40" fmla="*/ 158 w 354"/>
                <a:gd name="T41" fmla="*/ 132 h 314"/>
                <a:gd name="T42" fmla="*/ 160 w 354"/>
                <a:gd name="T43" fmla="*/ 126 h 314"/>
                <a:gd name="T44" fmla="*/ 164 w 354"/>
                <a:gd name="T45" fmla="*/ 122 h 314"/>
                <a:gd name="T46" fmla="*/ 178 w 354"/>
                <a:gd name="T47" fmla="*/ 118 h 314"/>
                <a:gd name="T48" fmla="*/ 186 w 354"/>
                <a:gd name="T49" fmla="*/ 118 h 314"/>
                <a:gd name="T50" fmla="*/ 192 w 354"/>
                <a:gd name="T51" fmla="*/ 122 h 314"/>
                <a:gd name="T52" fmla="*/ 198 w 354"/>
                <a:gd name="T53" fmla="*/ 132 h 314"/>
                <a:gd name="T54" fmla="*/ 196 w 354"/>
                <a:gd name="T55" fmla="*/ 142 h 314"/>
                <a:gd name="T56" fmla="*/ 172 w 354"/>
                <a:gd name="T57" fmla="*/ 206 h 314"/>
                <a:gd name="T58" fmla="*/ 178 w 354"/>
                <a:gd name="T59" fmla="*/ 218 h 314"/>
                <a:gd name="T60" fmla="*/ 186 w 354"/>
                <a:gd name="T61" fmla="*/ 220 h 314"/>
                <a:gd name="T62" fmla="*/ 190 w 354"/>
                <a:gd name="T63" fmla="*/ 224 h 314"/>
                <a:gd name="T64" fmla="*/ 194 w 354"/>
                <a:gd name="T65" fmla="*/ 230 h 314"/>
                <a:gd name="T66" fmla="*/ 196 w 354"/>
                <a:gd name="T67" fmla="*/ 238 h 314"/>
                <a:gd name="T68" fmla="*/ 194 w 354"/>
                <a:gd name="T69" fmla="*/ 244 h 314"/>
                <a:gd name="T70" fmla="*/ 190 w 354"/>
                <a:gd name="T71" fmla="*/ 250 h 314"/>
                <a:gd name="T72" fmla="*/ 186 w 354"/>
                <a:gd name="T73" fmla="*/ 254 h 314"/>
                <a:gd name="T74" fmla="*/ 178 w 354"/>
                <a:gd name="T75" fmla="*/ 256 h 314"/>
                <a:gd name="T76" fmla="*/ 170 w 354"/>
                <a:gd name="T77" fmla="*/ 254 h 314"/>
                <a:gd name="T78" fmla="*/ 166 w 354"/>
                <a:gd name="T79" fmla="*/ 250 h 314"/>
                <a:gd name="T80" fmla="*/ 162 w 354"/>
                <a:gd name="T81" fmla="*/ 244 h 314"/>
                <a:gd name="T82" fmla="*/ 160 w 354"/>
                <a:gd name="T83" fmla="*/ 238 h 314"/>
                <a:gd name="T84" fmla="*/ 162 w 354"/>
                <a:gd name="T85" fmla="*/ 230 h 314"/>
                <a:gd name="T86" fmla="*/ 166 w 354"/>
                <a:gd name="T87" fmla="*/ 224 h 314"/>
                <a:gd name="T88" fmla="*/ 178 w 354"/>
                <a:gd name="T89" fmla="*/ 218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54" h="314">
                  <a:moveTo>
                    <a:pt x="352" y="278"/>
                  </a:moveTo>
                  <a:lnTo>
                    <a:pt x="198" y="12"/>
                  </a:lnTo>
                  <a:lnTo>
                    <a:pt x="198" y="12"/>
                  </a:lnTo>
                  <a:lnTo>
                    <a:pt x="194" y="8"/>
                  </a:lnTo>
                  <a:lnTo>
                    <a:pt x="190" y="4"/>
                  </a:lnTo>
                  <a:lnTo>
                    <a:pt x="184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2" y="0"/>
                  </a:lnTo>
                  <a:lnTo>
                    <a:pt x="166" y="4"/>
                  </a:lnTo>
                  <a:lnTo>
                    <a:pt x="162" y="8"/>
                  </a:lnTo>
                  <a:lnTo>
                    <a:pt x="158" y="12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2" y="282"/>
                  </a:lnTo>
                  <a:lnTo>
                    <a:pt x="0" y="290"/>
                  </a:lnTo>
                  <a:lnTo>
                    <a:pt x="2" y="296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8" y="306"/>
                  </a:lnTo>
                  <a:lnTo>
                    <a:pt x="12" y="310"/>
                  </a:lnTo>
                  <a:lnTo>
                    <a:pt x="18" y="312"/>
                  </a:lnTo>
                  <a:lnTo>
                    <a:pt x="26" y="314"/>
                  </a:lnTo>
                  <a:lnTo>
                    <a:pt x="330" y="314"/>
                  </a:lnTo>
                  <a:lnTo>
                    <a:pt x="330" y="314"/>
                  </a:lnTo>
                  <a:lnTo>
                    <a:pt x="338" y="312"/>
                  </a:lnTo>
                  <a:lnTo>
                    <a:pt x="342" y="310"/>
                  </a:lnTo>
                  <a:lnTo>
                    <a:pt x="348" y="306"/>
                  </a:lnTo>
                  <a:lnTo>
                    <a:pt x="352" y="302"/>
                  </a:lnTo>
                  <a:lnTo>
                    <a:pt x="352" y="302"/>
                  </a:lnTo>
                  <a:lnTo>
                    <a:pt x="354" y="296"/>
                  </a:lnTo>
                  <a:lnTo>
                    <a:pt x="354" y="290"/>
                  </a:lnTo>
                  <a:lnTo>
                    <a:pt x="354" y="282"/>
                  </a:lnTo>
                  <a:lnTo>
                    <a:pt x="352" y="278"/>
                  </a:lnTo>
                  <a:lnTo>
                    <a:pt x="352" y="278"/>
                  </a:lnTo>
                  <a:close/>
                  <a:moveTo>
                    <a:pt x="42" y="280"/>
                  </a:moveTo>
                  <a:lnTo>
                    <a:pt x="178" y="44"/>
                  </a:lnTo>
                  <a:lnTo>
                    <a:pt x="314" y="280"/>
                  </a:lnTo>
                  <a:lnTo>
                    <a:pt x="42" y="280"/>
                  </a:lnTo>
                  <a:close/>
                  <a:moveTo>
                    <a:pt x="160" y="142"/>
                  </a:moveTo>
                  <a:lnTo>
                    <a:pt x="160" y="142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60" y="126"/>
                  </a:lnTo>
                  <a:lnTo>
                    <a:pt x="164" y="122"/>
                  </a:lnTo>
                  <a:lnTo>
                    <a:pt x="164" y="122"/>
                  </a:lnTo>
                  <a:lnTo>
                    <a:pt x="170" y="118"/>
                  </a:lnTo>
                  <a:lnTo>
                    <a:pt x="178" y="118"/>
                  </a:lnTo>
                  <a:lnTo>
                    <a:pt x="178" y="118"/>
                  </a:lnTo>
                  <a:lnTo>
                    <a:pt x="186" y="118"/>
                  </a:lnTo>
                  <a:lnTo>
                    <a:pt x="192" y="122"/>
                  </a:lnTo>
                  <a:lnTo>
                    <a:pt x="192" y="122"/>
                  </a:lnTo>
                  <a:lnTo>
                    <a:pt x="196" y="126"/>
                  </a:lnTo>
                  <a:lnTo>
                    <a:pt x="198" y="132"/>
                  </a:lnTo>
                  <a:lnTo>
                    <a:pt x="198" y="132"/>
                  </a:lnTo>
                  <a:lnTo>
                    <a:pt x="196" y="142"/>
                  </a:lnTo>
                  <a:lnTo>
                    <a:pt x="184" y="206"/>
                  </a:lnTo>
                  <a:lnTo>
                    <a:pt x="172" y="206"/>
                  </a:lnTo>
                  <a:lnTo>
                    <a:pt x="160" y="142"/>
                  </a:lnTo>
                  <a:close/>
                  <a:moveTo>
                    <a:pt x="178" y="218"/>
                  </a:moveTo>
                  <a:lnTo>
                    <a:pt x="178" y="218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90" y="224"/>
                  </a:lnTo>
                  <a:lnTo>
                    <a:pt x="190" y="224"/>
                  </a:lnTo>
                  <a:lnTo>
                    <a:pt x="194" y="230"/>
                  </a:lnTo>
                  <a:lnTo>
                    <a:pt x="194" y="230"/>
                  </a:lnTo>
                  <a:lnTo>
                    <a:pt x="196" y="238"/>
                  </a:lnTo>
                  <a:lnTo>
                    <a:pt x="196" y="238"/>
                  </a:lnTo>
                  <a:lnTo>
                    <a:pt x="194" y="244"/>
                  </a:lnTo>
                  <a:lnTo>
                    <a:pt x="194" y="244"/>
                  </a:lnTo>
                  <a:lnTo>
                    <a:pt x="190" y="250"/>
                  </a:lnTo>
                  <a:lnTo>
                    <a:pt x="190" y="250"/>
                  </a:lnTo>
                  <a:lnTo>
                    <a:pt x="186" y="254"/>
                  </a:lnTo>
                  <a:lnTo>
                    <a:pt x="186" y="254"/>
                  </a:lnTo>
                  <a:lnTo>
                    <a:pt x="178" y="256"/>
                  </a:lnTo>
                  <a:lnTo>
                    <a:pt x="178" y="256"/>
                  </a:lnTo>
                  <a:lnTo>
                    <a:pt x="170" y="254"/>
                  </a:lnTo>
                  <a:lnTo>
                    <a:pt x="170" y="254"/>
                  </a:lnTo>
                  <a:lnTo>
                    <a:pt x="166" y="250"/>
                  </a:lnTo>
                  <a:lnTo>
                    <a:pt x="166" y="250"/>
                  </a:lnTo>
                  <a:lnTo>
                    <a:pt x="162" y="244"/>
                  </a:lnTo>
                  <a:lnTo>
                    <a:pt x="162" y="244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2" y="230"/>
                  </a:lnTo>
                  <a:lnTo>
                    <a:pt x="166" y="224"/>
                  </a:lnTo>
                  <a:lnTo>
                    <a:pt x="166" y="224"/>
                  </a:lnTo>
                  <a:lnTo>
                    <a:pt x="170" y="220"/>
                  </a:lnTo>
                  <a:lnTo>
                    <a:pt x="178" y="218"/>
                  </a:lnTo>
                  <a:lnTo>
                    <a:pt x="178" y="218"/>
                  </a:lnTo>
                  <a:close/>
                </a:path>
              </a:pathLst>
            </a:custGeom>
            <a:solidFill>
              <a:srgbClr val="A7A49B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rgbClr val="000000"/>
                </a:solidFill>
                <a:latin typeface="+mj-lt"/>
              </a:endParaRPr>
            </a:p>
          </p:txBody>
        </p:sp>
      </p:grpSp>
      <p:cxnSp>
        <p:nvCxnSpPr>
          <p:cNvPr id="24" name="Elbow Connector 23"/>
          <p:cNvCxnSpPr>
            <a:stCxn id="110" idx="0"/>
            <a:endCxn id="95" idx="0"/>
          </p:cNvCxnSpPr>
          <p:nvPr/>
        </p:nvCxnSpPr>
        <p:spPr>
          <a:xfrm rot="10800000" flipV="1">
            <a:off x="6046188" y="2581422"/>
            <a:ext cx="12700" cy="2395226"/>
          </a:xfrm>
          <a:prstGeom prst="bentConnector3">
            <a:avLst>
              <a:gd name="adj1" fmla="val 2555354"/>
            </a:avLst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endCxn id="100" idx="6"/>
          </p:cNvCxnSpPr>
          <p:nvPr/>
        </p:nvCxnSpPr>
        <p:spPr>
          <a:xfrm flipH="1" flipV="1">
            <a:off x="5584173" y="3779035"/>
            <a:ext cx="153052" cy="2390"/>
          </a:xfrm>
          <a:prstGeom prst="line">
            <a:avLst/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17"/>
          <p:cNvSpPr>
            <a:spLocks/>
          </p:cNvSpPr>
          <p:nvPr/>
        </p:nvSpPr>
        <p:spPr bwMode="auto">
          <a:xfrm>
            <a:off x="142451" y="1106802"/>
            <a:ext cx="73896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rgbClr val="FFFFFF"/>
                </a:solidFill>
                <a:latin typeface="+mj-lt"/>
                <a:sym typeface="Helvetica Neue" charset="0"/>
              </a:rPr>
              <a:t>Интеллектуальный анализ текста</a:t>
            </a:r>
          </a:p>
        </p:txBody>
      </p:sp>
      <p:sp>
        <p:nvSpPr>
          <p:cNvPr id="79" name="Rectangle 17"/>
          <p:cNvSpPr>
            <a:spLocks/>
          </p:cNvSpPr>
          <p:nvPr/>
        </p:nvSpPr>
        <p:spPr bwMode="auto">
          <a:xfrm>
            <a:off x="142451" y="1546274"/>
            <a:ext cx="7389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rgbClr val="FFFFFF"/>
                </a:solidFill>
                <a:latin typeface="+mj-lt"/>
                <a:sym typeface="Helvetica Neue" charset="0"/>
              </a:rPr>
              <a:t>Разбивка на кластеры</a:t>
            </a:r>
          </a:p>
        </p:txBody>
      </p:sp>
      <p:sp>
        <p:nvSpPr>
          <p:cNvPr id="80" name="Rectangle 17"/>
          <p:cNvSpPr>
            <a:spLocks/>
          </p:cNvSpPr>
          <p:nvPr/>
        </p:nvSpPr>
        <p:spPr bwMode="auto">
          <a:xfrm>
            <a:off x="142451" y="1931886"/>
            <a:ext cx="73896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rgbClr val="FFFFFF"/>
                </a:solidFill>
                <a:latin typeface="+mj-lt"/>
                <a:sym typeface="Helvetica Neue" charset="0"/>
              </a:rPr>
              <a:t>Анализ </a:t>
            </a:r>
            <a:r>
              <a:rPr lang="ru-RU" sz="800" i="1" dirty="0" smtClean="0">
                <a:solidFill>
                  <a:srgbClr val="FFFFFF"/>
                </a:solidFill>
                <a:latin typeface="+mj-lt"/>
                <a:sym typeface="Helvetica Neue" charset="0"/>
              </a:rPr>
              <a:t>социального графа</a:t>
            </a:r>
            <a:endParaRPr lang="ru-RU" sz="800" i="1" dirty="0">
              <a:solidFill>
                <a:srgbClr val="FFFFFF"/>
              </a:solidFill>
              <a:latin typeface="+mj-lt"/>
              <a:sym typeface="Helvetica Neue" charset="0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148422" y="4478995"/>
            <a:ext cx="727019" cy="749071"/>
            <a:chOff x="148422" y="3478099"/>
            <a:chExt cx="727019" cy="749071"/>
          </a:xfrm>
        </p:grpSpPr>
        <p:sp>
          <p:nvSpPr>
            <p:cNvPr id="122" name="Rectangle 17"/>
            <p:cNvSpPr>
              <a:spLocks/>
            </p:cNvSpPr>
            <p:nvPr/>
          </p:nvSpPr>
          <p:spPr bwMode="auto">
            <a:xfrm>
              <a:off x="148422" y="3673172"/>
              <a:ext cx="727019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rgbClr val="FFFFFF"/>
                  </a:solidFill>
                  <a:latin typeface="+mj-lt"/>
                  <a:sym typeface="Helvetica Neue" charset="0"/>
                </a:rPr>
                <a:t>Веб-ресурсы, продукт, датчики, приложения</a:t>
              </a:r>
              <a:endParaRPr lang="ru-RU" sz="900" i="1" dirty="0">
                <a:solidFill>
                  <a:srgbClr val="FFFFFF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grpSp>
          <p:nvGrpSpPr>
            <p:cNvPr id="123" name="Group 157"/>
            <p:cNvGrpSpPr>
              <a:grpSpLocks noChangeAspect="1"/>
            </p:cNvGrpSpPr>
            <p:nvPr/>
          </p:nvGrpSpPr>
          <p:grpSpPr bwMode="auto">
            <a:xfrm>
              <a:off x="384568" y="3478099"/>
              <a:ext cx="254721" cy="240654"/>
              <a:chOff x="3815" y="1810"/>
              <a:chExt cx="2354" cy="2224"/>
            </a:xfrm>
            <a:solidFill>
              <a:schemeClr val="bg1"/>
            </a:solidFill>
          </p:grpSpPr>
          <p:sp>
            <p:nvSpPr>
              <p:cNvPr id="124" name="Freeform 159"/>
              <p:cNvSpPr>
                <a:spLocks noEditPoints="1"/>
              </p:cNvSpPr>
              <p:nvPr/>
            </p:nvSpPr>
            <p:spPr bwMode="auto">
              <a:xfrm>
                <a:off x="3815" y="1810"/>
                <a:ext cx="2021" cy="1982"/>
              </a:xfrm>
              <a:custGeom>
                <a:avLst/>
                <a:gdLst>
                  <a:gd name="T0" fmla="*/ 3423 w 4043"/>
                  <a:gd name="T1" fmla="*/ 409 h 3965"/>
                  <a:gd name="T2" fmla="*/ 3363 w 4043"/>
                  <a:gd name="T3" fmla="*/ 435 h 3965"/>
                  <a:gd name="T4" fmla="*/ 3317 w 4043"/>
                  <a:gd name="T5" fmla="*/ 481 h 3965"/>
                  <a:gd name="T6" fmla="*/ 3291 w 4043"/>
                  <a:gd name="T7" fmla="*/ 542 h 3965"/>
                  <a:gd name="T8" fmla="*/ 3291 w 4043"/>
                  <a:gd name="T9" fmla="*/ 611 h 3965"/>
                  <a:gd name="T10" fmla="*/ 3317 w 4043"/>
                  <a:gd name="T11" fmla="*/ 671 h 3965"/>
                  <a:gd name="T12" fmla="*/ 3363 w 4043"/>
                  <a:gd name="T13" fmla="*/ 716 h 3965"/>
                  <a:gd name="T14" fmla="*/ 3423 w 4043"/>
                  <a:gd name="T15" fmla="*/ 742 h 3965"/>
                  <a:gd name="T16" fmla="*/ 3491 w 4043"/>
                  <a:gd name="T17" fmla="*/ 742 h 3965"/>
                  <a:gd name="T18" fmla="*/ 3553 w 4043"/>
                  <a:gd name="T19" fmla="*/ 716 h 3965"/>
                  <a:gd name="T20" fmla="*/ 3598 w 4043"/>
                  <a:gd name="T21" fmla="*/ 671 h 3965"/>
                  <a:gd name="T22" fmla="*/ 3624 w 4043"/>
                  <a:gd name="T23" fmla="*/ 611 h 3965"/>
                  <a:gd name="T24" fmla="*/ 3624 w 4043"/>
                  <a:gd name="T25" fmla="*/ 542 h 3965"/>
                  <a:gd name="T26" fmla="*/ 3598 w 4043"/>
                  <a:gd name="T27" fmla="*/ 481 h 3965"/>
                  <a:gd name="T28" fmla="*/ 3553 w 4043"/>
                  <a:gd name="T29" fmla="*/ 435 h 3965"/>
                  <a:gd name="T30" fmla="*/ 3491 w 4043"/>
                  <a:gd name="T31" fmla="*/ 409 h 3965"/>
                  <a:gd name="T32" fmla="*/ 2924 w 4043"/>
                  <a:gd name="T33" fmla="*/ 406 h 3965"/>
                  <a:gd name="T34" fmla="*/ 2858 w 4043"/>
                  <a:gd name="T35" fmla="*/ 419 h 3965"/>
                  <a:gd name="T36" fmla="*/ 2804 w 4043"/>
                  <a:gd name="T37" fmla="*/ 456 h 3965"/>
                  <a:gd name="T38" fmla="*/ 2768 w 4043"/>
                  <a:gd name="T39" fmla="*/ 511 h 3965"/>
                  <a:gd name="T40" fmla="*/ 2755 w 4043"/>
                  <a:gd name="T41" fmla="*/ 576 h 3965"/>
                  <a:gd name="T42" fmla="*/ 2768 w 4043"/>
                  <a:gd name="T43" fmla="*/ 642 h 3965"/>
                  <a:gd name="T44" fmla="*/ 2804 w 4043"/>
                  <a:gd name="T45" fmla="*/ 696 h 3965"/>
                  <a:gd name="T46" fmla="*/ 2858 w 4043"/>
                  <a:gd name="T47" fmla="*/ 732 h 3965"/>
                  <a:gd name="T48" fmla="*/ 2924 w 4043"/>
                  <a:gd name="T49" fmla="*/ 746 h 3965"/>
                  <a:gd name="T50" fmla="*/ 2991 w 4043"/>
                  <a:gd name="T51" fmla="*/ 732 h 3965"/>
                  <a:gd name="T52" fmla="*/ 3045 w 4043"/>
                  <a:gd name="T53" fmla="*/ 696 h 3965"/>
                  <a:gd name="T54" fmla="*/ 3081 w 4043"/>
                  <a:gd name="T55" fmla="*/ 642 h 3965"/>
                  <a:gd name="T56" fmla="*/ 3094 w 4043"/>
                  <a:gd name="T57" fmla="*/ 576 h 3965"/>
                  <a:gd name="T58" fmla="*/ 3081 w 4043"/>
                  <a:gd name="T59" fmla="*/ 511 h 3965"/>
                  <a:gd name="T60" fmla="*/ 3045 w 4043"/>
                  <a:gd name="T61" fmla="*/ 456 h 3965"/>
                  <a:gd name="T62" fmla="*/ 2991 w 4043"/>
                  <a:gd name="T63" fmla="*/ 419 h 3965"/>
                  <a:gd name="T64" fmla="*/ 2924 w 4043"/>
                  <a:gd name="T65" fmla="*/ 406 h 3965"/>
                  <a:gd name="T66" fmla="*/ 3924 w 4043"/>
                  <a:gd name="T67" fmla="*/ 0 h 3965"/>
                  <a:gd name="T68" fmla="*/ 3984 w 4043"/>
                  <a:gd name="T69" fmla="*/ 18 h 3965"/>
                  <a:gd name="T70" fmla="*/ 4027 w 4043"/>
                  <a:gd name="T71" fmla="*/ 60 h 3965"/>
                  <a:gd name="T72" fmla="*/ 4043 w 4043"/>
                  <a:gd name="T73" fmla="*/ 120 h 3965"/>
                  <a:gd name="T74" fmla="*/ 4026 w 4043"/>
                  <a:gd name="T75" fmla="*/ 1778 h 3965"/>
                  <a:gd name="T76" fmla="*/ 3943 w 4043"/>
                  <a:gd name="T77" fmla="*/ 1795 h 3965"/>
                  <a:gd name="T78" fmla="*/ 3874 w 4043"/>
                  <a:gd name="T79" fmla="*/ 1841 h 3965"/>
                  <a:gd name="T80" fmla="*/ 3809 w 4043"/>
                  <a:gd name="T81" fmla="*/ 1868 h 3965"/>
                  <a:gd name="T82" fmla="*/ 3744 w 4043"/>
                  <a:gd name="T83" fmla="*/ 1878 h 3965"/>
                  <a:gd name="T84" fmla="*/ 3686 w 4043"/>
                  <a:gd name="T85" fmla="*/ 1908 h 3965"/>
                  <a:gd name="T86" fmla="*/ 357 w 4043"/>
                  <a:gd name="T87" fmla="*/ 1095 h 3965"/>
                  <a:gd name="T88" fmla="*/ 2587 w 4043"/>
                  <a:gd name="T89" fmla="*/ 3608 h 3965"/>
                  <a:gd name="T90" fmla="*/ 2585 w 4043"/>
                  <a:gd name="T91" fmla="*/ 3839 h 3965"/>
                  <a:gd name="T92" fmla="*/ 2602 w 4043"/>
                  <a:gd name="T93" fmla="*/ 3926 h 3965"/>
                  <a:gd name="T94" fmla="*/ 119 w 4043"/>
                  <a:gd name="T95" fmla="*/ 3965 h 3965"/>
                  <a:gd name="T96" fmla="*/ 59 w 4043"/>
                  <a:gd name="T97" fmla="*/ 3949 h 3965"/>
                  <a:gd name="T98" fmla="*/ 16 w 4043"/>
                  <a:gd name="T99" fmla="*/ 3906 h 3965"/>
                  <a:gd name="T100" fmla="*/ 0 w 4043"/>
                  <a:gd name="T101" fmla="*/ 3846 h 3965"/>
                  <a:gd name="T102" fmla="*/ 4 w 4043"/>
                  <a:gd name="T103" fmla="*/ 88 h 3965"/>
                  <a:gd name="T104" fmla="*/ 34 w 4043"/>
                  <a:gd name="T105" fmla="*/ 36 h 3965"/>
                  <a:gd name="T106" fmla="*/ 87 w 4043"/>
                  <a:gd name="T107" fmla="*/ 5 h 3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43" h="3965">
                    <a:moveTo>
                      <a:pt x="3457" y="406"/>
                    </a:moveTo>
                    <a:lnTo>
                      <a:pt x="3423" y="409"/>
                    </a:lnTo>
                    <a:lnTo>
                      <a:pt x="3391" y="419"/>
                    </a:lnTo>
                    <a:lnTo>
                      <a:pt x="3363" y="435"/>
                    </a:lnTo>
                    <a:lnTo>
                      <a:pt x="3337" y="456"/>
                    </a:lnTo>
                    <a:lnTo>
                      <a:pt x="3317" y="481"/>
                    </a:lnTo>
                    <a:lnTo>
                      <a:pt x="3301" y="511"/>
                    </a:lnTo>
                    <a:lnTo>
                      <a:pt x="3291" y="542"/>
                    </a:lnTo>
                    <a:lnTo>
                      <a:pt x="3287" y="576"/>
                    </a:lnTo>
                    <a:lnTo>
                      <a:pt x="3291" y="611"/>
                    </a:lnTo>
                    <a:lnTo>
                      <a:pt x="3301" y="642"/>
                    </a:lnTo>
                    <a:lnTo>
                      <a:pt x="3317" y="671"/>
                    </a:lnTo>
                    <a:lnTo>
                      <a:pt x="3337" y="696"/>
                    </a:lnTo>
                    <a:lnTo>
                      <a:pt x="3363" y="716"/>
                    </a:lnTo>
                    <a:lnTo>
                      <a:pt x="3391" y="732"/>
                    </a:lnTo>
                    <a:lnTo>
                      <a:pt x="3423" y="742"/>
                    </a:lnTo>
                    <a:lnTo>
                      <a:pt x="3457" y="746"/>
                    </a:lnTo>
                    <a:lnTo>
                      <a:pt x="3491" y="742"/>
                    </a:lnTo>
                    <a:lnTo>
                      <a:pt x="3524" y="732"/>
                    </a:lnTo>
                    <a:lnTo>
                      <a:pt x="3553" y="716"/>
                    </a:lnTo>
                    <a:lnTo>
                      <a:pt x="3577" y="696"/>
                    </a:lnTo>
                    <a:lnTo>
                      <a:pt x="3598" y="671"/>
                    </a:lnTo>
                    <a:lnTo>
                      <a:pt x="3614" y="642"/>
                    </a:lnTo>
                    <a:lnTo>
                      <a:pt x="3624" y="611"/>
                    </a:lnTo>
                    <a:lnTo>
                      <a:pt x="3627" y="576"/>
                    </a:lnTo>
                    <a:lnTo>
                      <a:pt x="3624" y="542"/>
                    </a:lnTo>
                    <a:lnTo>
                      <a:pt x="3614" y="511"/>
                    </a:lnTo>
                    <a:lnTo>
                      <a:pt x="3598" y="481"/>
                    </a:lnTo>
                    <a:lnTo>
                      <a:pt x="3577" y="456"/>
                    </a:lnTo>
                    <a:lnTo>
                      <a:pt x="3553" y="435"/>
                    </a:lnTo>
                    <a:lnTo>
                      <a:pt x="3524" y="419"/>
                    </a:lnTo>
                    <a:lnTo>
                      <a:pt x="3491" y="409"/>
                    </a:lnTo>
                    <a:lnTo>
                      <a:pt x="3457" y="406"/>
                    </a:lnTo>
                    <a:close/>
                    <a:moveTo>
                      <a:pt x="2924" y="406"/>
                    </a:moveTo>
                    <a:lnTo>
                      <a:pt x="2890" y="409"/>
                    </a:lnTo>
                    <a:lnTo>
                      <a:pt x="2858" y="419"/>
                    </a:lnTo>
                    <a:lnTo>
                      <a:pt x="2830" y="435"/>
                    </a:lnTo>
                    <a:lnTo>
                      <a:pt x="2804" y="456"/>
                    </a:lnTo>
                    <a:lnTo>
                      <a:pt x="2784" y="481"/>
                    </a:lnTo>
                    <a:lnTo>
                      <a:pt x="2768" y="511"/>
                    </a:lnTo>
                    <a:lnTo>
                      <a:pt x="2758" y="542"/>
                    </a:lnTo>
                    <a:lnTo>
                      <a:pt x="2755" y="576"/>
                    </a:lnTo>
                    <a:lnTo>
                      <a:pt x="2758" y="611"/>
                    </a:lnTo>
                    <a:lnTo>
                      <a:pt x="2768" y="642"/>
                    </a:lnTo>
                    <a:lnTo>
                      <a:pt x="2784" y="671"/>
                    </a:lnTo>
                    <a:lnTo>
                      <a:pt x="2804" y="696"/>
                    </a:lnTo>
                    <a:lnTo>
                      <a:pt x="2830" y="716"/>
                    </a:lnTo>
                    <a:lnTo>
                      <a:pt x="2858" y="732"/>
                    </a:lnTo>
                    <a:lnTo>
                      <a:pt x="2890" y="742"/>
                    </a:lnTo>
                    <a:lnTo>
                      <a:pt x="2924" y="746"/>
                    </a:lnTo>
                    <a:lnTo>
                      <a:pt x="2958" y="742"/>
                    </a:lnTo>
                    <a:lnTo>
                      <a:pt x="2991" y="732"/>
                    </a:lnTo>
                    <a:lnTo>
                      <a:pt x="3020" y="716"/>
                    </a:lnTo>
                    <a:lnTo>
                      <a:pt x="3045" y="696"/>
                    </a:lnTo>
                    <a:lnTo>
                      <a:pt x="3065" y="671"/>
                    </a:lnTo>
                    <a:lnTo>
                      <a:pt x="3081" y="642"/>
                    </a:lnTo>
                    <a:lnTo>
                      <a:pt x="3091" y="611"/>
                    </a:lnTo>
                    <a:lnTo>
                      <a:pt x="3094" y="576"/>
                    </a:lnTo>
                    <a:lnTo>
                      <a:pt x="3091" y="542"/>
                    </a:lnTo>
                    <a:lnTo>
                      <a:pt x="3081" y="511"/>
                    </a:lnTo>
                    <a:lnTo>
                      <a:pt x="3065" y="481"/>
                    </a:lnTo>
                    <a:lnTo>
                      <a:pt x="3045" y="456"/>
                    </a:lnTo>
                    <a:lnTo>
                      <a:pt x="3020" y="435"/>
                    </a:lnTo>
                    <a:lnTo>
                      <a:pt x="2991" y="419"/>
                    </a:lnTo>
                    <a:lnTo>
                      <a:pt x="2958" y="409"/>
                    </a:lnTo>
                    <a:lnTo>
                      <a:pt x="2924" y="406"/>
                    </a:lnTo>
                    <a:close/>
                    <a:moveTo>
                      <a:pt x="119" y="0"/>
                    </a:moveTo>
                    <a:lnTo>
                      <a:pt x="3924" y="0"/>
                    </a:lnTo>
                    <a:lnTo>
                      <a:pt x="3956" y="5"/>
                    </a:lnTo>
                    <a:lnTo>
                      <a:pt x="3984" y="18"/>
                    </a:lnTo>
                    <a:lnTo>
                      <a:pt x="4009" y="36"/>
                    </a:lnTo>
                    <a:lnTo>
                      <a:pt x="4027" y="60"/>
                    </a:lnTo>
                    <a:lnTo>
                      <a:pt x="4039" y="88"/>
                    </a:lnTo>
                    <a:lnTo>
                      <a:pt x="4043" y="120"/>
                    </a:lnTo>
                    <a:lnTo>
                      <a:pt x="4043" y="1778"/>
                    </a:lnTo>
                    <a:lnTo>
                      <a:pt x="4026" y="1778"/>
                    </a:lnTo>
                    <a:lnTo>
                      <a:pt x="3983" y="1783"/>
                    </a:lnTo>
                    <a:lnTo>
                      <a:pt x="3943" y="1795"/>
                    </a:lnTo>
                    <a:lnTo>
                      <a:pt x="3907" y="1815"/>
                    </a:lnTo>
                    <a:lnTo>
                      <a:pt x="3874" y="1841"/>
                    </a:lnTo>
                    <a:lnTo>
                      <a:pt x="3849" y="1873"/>
                    </a:lnTo>
                    <a:lnTo>
                      <a:pt x="3809" y="1868"/>
                    </a:lnTo>
                    <a:lnTo>
                      <a:pt x="3776" y="1871"/>
                    </a:lnTo>
                    <a:lnTo>
                      <a:pt x="3744" y="1878"/>
                    </a:lnTo>
                    <a:lnTo>
                      <a:pt x="3713" y="1891"/>
                    </a:lnTo>
                    <a:lnTo>
                      <a:pt x="3686" y="1908"/>
                    </a:lnTo>
                    <a:lnTo>
                      <a:pt x="3686" y="1095"/>
                    </a:lnTo>
                    <a:lnTo>
                      <a:pt x="357" y="1095"/>
                    </a:lnTo>
                    <a:lnTo>
                      <a:pt x="357" y="3608"/>
                    </a:lnTo>
                    <a:lnTo>
                      <a:pt x="2587" y="3608"/>
                    </a:lnTo>
                    <a:lnTo>
                      <a:pt x="2585" y="3640"/>
                    </a:lnTo>
                    <a:lnTo>
                      <a:pt x="2585" y="3839"/>
                    </a:lnTo>
                    <a:lnTo>
                      <a:pt x="2590" y="3885"/>
                    </a:lnTo>
                    <a:lnTo>
                      <a:pt x="2602" y="3926"/>
                    </a:lnTo>
                    <a:lnTo>
                      <a:pt x="2622" y="3965"/>
                    </a:lnTo>
                    <a:lnTo>
                      <a:pt x="119" y="3965"/>
                    </a:lnTo>
                    <a:lnTo>
                      <a:pt x="87" y="3961"/>
                    </a:lnTo>
                    <a:lnTo>
                      <a:pt x="59" y="3949"/>
                    </a:lnTo>
                    <a:lnTo>
                      <a:pt x="34" y="3931"/>
                    </a:lnTo>
                    <a:lnTo>
                      <a:pt x="16" y="3906"/>
                    </a:lnTo>
                    <a:lnTo>
                      <a:pt x="4" y="3878"/>
                    </a:lnTo>
                    <a:lnTo>
                      <a:pt x="0" y="3846"/>
                    </a:lnTo>
                    <a:lnTo>
                      <a:pt x="0" y="120"/>
                    </a:lnTo>
                    <a:lnTo>
                      <a:pt x="4" y="88"/>
                    </a:lnTo>
                    <a:lnTo>
                      <a:pt x="16" y="60"/>
                    </a:lnTo>
                    <a:lnTo>
                      <a:pt x="34" y="36"/>
                    </a:lnTo>
                    <a:lnTo>
                      <a:pt x="59" y="18"/>
                    </a:lnTo>
                    <a:lnTo>
                      <a:pt x="87" y="5"/>
                    </a:lnTo>
                    <a:lnTo>
                      <a:pt x="1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latin typeface="+mj-lt"/>
                </a:endParaRPr>
              </a:p>
            </p:txBody>
          </p:sp>
          <p:sp>
            <p:nvSpPr>
              <p:cNvPr id="125" name="Freeform 160"/>
              <p:cNvSpPr>
                <a:spLocks noEditPoints="1"/>
              </p:cNvSpPr>
              <p:nvPr/>
            </p:nvSpPr>
            <p:spPr bwMode="auto">
              <a:xfrm>
                <a:off x="4491" y="2507"/>
                <a:ext cx="895" cy="895"/>
              </a:xfrm>
              <a:custGeom>
                <a:avLst/>
                <a:gdLst>
                  <a:gd name="T0" fmla="*/ 727 w 1791"/>
                  <a:gd name="T1" fmla="*/ 498 h 1790"/>
                  <a:gd name="T2" fmla="*/ 554 w 1791"/>
                  <a:gd name="T3" fmla="*/ 632 h 1790"/>
                  <a:gd name="T4" fmla="*/ 469 w 1791"/>
                  <a:gd name="T5" fmla="*/ 836 h 1790"/>
                  <a:gd name="T6" fmla="*/ 499 w 1791"/>
                  <a:gd name="T7" fmla="*/ 1062 h 1790"/>
                  <a:gd name="T8" fmla="*/ 632 w 1791"/>
                  <a:gd name="T9" fmla="*/ 1236 h 1790"/>
                  <a:gd name="T10" fmla="*/ 837 w 1791"/>
                  <a:gd name="T11" fmla="*/ 1322 h 1790"/>
                  <a:gd name="T12" fmla="*/ 1063 w 1791"/>
                  <a:gd name="T13" fmla="*/ 1292 h 1790"/>
                  <a:gd name="T14" fmla="*/ 1236 w 1791"/>
                  <a:gd name="T15" fmla="*/ 1158 h 1790"/>
                  <a:gd name="T16" fmla="*/ 1323 w 1791"/>
                  <a:gd name="T17" fmla="*/ 953 h 1790"/>
                  <a:gd name="T18" fmla="*/ 1293 w 1791"/>
                  <a:gd name="T19" fmla="*/ 728 h 1790"/>
                  <a:gd name="T20" fmla="*/ 1159 w 1791"/>
                  <a:gd name="T21" fmla="*/ 553 h 1790"/>
                  <a:gd name="T22" fmla="*/ 955 w 1791"/>
                  <a:gd name="T23" fmla="*/ 468 h 1790"/>
                  <a:gd name="T24" fmla="*/ 1052 w 1791"/>
                  <a:gd name="T25" fmla="*/ 3 h 1790"/>
                  <a:gd name="T26" fmla="*/ 1139 w 1791"/>
                  <a:gd name="T27" fmla="*/ 73 h 1790"/>
                  <a:gd name="T28" fmla="*/ 1192 w 1791"/>
                  <a:gd name="T29" fmla="*/ 180 h 1790"/>
                  <a:gd name="T30" fmla="*/ 1303 w 1791"/>
                  <a:gd name="T31" fmla="*/ 142 h 1790"/>
                  <a:gd name="T32" fmla="*/ 1416 w 1791"/>
                  <a:gd name="T33" fmla="*/ 155 h 1790"/>
                  <a:gd name="T34" fmla="*/ 1649 w 1791"/>
                  <a:gd name="T35" fmla="*/ 402 h 1790"/>
                  <a:gd name="T36" fmla="*/ 1636 w 1791"/>
                  <a:gd name="T37" fmla="*/ 513 h 1790"/>
                  <a:gd name="T38" fmla="*/ 1625 w 1791"/>
                  <a:gd name="T39" fmla="*/ 638 h 1790"/>
                  <a:gd name="T40" fmla="*/ 1741 w 1791"/>
                  <a:gd name="T41" fmla="*/ 666 h 1790"/>
                  <a:gd name="T42" fmla="*/ 1791 w 1791"/>
                  <a:gd name="T43" fmla="*/ 769 h 1790"/>
                  <a:gd name="T44" fmla="*/ 1762 w 1791"/>
                  <a:gd name="T45" fmla="*/ 1104 h 1790"/>
                  <a:gd name="T46" fmla="*/ 1659 w 1791"/>
                  <a:gd name="T47" fmla="*/ 1152 h 1790"/>
                  <a:gd name="T48" fmla="*/ 1618 w 1791"/>
                  <a:gd name="T49" fmla="*/ 1252 h 1790"/>
                  <a:gd name="T50" fmla="*/ 1655 w 1791"/>
                  <a:gd name="T51" fmla="*/ 1361 h 1790"/>
                  <a:gd name="T52" fmla="*/ 1439 w 1791"/>
                  <a:gd name="T53" fmla="*/ 1617 h 1790"/>
                  <a:gd name="T54" fmla="*/ 1332 w 1791"/>
                  <a:gd name="T55" fmla="*/ 1655 h 1790"/>
                  <a:gd name="T56" fmla="*/ 1229 w 1791"/>
                  <a:gd name="T57" fmla="*/ 1592 h 1790"/>
                  <a:gd name="T58" fmla="*/ 1149 w 1791"/>
                  <a:gd name="T59" fmla="*/ 1688 h 1790"/>
                  <a:gd name="T60" fmla="*/ 1079 w 1791"/>
                  <a:gd name="T61" fmla="*/ 1777 h 1790"/>
                  <a:gd name="T62" fmla="*/ 740 w 1791"/>
                  <a:gd name="T63" fmla="*/ 1787 h 1790"/>
                  <a:gd name="T64" fmla="*/ 652 w 1791"/>
                  <a:gd name="T65" fmla="*/ 1717 h 1790"/>
                  <a:gd name="T66" fmla="*/ 600 w 1791"/>
                  <a:gd name="T67" fmla="*/ 1609 h 1790"/>
                  <a:gd name="T68" fmla="*/ 487 w 1791"/>
                  <a:gd name="T69" fmla="*/ 1648 h 1790"/>
                  <a:gd name="T70" fmla="*/ 374 w 1791"/>
                  <a:gd name="T71" fmla="*/ 1635 h 1790"/>
                  <a:gd name="T72" fmla="*/ 141 w 1791"/>
                  <a:gd name="T73" fmla="*/ 1389 h 1790"/>
                  <a:gd name="T74" fmla="*/ 154 w 1791"/>
                  <a:gd name="T75" fmla="*/ 1276 h 1790"/>
                  <a:gd name="T76" fmla="*/ 167 w 1791"/>
                  <a:gd name="T77" fmla="*/ 1152 h 1790"/>
                  <a:gd name="T78" fmla="*/ 50 w 1791"/>
                  <a:gd name="T79" fmla="*/ 1124 h 1790"/>
                  <a:gd name="T80" fmla="*/ 0 w 1791"/>
                  <a:gd name="T81" fmla="*/ 1021 h 1790"/>
                  <a:gd name="T82" fmla="*/ 29 w 1791"/>
                  <a:gd name="T83" fmla="*/ 686 h 1790"/>
                  <a:gd name="T84" fmla="*/ 133 w 1791"/>
                  <a:gd name="T85" fmla="*/ 638 h 1790"/>
                  <a:gd name="T86" fmla="*/ 174 w 1791"/>
                  <a:gd name="T87" fmla="*/ 538 h 1790"/>
                  <a:gd name="T88" fmla="*/ 136 w 1791"/>
                  <a:gd name="T89" fmla="*/ 429 h 1790"/>
                  <a:gd name="T90" fmla="*/ 351 w 1791"/>
                  <a:gd name="T91" fmla="*/ 173 h 1790"/>
                  <a:gd name="T92" fmla="*/ 459 w 1791"/>
                  <a:gd name="T93" fmla="*/ 135 h 1790"/>
                  <a:gd name="T94" fmla="*/ 562 w 1791"/>
                  <a:gd name="T95" fmla="*/ 197 h 1790"/>
                  <a:gd name="T96" fmla="*/ 642 w 1791"/>
                  <a:gd name="T97" fmla="*/ 102 h 1790"/>
                  <a:gd name="T98" fmla="*/ 712 w 1791"/>
                  <a:gd name="T99" fmla="*/ 13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91" h="1790">
                    <a:moveTo>
                      <a:pt x="896" y="463"/>
                    </a:moveTo>
                    <a:lnTo>
                      <a:pt x="837" y="468"/>
                    </a:lnTo>
                    <a:lnTo>
                      <a:pt x="780" y="479"/>
                    </a:lnTo>
                    <a:lnTo>
                      <a:pt x="727" y="498"/>
                    </a:lnTo>
                    <a:lnTo>
                      <a:pt x="677" y="523"/>
                    </a:lnTo>
                    <a:lnTo>
                      <a:pt x="632" y="553"/>
                    </a:lnTo>
                    <a:lnTo>
                      <a:pt x="590" y="590"/>
                    </a:lnTo>
                    <a:lnTo>
                      <a:pt x="554" y="632"/>
                    </a:lnTo>
                    <a:lnTo>
                      <a:pt x="523" y="678"/>
                    </a:lnTo>
                    <a:lnTo>
                      <a:pt x="499" y="728"/>
                    </a:lnTo>
                    <a:lnTo>
                      <a:pt x="480" y="781"/>
                    </a:lnTo>
                    <a:lnTo>
                      <a:pt x="469" y="836"/>
                    </a:lnTo>
                    <a:lnTo>
                      <a:pt x="464" y="895"/>
                    </a:lnTo>
                    <a:lnTo>
                      <a:pt x="469" y="953"/>
                    </a:lnTo>
                    <a:lnTo>
                      <a:pt x="480" y="1009"/>
                    </a:lnTo>
                    <a:lnTo>
                      <a:pt x="499" y="1062"/>
                    </a:lnTo>
                    <a:lnTo>
                      <a:pt x="523" y="1112"/>
                    </a:lnTo>
                    <a:lnTo>
                      <a:pt x="554" y="1158"/>
                    </a:lnTo>
                    <a:lnTo>
                      <a:pt x="590" y="1199"/>
                    </a:lnTo>
                    <a:lnTo>
                      <a:pt x="632" y="1236"/>
                    </a:lnTo>
                    <a:lnTo>
                      <a:pt x="677" y="1268"/>
                    </a:lnTo>
                    <a:lnTo>
                      <a:pt x="727" y="1292"/>
                    </a:lnTo>
                    <a:lnTo>
                      <a:pt x="780" y="1311"/>
                    </a:lnTo>
                    <a:lnTo>
                      <a:pt x="837" y="1322"/>
                    </a:lnTo>
                    <a:lnTo>
                      <a:pt x="896" y="1326"/>
                    </a:lnTo>
                    <a:lnTo>
                      <a:pt x="955" y="1322"/>
                    </a:lnTo>
                    <a:lnTo>
                      <a:pt x="1010" y="1311"/>
                    </a:lnTo>
                    <a:lnTo>
                      <a:pt x="1063" y="1292"/>
                    </a:lnTo>
                    <a:lnTo>
                      <a:pt x="1113" y="1268"/>
                    </a:lnTo>
                    <a:lnTo>
                      <a:pt x="1159" y="1236"/>
                    </a:lnTo>
                    <a:lnTo>
                      <a:pt x="1200" y="1199"/>
                    </a:lnTo>
                    <a:lnTo>
                      <a:pt x="1236" y="1158"/>
                    </a:lnTo>
                    <a:lnTo>
                      <a:pt x="1268" y="1112"/>
                    </a:lnTo>
                    <a:lnTo>
                      <a:pt x="1293" y="1062"/>
                    </a:lnTo>
                    <a:lnTo>
                      <a:pt x="1310" y="1009"/>
                    </a:lnTo>
                    <a:lnTo>
                      <a:pt x="1323" y="953"/>
                    </a:lnTo>
                    <a:lnTo>
                      <a:pt x="1326" y="895"/>
                    </a:lnTo>
                    <a:lnTo>
                      <a:pt x="1323" y="836"/>
                    </a:lnTo>
                    <a:lnTo>
                      <a:pt x="1310" y="781"/>
                    </a:lnTo>
                    <a:lnTo>
                      <a:pt x="1293" y="728"/>
                    </a:lnTo>
                    <a:lnTo>
                      <a:pt x="1268" y="678"/>
                    </a:lnTo>
                    <a:lnTo>
                      <a:pt x="1236" y="632"/>
                    </a:lnTo>
                    <a:lnTo>
                      <a:pt x="1200" y="590"/>
                    </a:lnTo>
                    <a:lnTo>
                      <a:pt x="1159" y="553"/>
                    </a:lnTo>
                    <a:lnTo>
                      <a:pt x="1113" y="523"/>
                    </a:lnTo>
                    <a:lnTo>
                      <a:pt x="1063" y="498"/>
                    </a:lnTo>
                    <a:lnTo>
                      <a:pt x="1010" y="479"/>
                    </a:lnTo>
                    <a:lnTo>
                      <a:pt x="955" y="468"/>
                    </a:lnTo>
                    <a:lnTo>
                      <a:pt x="896" y="463"/>
                    </a:lnTo>
                    <a:close/>
                    <a:moveTo>
                      <a:pt x="770" y="0"/>
                    </a:moveTo>
                    <a:lnTo>
                      <a:pt x="1020" y="0"/>
                    </a:lnTo>
                    <a:lnTo>
                      <a:pt x="1052" y="3"/>
                    </a:lnTo>
                    <a:lnTo>
                      <a:pt x="1079" y="13"/>
                    </a:lnTo>
                    <a:lnTo>
                      <a:pt x="1103" y="29"/>
                    </a:lnTo>
                    <a:lnTo>
                      <a:pt x="1125" y="49"/>
                    </a:lnTo>
                    <a:lnTo>
                      <a:pt x="1139" y="73"/>
                    </a:lnTo>
                    <a:lnTo>
                      <a:pt x="1149" y="102"/>
                    </a:lnTo>
                    <a:lnTo>
                      <a:pt x="1153" y="132"/>
                    </a:lnTo>
                    <a:lnTo>
                      <a:pt x="1153" y="166"/>
                    </a:lnTo>
                    <a:lnTo>
                      <a:pt x="1192" y="180"/>
                    </a:lnTo>
                    <a:lnTo>
                      <a:pt x="1229" y="197"/>
                    </a:lnTo>
                    <a:lnTo>
                      <a:pt x="1253" y="173"/>
                    </a:lnTo>
                    <a:lnTo>
                      <a:pt x="1276" y="155"/>
                    </a:lnTo>
                    <a:lnTo>
                      <a:pt x="1303" y="142"/>
                    </a:lnTo>
                    <a:lnTo>
                      <a:pt x="1332" y="135"/>
                    </a:lnTo>
                    <a:lnTo>
                      <a:pt x="1360" y="135"/>
                    </a:lnTo>
                    <a:lnTo>
                      <a:pt x="1389" y="142"/>
                    </a:lnTo>
                    <a:lnTo>
                      <a:pt x="1416" y="155"/>
                    </a:lnTo>
                    <a:lnTo>
                      <a:pt x="1439" y="173"/>
                    </a:lnTo>
                    <a:lnTo>
                      <a:pt x="1618" y="350"/>
                    </a:lnTo>
                    <a:lnTo>
                      <a:pt x="1636" y="375"/>
                    </a:lnTo>
                    <a:lnTo>
                      <a:pt x="1649" y="402"/>
                    </a:lnTo>
                    <a:lnTo>
                      <a:pt x="1655" y="429"/>
                    </a:lnTo>
                    <a:lnTo>
                      <a:pt x="1655" y="459"/>
                    </a:lnTo>
                    <a:lnTo>
                      <a:pt x="1649" y="488"/>
                    </a:lnTo>
                    <a:lnTo>
                      <a:pt x="1636" y="513"/>
                    </a:lnTo>
                    <a:lnTo>
                      <a:pt x="1618" y="538"/>
                    </a:lnTo>
                    <a:lnTo>
                      <a:pt x="1593" y="562"/>
                    </a:lnTo>
                    <a:lnTo>
                      <a:pt x="1609" y="599"/>
                    </a:lnTo>
                    <a:lnTo>
                      <a:pt x="1625" y="638"/>
                    </a:lnTo>
                    <a:lnTo>
                      <a:pt x="1659" y="638"/>
                    </a:lnTo>
                    <a:lnTo>
                      <a:pt x="1689" y="640"/>
                    </a:lnTo>
                    <a:lnTo>
                      <a:pt x="1716" y="651"/>
                    </a:lnTo>
                    <a:lnTo>
                      <a:pt x="1741" y="666"/>
                    </a:lnTo>
                    <a:lnTo>
                      <a:pt x="1762" y="686"/>
                    </a:lnTo>
                    <a:lnTo>
                      <a:pt x="1778" y="712"/>
                    </a:lnTo>
                    <a:lnTo>
                      <a:pt x="1788" y="739"/>
                    </a:lnTo>
                    <a:lnTo>
                      <a:pt x="1791" y="769"/>
                    </a:lnTo>
                    <a:lnTo>
                      <a:pt x="1791" y="1021"/>
                    </a:lnTo>
                    <a:lnTo>
                      <a:pt x="1788" y="1051"/>
                    </a:lnTo>
                    <a:lnTo>
                      <a:pt x="1778" y="1079"/>
                    </a:lnTo>
                    <a:lnTo>
                      <a:pt x="1762" y="1104"/>
                    </a:lnTo>
                    <a:lnTo>
                      <a:pt x="1741" y="1124"/>
                    </a:lnTo>
                    <a:lnTo>
                      <a:pt x="1716" y="1139"/>
                    </a:lnTo>
                    <a:lnTo>
                      <a:pt x="1689" y="1149"/>
                    </a:lnTo>
                    <a:lnTo>
                      <a:pt x="1659" y="1152"/>
                    </a:lnTo>
                    <a:lnTo>
                      <a:pt x="1625" y="1152"/>
                    </a:lnTo>
                    <a:lnTo>
                      <a:pt x="1609" y="1191"/>
                    </a:lnTo>
                    <a:lnTo>
                      <a:pt x="1593" y="1228"/>
                    </a:lnTo>
                    <a:lnTo>
                      <a:pt x="1618" y="1252"/>
                    </a:lnTo>
                    <a:lnTo>
                      <a:pt x="1636" y="1276"/>
                    </a:lnTo>
                    <a:lnTo>
                      <a:pt x="1649" y="1304"/>
                    </a:lnTo>
                    <a:lnTo>
                      <a:pt x="1655" y="1331"/>
                    </a:lnTo>
                    <a:lnTo>
                      <a:pt x="1655" y="1361"/>
                    </a:lnTo>
                    <a:lnTo>
                      <a:pt x="1649" y="1389"/>
                    </a:lnTo>
                    <a:lnTo>
                      <a:pt x="1636" y="1415"/>
                    </a:lnTo>
                    <a:lnTo>
                      <a:pt x="1618" y="1439"/>
                    </a:lnTo>
                    <a:lnTo>
                      <a:pt x="1439" y="1617"/>
                    </a:lnTo>
                    <a:lnTo>
                      <a:pt x="1416" y="1635"/>
                    </a:lnTo>
                    <a:lnTo>
                      <a:pt x="1389" y="1648"/>
                    </a:lnTo>
                    <a:lnTo>
                      <a:pt x="1360" y="1655"/>
                    </a:lnTo>
                    <a:lnTo>
                      <a:pt x="1332" y="1655"/>
                    </a:lnTo>
                    <a:lnTo>
                      <a:pt x="1303" y="1648"/>
                    </a:lnTo>
                    <a:lnTo>
                      <a:pt x="1276" y="1635"/>
                    </a:lnTo>
                    <a:lnTo>
                      <a:pt x="1253" y="1617"/>
                    </a:lnTo>
                    <a:lnTo>
                      <a:pt x="1229" y="1592"/>
                    </a:lnTo>
                    <a:lnTo>
                      <a:pt x="1192" y="1609"/>
                    </a:lnTo>
                    <a:lnTo>
                      <a:pt x="1153" y="1624"/>
                    </a:lnTo>
                    <a:lnTo>
                      <a:pt x="1153" y="1658"/>
                    </a:lnTo>
                    <a:lnTo>
                      <a:pt x="1149" y="1688"/>
                    </a:lnTo>
                    <a:lnTo>
                      <a:pt x="1139" y="1717"/>
                    </a:lnTo>
                    <a:lnTo>
                      <a:pt x="1125" y="1741"/>
                    </a:lnTo>
                    <a:lnTo>
                      <a:pt x="1103" y="1761"/>
                    </a:lnTo>
                    <a:lnTo>
                      <a:pt x="1079" y="1777"/>
                    </a:lnTo>
                    <a:lnTo>
                      <a:pt x="1052" y="1787"/>
                    </a:lnTo>
                    <a:lnTo>
                      <a:pt x="1020" y="1790"/>
                    </a:lnTo>
                    <a:lnTo>
                      <a:pt x="770" y="1790"/>
                    </a:lnTo>
                    <a:lnTo>
                      <a:pt x="740" y="1787"/>
                    </a:lnTo>
                    <a:lnTo>
                      <a:pt x="712" y="1777"/>
                    </a:lnTo>
                    <a:lnTo>
                      <a:pt x="687" y="1761"/>
                    </a:lnTo>
                    <a:lnTo>
                      <a:pt x="667" y="1741"/>
                    </a:lnTo>
                    <a:lnTo>
                      <a:pt x="652" y="1717"/>
                    </a:lnTo>
                    <a:lnTo>
                      <a:pt x="642" y="1688"/>
                    </a:lnTo>
                    <a:lnTo>
                      <a:pt x="637" y="1658"/>
                    </a:lnTo>
                    <a:lnTo>
                      <a:pt x="637" y="1624"/>
                    </a:lnTo>
                    <a:lnTo>
                      <a:pt x="600" y="1609"/>
                    </a:lnTo>
                    <a:lnTo>
                      <a:pt x="562" y="1592"/>
                    </a:lnTo>
                    <a:lnTo>
                      <a:pt x="537" y="1617"/>
                    </a:lnTo>
                    <a:lnTo>
                      <a:pt x="514" y="1635"/>
                    </a:lnTo>
                    <a:lnTo>
                      <a:pt x="487" y="1648"/>
                    </a:lnTo>
                    <a:lnTo>
                      <a:pt x="459" y="1655"/>
                    </a:lnTo>
                    <a:lnTo>
                      <a:pt x="430" y="1655"/>
                    </a:lnTo>
                    <a:lnTo>
                      <a:pt x="401" y="1648"/>
                    </a:lnTo>
                    <a:lnTo>
                      <a:pt x="374" y="1635"/>
                    </a:lnTo>
                    <a:lnTo>
                      <a:pt x="351" y="1617"/>
                    </a:lnTo>
                    <a:lnTo>
                      <a:pt x="174" y="1439"/>
                    </a:lnTo>
                    <a:lnTo>
                      <a:pt x="154" y="1415"/>
                    </a:lnTo>
                    <a:lnTo>
                      <a:pt x="141" y="1389"/>
                    </a:lnTo>
                    <a:lnTo>
                      <a:pt x="136" y="1361"/>
                    </a:lnTo>
                    <a:lnTo>
                      <a:pt x="136" y="1331"/>
                    </a:lnTo>
                    <a:lnTo>
                      <a:pt x="141" y="1304"/>
                    </a:lnTo>
                    <a:lnTo>
                      <a:pt x="154" y="1276"/>
                    </a:lnTo>
                    <a:lnTo>
                      <a:pt x="174" y="1252"/>
                    </a:lnTo>
                    <a:lnTo>
                      <a:pt x="199" y="1228"/>
                    </a:lnTo>
                    <a:lnTo>
                      <a:pt x="181" y="1191"/>
                    </a:lnTo>
                    <a:lnTo>
                      <a:pt x="167" y="1152"/>
                    </a:lnTo>
                    <a:lnTo>
                      <a:pt x="133" y="1152"/>
                    </a:lnTo>
                    <a:lnTo>
                      <a:pt x="101" y="1149"/>
                    </a:lnTo>
                    <a:lnTo>
                      <a:pt x="74" y="1139"/>
                    </a:lnTo>
                    <a:lnTo>
                      <a:pt x="50" y="1124"/>
                    </a:lnTo>
                    <a:lnTo>
                      <a:pt x="29" y="1104"/>
                    </a:lnTo>
                    <a:lnTo>
                      <a:pt x="14" y="1079"/>
                    </a:lnTo>
                    <a:lnTo>
                      <a:pt x="4" y="1051"/>
                    </a:lnTo>
                    <a:lnTo>
                      <a:pt x="0" y="1021"/>
                    </a:lnTo>
                    <a:lnTo>
                      <a:pt x="0" y="769"/>
                    </a:lnTo>
                    <a:lnTo>
                      <a:pt x="4" y="739"/>
                    </a:lnTo>
                    <a:lnTo>
                      <a:pt x="14" y="712"/>
                    </a:lnTo>
                    <a:lnTo>
                      <a:pt x="29" y="686"/>
                    </a:lnTo>
                    <a:lnTo>
                      <a:pt x="50" y="666"/>
                    </a:lnTo>
                    <a:lnTo>
                      <a:pt x="74" y="651"/>
                    </a:lnTo>
                    <a:lnTo>
                      <a:pt x="101" y="640"/>
                    </a:lnTo>
                    <a:lnTo>
                      <a:pt x="133" y="638"/>
                    </a:lnTo>
                    <a:lnTo>
                      <a:pt x="167" y="638"/>
                    </a:lnTo>
                    <a:lnTo>
                      <a:pt x="181" y="599"/>
                    </a:lnTo>
                    <a:lnTo>
                      <a:pt x="199" y="562"/>
                    </a:lnTo>
                    <a:lnTo>
                      <a:pt x="174" y="538"/>
                    </a:lnTo>
                    <a:lnTo>
                      <a:pt x="154" y="513"/>
                    </a:lnTo>
                    <a:lnTo>
                      <a:pt x="141" y="488"/>
                    </a:lnTo>
                    <a:lnTo>
                      <a:pt x="136" y="459"/>
                    </a:lnTo>
                    <a:lnTo>
                      <a:pt x="136" y="429"/>
                    </a:lnTo>
                    <a:lnTo>
                      <a:pt x="141" y="402"/>
                    </a:lnTo>
                    <a:lnTo>
                      <a:pt x="154" y="375"/>
                    </a:lnTo>
                    <a:lnTo>
                      <a:pt x="174" y="350"/>
                    </a:lnTo>
                    <a:lnTo>
                      <a:pt x="351" y="173"/>
                    </a:lnTo>
                    <a:lnTo>
                      <a:pt x="376" y="155"/>
                    </a:lnTo>
                    <a:lnTo>
                      <a:pt x="401" y="142"/>
                    </a:lnTo>
                    <a:lnTo>
                      <a:pt x="430" y="135"/>
                    </a:lnTo>
                    <a:lnTo>
                      <a:pt x="459" y="135"/>
                    </a:lnTo>
                    <a:lnTo>
                      <a:pt x="487" y="142"/>
                    </a:lnTo>
                    <a:lnTo>
                      <a:pt x="514" y="155"/>
                    </a:lnTo>
                    <a:lnTo>
                      <a:pt x="537" y="173"/>
                    </a:lnTo>
                    <a:lnTo>
                      <a:pt x="562" y="197"/>
                    </a:lnTo>
                    <a:lnTo>
                      <a:pt x="600" y="180"/>
                    </a:lnTo>
                    <a:lnTo>
                      <a:pt x="637" y="166"/>
                    </a:lnTo>
                    <a:lnTo>
                      <a:pt x="637" y="132"/>
                    </a:lnTo>
                    <a:lnTo>
                      <a:pt x="642" y="102"/>
                    </a:lnTo>
                    <a:lnTo>
                      <a:pt x="652" y="73"/>
                    </a:lnTo>
                    <a:lnTo>
                      <a:pt x="667" y="49"/>
                    </a:lnTo>
                    <a:lnTo>
                      <a:pt x="687" y="29"/>
                    </a:lnTo>
                    <a:lnTo>
                      <a:pt x="712" y="13"/>
                    </a:lnTo>
                    <a:lnTo>
                      <a:pt x="740" y="3"/>
                    </a:lnTo>
                    <a:lnTo>
                      <a:pt x="7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latin typeface="+mj-lt"/>
                </a:endParaRPr>
              </a:p>
            </p:txBody>
          </p:sp>
          <p:sp>
            <p:nvSpPr>
              <p:cNvPr id="126" name="Freeform 161"/>
              <p:cNvSpPr>
                <a:spLocks noEditPoints="1"/>
              </p:cNvSpPr>
              <p:nvPr/>
            </p:nvSpPr>
            <p:spPr bwMode="auto">
              <a:xfrm>
                <a:off x="5171" y="3325"/>
                <a:ext cx="710" cy="709"/>
              </a:xfrm>
              <a:custGeom>
                <a:avLst/>
                <a:gdLst>
                  <a:gd name="T0" fmla="*/ 602 w 1421"/>
                  <a:gd name="T1" fmla="*/ 385 h 1419"/>
                  <a:gd name="T2" fmla="*/ 469 w 1421"/>
                  <a:gd name="T3" fmla="*/ 467 h 1419"/>
                  <a:gd name="T4" fmla="*/ 386 w 1421"/>
                  <a:gd name="T5" fmla="*/ 602 h 1419"/>
                  <a:gd name="T6" fmla="*/ 373 w 1421"/>
                  <a:gd name="T7" fmla="*/ 765 h 1419"/>
                  <a:gd name="T8" fmla="*/ 435 w 1421"/>
                  <a:gd name="T9" fmla="*/ 912 h 1419"/>
                  <a:gd name="T10" fmla="*/ 553 w 1421"/>
                  <a:gd name="T11" fmla="*/ 1013 h 1419"/>
                  <a:gd name="T12" fmla="*/ 711 w 1421"/>
                  <a:gd name="T13" fmla="*/ 1051 h 1419"/>
                  <a:gd name="T14" fmla="*/ 868 w 1421"/>
                  <a:gd name="T15" fmla="*/ 1013 h 1419"/>
                  <a:gd name="T16" fmla="*/ 986 w 1421"/>
                  <a:gd name="T17" fmla="*/ 912 h 1419"/>
                  <a:gd name="T18" fmla="*/ 1048 w 1421"/>
                  <a:gd name="T19" fmla="*/ 765 h 1419"/>
                  <a:gd name="T20" fmla="*/ 1035 w 1421"/>
                  <a:gd name="T21" fmla="*/ 602 h 1419"/>
                  <a:gd name="T22" fmla="*/ 952 w 1421"/>
                  <a:gd name="T23" fmla="*/ 467 h 1419"/>
                  <a:gd name="T24" fmla="*/ 819 w 1421"/>
                  <a:gd name="T25" fmla="*/ 385 h 1419"/>
                  <a:gd name="T26" fmla="*/ 611 w 1421"/>
                  <a:gd name="T27" fmla="*/ 0 h 1419"/>
                  <a:gd name="T28" fmla="*/ 864 w 1421"/>
                  <a:gd name="T29" fmla="*/ 14 h 1419"/>
                  <a:gd name="T30" fmla="*/ 911 w 1421"/>
                  <a:gd name="T31" fmla="*/ 76 h 1419"/>
                  <a:gd name="T32" fmla="*/ 975 w 1421"/>
                  <a:gd name="T33" fmla="*/ 156 h 1419"/>
                  <a:gd name="T34" fmla="*/ 1032 w 1421"/>
                  <a:gd name="T35" fmla="*/ 113 h 1419"/>
                  <a:gd name="T36" fmla="*/ 1085 w 1421"/>
                  <a:gd name="T37" fmla="*/ 107 h 1419"/>
                  <a:gd name="T38" fmla="*/ 1142 w 1421"/>
                  <a:gd name="T39" fmla="*/ 137 h 1419"/>
                  <a:gd name="T40" fmla="*/ 1311 w 1421"/>
                  <a:gd name="T41" fmla="*/ 326 h 1419"/>
                  <a:gd name="T42" fmla="*/ 1299 w 1421"/>
                  <a:gd name="T43" fmla="*/ 403 h 1419"/>
                  <a:gd name="T44" fmla="*/ 1288 w 1421"/>
                  <a:gd name="T45" fmla="*/ 505 h 1419"/>
                  <a:gd name="T46" fmla="*/ 1368 w 1421"/>
                  <a:gd name="T47" fmla="*/ 519 h 1419"/>
                  <a:gd name="T48" fmla="*/ 1417 w 1421"/>
                  <a:gd name="T49" fmla="*/ 582 h 1419"/>
                  <a:gd name="T50" fmla="*/ 1417 w 1421"/>
                  <a:gd name="T51" fmla="*/ 836 h 1419"/>
                  <a:gd name="T52" fmla="*/ 1368 w 1421"/>
                  <a:gd name="T53" fmla="*/ 899 h 1419"/>
                  <a:gd name="T54" fmla="*/ 1288 w 1421"/>
                  <a:gd name="T55" fmla="*/ 913 h 1419"/>
                  <a:gd name="T56" fmla="*/ 1299 w 1421"/>
                  <a:gd name="T57" fmla="*/ 1015 h 1419"/>
                  <a:gd name="T58" fmla="*/ 1311 w 1421"/>
                  <a:gd name="T59" fmla="*/ 1093 h 1419"/>
                  <a:gd name="T60" fmla="*/ 1142 w 1421"/>
                  <a:gd name="T61" fmla="*/ 1282 h 1419"/>
                  <a:gd name="T62" fmla="*/ 1068 w 1421"/>
                  <a:gd name="T63" fmla="*/ 1312 h 1419"/>
                  <a:gd name="T64" fmla="*/ 994 w 1421"/>
                  <a:gd name="T65" fmla="*/ 1282 h 1419"/>
                  <a:gd name="T66" fmla="*/ 915 w 1421"/>
                  <a:gd name="T67" fmla="*/ 1315 h 1419"/>
                  <a:gd name="T68" fmla="*/ 884 w 1421"/>
                  <a:gd name="T69" fmla="*/ 1388 h 1419"/>
                  <a:gd name="T70" fmla="*/ 811 w 1421"/>
                  <a:gd name="T71" fmla="*/ 1419 h 1419"/>
                  <a:gd name="T72" fmla="*/ 558 w 1421"/>
                  <a:gd name="T73" fmla="*/ 1405 h 1419"/>
                  <a:gd name="T74" fmla="*/ 511 w 1421"/>
                  <a:gd name="T75" fmla="*/ 1342 h 1419"/>
                  <a:gd name="T76" fmla="*/ 446 w 1421"/>
                  <a:gd name="T77" fmla="*/ 1262 h 1419"/>
                  <a:gd name="T78" fmla="*/ 379 w 1421"/>
                  <a:gd name="T79" fmla="*/ 1309 h 1419"/>
                  <a:gd name="T80" fmla="*/ 302 w 1421"/>
                  <a:gd name="T81" fmla="*/ 1299 h 1419"/>
                  <a:gd name="T82" fmla="*/ 122 w 1421"/>
                  <a:gd name="T83" fmla="*/ 1119 h 1419"/>
                  <a:gd name="T84" fmla="*/ 110 w 1421"/>
                  <a:gd name="T85" fmla="*/ 1041 h 1419"/>
                  <a:gd name="T86" fmla="*/ 158 w 1421"/>
                  <a:gd name="T87" fmla="*/ 973 h 1419"/>
                  <a:gd name="T88" fmla="*/ 78 w 1421"/>
                  <a:gd name="T89" fmla="*/ 911 h 1419"/>
                  <a:gd name="T90" fmla="*/ 15 w 1421"/>
                  <a:gd name="T91" fmla="*/ 862 h 1419"/>
                  <a:gd name="T92" fmla="*/ 0 w 1421"/>
                  <a:gd name="T93" fmla="*/ 610 h 1419"/>
                  <a:gd name="T94" fmla="*/ 32 w 1421"/>
                  <a:gd name="T95" fmla="*/ 536 h 1419"/>
                  <a:gd name="T96" fmla="*/ 106 w 1421"/>
                  <a:gd name="T97" fmla="*/ 505 h 1419"/>
                  <a:gd name="T98" fmla="*/ 139 w 1421"/>
                  <a:gd name="T99" fmla="*/ 426 h 1419"/>
                  <a:gd name="T100" fmla="*/ 108 w 1421"/>
                  <a:gd name="T101" fmla="*/ 352 h 1419"/>
                  <a:gd name="T102" fmla="*/ 139 w 1421"/>
                  <a:gd name="T103" fmla="*/ 277 h 1419"/>
                  <a:gd name="T104" fmla="*/ 326 w 1421"/>
                  <a:gd name="T105" fmla="*/ 110 h 1419"/>
                  <a:gd name="T106" fmla="*/ 405 w 1421"/>
                  <a:gd name="T107" fmla="*/ 120 h 1419"/>
                  <a:gd name="T108" fmla="*/ 506 w 1421"/>
                  <a:gd name="T109" fmla="*/ 132 h 1419"/>
                  <a:gd name="T110" fmla="*/ 521 w 1421"/>
                  <a:gd name="T111" fmla="*/ 52 h 1419"/>
                  <a:gd name="T112" fmla="*/ 583 w 1421"/>
                  <a:gd name="T113" fmla="*/ 3 h 1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21" h="1419">
                    <a:moveTo>
                      <a:pt x="711" y="367"/>
                    </a:moveTo>
                    <a:lnTo>
                      <a:pt x="655" y="372"/>
                    </a:lnTo>
                    <a:lnTo>
                      <a:pt x="602" y="385"/>
                    </a:lnTo>
                    <a:lnTo>
                      <a:pt x="553" y="406"/>
                    </a:lnTo>
                    <a:lnTo>
                      <a:pt x="509" y="433"/>
                    </a:lnTo>
                    <a:lnTo>
                      <a:pt x="469" y="467"/>
                    </a:lnTo>
                    <a:lnTo>
                      <a:pt x="435" y="508"/>
                    </a:lnTo>
                    <a:lnTo>
                      <a:pt x="406" y="552"/>
                    </a:lnTo>
                    <a:lnTo>
                      <a:pt x="386" y="602"/>
                    </a:lnTo>
                    <a:lnTo>
                      <a:pt x="373" y="653"/>
                    </a:lnTo>
                    <a:lnTo>
                      <a:pt x="369" y="709"/>
                    </a:lnTo>
                    <a:lnTo>
                      <a:pt x="373" y="765"/>
                    </a:lnTo>
                    <a:lnTo>
                      <a:pt x="386" y="818"/>
                    </a:lnTo>
                    <a:lnTo>
                      <a:pt x="406" y="866"/>
                    </a:lnTo>
                    <a:lnTo>
                      <a:pt x="435" y="912"/>
                    </a:lnTo>
                    <a:lnTo>
                      <a:pt x="469" y="951"/>
                    </a:lnTo>
                    <a:lnTo>
                      <a:pt x="509" y="985"/>
                    </a:lnTo>
                    <a:lnTo>
                      <a:pt x="553" y="1013"/>
                    </a:lnTo>
                    <a:lnTo>
                      <a:pt x="602" y="1033"/>
                    </a:lnTo>
                    <a:lnTo>
                      <a:pt x="655" y="1046"/>
                    </a:lnTo>
                    <a:lnTo>
                      <a:pt x="711" y="1051"/>
                    </a:lnTo>
                    <a:lnTo>
                      <a:pt x="766" y="1046"/>
                    </a:lnTo>
                    <a:lnTo>
                      <a:pt x="819" y="1033"/>
                    </a:lnTo>
                    <a:lnTo>
                      <a:pt x="868" y="1013"/>
                    </a:lnTo>
                    <a:lnTo>
                      <a:pt x="912" y="985"/>
                    </a:lnTo>
                    <a:lnTo>
                      <a:pt x="952" y="951"/>
                    </a:lnTo>
                    <a:lnTo>
                      <a:pt x="986" y="912"/>
                    </a:lnTo>
                    <a:lnTo>
                      <a:pt x="1014" y="866"/>
                    </a:lnTo>
                    <a:lnTo>
                      <a:pt x="1035" y="818"/>
                    </a:lnTo>
                    <a:lnTo>
                      <a:pt x="1048" y="765"/>
                    </a:lnTo>
                    <a:lnTo>
                      <a:pt x="1052" y="709"/>
                    </a:lnTo>
                    <a:lnTo>
                      <a:pt x="1048" y="653"/>
                    </a:lnTo>
                    <a:lnTo>
                      <a:pt x="1035" y="602"/>
                    </a:lnTo>
                    <a:lnTo>
                      <a:pt x="1014" y="552"/>
                    </a:lnTo>
                    <a:lnTo>
                      <a:pt x="986" y="508"/>
                    </a:lnTo>
                    <a:lnTo>
                      <a:pt x="952" y="467"/>
                    </a:lnTo>
                    <a:lnTo>
                      <a:pt x="912" y="433"/>
                    </a:lnTo>
                    <a:lnTo>
                      <a:pt x="868" y="406"/>
                    </a:lnTo>
                    <a:lnTo>
                      <a:pt x="819" y="385"/>
                    </a:lnTo>
                    <a:lnTo>
                      <a:pt x="766" y="372"/>
                    </a:lnTo>
                    <a:lnTo>
                      <a:pt x="711" y="367"/>
                    </a:lnTo>
                    <a:close/>
                    <a:moveTo>
                      <a:pt x="611" y="0"/>
                    </a:moveTo>
                    <a:lnTo>
                      <a:pt x="811" y="0"/>
                    </a:lnTo>
                    <a:lnTo>
                      <a:pt x="838" y="3"/>
                    </a:lnTo>
                    <a:lnTo>
                      <a:pt x="864" y="14"/>
                    </a:lnTo>
                    <a:lnTo>
                      <a:pt x="884" y="30"/>
                    </a:lnTo>
                    <a:lnTo>
                      <a:pt x="901" y="52"/>
                    </a:lnTo>
                    <a:lnTo>
                      <a:pt x="911" y="76"/>
                    </a:lnTo>
                    <a:lnTo>
                      <a:pt x="915" y="104"/>
                    </a:lnTo>
                    <a:lnTo>
                      <a:pt x="915" y="132"/>
                    </a:lnTo>
                    <a:lnTo>
                      <a:pt x="975" y="156"/>
                    </a:lnTo>
                    <a:lnTo>
                      <a:pt x="994" y="137"/>
                    </a:lnTo>
                    <a:lnTo>
                      <a:pt x="1014" y="122"/>
                    </a:lnTo>
                    <a:lnTo>
                      <a:pt x="1032" y="113"/>
                    </a:lnTo>
                    <a:lnTo>
                      <a:pt x="1052" y="107"/>
                    </a:lnTo>
                    <a:lnTo>
                      <a:pt x="1069" y="107"/>
                    </a:lnTo>
                    <a:lnTo>
                      <a:pt x="1085" y="107"/>
                    </a:lnTo>
                    <a:lnTo>
                      <a:pt x="1095" y="110"/>
                    </a:lnTo>
                    <a:lnTo>
                      <a:pt x="1121" y="120"/>
                    </a:lnTo>
                    <a:lnTo>
                      <a:pt x="1142" y="137"/>
                    </a:lnTo>
                    <a:lnTo>
                      <a:pt x="1282" y="277"/>
                    </a:lnTo>
                    <a:lnTo>
                      <a:pt x="1299" y="300"/>
                    </a:lnTo>
                    <a:lnTo>
                      <a:pt x="1311" y="326"/>
                    </a:lnTo>
                    <a:lnTo>
                      <a:pt x="1314" y="352"/>
                    </a:lnTo>
                    <a:lnTo>
                      <a:pt x="1311" y="379"/>
                    </a:lnTo>
                    <a:lnTo>
                      <a:pt x="1299" y="403"/>
                    </a:lnTo>
                    <a:lnTo>
                      <a:pt x="1282" y="426"/>
                    </a:lnTo>
                    <a:lnTo>
                      <a:pt x="1264" y="445"/>
                    </a:lnTo>
                    <a:lnTo>
                      <a:pt x="1288" y="505"/>
                    </a:lnTo>
                    <a:lnTo>
                      <a:pt x="1315" y="505"/>
                    </a:lnTo>
                    <a:lnTo>
                      <a:pt x="1344" y="509"/>
                    </a:lnTo>
                    <a:lnTo>
                      <a:pt x="1368" y="519"/>
                    </a:lnTo>
                    <a:lnTo>
                      <a:pt x="1389" y="536"/>
                    </a:lnTo>
                    <a:lnTo>
                      <a:pt x="1407" y="558"/>
                    </a:lnTo>
                    <a:lnTo>
                      <a:pt x="1417" y="582"/>
                    </a:lnTo>
                    <a:lnTo>
                      <a:pt x="1421" y="610"/>
                    </a:lnTo>
                    <a:lnTo>
                      <a:pt x="1421" y="809"/>
                    </a:lnTo>
                    <a:lnTo>
                      <a:pt x="1417" y="836"/>
                    </a:lnTo>
                    <a:lnTo>
                      <a:pt x="1407" y="862"/>
                    </a:lnTo>
                    <a:lnTo>
                      <a:pt x="1389" y="883"/>
                    </a:lnTo>
                    <a:lnTo>
                      <a:pt x="1368" y="899"/>
                    </a:lnTo>
                    <a:lnTo>
                      <a:pt x="1344" y="911"/>
                    </a:lnTo>
                    <a:lnTo>
                      <a:pt x="1315" y="913"/>
                    </a:lnTo>
                    <a:lnTo>
                      <a:pt x="1288" y="913"/>
                    </a:lnTo>
                    <a:lnTo>
                      <a:pt x="1264" y="973"/>
                    </a:lnTo>
                    <a:lnTo>
                      <a:pt x="1282" y="993"/>
                    </a:lnTo>
                    <a:lnTo>
                      <a:pt x="1299" y="1015"/>
                    </a:lnTo>
                    <a:lnTo>
                      <a:pt x="1311" y="1041"/>
                    </a:lnTo>
                    <a:lnTo>
                      <a:pt x="1314" y="1066"/>
                    </a:lnTo>
                    <a:lnTo>
                      <a:pt x="1311" y="1093"/>
                    </a:lnTo>
                    <a:lnTo>
                      <a:pt x="1299" y="1119"/>
                    </a:lnTo>
                    <a:lnTo>
                      <a:pt x="1282" y="1141"/>
                    </a:lnTo>
                    <a:lnTo>
                      <a:pt x="1142" y="1282"/>
                    </a:lnTo>
                    <a:lnTo>
                      <a:pt x="1119" y="1299"/>
                    </a:lnTo>
                    <a:lnTo>
                      <a:pt x="1095" y="1309"/>
                    </a:lnTo>
                    <a:lnTo>
                      <a:pt x="1068" y="1312"/>
                    </a:lnTo>
                    <a:lnTo>
                      <a:pt x="1042" y="1309"/>
                    </a:lnTo>
                    <a:lnTo>
                      <a:pt x="1016" y="1299"/>
                    </a:lnTo>
                    <a:lnTo>
                      <a:pt x="994" y="1282"/>
                    </a:lnTo>
                    <a:lnTo>
                      <a:pt x="975" y="1262"/>
                    </a:lnTo>
                    <a:lnTo>
                      <a:pt x="915" y="1288"/>
                    </a:lnTo>
                    <a:lnTo>
                      <a:pt x="915" y="1315"/>
                    </a:lnTo>
                    <a:lnTo>
                      <a:pt x="911" y="1342"/>
                    </a:lnTo>
                    <a:lnTo>
                      <a:pt x="901" y="1368"/>
                    </a:lnTo>
                    <a:lnTo>
                      <a:pt x="884" y="1388"/>
                    </a:lnTo>
                    <a:lnTo>
                      <a:pt x="864" y="1405"/>
                    </a:lnTo>
                    <a:lnTo>
                      <a:pt x="838" y="1415"/>
                    </a:lnTo>
                    <a:lnTo>
                      <a:pt x="811" y="1419"/>
                    </a:lnTo>
                    <a:lnTo>
                      <a:pt x="611" y="1419"/>
                    </a:lnTo>
                    <a:lnTo>
                      <a:pt x="583" y="1415"/>
                    </a:lnTo>
                    <a:lnTo>
                      <a:pt x="558" y="1405"/>
                    </a:lnTo>
                    <a:lnTo>
                      <a:pt x="538" y="1388"/>
                    </a:lnTo>
                    <a:lnTo>
                      <a:pt x="521" y="1368"/>
                    </a:lnTo>
                    <a:lnTo>
                      <a:pt x="511" y="1342"/>
                    </a:lnTo>
                    <a:lnTo>
                      <a:pt x="506" y="1315"/>
                    </a:lnTo>
                    <a:lnTo>
                      <a:pt x="506" y="1288"/>
                    </a:lnTo>
                    <a:lnTo>
                      <a:pt x="446" y="1262"/>
                    </a:lnTo>
                    <a:lnTo>
                      <a:pt x="428" y="1282"/>
                    </a:lnTo>
                    <a:lnTo>
                      <a:pt x="405" y="1299"/>
                    </a:lnTo>
                    <a:lnTo>
                      <a:pt x="379" y="1309"/>
                    </a:lnTo>
                    <a:lnTo>
                      <a:pt x="353" y="1312"/>
                    </a:lnTo>
                    <a:lnTo>
                      <a:pt x="326" y="1309"/>
                    </a:lnTo>
                    <a:lnTo>
                      <a:pt x="302" y="1299"/>
                    </a:lnTo>
                    <a:lnTo>
                      <a:pt x="279" y="1282"/>
                    </a:lnTo>
                    <a:lnTo>
                      <a:pt x="139" y="1141"/>
                    </a:lnTo>
                    <a:lnTo>
                      <a:pt x="122" y="1119"/>
                    </a:lnTo>
                    <a:lnTo>
                      <a:pt x="110" y="1093"/>
                    </a:lnTo>
                    <a:lnTo>
                      <a:pt x="108" y="1066"/>
                    </a:lnTo>
                    <a:lnTo>
                      <a:pt x="110" y="1041"/>
                    </a:lnTo>
                    <a:lnTo>
                      <a:pt x="122" y="1015"/>
                    </a:lnTo>
                    <a:lnTo>
                      <a:pt x="139" y="993"/>
                    </a:lnTo>
                    <a:lnTo>
                      <a:pt x="158" y="973"/>
                    </a:lnTo>
                    <a:lnTo>
                      <a:pt x="133" y="913"/>
                    </a:lnTo>
                    <a:lnTo>
                      <a:pt x="106" y="913"/>
                    </a:lnTo>
                    <a:lnTo>
                      <a:pt x="78" y="911"/>
                    </a:lnTo>
                    <a:lnTo>
                      <a:pt x="53" y="899"/>
                    </a:lnTo>
                    <a:lnTo>
                      <a:pt x="32" y="883"/>
                    </a:lnTo>
                    <a:lnTo>
                      <a:pt x="15" y="862"/>
                    </a:lnTo>
                    <a:lnTo>
                      <a:pt x="5" y="836"/>
                    </a:lnTo>
                    <a:lnTo>
                      <a:pt x="0" y="809"/>
                    </a:lnTo>
                    <a:lnTo>
                      <a:pt x="0" y="610"/>
                    </a:lnTo>
                    <a:lnTo>
                      <a:pt x="5" y="582"/>
                    </a:lnTo>
                    <a:lnTo>
                      <a:pt x="15" y="558"/>
                    </a:lnTo>
                    <a:lnTo>
                      <a:pt x="32" y="536"/>
                    </a:lnTo>
                    <a:lnTo>
                      <a:pt x="53" y="519"/>
                    </a:lnTo>
                    <a:lnTo>
                      <a:pt x="78" y="509"/>
                    </a:lnTo>
                    <a:lnTo>
                      <a:pt x="106" y="505"/>
                    </a:lnTo>
                    <a:lnTo>
                      <a:pt x="133" y="505"/>
                    </a:lnTo>
                    <a:lnTo>
                      <a:pt x="158" y="445"/>
                    </a:lnTo>
                    <a:lnTo>
                      <a:pt x="139" y="426"/>
                    </a:lnTo>
                    <a:lnTo>
                      <a:pt x="122" y="403"/>
                    </a:lnTo>
                    <a:lnTo>
                      <a:pt x="110" y="379"/>
                    </a:lnTo>
                    <a:lnTo>
                      <a:pt x="108" y="352"/>
                    </a:lnTo>
                    <a:lnTo>
                      <a:pt x="110" y="326"/>
                    </a:lnTo>
                    <a:lnTo>
                      <a:pt x="122" y="300"/>
                    </a:lnTo>
                    <a:lnTo>
                      <a:pt x="139" y="277"/>
                    </a:lnTo>
                    <a:lnTo>
                      <a:pt x="279" y="137"/>
                    </a:lnTo>
                    <a:lnTo>
                      <a:pt x="302" y="120"/>
                    </a:lnTo>
                    <a:lnTo>
                      <a:pt x="326" y="110"/>
                    </a:lnTo>
                    <a:lnTo>
                      <a:pt x="353" y="106"/>
                    </a:lnTo>
                    <a:lnTo>
                      <a:pt x="379" y="110"/>
                    </a:lnTo>
                    <a:lnTo>
                      <a:pt x="405" y="120"/>
                    </a:lnTo>
                    <a:lnTo>
                      <a:pt x="428" y="137"/>
                    </a:lnTo>
                    <a:lnTo>
                      <a:pt x="446" y="156"/>
                    </a:lnTo>
                    <a:lnTo>
                      <a:pt x="506" y="132"/>
                    </a:lnTo>
                    <a:lnTo>
                      <a:pt x="506" y="104"/>
                    </a:lnTo>
                    <a:lnTo>
                      <a:pt x="511" y="76"/>
                    </a:lnTo>
                    <a:lnTo>
                      <a:pt x="521" y="52"/>
                    </a:lnTo>
                    <a:lnTo>
                      <a:pt x="538" y="30"/>
                    </a:lnTo>
                    <a:lnTo>
                      <a:pt x="558" y="14"/>
                    </a:lnTo>
                    <a:lnTo>
                      <a:pt x="583" y="3"/>
                    </a:lnTo>
                    <a:lnTo>
                      <a:pt x="6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latin typeface="+mj-lt"/>
                </a:endParaRPr>
              </a:p>
            </p:txBody>
          </p:sp>
          <p:sp>
            <p:nvSpPr>
              <p:cNvPr id="127" name="Freeform 162"/>
              <p:cNvSpPr>
                <a:spLocks noEditPoints="1"/>
              </p:cNvSpPr>
              <p:nvPr/>
            </p:nvSpPr>
            <p:spPr bwMode="auto">
              <a:xfrm>
                <a:off x="5571" y="2763"/>
                <a:ext cx="598" cy="598"/>
              </a:xfrm>
              <a:custGeom>
                <a:avLst/>
                <a:gdLst>
                  <a:gd name="T0" fmla="*/ 506 w 1194"/>
                  <a:gd name="T1" fmla="*/ 324 h 1196"/>
                  <a:gd name="T2" fmla="*/ 393 w 1194"/>
                  <a:gd name="T3" fmla="*/ 394 h 1196"/>
                  <a:gd name="T4" fmla="*/ 324 w 1194"/>
                  <a:gd name="T5" fmla="*/ 507 h 1196"/>
                  <a:gd name="T6" fmla="*/ 313 w 1194"/>
                  <a:gd name="T7" fmla="*/ 644 h 1196"/>
                  <a:gd name="T8" fmla="*/ 364 w 1194"/>
                  <a:gd name="T9" fmla="*/ 767 h 1196"/>
                  <a:gd name="T10" fmla="*/ 464 w 1194"/>
                  <a:gd name="T11" fmla="*/ 853 h 1196"/>
                  <a:gd name="T12" fmla="*/ 597 w 1194"/>
                  <a:gd name="T13" fmla="*/ 886 h 1196"/>
                  <a:gd name="T14" fmla="*/ 729 w 1194"/>
                  <a:gd name="T15" fmla="*/ 853 h 1196"/>
                  <a:gd name="T16" fmla="*/ 829 w 1194"/>
                  <a:gd name="T17" fmla="*/ 767 h 1196"/>
                  <a:gd name="T18" fmla="*/ 881 w 1194"/>
                  <a:gd name="T19" fmla="*/ 644 h 1196"/>
                  <a:gd name="T20" fmla="*/ 870 w 1194"/>
                  <a:gd name="T21" fmla="*/ 507 h 1196"/>
                  <a:gd name="T22" fmla="*/ 800 w 1194"/>
                  <a:gd name="T23" fmla="*/ 394 h 1196"/>
                  <a:gd name="T24" fmla="*/ 689 w 1194"/>
                  <a:gd name="T25" fmla="*/ 324 h 1196"/>
                  <a:gd name="T26" fmla="*/ 513 w 1194"/>
                  <a:gd name="T27" fmla="*/ 0 h 1196"/>
                  <a:gd name="T28" fmla="*/ 726 w 1194"/>
                  <a:gd name="T29" fmla="*/ 11 h 1196"/>
                  <a:gd name="T30" fmla="*/ 766 w 1194"/>
                  <a:gd name="T31" fmla="*/ 64 h 1196"/>
                  <a:gd name="T32" fmla="*/ 820 w 1194"/>
                  <a:gd name="T33" fmla="*/ 131 h 1196"/>
                  <a:gd name="T34" fmla="*/ 876 w 1194"/>
                  <a:gd name="T35" fmla="*/ 93 h 1196"/>
                  <a:gd name="T36" fmla="*/ 941 w 1194"/>
                  <a:gd name="T37" fmla="*/ 101 h 1196"/>
                  <a:gd name="T38" fmla="*/ 1093 w 1194"/>
                  <a:gd name="T39" fmla="*/ 253 h 1196"/>
                  <a:gd name="T40" fmla="*/ 1102 w 1194"/>
                  <a:gd name="T41" fmla="*/ 319 h 1196"/>
                  <a:gd name="T42" fmla="*/ 1063 w 1194"/>
                  <a:gd name="T43" fmla="*/ 376 h 1196"/>
                  <a:gd name="T44" fmla="*/ 1130 w 1194"/>
                  <a:gd name="T45" fmla="*/ 429 h 1196"/>
                  <a:gd name="T46" fmla="*/ 1183 w 1194"/>
                  <a:gd name="T47" fmla="*/ 469 h 1196"/>
                  <a:gd name="T48" fmla="*/ 1194 w 1194"/>
                  <a:gd name="T49" fmla="*/ 682 h 1196"/>
                  <a:gd name="T50" fmla="*/ 1169 w 1194"/>
                  <a:gd name="T51" fmla="*/ 743 h 1196"/>
                  <a:gd name="T52" fmla="*/ 1106 w 1194"/>
                  <a:gd name="T53" fmla="*/ 770 h 1196"/>
                  <a:gd name="T54" fmla="*/ 1079 w 1194"/>
                  <a:gd name="T55" fmla="*/ 836 h 1196"/>
                  <a:gd name="T56" fmla="*/ 1104 w 1194"/>
                  <a:gd name="T57" fmla="*/ 899 h 1196"/>
                  <a:gd name="T58" fmla="*/ 1079 w 1194"/>
                  <a:gd name="T59" fmla="*/ 962 h 1196"/>
                  <a:gd name="T60" fmla="*/ 920 w 1194"/>
                  <a:gd name="T61" fmla="*/ 1103 h 1196"/>
                  <a:gd name="T62" fmla="*/ 854 w 1194"/>
                  <a:gd name="T63" fmla="*/ 1095 h 1196"/>
                  <a:gd name="T64" fmla="*/ 769 w 1194"/>
                  <a:gd name="T65" fmla="*/ 1085 h 1196"/>
                  <a:gd name="T66" fmla="*/ 757 w 1194"/>
                  <a:gd name="T67" fmla="*/ 1152 h 1196"/>
                  <a:gd name="T68" fmla="*/ 704 w 1194"/>
                  <a:gd name="T69" fmla="*/ 1192 h 1196"/>
                  <a:gd name="T70" fmla="*/ 490 w 1194"/>
                  <a:gd name="T71" fmla="*/ 1192 h 1196"/>
                  <a:gd name="T72" fmla="*/ 437 w 1194"/>
                  <a:gd name="T73" fmla="*/ 1152 h 1196"/>
                  <a:gd name="T74" fmla="*/ 426 w 1194"/>
                  <a:gd name="T75" fmla="*/ 1085 h 1196"/>
                  <a:gd name="T76" fmla="*/ 340 w 1194"/>
                  <a:gd name="T77" fmla="*/ 1095 h 1196"/>
                  <a:gd name="T78" fmla="*/ 274 w 1194"/>
                  <a:gd name="T79" fmla="*/ 1103 h 1196"/>
                  <a:gd name="T80" fmla="*/ 115 w 1194"/>
                  <a:gd name="T81" fmla="*/ 962 h 1196"/>
                  <a:gd name="T82" fmla="*/ 90 w 1194"/>
                  <a:gd name="T83" fmla="*/ 899 h 1196"/>
                  <a:gd name="T84" fmla="*/ 115 w 1194"/>
                  <a:gd name="T85" fmla="*/ 836 h 1196"/>
                  <a:gd name="T86" fmla="*/ 87 w 1194"/>
                  <a:gd name="T87" fmla="*/ 770 h 1196"/>
                  <a:gd name="T88" fmla="*/ 25 w 1194"/>
                  <a:gd name="T89" fmla="*/ 743 h 1196"/>
                  <a:gd name="T90" fmla="*/ 0 w 1194"/>
                  <a:gd name="T91" fmla="*/ 682 h 1196"/>
                  <a:gd name="T92" fmla="*/ 11 w 1194"/>
                  <a:gd name="T93" fmla="*/ 469 h 1196"/>
                  <a:gd name="T94" fmla="*/ 64 w 1194"/>
                  <a:gd name="T95" fmla="*/ 429 h 1196"/>
                  <a:gd name="T96" fmla="*/ 131 w 1194"/>
                  <a:gd name="T97" fmla="*/ 376 h 1196"/>
                  <a:gd name="T98" fmla="*/ 93 w 1194"/>
                  <a:gd name="T99" fmla="*/ 319 h 1196"/>
                  <a:gd name="T100" fmla="*/ 101 w 1194"/>
                  <a:gd name="T101" fmla="*/ 253 h 1196"/>
                  <a:gd name="T102" fmla="*/ 253 w 1194"/>
                  <a:gd name="T103" fmla="*/ 101 h 1196"/>
                  <a:gd name="T104" fmla="*/ 318 w 1194"/>
                  <a:gd name="T105" fmla="*/ 93 h 1196"/>
                  <a:gd name="T106" fmla="*/ 374 w 1194"/>
                  <a:gd name="T107" fmla="*/ 131 h 1196"/>
                  <a:gd name="T108" fmla="*/ 428 w 1194"/>
                  <a:gd name="T109" fmla="*/ 64 h 1196"/>
                  <a:gd name="T110" fmla="*/ 468 w 1194"/>
                  <a:gd name="T111" fmla="*/ 11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94" h="1196">
                    <a:moveTo>
                      <a:pt x="597" y="310"/>
                    </a:moveTo>
                    <a:lnTo>
                      <a:pt x="550" y="313"/>
                    </a:lnTo>
                    <a:lnTo>
                      <a:pt x="506" y="324"/>
                    </a:lnTo>
                    <a:lnTo>
                      <a:pt x="464" y="341"/>
                    </a:lnTo>
                    <a:lnTo>
                      <a:pt x="427" y="366"/>
                    </a:lnTo>
                    <a:lnTo>
                      <a:pt x="393" y="394"/>
                    </a:lnTo>
                    <a:lnTo>
                      <a:pt x="364" y="427"/>
                    </a:lnTo>
                    <a:lnTo>
                      <a:pt x="341" y="466"/>
                    </a:lnTo>
                    <a:lnTo>
                      <a:pt x="324" y="507"/>
                    </a:lnTo>
                    <a:lnTo>
                      <a:pt x="313" y="552"/>
                    </a:lnTo>
                    <a:lnTo>
                      <a:pt x="308" y="597"/>
                    </a:lnTo>
                    <a:lnTo>
                      <a:pt x="313" y="644"/>
                    </a:lnTo>
                    <a:lnTo>
                      <a:pt x="324" y="689"/>
                    </a:lnTo>
                    <a:lnTo>
                      <a:pt x="341" y="730"/>
                    </a:lnTo>
                    <a:lnTo>
                      <a:pt x="364" y="767"/>
                    </a:lnTo>
                    <a:lnTo>
                      <a:pt x="393" y="802"/>
                    </a:lnTo>
                    <a:lnTo>
                      <a:pt x="427" y="830"/>
                    </a:lnTo>
                    <a:lnTo>
                      <a:pt x="464" y="853"/>
                    </a:lnTo>
                    <a:lnTo>
                      <a:pt x="506" y="870"/>
                    </a:lnTo>
                    <a:lnTo>
                      <a:pt x="550" y="882"/>
                    </a:lnTo>
                    <a:lnTo>
                      <a:pt x="597" y="886"/>
                    </a:lnTo>
                    <a:lnTo>
                      <a:pt x="644" y="882"/>
                    </a:lnTo>
                    <a:lnTo>
                      <a:pt x="689" y="870"/>
                    </a:lnTo>
                    <a:lnTo>
                      <a:pt x="729" y="853"/>
                    </a:lnTo>
                    <a:lnTo>
                      <a:pt x="767" y="830"/>
                    </a:lnTo>
                    <a:lnTo>
                      <a:pt x="800" y="802"/>
                    </a:lnTo>
                    <a:lnTo>
                      <a:pt x="829" y="767"/>
                    </a:lnTo>
                    <a:lnTo>
                      <a:pt x="853" y="730"/>
                    </a:lnTo>
                    <a:lnTo>
                      <a:pt x="870" y="689"/>
                    </a:lnTo>
                    <a:lnTo>
                      <a:pt x="881" y="644"/>
                    </a:lnTo>
                    <a:lnTo>
                      <a:pt x="884" y="597"/>
                    </a:lnTo>
                    <a:lnTo>
                      <a:pt x="881" y="552"/>
                    </a:lnTo>
                    <a:lnTo>
                      <a:pt x="870" y="507"/>
                    </a:lnTo>
                    <a:lnTo>
                      <a:pt x="853" y="466"/>
                    </a:lnTo>
                    <a:lnTo>
                      <a:pt x="829" y="427"/>
                    </a:lnTo>
                    <a:lnTo>
                      <a:pt x="800" y="394"/>
                    </a:lnTo>
                    <a:lnTo>
                      <a:pt x="767" y="366"/>
                    </a:lnTo>
                    <a:lnTo>
                      <a:pt x="729" y="341"/>
                    </a:lnTo>
                    <a:lnTo>
                      <a:pt x="689" y="324"/>
                    </a:lnTo>
                    <a:lnTo>
                      <a:pt x="644" y="313"/>
                    </a:lnTo>
                    <a:lnTo>
                      <a:pt x="597" y="310"/>
                    </a:lnTo>
                    <a:close/>
                    <a:moveTo>
                      <a:pt x="513" y="0"/>
                    </a:moveTo>
                    <a:lnTo>
                      <a:pt x="681" y="0"/>
                    </a:lnTo>
                    <a:lnTo>
                      <a:pt x="704" y="3"/>
                    </a:lnTo>
                    <a:lnTo>
                      <a:pt x="726" y="11"/>
                    </a:lnTo>
                    <a:lnTo>
                      <a:pt x="743" y="26"/>
                    </a:lnTo>
                    <a:lnTo>
                      <a:pt x="757" y="43"/>
                    </a:lnTo>
                    <a:lnTo>
                      <a:pt x="766" y="64"/>
                    </a:lnTo>
                    <a:lnTo>
                      <a:pt x="769" y="88"/>
                    </a:lnTo>
                    <a:lnTo>
                      <a:pt x="769" y="111"/>
                    </a:lnTo>
                    <a:lnTo>
                      <a:pt x="820" y="131"/>
                    </a:lnTo>
                    <a:lnTo>
                      <a:pt x="836" y="116"/>
                    </a:lnTo>
                    <a:lnTo>
                      <a:pt x="854" y="101"/>
                    </a:lnTo>
                    <a:lnTo>
                      <a:pt x="876" y="93"/>
                    </a:lnTo>
                    <a:lnTo>
                      <a:pt x="899" y="90"/>
                    </a:lnTo>
                    <a:lnTo>
                      <a:pt x="920" y="93"/>
                    </a:lnTo>
                    <a:lnTo>
                      <a:pt x="941" y="101"/>
                    </a:lnTo>
                    <a:lnTo>
                      <a:pt x="960" y="116"/>
                    </a:lnTo>
                    <a:lnTo>
                      <a:pt x="1079" y="234"/>
                    </a:lnTo>
                    <a:lnTo>
                      <a:pt x="1093" y="253"/>
                    </a:lnTo>
                    <a:lnTo>
                      <a:pt x="1102" y="274"/>
                    </a:lnTo>
                    <a:lnTo>
                      <a:pt x="1104" y="297"/>
                    </a:lnTo>
                    <a:lnTo>
                      <a:pt x="1102" y="319"/>
                    </a:lnTo>
                    <a:lnTo>
                      <a:pt x="1093" y="340"/>
                    </a:lnTo>
                    <a:lnTo>
                      <a:pt x="1079" y="359"/>
                    </a:lnTo>
                    <a:lnTo>
                      <a:pt x="1063" y="376"/>
                    </a:lnTo>
                    <a:lnTo>
                      <a:pt x="1083" y="426"/>
                    </a:lnTo>
                    <a:lnTo>
                      <a:pt x="1106" y="426"/>
                    </a:lnTo>
                    <a:lnTo>
                      <a:pt x="1130" y="429"/>
                    </a:lnTo>
                    <a:lnTo>
                      <a:pt x="1152" y="437"/>
                    </a:lnTo>
                    <a:lnTo>
                      <a:pt x="1169" y="451"/>
                    </a:lnTo>
                    <a:lnTo>
                      <a:pt x="1183" y="469"/>
                    </a:lnTo>
                    <a:lnTo>
                      <a:pt x="1192" y="490"/>
                    </a:lnTo>
                    <a:lnTo>
                      <a:pt x="1194" y="514"/>
                    </a:lnTo>
                    <a:lnTo>
                      <a:pt x="1194" y="682"/>
                    </a:lnTo>
                    <a:lnTo>
                      <a:pt x="1192" y="704"/>
                    </a:lnTo>
                    <a:lnTo>
                      <a:pt x="1183" y="726"/>
                    </a:lnTo>
                    <a:lnTo>
                      <a:pt x="1169" y="743"/>
                    </a:lnTo>
                    <a:lnTo>
                      <a:pt x="1152" y="757"/>
                    </a:lnTo>
                    <a:lnTo>
                      <a:pt x="1130" y="766"/>
                    </a:lnTo>
                    <a:lnTo>
                      <a:pt x="1106" y="770"/>
                    </a:lnTo>
                    <a:lnTo>
                      <a:pt x="1083" y="770"/>
                    </a:lnTo>
                    <a:lnTo>
                      <a:pt x="1063" y="820"/>
                    </a:lnTo>
                    <a:lnTo>
                      <a:pt x="1079" y="836"/>
                    </a:lnTo>
                    <a:lnTo>
                      <a:pt x="1093" y="854"/>
                    </a:lnTo>
                    <a:lnTo>
                      <a:pt x="1102" y="876"/>
                    </a:lnTo>
                    <a:lnTo>
                      <a:pt x="1104" y="899"/>
                    </a:lnTo>
                    <a:lnTo>
                      <a:pt x="1102" y="922"/>
                    </a:lnTo>
                    <a:lnTo>
                      <a:pt x="1093" y="942"/>
                    </a:lnTo>
                    <a:lnTo>
                      <a:pt x="1079" y="962"/>
                    </a:lnTo>
                    <a:lnTo>
                      <a:pt x="960" y="1079"/>
                    </a:lnTo>
                    <a:lnTo>
                      <a:pt x="941" y="1095"/>
                    </a:lnTo>
                    <a:lnTo>
                      <a:pt x="920" y="1103"/>
                    </a:lnTo>
                    <a:lnTo>
                      <a:pt x="899" y="1106"/>
                    </a:lnTo>
                    <a:lnTo>
                      <a:pt x="876" y="1103"/>
                    </a:lnTo>
                    <a:lnTo>
                      <a:pt x="854" y="1095"/>
                    </a:lnTo>
                    <a:lnTo>
                      <a:pt x="836" y="1079"/>
                    </a:lnTo>
                    <a:lnTo>
                      <a:pt x="820" y="1063"/>
                    </a:lnTo>
                    <a:lnTo>
                      <a:pt x="769" y="1085"/>
                    </a:lnTo>
                    <a:lnTo>
                      <a:pt x="769" y="1107"/>
                    </a:lnTo>
                    <a:lnTo>
                      <a:pt x="766" y="1130"/>
                    </a:lnTo>
                    <a:lnTo>
                      <a:pt x="757" y="1152"/>
                    </a:lnTo>
                    <a:lnTo>
                      <a:pt x="743" y="1169"/>
                    </a:lnTo>
                    <a:lnTo>
                      <a:pt x="726" y="1183"/>
                    </a:lnTo>
                    <a:lnTo>
                      <a:pt x="704" y="1192"/>
                    </a:lnTo>
                    <a:lnTo>
                      <a:pt x="681" y="1196"/>
                    </a:lnTo>
                    <a:lnTo>
                      <a:pt x="513" y="1196"/>
                    </a:lnTo>
                    <a:lnTo>
                      <a:pt x="490" y="1192"/>
                    </a:lnTo>
                    <a:lnTo>
                      <a:pt x="468" y="1183"/>
                    </a:lnTo>
                    <a:lnTo>
                      <a:pt x="451" y="1169"/>
                    </a:lnTo>
                    <a:lnTo>
                      <a:pt x="437" y="1152"/>
                    </a:lnTo>
                    <a:lnTo>
                      <a:pt x="428" y="1130"/>
                    </a:lnTo>
                    <a:lnTo>
                      <a:pt x="426" y="1107"/>
                    </a:lnTo>
                    <a:lnTo>
                      <a:pt x="426" y="1085"/>
                    </a:lnTo>
                    <a:lnTo>
                      <a:pt x="374" y="1063"/>
                    </a:lnTo>
                    <a:lnTo>
                      <a:pt x="358" y="1079"/>
                    </a:lnTo>
                    <a:lnTo>
                      <a:pt x="340" y="1095"/>
                    </a:lnTo>
                    <a:lnTo>
                      <a:pt x="318" y="1103"/>
                    </a:lnTo>
                    <a:lnTo>
                      <a:pt x="296" y="1106"/>
                    </a:lnTo>
                    <a:lnTo>
                      <a:pt x="274" y="1103"/>
                    </a:lnTo>
                    <a:lnTo>
                      <a:pt x="253" y="1095"/>
                    </a:lnTo>
                    <a:lnTo>
                      <a:pt x="234" y="1079"/>
                    </a:lnTo>
                    <a:lnTo>
                      <a:pt x="115" y="962"/>
                    </a:lnTo>
                    <a:lnTo>
                      <a:pt x="101" y="942"/>
                    </a:lnTo>
                    <a:lnTo>
                      <a:pt x="93" y="922"/>
                    </a:lnTo>
                    <a:lnTo>
                      <a:pt x="90" y="899"/>
                    </a:lnTo>
                    <a:lnTo>
                      <a:pt x="93" y="876"/>
                    </a:lnTo>
                    <a:lnTo>
                      <a:pt x="101" y="854"/>
                    </a:lnTo>
                    <a:lnTo>
                      <a:pt x="115" y="836"/>
                    </a:lnTo>
                    <a:lnTo>
                      <a:pt x="131" y="820"/>
                    </a:lnTo>
                    <a:lnTo>
                      <a:pt x="110" y="770"/>
                    </a:lnTo>
                    <a:lnTo>
                      <a:pt x="87" y="770"/>
                    </a:lnTo>
                    <a:lnTo>
                      <a:pt x="64" y="766"/>
                    </a:lnTo>
                    <a:lnTo>
                      <a:pt x="43" y="757"/>
                    </a:lnTo>
                    <a:lnTo>
                      <a:pt x="25" y="743"/>
                    </a:lnTo>
                    <a:lnTo>
                      <a:pt x="11" y="726"/>
                    </a:lnTo>
                    <a:lnTo>
                      <a:pt x="3" y="704"/>
                    </a:lnTo>
                    <a:lnTo>
                      <a:pt x="0" y="682"/>
                    </a:lnTo>
                    <a:lnTo>
                      <a:pt x="0" y="514"/>
                    </a:lnTo>
                    <a:lnTo>
                      <a:pt x="3" y="490"/>
                    </a:lnTo>
                    <a:lnTo>
                      <a:pt x="11" y="469"/>
                    </a:lnTo>
                    <a:lnTo>
                      <a:pt x="25" y="451"/>
                    </a:lnTo>
                    <a:lnTo>
                      <a:pt x="43" y="437"/>
                    </a:lnTo>
                    <a:lnTo>
                      <a:pt x="64" y="429"/>
                    </a:lnTo>
                    <a:lnTo>
                      <a:pt x="87" y="426"/>
                    </a:lnTo>
                    <a:lnTo>
                      <a:pt x="110" y="426"/>
                    </a:lnTo>
                    <a:lnTo>
                      <a:pt x="131" y="376"/>
                    </a:lnTo>
                    <a:lnTo>
                      <a:pt x="115" y="359"/>
                    </a:lnTo>
                    <a:lnTo>
                      <a:pt x="101" y="340"/>
                    </a:lnTo>
                    <a:lnTo>
                      <a:pt x="93" y="319"/>
                    </a:lnTo>
                    <a:lnTo>
                      <a:pt x="90" y="297"/>
                    </a:lnTo>
                    <a:lnTo>
                      <a:pt x="93" y="274"/>
                    </a:lnTo>
                    <a:lnTo>
                      <a:pt x="101" y="253"/>
                    </a:lnTo>
                    <a:lnTo>
                      <a:pt x="115" y="234"/>
                    </a:lnTo>
                    <a:lnTo>
                      <a:pt x="234" y="116"/>
                    </a:lnTo>
                    <a:lnTo>
                      <a:pt x="253" y="101"/>
                    </a:lnTo>
                    <a:lnTo>
                      <a:pt x="274" y="93"/>
                    </a:lnTo>
                    <a:lnTo>
                      <a:pt x="296" y="90"/>
                    </a:lnTo>
                    <a:lnTo>
                      <a:pt x="318" y="93"/>
                    </a:lnTo>
                    <a:lnTo>
                      <a:pt x="340" y="101"/>
                    </a:lnTo>
                    <a:lnTo>
                      <a:pt x="358" y="116"/>
                    </a:lnTo>
                    <a:lnTo>
                      <a:pt x="374" y="131"/>
                    </a:lnTo>
                    <a:lnTo>
                      <a:pt x="426" y="111"/>
                    </a:lnTo>
                    <a:lnTo>
                      <a:pt x="426" y="88"/>
                    </a:lnTo>
                    <a:lnTo>
                      <a:pt x="428" y="64"/>
                    </a:lnTo>
                    <a:lnTo>
                      <a:pt x="437" y="43"/>
                    </a:lnTo>
                    <a:lnTo>
                      <a:pt x="451" y="26"/>
                    </a:lnTo>
                    <a:lnTo>
                      <a:pt x="468" y="11"/>
                    </a:lnTo>
                    <a:lnTo>
                      <a:pt x="490" y="3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latin typeface="+mj-lt"/>
                </a:endParaRPr>
              </a:p>
            </p:txBody>
          </p:sp>
        </p:grpSp>
      </p:grpSp>
      <p:grpSp>
        <p:nvGrpSpPr>
          <p:cNvPr id="128" name="Group 127"/>
          <p:cNvGrpSpPr/>
          <p:nvPr/>
        </p:nvGrpSpPr>
        <p:grpSpPr>
          <a:xfrm>
            <a:off x="147993" y="6208057"/>
            <a:ext cx="727877" cy="515892"/>
            <a:chOff x="147993" y="6208057"/>
            <a:chExt cx="727877" cy="515892"/>
          </a:xfrm>
        </p:grpSpPr>
        <p:sp>
          <p:nvSpPr>
            <p:cNvPr id="129" name="Rectangle 17"/>
            <p:cNvSpPr>
              <a:spLocks/>
            </p:cNvSpPr>
            <p:nvPr/>
          </p:nvSpPr>
          <p:spPr bwMode="auto">
            <a:xfrm>
              <a:off x="147993" y="6446950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rgbClr val="FFFFFF"/>
                  </a:solidFill>
                  <a:latin typeface="+mj-lt"/>
                  <a:sym typeface="Helvetica Neue" charset="0"/>
                </a:rPr>
                <a:t>Бизнес-партнеры</a:t>
              </a:r>
              <a:endParaRPr lang="ru-RU" sz="900" i="1" dirty="0">
                <a:solidFill>
                  <a:srgbClr val="FFFFFF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sp>
          <p:nvSpPr>
            <p:cNvPr id="130" name="Freeform 4831"/>
            <p:cNvSpPr>
              <a:spLocks noEditPoints="1"/>
            </p:cNvSpPr>
            <p:nvPr/>
          </p:nvSpPr>
          <p:spPr bwMode="auto">
            <a:xfrm>
              <a:off x="393188" y="6208057"/>
              <a:ext cx="273263" cy="147454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</p:grpSp>
      <p:grpSp>
        <p:nvGrpSpPr>
          <p:cNvPr id="139" name="Group 138"/>
          <p:cNvGrpSpPr/>
          <p:nvPr/>
        </p:nvGrpSpPr>
        <p:grpSpPr>
          <a:xfrm>
            <a:off x="173707" y="5461148"/>
            <a:ext cx="727877" cy="737412"/>
            <a:chOff x="173707" y="5080087"/>
            <a:chExt cx="727877" cy="737412"/>
          </a:xfrm>
        </p:grpSpPr>
        <p:sp>
          <p:nvSpPr>
            <p:cNvPr id="140" name="Rectangle 17"/>
            <p:cNvSpPr>
              <a:spLocks/>
            </p:cNvSpPr>
            <p:nvPr/>
          </p:nvSpPr>
          <p:spPr bwMode="auto">
            <a:xfrm>
              <a:off x="173707" y="5263501"/>
              <a:ext cx="727877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rgbClr val="FFFFFF"/>
                  </a:solidFill>
                  <a:latin typeface="+mj-lt"/>
                  <a:sym typeface="Helvetica Neue" charset="0"/>
                </a:rPr>
                <a:t>Объекты инфраструктуры / карты</a:t>
              </a:r>
            </a:p>
          </p:txBody>
        </p:sp>
        <p:grpSp>
          <p:nvGrpSpPr>
            <p:cNvPr id="141" name="Group 140"/>
            <p:cNvGrpSpPr/>
            <p:nvPr/>
          </p:nvGrpSpPr>
          <p:grpSpPr>
            <a:xfrm>
              <a:off x="365905" y="5080087"/>
              <a:ext cx="233576" cy="214640"/>
              <a:chOff x="-1831145" y="1063685"/>
              <a:chExt cx="488634" cy="449020"/>
            </a:xfrm>
            <a:solidFill>
              <a:schemeClr val="bg1"/>
            </a:solidFill>
          </p:grpSpPr>
          <p:sp>
            <p:nvSpPr>
              <p:cNvPr id="142" name="Freeform 7"/>
              <p:cNvSpPr>
                <a:spLocks/>
              </p:cNvSpPr>
              <p:nvPr/>
            </p:nvSpPr>
            <p:spPr bwMode="auto">
              <a:xfrm>
                <a:off x="-1793165" y="1260323"/>
                <a:ext cx="210523" cy="127008"/>
              </a:xfrm>
              <a:custGeom>
                <a:avLst/>
                <a:gdLst>
                  <a:gd name="T0" fmla="*/ 396 w 2061"/>
                  <a:gd name="T1" fmla="*/ 0 h 1245"/>
                  <a:gd name="T2" fmla="*/ 1816 w 2061"/>
                  <a:gd name="T3" fmla="*/ 0 h 1245"/>
                  <a:gd name="T4" fmla="*/ 1869 w 2061"/>
                  <a:gd name="T5" fmla="*/ 137 h 1245"/>
                  <a:gd name="T6" fmla="*/ 1928 w 2061"/>
                  <a:gd name="T7" fmla="*/ 271 h 1245"/>
                  <a:gd name="T8" fmla="*/ 1993 w 2061"/>
                  <a:gd name="T9" fmla="*/ 402 h 1245"/>
                  <a:gd name="T10" fmla="*/ 2061 w 2061"/>
                  <a:gd name="T11" fmla="*/ 528 h 1245"/>
                  <a:gd name="T12" fmla="*/ 1912 w 2061"/>
                  <a:gd name="T13" fmla="*/ 1245 h 1245"/>
                  <a:gd name="T14" fmla="*/ 0 w 2061"/>
                  <a:gd name="T15" fmla="*/ 1037 h 1245"/>
                  <a:gd name="T16" fmla="*/ 272 w 2061"/>
                  <a:gd name="T17" fmla="*/ 93 h 1245"/>
                  <a:gd name="T18" fmla="*/ 284 w 2061"/>
                  <a:gd name="T19" fmla="*/ 67 h 1245"/>
                  <a:gd name="T20" fmla="*/ 299 w 2061"/>
                  <a:gd name="T21" fmla="*/ 45 h 1245"/>
                  <a:gd name="T22" fmla="*/ 319 w 2061"/>
                  <a:gd name="T23" fmla="*/ 26 h 1245"/>
                  <a:gd name="T24" fmla="*/ 342 w 2061"/>
                  <a:gd name="T25" fmla="*/ 13 h 1245"/>
                  <a:gd name="T26" fmla="*/ 368 w 2061"/>
                  <a:gd name="T27" fmla="*/ 5 h 1245"/>
                  <a:gd name="T28" fmla="*/ 396 w 2061"/>
                  <a:gd name="T29" fmla="*/ 0 h 1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61" h="1245">
                    <a:moveTo>
                      <a:pt x="396" y="0"/>
                    </a:moveTo>
                    <a:lnTo>
                      <a:pt x="1816" y="0"/>
                    </a:lnTo>
                    <a:lnTo>
                      <a:pt x="1869" y="137"/>
                    </a:lnTo>
                    <a:lnTo>
                      <a:pt x="1928" y="271"/>
                    </a:lnTo>
                    <a:lnTo>
                      <a:pt x="1993" y="402"/>
                    </a:lnTo>
                    <a:lnTo>
                      <a:pt x="2061" y="528"/>
                    </a:lnTo>
                    <a:lnTo>
                      <a:pt x="1912" y="1245"/>
                    </a:lnTo>
                    <a:lnTo>
                      <a:pt x="0" y="1037"/>
                    </a:lnTo>
                    <a:lnTo>
                      <a:pt x="272" y="93"/>
                    </a:lnTo>
                    <a:lnTo>
                      <a:pt x="284" y="67"/>
                    </a:lnTo>
                    <a:lnTo>
                      <a:pt x="299" y="45"/>
                    </a:lnTo>
                    <a:lnTo>
                      <a:pt x="319" y="26"/>
                    </a:lnTo>
                    <a:lnTo>
                      <a:pt x="342" y="13"/>
                    </a:lnTo>
                    <a:lnTo>
                      <a:pt x="368" y="5"/>
                    </a:lnTo>
                    <a:lnTo>
                      <a:pt x="3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43" name="Freeform 8"/>
              <p:cNvSpPr>
                <a:spLocks/>
              </p:cNvSpPr>
              <p:nvPr/>
            </p:nvSpPr>
            <p:spPr bwMode="auto">
              <a:xfrm>
                <a:off x="-1425618" y="1352209"/>
                <a:ext cx="58603" cy="60645"/>
              </a:xfrm>
              <a:custGeom>
                <a:avLst/>
                <a:gdLst>
                  <a:gd name="T0" fmla="*/ 403 w 575"/>
                  <a:gd name="T1" fmla="*/ 0 h 593"/>
                  <a:gd name="T2" fmla="*/ 575 w 575"/>
                  <a:gd name="T3" fmla="*/ 593 h 593"/>
                  <a:gd name="T4" fmla="*/ 0 w 575"/>
                  <a:gd name="T5" fmla="*/ 531 h 593"/>
                  <a:gd name="T6" fmla="*/ 63 w 575"/>
                  <a:gd name="T7" fmla="*/ 453 h 593"/>
                  <a:gd name="T8" fmla="*/ 128 w 575"/>
                  <a:gd name="T9" fmla="*/ 372 h 593"/>
                  <a:gd name="T10" fmla="*/ 197 w 575"/>
                  <a:gd name="T11" fmla="*/ 285 h 593"/>
                  <a:gd name="T12" fmla="*/ 265 w 575"/>
                  <a:gd name="T13" fmla="*/ 195 h 593"/>
                  <a:gd name="T14" fmla="*/ 335 w 575"/>
                  <a:gd name="T15" fmla="*/ 99 h 593"/>
                  <a:gd name="T16" fmla="*/ 403 w 575"/>
                  <a:gd name="T17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5" h="593">
                    <a:moveTo>
                      <a:pt x="403" y="0"/>
                    </a:moveTo>
                    <a:lnTo>
                      <a:pt x="575" y="593"/>
                    </a:lnTo>
                    <a:lnTo>
                      <a:pt x="0" y="531"/>
                    </a:lnTo>
                    <a:lnTo>
                      <a:pt x="63" y="453"/>
                    </a:lnTo>
                    <a:lnTo>
                      <a:pt x="128" y="372"/>
                    </a:lnTo>
                    <a:lnTo>
                      <a:pt x="197" y="285"/>
                    </a:lnTo>
                    <a:lnTo>
                      <a:pt x="265" y="195"/>
                    </a:lnTo>
                    <a:lnTo>
                      <a:pt x="335" y="99"/>
                    </a:lnTo>
                    <a:lnTo>
                      <a:pt x="40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44" name="Freeform 9"/>
              <p:cNvSpPr>
                <a:spLocks/>
              </p:cNvSpPr>
              <p:nvPr/>
            </p:nvSpPr>
            <p:spPr bwMode="auto">
              <a:xfrm>
                <a:off x="-1558956" y="1361602"/>
                <a:ext cx="31854" cy="33692"/>
              </a:xfrm>
              <a:custGeom>
                <a:avLst/>
                <a:gdLst>
                  <a:gd name="T0" fmla="*/ 63 w 311"/>
                  <a:gd name="T1" fmla="*/ 0 h 328"/>
                  <a:gd name="T2" fmla="*/ 67 w 311"/>
                  <a:gd name="T3" fmla="*/ 6 h 328"/>
                  <a:gd name="T4" fmla="*/ 150 w 311"/>
                  <a:gd name="T5" fmla="*/ 120 h 328"/>
                  <a:gd name="T6" fmla="*/ 231 w 311"/>
                  <a:gd name="T7" fmla="*/ 227 h 328"/>
                  <a:gd name="T8" fmla="*/ 311 w 311"/>
                  <a:gd name="T9" fmla="*/ 328 h 328"/>
                  <a:gd name="T10" fmla="*/ 0 w 311"/>
                  <a:gd name="T11" fmla="*/ 294 h 328"/>
                  <a:gd name="T12" fmla="*/ 63 w 311"/>
                  <a:gd name="T13" fmla="*/ 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1" h="328">
                    <a:moveTo>
                      <a:pt x="63" y="0"/>
                    </a:moveTo>
                    <a:lnTo>
                      <a:pt x="67" y="6"/>
                    </a:lnTo>
                    <a:lnTo>
                      <a:pt x="150" y="120"/>
                    </a:lnTo>
                    <a:lnTo>
                      <a:pt x="231" y="227"/>
                    </a:lnTo>
                    <a:lnTo>
                      <a:pt x="311" y="328"/>
                    </a:lnTo>
                    <a:lnTo>
                      <a:pt x="0" y="294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45" name="Freeform 10"/>
              <p:cNvSpPr>
                <a:spLocks/>
              </p:cNvSpPr>
              <p:nvPr/>
            </p:nvSpPr>
            <p:spPr bwMode="auto">
              <a:xfrm>
                <a:off x="-1831145" y="1404279"/>
                <a:ext cx="225021" cy="108426"/>
              </a:xfrm>
              <a:custGeom>
                <a:avLst/>
                <a:gdLst>
                  <a:gd name="T0" fmla="*/ 265 w 2204"/>
                  <a:gd name="T1" fmla="*/ 0 h 1062"/>
                  <a:gd name="T2" fmla="*/ 2204 w 2204"/>
                  <a:gd name="T3" fmla="*/ 213 h 1062"/>
                  <a:gd name="T4" fmla="*/ 2026 w 2204"/>
                  <a:gd name="T5" fmla="*/ 1062 h 1062"/>
                  <a:gd name="T6" fmla="*/ 128 w 2204"/>
                  <a:gd name="T7" fmla="*/ 1062 h 1062"/>
                  <a:gd name="T8" fmla="*/ 99 w 2204"/>
                  <a:gd name="T9" fmla="*/ 1059 h 1062"/>
                  <a:gd name="T10" fmla="*/ 71 w 2204"/>
                  <a:gd name="T11" fmla="*/ 1049 h 1062"/>
                  <a:gd name="T12" fmla="*/ 47 w 2204"/>
                  <a:gd name="T13" fmla="*/ 1033 h 1062"/>
                  <a:gd name="T14" fmla="*/ 26 w 2204"/>
                  <a:gd name="T15" fmla="*/ 1011 h 1062"/>
                  <a:gd name="T16" fmla="*/ 10 w 2204"/>
                  <a:gd name="T17" fmla="*/ 985 h 1062"/>
                  <a:gd name="T18" fmla="*/ 1 w 2204"/>
                  <a:gd name="T19" fmla="*/ 957 h 1062"/>
                  <a:gd name="T20" fmla="*/ 0 w 2204"/>
                  <a:gd name="T21" fmla="*/ 928 h 1062"/>
                  <a:gd name="T22" fmla="*/ 4 w 2204"/>
                  <a:gd name="T23" fmla="*/ 899 h 1062"/>
                  <a:gd name="T24" fmla="*/ 265 w 2204"/>
                  <a:gd name="T25" fmla="*/ 0 h 10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04" h="1062">
                    <a:moveTo>
                      <a:pt x="265" y="0"/>
                    </a:moveTo>
                    <a:lnTo>
                      <a:pt x="2204" y="213"/>
                    </a:lnTo>
                    <a:lnTo>
                      <a:pt x="2026" y="1062"/>
                    </a:lnTo>
                    <a:lnTo>
                      <a:pt x="128" y="1062"/>
                    </a:lnTo>
                    <a:lnTo>
                      <a:pt x="99" y="1059"/>
                    </a:lnTo>
                    <a:lnTo>
                      <a:pt x="71" y="1049"/>
                    </a:lnTo>
                    <a:lnTo>
                      <a:pt x="47" y="1033"/>
                    </a:lnTo>
                    <a:lnTo>
                      <a:pt x="26" y="1011"/>
                    </a:lnTo>
                    <a:lnTo>
                      <a:pt x="10" y="985"/>
                    </a:lnTo>
                    <a:lnTo>
                      <a:pt x="1" y="957"/>
                    </a:lnTo>
                    <a:lnTo>
                      <a:pt x="0" y="928"/>
                    </a:lnTo>
                    <a:lnTo>
                      <a:pt x="4" y="899"/>
                    </a:lnTo>
                    <a:lnTo>
                      <a:pt x="2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46" name="Freeform 11"/>
              <p:cNvSpPr>
                <a:spLocks/>
              </p:cNvSpPr>
              <p:nvPr/>
            </p:nvSpPr>
            <p:spPr bwMode="auto">
              <a:xfrm>
                <a:off x="-1584276" y="1430211"/>
                <a:ext cx="241765" cy="82494"/>
              </a:xfrm>
              <a:custGeom>
                <a:avLst/>
                <a:gdLst>
                  <a:gd name="T0" fmla="*/ 169 w 2368"/>
                  <a:gd name="T1" fmla="*/ 0 h 807"/>
                  <a:gd name="T2" fmla="*/ 2243 w 2368"/>
                  <a:gd name="T3" fmla="*/ 227 h 807"/>
                  <a:gd name="T4" fmla="*/ 2361 w 2368"/>
                  <a:gd name="T5" fmla="*/ 635 h 807"/>
                  <a:gd name="T6" fmla="*/ 2366 w 2368"/>
                  <a:gd name="T7" fmla="*/ 657 h 807"/>
                  <a:gd name="T8" fmla="*/ 2368 w 2368"/>
                  <a:gd name="T9" fmla="*/ 679 h 807"/>
                  <a:gd name="T10" fmla="*/ 2365 w 2368"/>
                  <a:gd name="T11" fmla="*/ 708 h 807"/>
                  <a:gd name="T12" fmla="*/ 2355 w 2368"/>
                  <a:gd name="T13" fmla="*/ 736 h 807"/>
                  <a:gd name="T14" fmla="*/ 2340 w 2368"/>
                  <a:gd name="T15" fmla="*/ 759 h 807"/>
                  <a:gd name="T16" fmla="*/ 2320 w 2368"/>
                  <a:gd name="T17" fmla="*/ 779 h 807"/>
                  <a:gd name="T18" fmla="*/ 2297 w 2368"/>
                  <a:gd name="T19" fmla="*/ 794 h 807"/>
                  <a:gd name="T20" fmla="*/ 2269 w 2368"/>
                  <a:gd name="T21" fmla="*/ 804 h 807"/>
                  <a:gd name="T22" fmla="*/ 2240 w 2368"/>
                  <a:gd name="T23" fmla="*/ 807 h 807"/>
                  <a:gd name="T24" fmla="*/ 0 w 2368"/>
                  <a:gd name="T25" fmla="*/ 807 h 807"/>
                  <a:gd name="T26" fmla="*/ 169 w 2368"/>
                  <a:gd name="T27" fmla="*/ 0 h 8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68" h="807">
                    <a:moveTo>
                      <a:pt x="169" y="0"/>
                    </a:moveTo>
                    <a:lnTo>
                      <a:pt x="2243" y="227"/>
                    </a:lnTo>
                    <a:lnTo>
                      <a:pt x="2361" y="635"/>
                    </a:lnTo>
                    <a:lnTo>
                      <a:pt x="2366" y="657"/>
                    </a:lnTo>
                    <a:lnTo>
                      <a:pt x="2368" y="679"/>
                    </a:lnTo>
                    <a:lnTo>
                      <a:pt x="2365" y="708"/>
                    </a:lnTo>
                    <a:lnTo>
                      <a:pt x="2355" y="736"/>
                    </a:lnTo>
                    <a:lnTo>
                      <a:pt x="2340" y="759"/>
                    </a:lnTo>
                    <a:lnTo>
                      <a:pt x="2320" y="779"/>
                    </a:lnTo>
                    <a:lnTo>
                      <a:pt x="2297" y="794"/>
                    </a:lnTo>
                    <a:lnTo>
                      <a:pt x="2269" y="804"/>
                    </a:lnTo>
                    <a:lnTo>
                      <a:pt x="2240" y="807"/>
                    </a:lnTo>
                    <a:lnTo>
                      <a:pt x="0" y="807"/>
                    </a:lnTo>
                    <a:lnTo>
                      <a:pt x="1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47" name="Freeform 12"/>
              <p:cNvSpPr>
                <a:spLocks noEditPoints="1"/>
              </p:cNvSpPr>
              <p:nvPr/>
            </p:nvSpPr>
            <p:spPr bwMode="auto">
              <a:xfrm>
                <a:off x="-1601224" y="1063685"/>
                <a:ext cx="258713" cy="361625"/>
              </a:xfrm>
              <a:custGeom>
                <a:avLst/>
                <a:gdLst>
                  <a:gd name="T0" fmla="*/ 1102 w 2535"/>
                  <a:gd name="T1" fmla="*/ 494 h 3540"/>
                  <a:gd name="T2" fmla="*/ 877 w 2535"/>
                  <a:gd name="T3" fmla="*/ 583 h 3540"/>
                  <a:gd name="T4" fmla="*/ 693 w 2535"/>
                  <a:gd name="T5" fmla="*/ 733 h 3540"/>
                  <a:gd name="T6" fmla="*/ 563 w 2535"/>
                  <a:gd name="T7" fmla="*/ 931 h 3540"/>
                  <a:gd name="T8" fmla="*/ 499 w 2535"/>
                  <a:gd name="T9" fmla="*/ 1166 h 3540"/>
                  <a:gd name="T10" fmla="*/ 512 w 2535"/>
                  <a:gd name="T11" fmla="*/ 1417 h 3540"/>
                  <a:gd name="T12" fmla="*/ 599 w 2535"/>
                  <a:gd name="T13" fmla="*/ 1641 h 3540"/>
                  <a:gd name="T14" fmla="*/ 749 w 2535"/>
                  <a:gd name="T15" fmla="*/ 1825 h 3540"/>
                  <a:gd name="T16" fmla="*/ 948 w 2535"/>
                  <a:gd name="T17" fmla="*/ 1956 h 3540"/>
                  <a:gd name="T18" fmla="*/ 1184 w 2535"/>
                  <a:gd name="T19" fmla="*/ 2020 h 3540"/>
                  <a:gd name="T20" fmla="*/ 1434 w 2535"/>
                  <a:gd name="T21" fmla="*/ 2007 h 3540"/>
                  <a:gd name="T22" fmla="*/ 1658 w 2535"/>
                  <a:gd name="T23" fmla="*/ 1920 h 3540"/>
                  <a:gd name="T24" fmla="*/ 1843 w 2535"/>
                  <a:gd name="T25" fmla="*/ 1769 h 3540"/>
                  <a:gd name="T26" fmla="*/ 1972 w 2535"/>
                  <a:gd name="T27" fmla="*/ 1571 h 3540"/>
                  <a:gd name="T28" fmla="*/ 2037 w 2535"/>
                  <a:gd name="T29" fmla="*/ 1335 h 3540"/>
                  <a:gd name="T30" fmla="*/ 2023 w 2535"/>
                  <a:gd name="T31" fmla="*/ 1085 h 3540"/>
                  <a:gd name="T32" fmla="*/ 1936 w 2535"/>
                  <a:gd name="T33" fmla="*/ 861 h 3540"/>
                  <a:gd name="T34" fmla="*/ 1786 w 2535"/>
                  <a:gd name="T35" fmla="*/ 676 h 3540"/>
                  <a:gd name="T36" fmla="*/ 1587 w 2535"/>
                  <a:gd name="T37" fmla="*/ 545 h 3540"/>
                  <a:gd name="T38" fmla="*/ 1351 w 2535"/>
                  <a:gd name="T39" fmla="*/ 481 h 3540"/>
                  <a:gd name="T40" fmla="*/ 1377 w 2535"/>
                  <a:gd name="T41" fmla="*/ 4 h 3540"/>
                  <a:gd name="T42" fmla="*/ 1687 w 2535"/>
                  <a:gd name="T43" fmla="*/ 71 h 3540"/>
                  <a:gd name="T44" fmla="*/ 1965 w 2535"/>
                  <a:gd name="T45" fmla="*/ 209 h 3540"/>
                  <a:gd name="T46" fmla="*/ 2199 w 2535"/>
                  <a:gd name="T47" fmla="*/ 409 h 3540"/>
                  <a:gd name="T48" fmla="*/ 2379 w 2535"/>
                  <a:gd name="T49" fmla="*/ 657 h 3540"/>
                  <a:gd name="T50" fmla="*/ 2494 w 2535"/>
                  <a:gd name="T51" fmla="*/ 948 h 3540"/>
                  <a:gd name="T52" fmla="*/ 2535 w 2535"/>
                  <a:gd name="T53" fmla="*/ 1267 h 3540"/>
                  <a:gd name="T54" fmla="*/ 2497 w 2535"/>
                  <a:gd name="T55" fmla="*/ 1594 h 3540"/>
                  <a:gd name="T56" fmla="*/ 2395 w 2535"/>
                  <a:gd name="T57" fmla="*/ 1924 h 3540"/>
                  <a:gd name="T58" fmla="*/ 2248 w 2535"/>
                  <a:gd name="T59" fmla="*/ 2246 h 3540"/>
                  <a:gd name="T60" fmla="*/ 2075 w 2535"/>
                  <a:gd name="T61" fmla="*/ 2545 h 3540"/>
                  <a:gd name="T62" fmla="*/ 1898 w 2535"/>
                  <a:gd name="T63" fmla="*/ 2812 h 3540"/>
                  <a:gd name="T64" fmla="*/ 1726 w 2535"/>
                  <a:gd name="T65" fmla="*/ 3041 h 3540"/>
                  <a:gd name="T66" fmla="*/ 1566 w 2535"/>
                  <a:gd name="T67" fmla="*/ 3241 h 3540"/>
                  <a:gd name="T68" fmla="*/ 1428 w 2535"/>
                  <a:gd name="T69" fmla="*/ 3401 h 3540"/>
                  <a:gd name="T70" fmla="*/ 1320 w 2535"/>
                  <a:gd name="T71" fmla="*/ 3517 h 3540"/>
                  <a:gd name="T72" fmla="*/ 1268 w 2535"/>
                  <a:gd name="T73" fmla="*/ 3540 h 3540"/>
                  <a:gd name="T74" fmla="*/ 1214 w 2535"/>
                  <a:gd name="T75" fmla="*/ 3517 h 3540"/>
                  <a:gd name="T76" fmla="*/ 1108 w 2535"/>
                  <a:gd name="T77" fmla="*/ 3401 h 3540"/>
                  <a:gd name="T78" fmla="*/ 968 w 2535"/>
                  <a:gd name="T79" fmla="*/ 3241 h 3540"/>
                  <a:gd name="T80" fmla="*/ 808 w 2535"/>
                  <a:gd name="T81" fmla="*/ 3043 h 3540"/>
                  <a:gd name="T82" fmla="*/ 638 w 2535"/>
                  <a:gd name="T83" fmla="*/ 2813 h 3540"/>
                  <a:gd name="T84" fmla="*/ 459 w 2535"/>
                  <a:gd name="T85" fmla="*/ 2547 h 3540"/>
                  <a:gd name="T86" fmla="*/ 288 w 2535"/>
                  <a:gd name="T87" fmla="*/ 2246 h 3540"/>
                  <a:gd name="T88" fmla="*/ 141 w 2535"/>
                  <a:gd name="T89" fmla="*/ 1924 h 3540"/>
                  <a:gd name="T90" fmla="*/ 37 w 2535"/>
                  <a:gd name="T91" fmla="*/ 1594 h 3540"/>
                  <a:gd name="T92" fmla="*/ 0 w 2535"/>
                  <a:gd name="T93" fmla="*/ 1267 h 3540"/>
                  <a:gd name="T94" fmla="*/ 40 w 2535"/>
                  <a:gd name="T95" fmla="*/ 948 h 3540"/>
                  <a:gd name="T96" fmla="*/ 155 w 2535"/>
                  <a:gd name="T97" fmla="*/ 657 h 3540"/>
                  <a:gd name="T98" fmla="*/ 336 w 2535"/>
                  <a:gd name="T99" fmla="*/ 409 h 3540"/>
                  <a:gd name="T100" fmla="*/ 570 w 2535"/>
                  <a:gd name="T101" fmla="*/ 209 h 3540"/>
                  <a:gd name="T102" fmla="*/ 848 w 2535"/>
                  <a:gd name="T103" fmla="*/ 71 h 3540"/>
                  <a:gd name="T104" fmla="*/ 1157 w 2535"/>
                  <a:gd name="T105" fmla="*/ 4 h 3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35" h="3540">
                    <a:moveTo>
                      <a:pt x="1268" y="477"/>
                    </a:moveTo>
                    <a:lnTo>
                      <a:pt x="1184" y="481"/>
                    </a:lnTo>
                    <a:lnTo>
                      <a:pt x="1102" y="494"/>
                    </a:lnTo>
                    <a:lnTo>
                      <a:pt x="1024" y="516"/>
                    </a:lnTo>
                    <a:lnTo>
                      <a:pt x="948" y="545"/>
                    </a:lnTo>
                    <a:lnTo>
                      <a:pt x="877" y="583"/>
                    </a:lnTo>
                    <a:lnTo>
                      <a:pt x="810" y="627"/>
                    </a:lnTo>
                    <a:lnTo>
                      <a:pt x="749" y="676"/>
                    </a:lnTo>
                    <a:lnTo>
                      <a:pt x="693" y="733"/>
                    </a:lnTo>
                    <a:lnTo>
                      <a:pt x="643" y="794"/>
                    </a:lnTo>
                    <a:lnTo>
                      <a:pt x="599" y="861"/>
                    </a:lnTo>
                    <a:lnTo>
                      <a:pt x="563" y="931"/>
                    </a:lnTo>
                    <a:lnTo>
                      <a:pt x="533" y="1006"/>
                    </a:lnTo>
                    <a:lnTo>
                      <a:pt x="512" y="1085"/>
                    </a:lnTo>
                    <a:lnTo>
                      <a:pt x="499" y="1166"/>
                    </a:lnTo>
                    <a:lnTo>
                      <a:pt x="493" y="1251"/>
                    </a:lnTo>
                    <a:lnTo>
                      <a:pt x="499" y="1335"/>
                    </a:lnTo>
                    <a:lnTo>
                      <a:pt x="512" y="1417"/>
                    </a:lnTo>
                    <a:lnTo>
                      <a:pt x="533" y="1495"/>
                    </a:lnTo>
                    <a:lnTo>
                      <a:pt x="563" y="1571"/>
                    </a:lnTo>
                    <a:lnTo>
                      <a:pt x="599" y="1641"/>
                    </a:lnTo>
                    <a:lnTo>
                      <a:pt x="643" y="1708"/>
                    </a:lnTo>
                    <a:lnTo>
                      <a:pt x="693" y="1769"/>
                    </a:lnTo>
                    <a:lnTo>
                      <a:pt x="749" y="1825"/>
                    </a:lnTo>
                    <a:lnTo>
                      <a:pt x="810" y="1875"/>
                    </a:lnTo>
                    <a:lnTo>
                      <a:pt x="877" y="1920"/>
                    </a:lnTo>
                    <a:lnTo>
                      <a:pt x="948" y="1956"/>
                    </a:lnTo>
                    <a:lnTo>
                      <a:pt x="1024" y="1985"/>
                    </a:lnTo>
                    <a:lnTo>
                      <a:pt x="1102" y="2007"/>
                    </a:lnTo>
                    <a:lnTo>
                      <a:pt x="1184" y="2020"/>
                    </a:lnTo>
                    <a:lnTo>
                      <a:pt x="1268" y="2025"/>
                    </a:lnTo>
                    <a:lnTo>
                      <a:pt x="1351" y="2020"/>
                    </a:lnTo>
                    <a:lnTo>
                      <a:pt x="1434" y="2007"/>
                    </a:lnTo>
                    <a:lnTo>
                      <a:pt x="1512" y="1985"/>
                    </a:lnTo>
                    <a:lnTo>
                      <a:pt x="1587" y="1956"/>
                    </a:lnTo>
                    <a:lnTo>
                      <a:pt x="1658" y="1920"/>
                    </a:lnTo>
                    <a:lnTo>
                      <a:pt x="1725" y="1875"/>
                    </a:lnTo>
                    <a:lnTo>
                      <a:pt x="1786" y="1825"/>
                    </a:lnTo>
                    <a:lnTo>
                      <a:pt x="1843" y="1769"/>
                    </a:lnTo>
                    <a:lnTo>
                      <a:pt x="1892" y="1708"/>
                    </a:lnTo>
                    <a:lnTo>
                      <a:pt x="1936" y="1641"/>
                    </a:lnTo>
                    <a:lnTo>
                      <a:pt x="1972" y="1571"/>
                    </a:lnTo>
                    <a:lnTo>
                      <a:pt x="2003" y="1495"/>
                    </a:lnTo>
                    <a:lnTo>
                      <a:pt x="2023" y="1417"/>
                    </a:lnTo>
                    <a:lnTo>
                      <a:pt x="2037" y="1335"/>
                    </a:lnTo>
                    <a:lnTo>
                      <a:pt x="2042" y="1251"/>
                    </a:lnTo>
                    <a:lnTo>
                      <a:pt x="2037" y="1166"/>
                    </a:lnTo>
                    <a:lnTo>
                      <a:pt x="2023" y="1085"/>
                    </a:lnTo>
                    <a:lnTo>
                      <a:pt x="2003" y="1006"/>
                    </a:lnTo>
                    <a:lnTo>
                      <a:pt x="1972" y="931"/>
                    </a:lnTo>
                    <a:lnTo>
                      <a:pt x="1936" y="861"/>
                    </a:lnTo>
                    <a:lnTo>
                      <a:pt x="1892" y="794"/>
                    </a:lnTo>
                    <a:lnTo>
                      <a:pt x="1843" y="733"/>
                    </a:lnTo>
                    <a:lnTo>
                      <a:pt x="1786" y="676"/>
                    </a:lnTo>
                    <a:lnTo>
                      <a:pt x="1725" y="627"/>
                    </a:lnTo>
                    <a:lnTo>
                      <a:pt x="1658" y="583"/>
                    </a:lnTo>
                    <a:lnTo>
                      <a:pt x="1587" y="545"/>
                    </a:lnTo>
                    <a:lnTo>
                      <a:pt x="1512" y="516"/>
                    </a:lnTo>
                    <a:lnTo>
                      <a:pt x="1434" y="494"/>
                    </a:lnTo>
                    <a:lnTo>
                      <a:pt x="1351" y="481"/>
                    </a:lnTo>
                    <a:lnTo>
                      <a:pt x="1268" y="477"/>
                    </a:lnTo>
                    <a:close/>
                    <a:moveTo>
                      <a:pt x="1268" y="0"/>
                    </a:moveTo>
                    <a:lnTo>
                      <a:pt x="1377" y="4"/>
                    </a:lnTo>
                    <a:lnTo>
                      <a:pt x="1483" y="17"/>
                    </a:lnTo>
                    <a:lnTo>
                      <a:pt x="1587" y="41"/>
                    </a:lnTo>
                    <a:lnTo>
                      <a:pt x="1687" y="71"/>
                    </a:lnTo>
                    <a:lnTo>
                      <a:pt x="1784" y="110"/>
                    </a:lnTo>
                    <a:lnTo>
                      <a:pt x="1877" y="156"/>
                    </a:lnTo>
                    <a:lnTo>
                      <a:pt x="1965" y="209"/>
                    </a:lnTo>
                    <a:lnTo>
                      <a:pt x="2049" y="269"/>
                    </a:lnTo>
                    <a:lnTo>
                      <a:pt x="2126" y="336"/>
                    </a:lnTo>
                    <a:lnTo>
                      <a:pt x="2199" y="409"/>
                    </a:lnTo>
                    <a:lnTo>
                      <a:pt x="2266" y="486"/>
                    </a:lnTo>
                    <a:lnTo>
                      <a:pt x="2325" y="570"/>
                    </a:lnTo>
                    <a:lnTo>
                      <a:pt x="2379" y="657"/>
                    </a:lnTo>
                    <a:lnTo>
                      <a:pt x="2424" y="750"/>
                    </a:lnTo>
                    <a:lnTo>
                      <a:pt x="2464" y="848"/>
                    </a:lnTo>
                    <a:lnTo>
                      <a:pt x="2494" y="948"/>
                    </a:lnTo>
                    <a:lnTo>
                      <a:pt x="2517" y="1052"/>
                    </a:lnTo>
                    <a:lnTo>
                      <a:pt x="2531" y="1158"/>
                    </a:lnTo>
                    <a:lnTo>
                      <a:pt x="2535" y="1267"/>
                    </a:lnTo>
                    <a:lnTo>
                      <a:pt x="2531" y="1376"/>
                    </a:lnTo>
                    <a:lnTo>
                      <a:pt x="2517" y="1485"/>
                    </a:lnTo>
                    <a:lnTo>
                      <a:pt x="2497" y="1594"/>
                    </a:lnTo>
                    <a:lnTo>
                      <a:pt x="2469" y="1705"/>
                    </a:lnTo>
                    <a:lnTo>
                      <a:pt x="2435" y="1815"/>
                    </a:lnTo>
                    <a:lnTo>
                      <a:pt x="2395" y="1924"/>
                    </a:lnTo>
                    <a:lnTo>
                      <a:pt x="2350" y="2033"/>
                    </a:lnTo>
                    <a:lnTo>
                      <a:pt x="2301" y="2140"/>
                    </a:lnTo>
                    <a:lnTo>
                      <a:pt x="2248" y="2246"/>
                    </a:lnTo>
                    <a:lnTo>
                      <a:pt x="2193" y="2349"/>
                    </a:lnTo>
                    <a:lnTo>
                      <a:pt x="2135" y="2448"/>
                    </a:lnTo>
                    <a:lnTo>
                      <a:pt x="2075" y="2545"/>
                    </a:lnTo>
                    <a:lnTo>
                      <a:pt x="2016" y="2638"/>
                    </a:lnTo>
                    <a:lnTo>
                      <a:pt x="1957" y="2727"/>
                    </a:lnTo>
                    <a:lnTo>
                      <a:pt x="1898" y="2812"/>
                    </a:lnTo>
                    <a:lnTo>
                      <a:pt x="1841" y="2892"/>
                    </a:lnTo>
                    <a:lnTo>
                      <a:pt x="1783" y="2969"/>
                    </a:lnTo>
                    <a:lnTo>
                      <a:pt x="1726" y="3041"/>
                    </a:lnTo>
                    <a:lnTo>
                      <a:pt x="1671" y="3111"/>
                    </a:lnTo>
                    <a:lnTo>
                      <a:pt x="1619" y="3178"/>
                    </a:lnTo>
                    <a:lnTo>
                      <a:pt x="1566" y="3241"/>
                    </a:lnTo>
                    <a:lnTo>
                      <a:pt x="1517" y="3297"/>
                    </a:lnTo>
                    <a:lnTo>
                      <a:pt x="1470" y="3351"/>
                    </a:lnTo>
                    <a:lnTo>
                      <a:pt x="1428" y="3401"/>
                    </a:lnTo>
                    <a:lnTo>
                      <a:pt x="1387" y="3444"/>
                    </a:lnTo>
                    <a:lnTo>
                      <a:pt x="1352" y="3484"/>
                    </a:lnTo>
                    <a:lnTo>
                      <a:pt x="1320" y="3517"/>
                    </a:lnTo>
                    <a:lnTo>
                      <a:pt x="1304" y="3530"/>
                    </a:lnTo>
                    <a:lnTo>
                      <a:pt x="1287" y="3537"/>
                    </a:lnTo>
                    <a:lnTo>
                      <a:pt x="1268" y="3540"/>
                    </a:lnTo>
                    <a:lnTo>
                      <a:pt x="1248" y="3537"/>
                    </a:lnTo>
                    <a:lnTo>
                      <a:pt x="1230" y="3530"/>
                    </a:lnTo>
                    <a:lnTo>
                      <a:pt x="1214" y="3517"/>
                    </a:lnTo>
                    <a:lnTo>
                      <a:pt x="1184" y="3484"/>
                    </a:lnTo>
                    <a:lnTo>
                      <a:pt x="1147" y="3444"/>
                    </a:lnTo>
                    <a:lnTo>
                      <a:pt x="1108" y="3401"/>
                    </a:lnTo>
                    <a:lnTo>
                      <a:pt x="1064" y="3353"/>
                    </a:lnTo>
                    <a:lnTo>
                      <a:pt x="1018" y="3299"/>
                    </a:lnTo>
                    <a:lnTo>
                      <a:pt x="968" y="3241"/>
                    </a:lnTo>
                    <a:lnTo>
                      <a:pt x="917" y="3178"/>
                    </a:lnTo>
                    <a:lnTo>
                      <a:pt x="864" y="3113"/>
                    </a:lnTo>
                    <a:lnTo>
                      <a:pt x="808" y="3043"/>
                    </a:lnTo>
                    <a:lnTo>
                      <a:pt x="752" y="2969"/>
                    </a:lnTo>
                    <a:lnTo>
                      <a:pt x="695" y="2893"/>
                    </a:lnTo>
                    <a:lnTo>
                      <a:pt x="638" y="2813"/>
                    </a:lnTo>
                    <a:lnTo>
                      <a:pt x="579" y="2729"/>
                    </a:lnTo>
                    <a:lnTo>
                      <a:pt x="519" y="2640"/>
                    </a:lnTo>
                    <a:lnTo>
                      <a:pt x="459" y="2547"/>
                    </a:lnTo>
                    <a:lnTo>
                      <a:pt x="401" y="2449"/>
                    </a:lnTo>
                    <a:lnTo>
                      <a:pt x="343" y="2349"/>
                    </a:lnTo>
                    <a:lnTo>
                      <a:pt x="288" y="2246"/>
                    </a:lnTo>
                    <a:lnTo>
                      <a:pt x="234" y="2141"/>
                    </a:lnTo>
                    <a:lnTo>
                      <a:pt x="186" y="2033"/>
                    </a:lnTo>
                    <a:lnTo>
                      <a:pt x="141" y="1924"/>
                    </a:lnTo>
                    <a:lnTo>
                      <a:pt x="100" y="1815"/>
                    </a:lnTo>
                    <a:lnTo>
                      <a:pt x="67" y="1705"/>
                    </a:lnTo>
                    <a:lnTo>
                      <a:pt x="37" y="1594"/>
                    </a:lnTo>
                    <a:lnTo>
                      <a:pt x="17" y="1485"/>
                    </a:lnTo>
                    <a:lnTo>
                      <a:pt x="4" y="1376"/>
                    </a:lnTo>
                    <a:lnTo>
                      <a:pt x="0" y="1267"/>
                    </a:lnTo>
                    <a:lnTo>
                      <a:pt x="4" y="1158"/>
                    </a:lnTo>
                    <a:lnTo>
                      <a:pt x="19" y="1052"/>
                    </a:lnTo>
                    <a:lnTo>
                      <a:pt x="40" y="948"/>
                    </a:lnTo>
                    <a:lnTo>
                      <a:pt x="71" y="848"/>
                    </a:lnTo>
                    <a:lnTo>
                      <a:pt x="110" y="750"/>
                    </a:lnTo>
                    <a:lnTo>
                      <a:pt x="155" y="657"/>
                    </a:lnTo>
                    <a:lnTo>
                      <a:pt x="209" y="570"/>
                    </a:lnTo>
                    <a:lnTo>
                      <a:pt x="269" y="486"/>
                    </a:lnTo>
                    <a:lnTo>
                      <a:pt x="336" y="409"/>
                    </a:lnTo>
                    <a:lnTo>
                      <a:pt x="408" y="336"/>
                    </a:lnTo>
                    <a:lnTo>
                      <a:pt x="487" y="269"/>
                    </a:lnTo>
                    <a:lnTo>
                      <a:pt x="570" y="209"/>
                    </a:lnTo>
                    <a:lnTo>
                      <a:pt x="659" y="156"/>
                    </a:lnTo>
                    <a:lnTo>
                      <a:pt x="750" y="110"/>
                    </a:lnTo>
                    <a:lnTo>
                      <a:pt x="848" y="71"/>
                    </a:lnTo>
                    <a:lnTo>
                      <a:pt x="948" y="41"/>
                    </a:lnTo>
                    <a:lnTo>
                      <a:pt x="1051" y="17"/>
                    </a:lnTo>
                    <a:lnTo>
                      <a:pt x="1157" y="4"/>
                    </a:lnTo>
                    <a:lnTo>
                      <a:pt x="12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</p:grpSp>
      </p:grpSp>
      <p:grpSp>
        <p:nvGrpSpPr>
          <p:cNvPr id="148" name="Group 147"/>
          <p:cNvGrpSpPr/>
          <p:nvPr/>
        </p:nvGrpSpPr>
        <p:grpSpPr>
          <a:xfrm>
            <a:off x="148422" y="3712326"/>
            <a:ext cx="727019" cy="533587"/>
            <a:chOff x="148422" y="3578812"/>
            <a:chExt cx="727019" cy="533587"/>
          </a:xfrm>
        </p:grpSpPr>
        <p:sp>
          <p:nvSpPr>
            <p:cNvPr id="149" name="Rectangle 17"/>
            <p:cNvSpPr>
              <a:spLocks/>
            </p:cNvSpPr>
            <p:nvPr/>
          </p:nvSpPr>
          <p:spPr bwMode="auto">
            <a:xfrm>
              <a:off x="148422" y="3835400"/>
              <a:ext cx="7270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rgbClr val="FFFFFF"/>
                  </a:solidFill>
                  <a:latin typeface="+mj-lt"/>
                  <a:sym typeface="Helvetica Neue" charset="0"/>
                </a:rPr>
                <a:t>Социальные сети</a:t>
              </a:r>
            </a:p>
          </p:txBody>
        </p:sp>
        <p:grpSp>
          <p:nvGrpSpPr>
            <p:cNvPr id="150" name="Group 16"/>
            <p:cNvGrpSpPr>
              <a:grpSpLocks noChangeAspect="1"/>
            </p:cNvGrpSpPr>
            <p:nvPr/>
          </p:nvGrpSpPr>
          <p:grpSpPr bwMode="auto">
            <a:xfrm>
              <a:off x="389395" y="3578812"/>
              <a:ext cx="259829" cy="259829"/>
              <a:chOff x="-783" y="2303"/>
              <a:chExt cx="491" cy="491"/>
            </a:xfrm>
            <a:solidFill>
              <a:schemeClr val="bg1"/>
            </a:solidFill>
          </p:grpSpPr>
          <p:sp>
            <p:nvSpPr>
              <p:cNvPr id="151" name="Freeform 18"/>
              <p:cNvSpPr>
                <a:spLocks/>
              </p:cNvSpPr>
              <p:nvPr/>
            </p:nvSpPr>
            <p:spPr bwMode="auto">
              <a:xfrm>
                <a:off x="-415" y="2395"/>
                <a:ext cx="36" cy="29"/>
              </a:xfrm>
              <a:custGeom>
                <a:avLst/>
                <a:gdLst>
                  <a:gd name="T0" fmla="*/ 131 w 252"/>
                  <a:gd name="T1" fmla="*/ 0 h 201"/>
                  <a:gd name="T2" fmla="*/ 146 w 252"/>
                  <a:gd name="T3" fmla="*/ 2 h 201"/>
                  <a:gd name="T4" fmla="*/ 160 w 252"/>
                  <a:gd name="T5" fmla="*/ 5 h 201"/>
                  <a:gd name="T6" fmla="*/ 173 w 252"/>
                  <a:gd name="T7" fmla="*/ 9 h 201"/>
                  <a:gd name="T8" fmla="*/ 181 w 252"/>
                  <a:gd name="T9" fmla="*/ 10 h 201"/>
                  <a:gd name="T10" fmla="*/ 199 w 252"/>
                  <a:gd name="T11" fmla="*/ 22 h 201"/>
                  <a:gd name="T12" fmla="*/ 217 w 252"/>
                  <a:gd name="T13" fmla="*/ 35 h 201"/>
                  <a:gd name="T14" fmla="*/ 232 w 252"/>
                  <a:gd name="T15" fmla="*/ 48 h 201"/>
                  <a:gd name="T16" fmla="*/ 244 w 252"/>
                  <a:gd name="T17" fmla="*/ 63 h 201"/>
                  <a:gd name="T18" fmla="*/ 252 w 252"/>
                  <a:gd name="T19" fmla="*/ 80 h 201"/>
                  <a:gd name="T20" fmla="*/ 252 w 252"/>
                  <a:gd name="T21" fmla="*/ 101 h 201"/>
                  <a:gd name="T22" fmla="*/ 251 w 252"/>
                  <a:gd name="T23" fmla="*/ 120 h 201"/>
                  <a:gd name="T24" fmla="*/ 247 w 252"/>
                  <a:gd name="T25" fmla="*/ 137 h 201"/>
                  <a:gd name="T26" fmla="*/ 240 w 252"/>
                  <a:gd name="T27" fmla="*/ 153 h 201"/>
                  <a:gd name="T28" fmla="*/ 231 w 252"/>
                  <a:gd name="T29" fmla="*/ 167 h 201"/>
                  <a:gd name="T30" fmla="*/ 217 w 252"/>
                  <a:gd name="T31" fmla="*/ 179 h 201"/>
                  <a:gd name="T32" fmla="*/ 199 w 252"/>
                  <a:gd name="T33" fmla="*/ 188 h 201"/>
                  <a:gd name="T34" fmla="*/ 178 w 252"/>
                  <a:gd name="T35" fmla="*/ 195 h 201"/>
                  <a:gd name="T36" fmla="*/ 152 w 252"/>
                  <a:gd name="T37" fmla="*/ 199 h 201"/>
                  <a:gd name="T38" fmla="*/ 121 w 252"/>
                  <a:gd name="T39" fmla="*/ 201 h 201"/>
                  <a:gd name="T40" fmla="*/ 95 w 252"/>
                  <a:gd name="T41" fmla="*/ 199 h 201"/>
                  <a:gd name="T42" fmla="*/ 73 w 252"/>
                  <a:gd name="T43" fmla="*/ 192 h 201"/>
                  <a:gd name="T44" fmla="*/ 51 w 252"/>
                  <a:gd name="T45" fmla="*/ 182 h 201"/>
                  <a:gd name="T46" fmla="*/ 34 w 252"/>
                  <a:gd name="T47" fmla="*/ 169 h 201"/>
                  <a:gd name="T48" fmla="*/ 19 w 252"/>
                  <a:gd name="T49" fmla="*/ 154 h 201"/>
                  <a:gd name="T50" fmla="*/ 9 w 252"/>
                  <a:gd name="T51" fmla="*/ 137 h 201"/>
                  <a:gd name="T52" fmla="*/ 2 w 252"/>
                  <a:gd name="T53" fmla="*/ 119 h 201"/>
                  <a:gd name="T54" fmla="*/ 0 w 252"/>
                  <a:gd name="T55" fmla="*/ 101 h 201"/>
                  <a:gd name="T56" fmla="*/ 3 w 252"/>
                  <a:gd name="T57" fmla="*/ 79 h 201"/>
                  <a:gd name="T58" fmla="*/ 11 w 252"/>
                  <a:gd name="T59" fmla="*/ 60 h 201"/>
                  <a:gd name="T60" fmla="*/ 22 w 252"/>
                  <a:gd name="T61" fmla="*/ 43 h 201"/>
                  <a:gd name="T62" fmla="*/ 40 w 252"/>
                  <a:gd name="T63" fmla="*/ 28 h 201"/>
                  <a:gd name="T64" fmla="*/ 59 w 252"/>
                  <a:gd name="T65" fmla="*/ 16 h 201"/>
                  <a:gd name="T66" fmla="*/ 80 w 252"/>
                  <a:gd name="T67" fmla="*/ 7 h 201"/>
                  <a:gd name="T68" fmla="*/ 105 w 252"/>
                  <a:gd name="T69" fmla="*/ 2 h 201"/>
                  <a:gd name="T70" fmla="*/ 131 w 252"/>
                  <a:gd name="T71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52" h="201">
                    <a:moveTo>
                      <a:pt x="131" y="0"/>
                    </a:moveTo>
                    <a:lnTo>
                      <a:pt x="146" y="2"/>
                    </a:lnTo>
                    <a:lnTo>
                      <a:pt x="160" y="5"/>
                    </a:lnTo>
                    <a:lnTo>
                      <a:pt x="173" y="9"/>
                    </a:lnTo>
                    <a:lnTo>
                      <a:pt x="181" y="10"/>
                    </a:lnTo>
                    <a:lnTo>
                      <a:pt x="199" y="22"/>
                    </a:lnTo>
                    <a:lnTo>
                      <a:pt x="217" y="35"/>
                    </a:lnTo>
                    <a:lnTo>
                      <a:pt x="232" y="48"/>
                    </a:lnTo>
                    <a:lnTo>
                      <a:pt x="244" y="63"/>
                    </a:lnTo>
                    <a:lnTo>
                      <a:pt x="252" y="80"/>
                    </a:lnTo>
                    <a:lnTo>
                      <a:pt x="252" y="101"/>
                    </a:lnTo>
                    <a:lnTo>
                      <a:pt x="251" y="120"/>
                    </a:lnTo>
                    <a:lnTo>
                      <a:pt x="247" y="137"/>
                    </a:lnTo>
                    <a:lnTo>
                      <a:pt x="240" y="153"/>
                    </a:lnTo>
                    <a:lnTo>
                      <a:pt x="231" y="167"/>
                    </a:lnTo>
                    <a:lnTo>
                      <a:pt x="217" y="179"/>
                    </a:lnTo>
                    <a:lnTo>
                      <a:pt x="199" y="188"/>
                    </a:lnTo>
                    <a:lnTo>
                      <a:pt x="178" y="195"/>
                    </a:lnTo>
                    <a:lnTo>
                      <a:pt x="152" y="199"/>
                    </a:lnTo>
                    <a:lnTo>
                      <a:pt x="121" y="201"/>
                    </a:lnTo>
                    <a:lnTo>
                      <a:pt x="95" y="199"/>
                    </a:lnTo>
                    <a:lnTo>
                      <a:pt x="73" y="192"/>
                    </a:lnTo>
                    <a:lnTo>
                      <a:pt x="51" y="182"/>
                    </a:lnTo>
                    <a:lnTo>
                      <a:pt x="34" y="169"/>
                    </a:lnTo>
                    <a:lnTo>
                      <a:pt x="19" y="154"/>
                    </a:lnTo>
                    <a:lnTo>
                      <a:pt x="9" y="137"/>
                    </a:lnTo>
                    <a:lnTo>
                      <a:pt x="2" y="119"/>
                    </a:lnTo>
                    <a:lnTo>
                      <a:pt x="0" y="101"/>
                    </a:lnTo>
                    <a:lnTo>
                      <a:pt x="3" y="79"/>
                    </a:lnTo>
                    <a:lnTo>
                      <a:pt x="11" y="60"/>
                    </a:lnTo>
                    <a:lnTo>
                      <a:pt x="22" y="43"/>
                    </a:lnTo>
                    <a:lnTo>
                      <a:pt x="40" y="28"/>
                    </a:lnTo>
                    <a:lnTo>
                      <a:pt x="59" y="16"/>
                    </a:lnTo>
                    <a:lnTo>
                      <a:pt x="80" y="7"/>
                    </a:lnTo>
                    <a:lnTo>
                      <a:pt x="105" y="2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52" name="Freeform 19"/>
              <p:cNvSpPr>
                <a:spLocks/>
              </p:cNvSpPr>
              <p:nvPr/>
            </p:nvSpPr>
            <p:spPr bwMode="auto">
              <a:xfrm>
                <a:off x="-409" y="2347"/>
                <a:ext cx="25" cy="31"/>
              </a:xfrm>
              <a:custGeom>
                <a:avLst/>
                <a:gdLst>
                  <a:gd name="T0" fmla="*/ 73 w 175"/>
                  <a:gd name="T1" fmla="*/ 0 h 220"/>
                  <a:gd name="T2" fmla="*/ 94 w 175"/>
                  <a:gd name="T3" fmla="*/ 3 h 220"/>
                  <a:gd name="T4" fmla="*/ 113 w 175"/>
                  <a:gd name="T5" fmla="*/ 11 h 220"/>
                  <a:gd name="T6" fmla="*/ 130 w 175"/>
                  <a:gd name="T7" fmla="*/ 25 h 220"/>
                  <a:gd name="T8" fmla="*/ 145 w 175"/>
                  <a:gd name="T9" fmla="*/ 42 h 220"/>
                  <a:gd name="T10" fmla="*/ 158 w 175"/>
                  <a:gd name="T11" fmla="*/ 62 h 220"/>
                  <a:gd name="T12" fmla="*/ 168 w 175"/>
                  <a:gd name="T13" fmla="*/ 85 h 220"/>
                  <a:gd name="T14" fmla="*/ 173 w 175"/>
                  <a:gd name="T15" fmla="*/ 110 h 220"/>
                  <a:gd name="T16" fmla="*/ 175 w 175"/>
                  <a:gd name="T17" fmla="*/ 136 h 220"/>
                  <a:gd name="T18" fmla="*/ 171 w 175"/>
                  <a:gd name="T19" fmla="*/ 158 h 220"/>
                  <a:gd name="T20" fmla="*/ 163 w 175"/>
                  <a:gd name="T21" fmla="*/ 179 h 220"/>
                  <a:gd name="T22" fmla="*/ 151 w 175"/>
                  <a:gd name="T23" fmla="*/ 196 h 220"/>
                  <a:gd name="T24" fmla="*/ 137 w 175"/>
                  <a:gd name="T25" fmla="*/ 210 h 220"/>
                  <a:gd name="T26" fmla="*/ 121 w 175"/>
                  <a:gd name="T27" fmla="*/ 218 h 220"/>
                  <a:gd name="T28" fmla="*/ 104 w 175"/>
                  <a:gd name="T29" fmla="*/ 220 h 220"/>
                  <a:gd name="T30" fmla="*/ 82 w 175"/>
                  <a:gd name="T31" fmla="*/ 218 h 220"/>
                  <a:gd name="T32" fmla="*/ 63 w 175"/>
                  <a:gd name="T33" fmla="*/ 210 h 220"/>
                  <a:gd name="T34" fmla="*/ 46 w 175"/>
                  <a:gd name="T35" fmla="*/ 196 h 220"/>
                  <a:gd name="T36" fmla="*/ 31 w 175"/>
                  <a:gd name="T37" fmla="*/ 179 h 220"/>
                  <a:gd name="T38" fmla="*/ 18 w 175"/>
                  <a:gd name="T39" fmla="*/ 158 h 220"/>
                  <a:gd name="T40" fmla="*/ 9 w 175"/>
                  <a:gd name="T41" fmla="*/ 136 h 220"/>
                  <a:gd name="T42" fmla="*/ 3 w 175"/>
                  <a:gd name="T43" fmla="*/ 110 h 220"/>
                  <a:gd name="T44" fmla="*/ 0 w 175"/>
                  <a:gd name="T45" fmla="*/ 89 h 220"/>
                  <a:gd name="T46" fmla="*/ 2 w 175"/>
                  <a:gd name="T47" fmla="*/ 67 h 220"/>
                  <a:gd name="T48" fmla="*/ 7 w 175"/>
                  <a:gd name="T49" fmla="*/ 49 h 220"/>
                  <a:gd name="T50" fmla="*/ 14 w 175"/>
                  <a:gd name="T51" fmla="*/ 32 h 220"/>
                  <a:gd name="T52" fmla="*/ 26 w 175"/>
                  <a:gd name="T53" fmla="*/ 19 h 220"/>
                  <a:gd name="T54" fmla="*/ 39 w 175"/>
                  <a:gd name="T55" fmla="*/ 9 h 220"/>
                  <a:gd name="T56" fmla="*/ 55 w 175"/>
                  <a:gd name="T57" fmla="*/ 2 h 220"/>
                  <a:gd name="T58" fmla="*/ 73 w 175"/>
                  <a:gd name="T59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75" h="220">
                    <a:moveTo>
                      <a:pt x="73" y="0"/>
                    </a:moveTo>
                    <a:lnTo>
                      <a:pt x="94" y="3"/>
                    </a:lnTo>
                    <a:lnTo>
                      <a:pt x="113" y="11"/>
                    </a:lnTo>
                    <a:lnTo>
                      <a:pt x="130" y="25"/>
                    </a:lnTo>
                    <a:lnTo>
                      <a:pt x="145" y="42"/>
                    </a:lnTo>
                    <a:lnTo>
                      <a:pt x="158" y="62"/>
                    </a:lnTo>
                    <a:lnTo>
                      <a:pt x="168" y="85"/>
                    </a:lnTo>
                    <a:lnTo>
                      <a:pt x="173" y="110"/>
                    </a:lnTo>
                    <a:lnTo>
                      <a:pt x="175" y="136"/>
                    </a:lnTo>
                    <a:lnTo>
                      <a:pt x="171" y="158"/>
                    </a:lnTo>
                    <a:lnTo>
                      <a:pt x="163" y="179"/>
                    </a:lnTo>
                    <a:lnTo>
                      <a:pt x="151" y="196"/>
                    </a:lnTo>
                    <a:lnTo>
                      <a:pt x="137" y="210"/>
                    </a:lnTo>
                    <a:lnTo>
                      <a:pt x="121" y="218"/>
                    </a:lnTo>
                    <a:lnTo>
                      <a:pt x="104" y="220"/>
                    </a:lnTo>
                    <a:lnTo>
                      <a:pt x="82" y="218"/>
                    </a:lnTo>
                    <a:lnTo>
                      <a:pt x="63" y="210"/>
                    </a:lnTo>
                    <a:lnTo>
                      <a:pt x="46" y="196"/>
                    </a:lnTo>
                    <a:lnTo>
                      <a:pt x="31" y="179"/>
                    </a:lnTo>
                    <a:lnTo>
                      <a:pt x="18" y="158"/>
                    </a:lnTo>
                    <a:lnTo>
                      <a:pt x="9" y="136"/>
                    </a:lnTo>
                    <a:lnTo>
                      <a:pt x="3" y="110"/>
                    </a:lnTo>
                    <a:lnTo>
                      <a:pt x="0" y="89"/>
                    </a:lnTo>
                    <a:lnTo>
                      <a:pt x="2" y="67"/>
                    </a:lnTo>
                    <a:lnTo>
                      <a:pt x="7" y="49"/>
                    </a:lnTo>
                    <a:lnTo>
                      <a:pt x="14" y="32"/>
                    </a:lnTo>
                    <a:lnTo>
                      <a:pt x="26" y="19"/>
                    </a:lnTo>
                    <a:lnTo>
                      <a:pt x="39" y="9"/>
                    </a:lnTo>
                    <a:lnTo>
                      <a:pt x="55" y="2"/>
                    </a:lnTo>
                    <a:lnTo>
                      <a:pt x="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53" name="Freeform 20"/>
              <p:cNvSpPr>
                <a:spLocks noEditPoints="1"/>
              </p:cNvSpPr>
              <p:nvPr/>
            </p:nvSpPr>
            <p:spPr bwMode="auto">
              <a:xfrm>
                <a:off x="-461" y="2303"/>
                <a:ext cx="167" cy="167"/>
              </a:xfrm>
              <a:custGeom>
                <a:avLst/>
                <a:gdLst>
                  <a:gd name="T0" fmla="*/ 394 w 1169"/>
                  <a:gd name="T1" fmla="*/ 292 h 1165"/>
                  <a:gd name="T2" fmla="*/ 322 w 1169"/>
                  <a:gd name="T3" fmla="*/ 340 h 1165"/>
                  <a:gd name="T4" fmla="*/ 292 w 1169"/>
                  <a:gd name="T5" fmla="*/ 412 h 1165"/>
                  <a:gd name="T6" fmla="*/ 315 w 1169"/>
                  <a:gd name="T7" fmla="*/ 485 h 1165"/>
                  <a:gd name="T8" fmla="*/ 377 w 1169"/>
                  <a:gd name="T9" fmla="*/ 532 h 1165"/>
                  <a:gd name="T10" fmla="*/ 453 w 1169"/>
                  <a:gd name="T11" fmla="*/ 543 h 1165"/>
                  <a:gd name="T12" fmla="*/ 443 w 1169"/>
                  <a:gd name="T13" fmla="*/ 572 h 1165"/>
                  <a:gd name="T14" fmla="*/ 452 w 1169"/>
                  <a:gd name="T15" fmla="*/ 623 h 1165"/>
                  <a:gd name="T16" fmla="*/ 386 w 1169"/>
                  <a:gd name="T17" fmla="*/ 646 h 1165"/>
                  <a:gd name="T18" fmla="*/ 294 w 1169"/>
                  <a:gd name="T19" fmla="*/ 681 h 1165"/>
                  <a:gd name="T20" fmla="*/ 245 w 1169"/>
                  <a:gd name="T21" fmla="*/ 748 h 1165"/>
                  <a:gd name="T22" fmla="*/ 252 w 1169"/>
                  <a:gd name="T23" fmla="*/ 812 h 1165"/>
                  <a:gd name="T24" fmla="*/ 299 w 1169"/>
                  <a:gd name="T25" fmla="*/ 855 h 1165"/>
                  <a:gd name="T26" fmla="*/ 374 w 1169"/>
                  <a:gd name="T27" fmla="*/ 879 h 1165"/>
                  <a:gd name="T28" fmla="*/ 468 w 1169"/>
                  <a:gd name="T29" fmla="*/ 882 h 1165"/>
                  <a:gd name="T30" fmla="*/ 549 w 1169"/>
                  <a:gd name="T31" fmla="*/ 858 h 1165"/>
                  <a:gd name="T32" fmla="*/ 598 w 1169"/>
                  <a:gd name="T33" fmla="*/ 813 h 1165"/>
                  <a:gd name="T34" fmla="*/ 614 w 1169"/>
                  <a:gd name="T35" fmla="*/ 753 h 1165"/>
                  <a:gd name="T36" fmla="*/ 603 w 1169"/>
                  <a:gd name="T37" fmla="*/ 686 h 1165"/>
                  <a:gd name="T38" fmla="*/ 554 w 1169"/>
                  <a:gd name="T39" fmla="*/ 633 h 1165"/>
                  <a:gd name="T40" fmla="*/ 521 w 1169"/>
                  <a:gd name="T41" fmla="*/ 607 h 1165"/>
                  <a:gd name="T42" fmla="*/ 503 w 1169"/>
                  <a:gd name="T43" fmla="*/ 572 h 1165"/>
                  <a:gd name="T44" fmla="*/ 516 w 1169"/>
                  <a:gd name="T45" fmla="*/ 544 h 1165"/>
                  <a:gd name="T46" fmla="*/ 560 w 1169"/>
                  <a:gd name="T47" fmla="*/ 504 h 1165"/>
                  <a:gd name="T48" fmla="*/ 592 w 1169"/>
                  <a:gd name="T49" fmla="*/ 445 h 1165"/>
                  <a:gd name="T50" fmla="*/ 589 w 1169"/>
                  <a:gd name="T51" fmla="*/ 380 h 1165"/>
                  <a:gd name="T52" fmla="*/ 563 w 1169"/>
                  <a:gd name="T53" fmla="*/ 330 h 1165"/>
                  <a:gd name="T54" fmla="*/ 594 w 1169"/>
                  <a:gd name="T55" fmla="*/ 312 h 1165"/>
                  <a:gd name="T56" fmla="*/ 806 w 1169"/>
                  <a:gd name="T57" fmla="*/ 272 h 1165"/>
                  <a:gd name="T58" fmla="*/ 694 w 1169"/>
                  <a:gd name="T59" fmla="*/ 423 h 1165"/>
                  <a:gd name="T60" fmla="*/ 846 w 1169"/>
                  <a:gd name="T61" fmla="*/ 533 h 1165"/>
                  <a:gd name="T62" fmla="*/ 956 w 1169"/>
                  <a:gd name="T63" fmla="*/ 382 h 1165"/>
                  <a:gd name="T64" fmla="*/ 806 w 1169"/>
                  <a:gd name="T65" fmla="*/ 272 h 1165"/>
                  <a:gd name="T66" fmla="*/ 725 w 1169"/>
                  <a:gd name="T67" fmla="*/ 13 h 1165"/>
                  <a:gd name="T68" fmla="*/ 890 w 1169"/>
                  <a:gd name="T69" fmla="*/ 77 h 1165"/>
                  <a:gd name="T70" fmla="*/ 1024 w 1169"/>
                  <a:gd name="T71" fmla="*/ 185 h 1165"/>
                  <a:gd name="T72" fmla="*/ 1118 w 1169"/>
                  <a:gd name="T73" fmla="*/ 331 h 1165"/>
                  <a:gd name="T74" fmla="*/ 1166 w 1169"/>
                  <a:gd name="T75" fmla="*/ 502 h 1165"/>
                  <a:gd name="T76" fmla="*/ 1156 w 1169"/>
                  <a:gd name="T77" fmla="*/ 684 h 1165"/>
                  <a:gd name="T78" fmla="*/ 1092 w 1169"/>
                  <a:gd name="T79" fmla="*/ 847 h 1165"/>
                  <a:gd name="T80" fmla="*/ 983 w 1169"/>
                  <a:gd name="T81" fmla="*/ 980 h 1165"/>
                  <a:gd name="T82" fmla="*/ 837 w 1169"/>
                  <a:gd name="T83" fmla="*/ 1075 h 1165"/>
                  <a:gd name="T84" fmla="*/ 666 w 1169"/>
                  <a:gd name="T85" fmla="*/ 1122 h 1165"/>
                  <a:gd name="T86" fmla="*/ 495 w 1169"/>
                  <a:gd name="T87" fmla="*/ 1113 h 1165"/>
                  <a:gd name="T88" fmla="*/ 342 w 1169"/>
                  <a:gd name="T89" fmla="*/ 1055 h 1165"/>
                  <a:gd name="T90" fmla="*/ 80 w 1169"/>
                  <a:gd name="T91" fmla="*/ 1165 h 1165"/>
                  <a:gd name="T92" fmla="*/ 22 w 1169"/>
                  <a:gd name="T93" fmla="*/ 1107 h 1165"/>
                  <a:gd name="T94" fmla="*/ 143 w 1169"/>
                  <a:gd name="T95" fmla="*/ 879 h 1165"/>
                  <a:gd name="T96" fmla="*/ 75 w 1169"/>
                  <a:gd name="T97" fmla="*/ 757 h 1165"/>
                  <a:gd name="T98" fmla="*/ 43 w 1169"/>
                  <a:gd name="T99" fmla="*/ 614 h 1165"/>
                  <a:gd name="T100" fmla="*/ 53 w 1169"/>
                  <a:gd name="T101" fmla="*/ 442 h 1165"/>
                  <a:gd name="T102" fmla="*/ 117 w 1169"/>
                  <a:gd name="T103" fmla="*/ 278 h 1165"/>
                  <a:gd name="T104" fmla="*/ 226 w 1169"/>
                  <a:gd name="T105" fmla="*/ 145 h 1165"/>
                  <a:gd name="T106" fmla="*/ 371 w 1169"/>
                  <a:gd name="T107" fmla="*/ 51 h 1165"/>
                  <a:gd name="T108" fmla="*/ 543 w 1169"/>
                  <a:gd name="T109" fmla="*/ 4 h 1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69" h="1165">
                    <a:moveTo>
                      <a:pt x="453" y="282"/>
                    </a:moveTo>
                    <a:lnTo>
                      <a:pt x="423" y="285"/>
                    </a:lnTo>
                    <a:lnTo>
                      <a:pt x="394" y="292"/>
                    </a:lnTo>
                    <a:lnTo>
                      <a:pt x="367" y="304"/>
                    </a:lnTo>
                    <a:lnTo>
                      <a:pt x="342" y="320"/>
                    </a:lnTo>
                    <a:lnTo>
                      <a:pt x="322" y="340"/>
                    </a:lnTo>
                    <a:lnTo>
                      <a:pt x="306" y="362"/>
                    </a:lnTo>
                    <a:lnTo>
                      <a:pt x="296" y="386"/>
                    </a:lnTo>
                    <a:lnTo>
                      <a:pt x="292" y="412"/>
                    </a:lnTo>
                    <a:lnTo>
                      <a:pt x="295" y="438"/>
                    </a:lnTo>
                    <a:lnTo>
                      <a:pt x="302" y="462"/>
                    </a:lnTo>
                    <a:lnTo>
                      <a:pt x="315" y="485"/>
                    </a:lnTo>
                    <a:lnTo>
                      <a:pt x="333" y="504"/>
                    </a:lnTo>
                    <a:lnTo>
                      <a:pt x="353" y="520"/>
                    </a:lnTo>
                    <a:lnTo>
                      <a:pt x="377" y="532"/>
                    </a:lnTo>
                    <a:lnTo>
                      <a:pt x="403" y="540"/>
                    </a:lnTo>
                    <a:lnTo>
                      <a:pt x="433" y="543"/>
                    </a:lnTo>
                    <a:lnTo>
                      <a:pt x="453" y="543"/>
                    </a:lnTo>
                    <a:lnTo>
                      <a:pt x="446" y="553"/>
                    </a:lnTo>
                    <a:lnTo>
                      <a:pt x="443" y="563"/>
                    </a:lnTo>
                    <a:lnTo>
                      <a:pt x="443" y="572"/>
                    </a:lnTo>
                    <a:lnTo>
                      <a:pt x="444" y="588"/>
                    </a:lnTo>
                    <a:lnTo>
                      <a:pt x="448" y="605"/>
                    </a:lnTo>
                    <a:lnTo>
                      <a:pt x="452" y="623"/>
                    </a:lnTo>
                    <a:lnTo>
                      <a:pt x="453" y="643"/>
                    </a:lnTo>
                    <a:lnTo>
                      <a:pt x="423" y="643"/>
                    </a:lnTo>
                    <a:lnTo>
                      <a:pt x="386" y="646"/>
                    </a:lnTo>
                    <a:lnTo>
                      <a:pt x="352" y="654"/>
                    </a:lnTo>
                    <a:lnTo>
                      <a:pt x="321" y="665"/>
                    </a:lnTo>
                    <a:lnTo>
                      <a:pt x="294" y="681"/>
                    </a:lnTo>
                    <a:lnTo>
                      <a:pt x="272" y="702"/>
                    </a:lnTo>
                    <a:lnTo>
                      <a:pt x="255" y="723"/>
                    </a:lnTo>
                    <a:lnTo>
                      <a:pt x="245" y="748"/>
                    </a:lnTo>
                    <a:lnTo>
                      <a:pt x="241" y="773"/>
                    </a:lnTo>
                    <a:lnTo>
                      <a:pt x="245" y="794"/>
                    </a:lnTo>
                    <a:lnTo>
                      <a:pt x="252" y="812"/>
                    </a:lnTo>
                    <a:lnTo>
                      <a:pt x="264" y="828"/>
                    </a:lnTo>
                    <a:lnTo>
                      <a:pt x="280" y="843"/>
                    </a:lnTo>
                    <a:lnTo>
                      <a:pt x="299" y="855"/>
                    </a:lnTo>
                    <a:lnTo>
                      <a:pt x="322" y="865"/>
                    </a:lnTo>
                    <a:lnTo>
                      <a:pt x="348" y="873"/>
                    </a:lnTo>
                    <a:lnTo>
                      <a:pt x="374" y="879"/>
                    </a:lnTo>
                    <a:lnTo>
                      <a:pt x="403" y="882"/>
                    </a:lnTo>
                    <a:lnTo>
                      <a:pt x="433" y="884"/>
                    </a:lnTo>
                    <a:lnTo>
                      <a:pt x="468" y="882"/>
                    </a:lnTo>
                    <a:lnTo>
                      <a:pt x="498" y="877"/>
                    </a:lnTo>
                    <a:lnTo>
                      <a:pt x="526" y="869"/>
                    </a:lnTo>
                    <a:lnTo>
                      <a:pt x="549" y="858"/>
                    </a:lnTo>
                    <a:lnTo>
                      <a:pt x="569" y="845"/>
                    </a:lnTo>
                    <a:lnTo>
                      <a:pt x="585" y="830"/>
                    </a:lnTo>
                    <a:lnTo>
                      <a:pt x="598" y="813"/>
                    </a:lnTo>
                    <a:lnTo>
                      <a:pt x="607" y="794"/>
                    </a:lnTo>
                    <a:lnTo>
                      <a:pt x="613" y="775"/>
                    </a:lnTo>
                    <a:lnTo>
                      <a:pt x="614" y="753"/>
                    </a:lnTo>
                    <a:lnTo>
                      <a:pt x="613" y="730"/>
                    </a:lnTo>
                    <a:lnTo>
                      <a:pt x="610" y="706"/>
                    </a:lnTo>
                    <a:lnTo>
                      <a:pt x="603" y="686"/>
                    </a:lnTo>
                    <a:lnTo>
                      <a:pt x="591" y="667"/>
                    </a:lnTo>
                    <a:lnTo>
                      <a:pt x="575" y="649"/>
                    </a:lnTo>
                    <a:lnTo>
                      <a:pt x="554" y="633"/>
                    </a:lnTo>
                    <a:lnTo>
                      <a:pt x="543" y="626"/>
                    </a:lnTo>
                    <a:lnTo>
                      <a:pt x="532" y="617"/>
                    </a:lnTo>
                    <a:lnTo>
                      <a:pt x="521" y="607"/>
                    </a:lnTo>
                    <a:lnTo>
                      <a:pt x="512" y="595"/>
                    </a:lnTo>
                    <a:lnTo>
                      <a:pt x="505" y="583"/>
                    </a:lnTo>
                    <a:lnTo>
                      <a:pt x="503" y="572"/>
                    </a:lnTo>
                    <a:lnTo>
                      <a:pt x="504" y="562"/>
                    </a:lnTo>
                    <a:lnTo>
                      <a:pt x="509" y="552"/>
                    </a:lnTo>
                    <a:lnTo>
                      <a:pt x="516" y="544"/>
                    </a:lnTo>
                    <a:lnTo>
                      <a:pt x="528" y="534"/>
                    </a:lnTo>
                    <a:lnTo>
                      <a:pt x="544" y="522"/>
                    </a:lnTo>
                    <a:lnTo>
                      <a:pt x="560" y="504"/>
                    </a:lnTo>
                    <a:lnTo>
                      <a:pt x="574" y="486"/>
                    </a:lnTo>
                    <a:lnTo>
                      <a:pt x="585" y="467"/>
                    </a:lnTo>
                    <a:lnTo>
                      <a:pt x="592" y="445"/>
                    </a:lnTo>
                    <a:lnTo>
                      <a:pt x="594" y="423"/>
                    </a:lnTo>
                    <a:lnTo>
                      <a:pt x="593" y="401"/>
                    </a:lnTo>
                    <a:lnTo>
                      <a:pt x="589" y="380"/>
                    </a:lnTo>
                    <a:lnTo>
                      <a:pt x="583" y="361"/>
                    </a:lnTo>
                    <a:lnTo>
                      <a:pt x="574" y="344"/>
                    </a:lnTo>
                    <a:lnTo>
                      <a:pt x="563" y="330"/>
                    </a:lnTo>
                    <a:lnTo>
                      <a:pt x="549" y="318"/>
                    </a:lnTo>
                    <a:lnTo>
                      <a:pt x="533" y="312"/>
                    </a:lnTo>
                    <a:lnTo>
                      <a:pt x="594" y="312"/>
                    </a:lnTo>
                    <a:lnTo>
                      <a:pt x="634" y="282"/>
                    </a:lnTo>
                    <a:lnTo>
                      <a:pt x="453" y="282"/>
                    </a:lnTo>
                    <a:close/>
                    <a:moveTo>
                      <a:pt x="806" y="272"/>
                    </a:moveTo>
                    <a:lnTo>
                      <a:pt x="806" y="382"/>
                    </a:lnTo>
                    <a:lnTo>
                      <a:pt x="694" y="382"/>
                    </a:lnTo>
                    <a:lnTo>
                      <a:pt x="694" y="423"/>
                    </a:lnTo>
                    <a:lnTo>
                      <a:pt x="806" y="423"/>
                    </a:lnTo>
                    <a:lnTo>
                      <a:pt x="806" y="533"/>
                    </a:lnTo>
                    <a:lnTo>
                      <a:pt x="846" y="533"/>
                    </a:lnTo>
                    <a:lnTo>
                      <a:pt x="846" y="423"/>
                    </a:lnTo>
                    <a:lnTo>
                      <a:pt x="956" y="423"/>
                    </a:lnTo>
                    <a:lnTo>
                      <a:pt x="956" y="382"/>
                    </a:lnTo>
                    <a:lnTo>
                      <a:pt x="846" y="382"/>
                    </a:lnTo>
                    <a:lnTo>
                      <a:pt x="846" y="272"/>
                    </a:lnTo>
                    <a:lnTo>
                      <a:pt x="806" y="272"/>
                    </a:lnTo>
                    <a:close/>
                    <a:moveTo>
                      <a:pt x="604" y="0"/>
                    </a:moveTo>
                    <a:lnTo>
                      <a:pt x="666" y="4"/>
                    </a:lnTo>
                    <a:lnTo>
                      <a:pt x="725" y="13"/>
                    </a:lnTo>
                    <a:lnTo>
                      <a:pt x="783" y="29"/>
                    </a:lnTo>
                    <a:lnTo>
                      <a:pt x="837" y="51"/>
                    </a:lnTo>
                    <a:lnTo>
                      <a:pt x="890" y="77"/>
                    </a:lnTo>
                    <a:lnTo>
                      <a:pt x="938" y="110"/>
                    </a:lnTo>
                    <a:lnTo>
                      <a:pt x="983" y="145"/>
                    </a:lnTo>
                    <a:lnTo>
                      <a:pt x="1024" y="185"/>
                    </a:lnTo>
                    <a:lnTo>
                      <a:pt x="1060" y="230"/>
                    </a:lnTo>
                    <a:lnTo>
                      <a:pt x="1092" y="278"/>
                    </a:lnTo>
                    <a:lnTo>
                      <a:pt x="1118" y="331"/>
                    </a:lnTo>
                    <a:lnTo>
                      <a:pt x="1140" y="385"/>
                    </a:lnTo>
                    <a:lnTo>
                      <a:pt x="1156" y="442"/>
                    </a:lnTo>
                    <a:lnTo>
                      <a:pt x="1166" y="502"/>
                    </a:lnTo>
                    <a:lnTo>
                      <a:pt x="1169" y="563"/>
                    </a:lnTo>
                    <a:lnTo>
                      <a:pt x="1166" y="624"/>
                    </a:lnTo>
                    <a:lnTo>
                      <a:pt x="1156" y="684"/>
                    </a:lnTo>
                    <a:lnTo>
                      <a:pt x="1140" y="740"/>
                    </a:lnTo>
                    <a:lnTo>
                      <a:pt x="1118" y="795"/>
                    </a:lnTo>
                    <a:lnTo>
                      <a:pt x="1092" y="847"/>
                    </a:lnTo>
                    <a:lnTo>
                      <a:pt x="1060" y="895"/>
                    </a:lnTo>
                    <a:lnTo>
                      <a:pt x="1024" y="939"/>
                    </a:lnTo>
                    <a:lnTo>
                      <a:pt x="983" y="980"/>
                    </a:lnTo>
                    <a:lnTo>
                      <a:pt x="938" y="1016"/>
                    </a:lnTo>
                    <a:lnTo>
                      <a:pt x="890" y="1048"/>
                    </a:lnTo>
                    <a:lnTo>
                      <a:pt x="837" y="1075"/>
                    </a:lnTo>
                    <a:lnTo>
                      <a:pt x="783" y="1096"/>
                    </a:lnTo>
                    <a:lnTo>
                      <a:pt x="725" y="1111"/>
                    </a:lnTo>
                    <a:lnTo>
                      <a:pt x="666" y="1122"/>
                    </a:lnTo>
                    <a:lnTo>
                      <a:pt x="604" y="1125"/>
                    </a:lnTo>
                    <a:lnTo>
                      <a:pt x="548" y="1122"/>
                    </a:lnTo>
                    <a:lnTo>
                      <a:pt x="495" y="1113"/>
                    </a:lnTo>
                    <a:lnTo>
                      <a:pt x="442" y="1098"/>
                    </a:lnTo>
                    <a:lnTo>
                      <a:pt x="392" y="1079"/>
                    </a:lnTo>
                    <a:lnTo>
                      <a:pt x="342" y="1055"/>
                    </a:lnTo>
                    <a:lnTo>
                      <a:pt x="296" y="1027"/>
                    </a:lnTo>
                    <a:lnTo>
                      <a:pt x="251" y="994"/>
                    </a:lnTo>
                    <a:lnTo>
                      <a:pt x="80" y="1165"/>
                    </a:lnTo>
                    <a:lnTo>
                      <a:pt x="63" y="1148"/>
                    </a:lnTo>
                    <a:lnTo>
                      <a:pt x="44" y="1128"/>
                    </a:lnTo>
                    <a:lnTo>
                      <a:pt x="22" y="1107"/>
                    </a:lnTo>
                    <a:lnTo>
                      <a:pt x="0" y="1085"/>
                    </a:lnTo>
                    <a:lnTo>
                      <a:pt x="170" y="915"/>
                    </a:lnTo>
                    <a:lnTo>
                      <a:pt x="143" y="879"/>
                    </a:lnTo>
                    <a:lnTo>
                      <a:pt x="117" y="841"/>
                    </a:lnTo>
                    <a:lnTo>
                      <a:pt x="94" y="800"/>
                    </a:lnTo>
                    <a:lnTo>
                      <a:pt x="75" y="757"/>
                    </a:lnTo>
                    <a:lnTo>
                      <a:pt x="60" y="711"/>
                    </a:lnTo>
                    <a:lnTo>
                      <a:pt x="49" y="664"/>
                    </a:lnTo>
                    <a:lnTo>
                      <a:pt x="43" y="614"/>
                    </a:lnTo>
                    <a:lnTo>
                      <a:pt x="39" y="563"/>
                    </a:lnTo>
                    <a:lnTo>
                      <a:pt x="44" y="502"/>
                    </a:lnTo>
                    <a:lnTo>
                      <a:pt x="53" y="442"/>
                    </a:lnTo>
                    <a:lnTo>
                      <a:pt x="68" y="385"/>
                    </a:lnTo>
                    <a:lnTo>
                      <a:pt x="90" y="331"/>
                    </a:lnTo>
                    <a:lnTo>
                      <a:pt x="117" y="278"/>
                    </a:lnTo>
                    <a:lnTo>
                      <a:pt x="149" y="230"/>
                    </a:lnTo>
                    <a:lnTo>
                      <a:pt x="185" y="185"/>
                    </a:lnTo>
                    <a:lnTo>
                      <a:pt x="226" y="145"/>
                    </a:lnTo>
                    <a:lnTo>
                      <a:pt x="270" y="110"/>
                    </a:lnTo>
                    <a:lnTo>
                      <a:pt x="320" y="77"/>
                    </a:lnTo>
                    <a:lnTo>
                      <a:pt x="371" y="51"/>
                    </a:lnTo>
                    <a:lnTo>
                      <a:pt x="426" y="29"/>
                    </a:lnTo>
                    <a:lnTo>
                      <a:pt x="483" y="13"/>
                    </a:lnTo>
                    <a:lnTo>
                      <a:pt x="543" y="4"/>
                    </a:lnTo>
                    <a:lnTo>
                      <a:pt x="60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54" name="Freeform 21"/>
              <p:cNvSpPr>
                <a:spLocks noEditPoints="1"/>
              </p:cNvSpPr>
              <p:nvPr/>
            </p:nvSpPr>
            <p:spPr bwMode="auto">
              <a:xfrm>
                <a:off x="-459" y="2628"/>
                <a:ext cx="167" cy="164"/>
              </a:xfrm>
              <a:custGeom>
                <a:avLst/>
                <a:gdLst>
                  <a:gd name="T0" fmla="*/ 434 w 1170"/>
                  <a:gd name="T1" fmla="*/ 852 h 1154"/>
                  <a:gd name="T2" fmla="*/ 747 w 1170"/>
                  <a:gd name="T3" fmla="*/ 492 h 1154"/>
                  <a:gd name="T4" fmla="*/ 680 w 1170"/>
                  <a:gd name="T5" fmla="*/ 509 h 1154"/>
                  <a:gd name="T6" fmla="*/ 641 w 1170"/>
                  <a:gd name="T7" fmla="*/ 542 h 1154"/>
                  <a:gd name="T8" fmla="*/ 515 w 1170"/>
                  <a:gd name="T9" fmla="*/ 502 h 1154"/>
                  <a:gd name="T10" fmla="*/ 636 w 1170"/>
                  <a:gd name="T11" fmla="*/ 632 h 1154"/>
                  <a:gd name="T12" fmla="*/ 665 w 1170"/>
                  <a:gd name="T13" fmla="*/ 600 h 1154"/>
                  <a:gd name="T14" fmla="*/ 714 w 1170"/>
                  <a:gd name="T15" fmla="*/ 595 h 1154"/>
                  <a:gd name="T16" fmla="*/ 750 w 1170"/>
                  <a:gd name="T17" fmla="*/ 629 h 1154"/>
                  <a:gd name="T18" fmla="*/ 756 w 1170"/>
                  <a:gd name="T19" fmla="*/ 852 h 1154"/>
                  <a:gd name="T20" fmla="*/ 886 w 1170"/>
                  <a:gd name="T21" fmla="*/ 621 h 1154"/>
                  <a:gd name="T22" fmla="*/ 861 w 1170"/>
                  <a:gd name="T23" fmla="*/ 547 h 1154"/>
                  <a:gd name="T24" fmla="*/ 812 w 1170"/>
                  <a:gd name="T25" fmla="*/ 506 h 1154"/>
                  <a:gd name="T26" fmla="*/ 747 w 1170"/>
                  <a:gd name="T27" fmla="*/ 492 h 1154"/>
                  <a:gd name="T28" fmla="*/ 347 w 1170"/>
                  <a:gd name="T29" fmla="*/ 340 h 1154"/>
                  <a:gd name="T30" fmla="*/ 315 w 1170"/>
                  <a:gd name="T31" fmla="*/ 376 h 1154"/>
                  <a:gd name="T32" fmla="*/ 322 w 1170"/>
                  <a:gd name="T33" fmla="*/ 420 h 1154"/>
                  <a:gd name="T34" fmla="*/ 364 w 1170"/>
                  <a:gd name="T35" fmla="*/ 449 h 1154"/>
                  <a:gd name="T36" fmla="*/ 418 w 1170"/>
                  <a:gd name="T37" fmla="*/ 445 h 1154"/>
                  <a:gd name="T38" fmla="*/ 448 w 1170"/>
                  <a:gd name="T39" fmla="*/ 410 h 1154"/>
                  <a:gd name="T40" fmla="*/ 445 w 1170"/>
                  <a:gd name="T41" fmla="*/ 363 h 1154"/>
                  <a:gd name="T42" fmla="*/ 403 w 1170"/>
                  <a:gd name="T43" fmla="*/ 334 h 1154"/>
                  <a:gd name="T44" fmla="*/ 242 w 1170"/>
                  <a:gd name="T45" fmla="*/ 170 h 1154"/>
                  <a:gd name="T46" fmla="*/ 359 w 1170"/>
                  <a:gd name="T47" fmla="*/ 94 h 1154"/>
                  <a:gd name="T48" fmla="*/ 497 w 1170"/>
                  <a:gd name="T49" fmla="*/ 49 h 1154"/>
                  <a:gd name="T50" fmla="*/ 657 w 1170"/>
                  <a:gd name="T51" fmla="*/ 43 h 1154"/>
                  <a:gd name="T52" fmla="*/ 829 w 1170"/>
                  <a:gd name="T53" fmla="*/ 88 h 1154"/>
                  <a:gd name="T54" fmla="*/ 975 w 1170"/>
                  <a:gd name="T55" fmla="*/ 180 h 1154"/>
                  <a:gd name="T56" fmla="*/ 1086 w 1170"/>
                  <a:gd name="T57" fmla="*/ 310 h 1154"/>
                  <a:gd name="T58" fmla="*/ 1153 w 1170"/>
                  <a:gd name="T59" fmla="*/ 472 h 1154"/>
                  <a:gd name="T60" fmla="*/ 1166 w 1170"/>
                  <a:gd name="T61" fmla="*/ 653 h 1154"/>
                  <a:gd name="T62" fmla="*/ 1119 w 1170"/>
                  <a:gd name="T63" fmla="*/ 824 h 1154"/>
                  <a:gd name="T64" fmla="*/ 1025 w 1170"/>
                  <a:gd name="T65" fmla="*/ 969 h 1154"/>
                  <a:gd name="T66" fmla="*/ 890 w 1170"/>
                  <a:gd name="T67" fmla="*/ 1077 h 1154"/>
                  <a:gd name="T68" fmla="*/ 726 w 1170"/>
                  <a:gd name="T69" fmla="*/ 1141 h 1154"/>
                  <a:gd name="T70" fmla="*/ 544 w 1170"/>
                  <a:gd name="T71" fmla="*/ 1150 h 1154"/>
                  <a:gd name="T72" fmla="*/ 372 w 1170"/>
                  <a:gd name="T73" fmla="*/ 1103 h 1154"/>
                  <a:gd name="T74" fmla="*/ 227 w 1170"/>
                  <a:gd name="T75" fmla="*/ 1009 h 1154"/>
                  <a:gd name="T76" fmla="*/ 117 w 1170"/>
                  <a:gd name="T77" fmla="*/ 876 h 1154"/>
                  <a:gd name="T78" fmla="*/ 54 w 1170"/>
                  <a:gd name="T79" fmla="*/ 712 h 1154"/>
                  <a:gd name="T80" fmla="*/ 44 w 1170"/>
                  <a:gd name="T81" fmla="*/ 537 h 1154"/>
                  <a:gd name="T82" fmla="*/ 86 w 1170"/>
                  <a:gd name="T83" fmla="*/ 380 h 1154"/>
                  <a:gd name="T84" fmla="*/ 172 w 1170"/>
                  <a:gd name="T85" fmla="*/ 241 h 1154"/>
                  <a:gd name="T86" fmla="*/ 36 w 1170"/>
                  <a:gd name="T87" fmla="*/ 39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70" h="1154">
                    <a:moveTo>
                      <a:pt x="324" y="502"/>
                    </a:moveTo>
                    <a:lnTo>
                      <a:pt x="324" y="852"/>
                    </a:lnTo>
                    <a:lnTo>
                      <a:pt x="434" y="852"/>
                    </a:lnTo>
                    <a:lnTo>
                      <a:pt x="434" y="502"/>
                    </a:lnTo>
                    <a:lnTo>
                      <a:pt x="324" y="502"/>
                    </a:lnTo>
                    <a:close/>
                    <a:moveTo>
                      <a:pt x="747" y="492"/>
                    </a:moveTo>
                    <a:lnTo>
                      <a:pt x="722" y="494"/>
                    </a:lnTo>
                    <a:lnTo>
                      <a:pt x="699" y="500"/>
                    </a:lnTo>
                    <a:lnTo>
                      <a:pt x="680" y="509"/>
                    </a:lnTo>
                    <a:lnTo>
                      <a:pt x="664" y="520"/>
                    </a:lnTo>
                    <a:lnTo>
                      <a:pt x="651" y="531"/>
                    </a:lnTo>
                    <a:lnTo>
                      <a:pt x="641" y="542"/>
                    </a:lnTo>
                    <a:lnTo>
                      <a:pt x="636" y="552"/>
                    </a:lnTo>
                    <a:lnTo>
                      <a:pt x="636" y="502"/>
                    </a:lnTo>
                    <a:lnTo>
                      <a:pt x="515" y="502"/>
                    </a:lnTo>
                    <a:lnTo>
                      <a:pt x="515" y="853"/>
                    </a:lnTo>
                    <a:lnTo>
                      <a:pt x="636" y="853"/>
                    </a:lnTo>
                    <a:lnTo>
                      <a:pt x="636" y="632"/>
                    </a:lnTo>
                    <a:lnTo>
                      <a:pt x="642" y="620"/>
                    </a:lnTo>
                    <a:lnTo>
                      <a:pt x="652" y="609"/>
                    </a:lnTo>
                    <a:lnTo>
                      <a:pt x="665" y="600"/>
                    </a:lnTo>
                    <a:lnTo>
                      <a:pt x="679" y="595"/>
                    </a:lnTo>
                    <a:lnTo>
                      <a:pt x="696" y="592"/>
                    </a:lnTo>
                    <a:lnTo>
                      <a:pt x="714" y="595"/>
                    </a:lnTo>
                    <a:lnTo>
                      <a:pt x="729" y="602"/>
                    </a:lnTo>
                    <a:lnTo>
                      <a:pt x="741" y="613"/>
                    </a:lnTo>
                    <a:lnTo>
                      <a:pt x="750" y="629"/>
                    </a:lnTo>
                    <a:lnTo>
                      <a:pt x="755" y="649"/>
                    </a:lnTo>
                    <a:lnTo>
                      <a:pt x="756" y="673"/>
                    </a:lnTo>
                    <a:lnTo>
                      <a:pt x="756" y="852"/>
                    </a:lnTo>
                    <a:lnTo>
                      <a:pt x="887" y="852"/>
                    </a:lnTo>
                    <a:lnTo>
                      <a:pt x="887" y="652"/>
                    </a:lnTo>
                    <a:lnTo>
                      <a:pt x="886" y="621"/>
                    </a:lnTo>
                    <a:lnTo>
                      <a:pt x="881" y="593"/>
                    </a:lnTo>
                    <a:lnTo>
                      <a:pt x="872" y="569"/>
                    </a:lnTo>
                    <a:lnTo>
                      <a:pt x="861" y="547"/>
                    </a:lnTo>
                    <a:lnTo>
                      <a:pt x="847" y="530"/>
                    </a:lnTo>
                    <a:lnTo>
                      <a:pt x="830" y="516"/>
                    </a:lnTo>
                    <a:lnTo>
                      <a:pt x="812" y="506"/>
                    </a:lnTo>
                    <a:lnTo>
                      <a:pt x="792" y="497"/>
                    </a:lnTo>
                    <a:lnTo>
                      <a:pt x="770" y="493"/>
                    </a:lnTo>
                    <a:lnTo>
                      <a:pt x="747" y="492"/>
                    </a:lnTo>
                    <a:close/>
                    <a:moveTo>
                      <a:pt x="384" y="330"/>
                    </a:moveTo>
                    <a:lnTo>
                      <a:pt x="364" y="334"/>
                    </a:lnTo>
                    <a:lnTo>
                      <a:pt x="347" y="340"/>
                    </a:lnTo>
                    <a:lnTo>
                      <a:pt x="333" y="350"/>
                    </a:lnTo>
                    <a:lnTo>
                      <a:pt x="322" y="363"/>
                    </a:lnTo>
                    <a:lnTo>
                      <a:pt x="315" y="376"/>
                    </a:lnTo>
                    <a:lnTo>
                      <a:pt x="313" y="391"/>
                    </a:lnTo>
                    <a:lnTo>
                      <a:pt x="315" y="406"/>
                    </a:lnTo>
                    <a:lnTo>
                      <a:pt x="322" y="420"/>
                    </a:lnTo>
                    <a:lnTo>
                      <a:pt x="333" y="432"/>
                    </a:lnTo>
                    <a:lnTo>
                      <a:pt x="347" y="443"/>
                    </a:lnTo>
                    <a:lnTo>
                      <a:pt x="364" y="449"/>
                    </a:lnTo>
                    <a:lnTo>
                      <a:pt x="384" y="451"/>
                    </a:lnTo>
                    <a:lnTo>
                      <a:pt x="402" y="449"/>
                    </a:lnTo>
                    <a:lnTo>
                      <a:pt x="418" y="445"/>
                    </a:lnTo>
                    <a:lnTo>
                      <a:pt x="430" y="436"/>
                    </a:lnTo>
                    <a:lnTo>
                      <a:pt x="441" y="425"/>
                    </a:lnTo>
                    <a:lnTo>
                      <a:pt x="448" y="410"/>
                    </a:lnTo>
                    <a:lnTo>
                      <a:pt x="455" y="391"/>
                    </a:lnTo>
                    <a:lnTo>
                      <a:pt x="451" y="376"/>
                    </a:lnTo>
                    <a:lnTo>
                      <a:pt x="445" y="363"/>
                    </a:lnTo>
                    <a:lnTo>
                      <a:pt x="434" y="350"/>
                    </a:lnTo>
                    <a:lnTo>
                      <a:pt x="420" y="340"/>
                    </a:lnTo>
                    <a:lnTo>
                      <a:pt x="403" y="334"/>
                    </a:lnTo>
                    <a:lnTo>
                      <a:pt x="384" y="330"/>
                    </a:lnTo>
                    <a:close/>
                    <a:moveTo>
                      <a:pt x="71" y="0"/>
                    </a:moveTo>
                    <a:lnTo>
                      <a:pt x="242" y="170"/>
                    </a:lnTo>
                    <a:lnTo>
                      <a:pt x="278" y="141"/>
                    </a:lnTo>
                    <a:lnTo>
                      <a:pt x="317" y="116"/>
                    </a:lnTo>
                    <a:lnTo>
                      <a:pt x="359" y="94"/>
                    </a:lnTo>
                    <a:lnTo>
                      <a:pt x="404" y="75"/>
                    </a:lnTo>
                    <a:lnTo>
                      <a:pt x="450" y="60"/>
                    </a:lnTo>
                    <a:lnTo>
                      <a:pt x="497" y="49"/>
                    </a:lnTo>
                    <a:lnTo>
                      <a:pt x="546" y="42"/>
                    </a:lnTo>
                    <a:lnTo>
                      <a:pt x="595" y="40"/>
                    </a:lnTo>
                    <a:lnTo>
                      <a:pt x="657" y="43"/>
                    </a:lnTo>
                    <a:lnTo>
                      <a:pt x="716" y="52"/>
                    </a:lnTo>
                    <a:lnTo>
                      <a:pt x="774" y="67"/>
                    </a:lnTo>
                    <a:lnTo>
                      <a:pt x="829" y="88"/>
                    </a:lnTo>
                    <a:lnTo>
                      <a:pt x="881" y="113"/>
                    </a:lnTo>
                    <a:lnTo>
                      <a:pt x="929" y="144"/>
                    </a:lnTo>
                    <a:lnTo>
                      <a:pt x="975" y="180"/>
                    </a:lnTo>
                    <a:lnTo>
                      <a:pt x="1016" y="219"/>
                    </a:lnTo>
                    <a:lnTo>
                      <a:pt x="1054" y="263"/>
                    </a:lnTo>
                    <a:lnTo>
                      <a:pt x="1086" y="310"/>
                    </a:lnTo>
                    <a:lnTo>
                      <a:pt x="1114" y="361"/>
                    </a:lnTo>
                    <a:lnTo>
                      <a:pt x="1136" y="415"/>
                    </a:lnTo>
                    <a:lnTo>
                      <a:pt x="1153" y="472"/>
                    </a:lnTo>
                    <a:lnTo>
                      <a:pt x="1164" y="530"/>
                    </a:lnTo>
                    <a:lnTo>
                      <a:pt x="1170" y="591"/>
                    </a:lnTo>
                    <a:lnTo>
                      <a:pt x="1166" y="653"/>
                    </a:lnTo>
                    <a:lnTo>
                      <a:pt x="1157" y="712"/>
                    </a:lnTo>
                    <a:lnTo>
                      <a:pt x="1141" y="770"/>
                    </a:lnTo>
                    <a:lnTo>
                      <a:pt x="1119" y="824"/>
                    </a:lnTo>
                    <a:lnTo>
                      <a:pt x="1093" y="876"/>
                    </a:lnTo>
                    <a:lnTo>
                      <a:pt x="1061" y="924"/>
                    </a:lnTo>
                    <a:lnTo>
                      <a:pt x="1025" y="969"/>
                    </a:lnTo>
                    <a:lnTo>
                      <a:pt x="984" y="1009"/>
                    </a:lnTo>
                    <a:lnTo>
                      <a:pt x="939" y="1046"/>
                    </a:lnTo>
                    <a:lnTo>
                      <a:pt x="890" y="1077"/>
                    </a:lnTo>
                    <a:lnTo>
                      <a:pt x="839" y="1103"/>
                    </a:lnTo>
                    <a:lnTo>
                      <a:pt x="784" y="1125"/>
                    </a:lnTo>
                    <a:lnTo>
                      <a:pt x="726" y="1141"/>
                    </a:lnTo>
                    <a:lnTo>
                      <a:pt x="667" y="1150"/>
                    </a:lnTo>
                    <a:lnTo>
                      <a:pt x="605" y="1154"/>
                    </a:lnTo>
                    <a:lnTo>
                      <a:pt x="544" y="1150"/>
                    </a:lnTo>
                    <a:lnTo>
                      <a:pt x="485" y="1141"/>
                    </a:lnTo>
                    <a:lnTo>
                      <a:pt x="427" y="1125"/>
                    </a:lnTo>
                    <a:lnTo>
                      <a:pt x="372" y="1103"/>
                    </a:lnTo>
                    <a:lnTo>
                      <a:pt x="320" y="1077"/>
                    </a:lnTo>
                    <a:lnTo>
                      <a:pt x="272" y="1046"/>
                    </a:lnTo>
                    <a:lnTo>
                      <a:pt x="227" y="1009"/>
                    </a:lnTo>
                    <a:lnTo>
                      <a:pt x="186" y="969"/>
                    </a:lnTo>
                    <a:lnTo>
                      <a:pt x="150" y="924"/>
                    </a:lnTo>
                    <a:lnTo>
                      <a:pt x="117" y="876"/>
                    </a:lnTo>
                    <a:lnTo>
                      <a:pt x="92" y="824"/>
                    </a:lnTo>
                    <a:lnTo>
                      <a:pt x="70" y="770"/>
                    </a:lnTo>
                    <a:lnTo>
                      <a:pt x="54" y="712"/>
                    </a:lnTo>
                    <a:lnTo>
                      <a:pt x="44" y="653"/>
                    </a:lnTo>
                    <a:lnTo>
                      <a:pt x="41" y="591"/>
                    </a:lnTo>
                    <a:lnTo>
                      <a:pt x="44" y="537"/>
                    </a:lnTo>
                    <a:lnTo>
                      <a:pt x="53" y="482"/>
                    </a:lnTo>
                    <a:lnTo>
                      <a:pt x="67" y="430"/>
                    </a:lnTo>
                    <a:lnTo>
                      <a:pt x="86" y="380"/>
                    </a:lnTo>
                    <a:lnTo>
                      <a:pt x="111" y="332"/>
                    </a:lnTo>
                    <a:lnTo>
                      <a:pt x="139" y="284"/>
                    </a:lnTo>
                    <a:lnTo>
                      <a:pt x="172" y="241"/>
                    </a:lnTo>
                    <a:lnTo>
                      <a:pt x="0" y="70"/>
                    </a:lnTo>
                    <a:lnTo>
                      <a:pt x="18" y="55"/>
                    </a:lnTo>
                    <a:lnTo>
                      <a:pt x="36" y="39"/>
                    </a:lnTo>
                    <a:lnTo>
                      <a:pt x="54" y="20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55" name="Freeform 22"/>
              <p:cNvSpPr>
                <a:spLocks noEditPoints="1"/>
              </p:cNvSpPr>
              <p:nvPr/>
            </p:nvSpPr>
            <p:spPr bwMode="auto">
              <a:xfrm>
                <a:off x="-783" y="2628"/>
                <a:ext cx="167" cy="166"/>
              </a:xfrm>
              <a:custGeom>
                <a:avLst/>
                <a:gdLst>
                  <a:gd name="T0" fmla="*/ 636 w 1169"/>
                  <a:gd name="T1" fmla="*/ 391 h 1164"/>
                  <a:gd name="T2" fmla="*/ 578 w 1169"/>
                  <a:gd name="T3" fmla="*/ 439 h 1164"/>
                  <a:gd name="T4" fmla="*/ 554 w 1169"/>
                  <a:gd name="T5" fmla="*/ 511 h 1164"/>
                  <a:gd name="T6" fmla="*/ 476 w 1169"/>
                  <a:gd name="T7" fmla="*/ 533 h 1164"/>
                  <a:gd name="T8" fmla="*/ 372 w 1169"/>
                  <a:gd name="T9" fmla="*/ 488 h 1164"/>
                  <a:gd name="T10" fmla="*/ 293 w 1169"/>
                  <a:gd name="T11" fmla="*/ 411 h 1164"/>
                  <a:gd name="T12" fmla="*/ 273 w 1169"/>
                  <a:gd name="T13" fmla="*/ 472 h 1164"/>
                  <a:gd name="T14" fmla="*/ 298 w 1169"/>
                  <a:gd name="T15" fmla="*/ 539 h 1164"/>
                  <a:gd name="T16" fmla="*/ 312 w 1169"/>
                  <a:gd name="T17" fmla="*/ 569 h 1164"/>
                  <a:gd name="T18" fmla="*/ 275 w 1169"/>
                  <a:gd name="T19" fmla="*/ 576 h 1164"/>
                  <a:gd name="T20" fmla="*/ 308 w 1169"/>
                  <a:gd name="T21" fmla="*/ 639 h 1164"/>
                  <a:gd name="T22" fmla="*/ 374 w 1169"/>
                  <a:gd name="T23" fmla="*/ 673 h 1164"/>
                  <a:gd name="T24" fmla="*/ 352 w 1169"/>
                  <a:gd name="T25" fmla="*/ 717 h 1164"/>
                  <a:gd name="T26" fmla="*/ 419 w 1169"/>
                  <a:gd name="T27" fmla="*/ 759 h 1164"/>
                  <a:gd name="T28" fmla="*/ 382 w 1169"/>
                  <a:gd name="T29" fmla="*/ 793 h 1164"/>
                  <a:gd name="T30" fmla="*/ 282 w 1169"/>
                  <a:gd name="T31" fmla="*/ 813 h 1164"/>
                  <a:gd name="T32" fmla="*/ 308 w 1169"/>
                  <a:gd name="T33" fmla="*/ 846 h 1164"/>
                  <a:gd name="T34" fmla="*/ 409 w 1169"/>
                  <a:gd name="T35" fmla="*/ 871 h 1164"/>
                  <a:gd name="T36" fmla="*/ 531 w 1169"/>
                  <a:gd name="T37" fmla="*/ 863 h 1164"/>
                  <a:gd name="T38" fmla="*/ 641 w 1169"/>
                  <a:gd name="T39" fmla="*/ 817 h 1164"/>
                  <a:gd name="T40" fmla="*/ 724 w 1169"/>
                  <a:gd name="T41" fmla="*/ 742 h 1164"/>
                  <a:gd name="T42" fmla="*/ 779 w 1169"/>
                  <a:gd name="T43" fmla="*/ 648 h 1164"/>
                  <a:gd name="T44" fmla="*/ 805 w 1169"/>
                  <a:gd name="T45" fmla="*/ 545 h 1164"/>
                  <a:gd name="T46" fmla="*/ 806 w 1169"/>
                  <a:gd name="T47" fmla="*/ 502 h 1164"/>
                  <a:gd name="T48" fmla="*/ 827 w 1169"/>
                  <a:gd name="T49" fmla="*/ 488 h 1164"/>
                  <a:gd name="T50" fmla="*/ 851 w 1169"/>
                  <a:gd name="T51" fmla="*/ 448 h 1164"/>
                  <a:gd name="T52" fmla="*/ 797 w 1169"/>
                  <a:gd name="T53" fmla="*/ 461 h 1164"/>
                  <a:gd name="T54" fmla="*/ 847 w 1169"/>
                  <a:gd name="T55" fmla="*/ 412 h 1164"/>
                  <a:gd name="T56" fmla="*/ 806 w 1169"/>
                  <a:gd name="T57" fmla="*/ 411 h 1164"/>
                  <a:gd name="T58" fmla="*/ 747 w 1169"/>
                  <a:gd name="T59" fmla="*/ 398 h 1164"/>
                  <a:gd name="T60" fmla="*/ 686 w 1169"/>
                  <a:gd name="T61" fmla="*/ 381 h 1164"/>
                  <a:gd name="T62" fmla="*/ 1125 w 1169"/>
                  <a:gd name="T63" fmla="*/ 36 h 1164"/>
                  <a:gd name="T64" fmla="*/ 998 w 1169"/>
                  <a:gd name="T65" fmla="*/ 250 h 1164"/>
                  <a:gd name="T66" fmla="*/ 1075 w 1169"/>
                  <a:gd name="T67" fmla="*/ 367 h 1164"/>
                  <a:gd name="T68" fmla="*/ 1120 w 1169"/>
                  <a:gd name="T69" fmla="*/ 505 h 1164"/>
                  <a:gd name="T70" fmla="*/ 1125 w 1169"/>
                  <a:gd name="T71" fmla="*/ 663 h 1164"/>
                  <a:gd name="T72" fmla="*/ 1079 w 1169"/>
                  <a:gd name="T73" fmla="*/ 834 h 1164"/>
                  <a:gd name="T74" fmla="*/ 983 w 1169"/>
                  <a:gd name="T75" fmla="*/ 978 h 1164"/>
                  <a:gd name="T76" fmla="*/ 849 w 1169"/>
                  <a:gd name="T77" fmla="*/ 1087 h 1164"/>
                  <a:gd name="T78" fmla="*/ 686 w 1169"/>
                  <a:gd name="T79" fmla="*/ 1152 h 1164"/>
                  <a:gd name="T80" fmla="*/ 502 w 1169"/>
                  <a:gd name="T81" fmla="*/ 1161 h 1164"/>
                  <a:gd name="T82" fmla="*/ 331 w 1169"/>
                  <a:gd name="T83" fmla="*/ 1114 h 1164"/>
                  <a:gd name="T84" fmla="*/ 186 w 1169"/>
                  <a:gd name="T85" fmla="*/ 1019 h 1164"/>
                  <a:gd name="T86" fmla="*/ 77 w 1169"/>
                  <a:gd name="T87" fmla="*/ 886 h 1164"/>
                  <a:gd name="T88" fmla="*/ 13 w 1169"/>
                  <a:gd name="T89" fmla="*/ 723 h 1164"/>
                  <a:gd name="T90" fmla="*/ 3 w 1169"/>
                  <a:gd name="T91" fmla="*/ 541 h 1164"/>
                  <a:gd name="T92" fmla="*/ 50 w 1169"/>
                  <a:gd name="T93" fmla="*/ 370 h 1164"/>
                  <a:gd name="T94" fmla="*/ 145 w 1169"/>
                  <a:gd name="T95" fmla="*/ 226 h 1164"/>
                  <a:gd name="T96" fmla="*/ 279 w 1169"/>
                  <a:gd name="T97" fmla="*/ 117 h 1164"/>
                  <a:gd name="T98" fmla="*/ 443 w 1169"/>
                  <a:gd name="T99" fmla="*/ 52 h 1164"/>
                  <a:gd name="T100" fmla="*/ 620 w 1169"/>
                  <a:gd name="T101" fmla="*/ 43 h 1164"/>
                  <a:gd name="T102" fmla="*/ 777 w 1169"/>
                  <a:gd name="T103" fmla="*/ 86 h 1164"/>
                  <a:gd name="T104" fmla="*/ 917 w 1169"/>
                  <a:gd name="T105" fmla="*/ 170 h 1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69" h="1164">
                    <a:moveTo>
                      <a:pt x="686" y="381"/>
                    </a:moveTo>
                    <a:lnTo>
                      <a:pt x="659" y="384"/>
                    </a:lnTo>
                    <a:lnTo>
                      <a:pt x="636" y="391"/>
                    </a:lnTo>
                    <a:lnTo>
                      <a:pt x="613" y="404"/>
                    </a:lnTo>
                    <a:lnTo>
                      <a:pt x="594" y="420"/>
                    </a:lnTo>
                    <a:lnTo>
                      <a:pt x="578" y="439"/>
                    </a:lnTo>
                    <a:lnTo>
                      <a:pt x="565" y="462"/>
                    </a:lnTo>
                    <a:lnTo>
                      <a:pt x="557" y="485"/>
                    </a:lnTo>
                    <a:lnTo>
                      <a:pt x="554" y="511"/>
                    </a:lnTo>
                    <a:lnTo>
                      <a:pt x="554" y="541"/>
                    </a:lnTo>
                    <a:lnTo>
                      <a:pt x="514" y="539"/>
                    </a:lnTo>
                    <a:lnTo>
                      <a:pt x="476" y="533"/>
                    </a:lnTo>
                    <a:lnTo>
                      <a:pt x="439" y="522"/>
                    </a:lnTo>
                    <a:lnTo>
                      <a:pt x="405" y="507"/>
                    </a:lnTo>
                    <a:lnTo>
                      <a:pt x="372" y="488"/>
                    </a:lnTo>
                    <a:lnTo>
                      <a:pt x="343" y="465"/>
                    </a:lnTo>
                    <a:lnTo>
                      <a:pt x="317" y="439"/>
                    </a:lnTo>
                    <a:lnTo>
                      <a:pt x="293" y="411"/>
                    </a:lnTo>
                    <a:lnTo>
                      <a:pt x="282" y="431"/>
                    </a:lnTo>
                    <a:lnTo>
                      <a:pt x="276" y="451"/>
                    </a:lnTo>
                    <a:lnTo>
                      <a:pt x="273" y="472"/>
                    </a:lnTo>
                    <a:lnTo>
                      <a:pt x="276" y="495"/>
                    </a:lnTo>
                    <a:lnTo>
                      <a:pt x="284" y="519"/>
                    </a:lnTo>
                    <a:lnTo>
                      <a:pt x="298" y="539"/>
                    </a:lnTo>
                    <a:lnTo>
                      <a:pt x="314" y="557"/>
                    </a:lnTo>
                    <a:lnTo>
                      <a:pt x="333" y="572"/>
                    </a:lnTo>
                    <a:lnTo>
                      <a:pt x="312" y="569"/>
                    </a:lnTo>
                    <a:lnTo>
                      <a:pt x="292" y="561"/>
                    </a:lnTo>
                    <a:lnTo>
                      <a:pt x="273" y="552"/>
                    </a:lnTo>
                    <a:lnTo>
                      <a:pt x="275" y="576"/>
                    </a:lnTo>
                    <a:lnTo>
                      <a:pt x="281" y="600"/>
                    </a:lnTo>
                    <a:lnTo>
                      <a:pt x="293" y="621"/>
                    </a:lnTo>
                    <a:lnTo>
                      <a:pt x="308" y="639"/>
                    </a:lnTo>
                    <a:lnTo>
                      <a:pt x="326" y="654"/>
                    </a:lnTo>
                    <a:lnTo>
                      <a:pt x="349" y="665"/>
                    </a:lnTo>
                    <a:lnTo>
                      <a:pt x="374" y="673"/>
                    </a:lnTo>
                    <a:lnTo>
                      <a:pt x="323" y="673"/>
                    </a:lnTo>
                    <a:lnTo>
                      <a:pt x="335" y="696"/>
                    </a:lnTo>
                    <a:lnTo>
                      <a:pt x="352" y="717"/>
                    </a:lnTo>
                    <a:lnTo>
                      <a:pt x="371" y="736"/>
                    </a:lnTo>
                    <a:lnTo>
                      <a:pt x="394" y="750"/>
                    </a:lnTo>
                    <a:lnTo>
                      <a:pt x="419" y="759"/>
                    </a:lnTo>
                    <a:lnTo>
                      <a:pt x="443" y="762"/>
                    </a:lnTo>
                    <a:lnTo>
                      <a:pt x="413" y="779"/>
                    </a:lnTo>
                    <a:lnTo>
                      <a:pt x="382" y="793"/>
                    </a:lnTo>
                    <a:lnTo>
                      <a:pt x="351" y="804"/>
                    </a:lnTo>
                    <a:lnTo>
                      <a:pt x="318" y="810"/>
                    </a:lnTo>
                    <a:lnTo>
                      <a:pt x="282" y="813"/>
                    </a:lnTo>
                    <a:lnTo>
                      <a:pt x="252" y="813"/>
                    </a:lnTo>
                    <a:lnTo>
                      <a:pt x="279" y="831"/>
                    </a:lnTo>
                    <a:lnTo>
                      <a:pt x="308" y="846"/>
                    </a:lnTo>
                    <a:lnTo>
                      <a:pt x="340" y="858"/>
                    </a:lnTo>
                    <a:lnTo>
                      <a:pt x="374" y="866"/>
                    </a:lnTo>
                    <a:lnTo>
                      <a:pt x="409" y="871"/>
                    </a:lnTo>
                    <a:lnTo>
                      <a:pt x="443" y="872"/>
                    </a:lnTo>
                    <a:lnTo>
                      <a:pt x="488" y="870"/>
                    </a:lnTo>
                    <a:lnTo>
                      <a:pt x="531" y="863"/>
                    </a:lnTo>
                    <a:lnTo>
                      <a:pt x="570" y="852"/>
                    </a:lnTo>
                    <a:lnTo>
                      <a:pt x="607" y="836"/>
                    </a:lnTo>
                    <a:lnTo>
                      <a:pt x="641" y="817"/>
                    </a:lnTo>
                    <a:lnTo>
                      <a:pt x="671" y="794"/>
                    </a:lnTo>
                    <a:lnTo>
                      <a:pt x="699" y="770"/>
                    </a:lnTo>
                    <a:lnTo>
                      <a:pt x="724" y="742"/>
                    </a:lnTo>
                    <a:lnTo>
                      <a:pt x="745" y="712"/>
                    </a:lnTo>
                    <a:lnTo>
                      <a:pt x="764" y="681"/>
                    </a:lnTo>
                    <a:lnTo>
                      <a:pt x="779" y="648"/>
                    </a:lnTo>
                    <a:lnTo>
                      <a:pt x="791" y="615"/>
                    </a:lnTo>
                    <a:lnTo>
                      <a:pt x="800" y="581"/>
                    </a:lnTo>
                    <a:lnTo>
                      <a:pt x="805" y="545"/>
                    </a:lnTo>
                    <a:lnTo>
                      <a:pt x="806" y="511"/>
                    </a:lnTo>
                    <a:lnTo>
                      <a:pt x="806" y="503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27" y="488"/>
                    </a:lnTo>
                    <a:lnTo>
                      <a:pt x="847" y="468"/>
                    </a:lnTo>
                    <a:lnTo>
                      <a:pt x="866" y="441"/>
                    </a:lnTo>
                    <a:lnTo>
                      <a:pt x="851" y="448"/>
                    </a:lnTo>
                    <a:lnTo>
                      <a:pt x="835" y="454"/>
                    </a:lnTo>
                    <a:lnTo>
                      <a:pt x="817" y="460"/>
                    </a:lnTo>
                    <a:lnTo>
                      <a:pt x="797" y="461"/>
                    </a:lnTo>
                    <a:lnTo>
                      <a:pt x="817" y="446"/>
                    </a:lnTo>
                    <a:lnTo>
                      <a:pt x="834" y="430"/>
                    </a:lnTo>
                    <a:lnTo>
                      <a:pt x="847" y="412"/>
                    </a:lnTo>
                    <a:lnTo>
                      <a:pt x="857" y="391"/>
                    </a:lnTo>
                    <a:lnTo>
                      <a:pt x="834" y="401"/>
                    </a:lnTo>
                    <a:lnTo>
                      <a:pt x="806" y="411"/>
                    </a:lnTo>
                    <a:lnTo>
                      <a:pt x="776" y="421"/>
                    </a:lnTo>
                    <a:lnTo>
                      <a:pt x="763" y="410"/>
                    </a:lnTo>
                    <a:lnTo>
                      <a:pt x="747" y="398"/>
                    </a:lnTo>
                    <a:lnTo>
                      <a:pt x="729" y="389"/>
                    </a:lnTo>
                    <a:lnTo>
                      <a:pt x="709" y="383"/>
                    </a:lnTo>
                    <a:lnTo>
                      <a:pt x="686" y="381"/>
                    </a:lnTo>
                    <a:close/>
                    <a:moveTo>
                      <a:pt x="1089" y="0"/>
                    </a:moveTo>
                    <a:lnTo>
                      <a:pt x="1106" y="16"/>
                    </a:lnTo>
                    <a:lnTo>
                      <a:pt x="1125" y="36"/>
                    </a:lnTo>
                    <a:lnTo>
                      <a:pt x="1147" y="58"/>
                    </a:lnTo>
                    <a:lnTo>
                      <a:pt x="1169" y="80"/>
                    </a:lnTo>
                    <a:lnTo>
                      <a:pt x="998" y="250"/>
                    </a:lnTo>
                    <a:lnTo>
                      <a:pt x="1026" y="287"/>
                    </a:lnTo>
                    <a:lnTo>
                      <a:pt x="1052" y="325"/>
                    </a:lnTo>
                    <a:lnTo>
                      <a:pt x="1075" y="367"/>
                    </a:lnTo>
                    <a:lnTo>
                      <a:pt x="1094" y="412"/>
                    </a:lnTo>
                    <a:lnTo>
                      <a:pt x="1109" y="458"/>
                    </a:lnTo>
                    <a:lnTo>
                      <a:pt x="1120" y="505"/>
                    </a:lnTo>
                    <a:lnTo>
                      <a:pt x="1126" y="553"/>
                    </a:lnTo>
                    <a:lnTo>
                      <a:pt x="1128" y="602"/>
                    </a:lnTo>
                    <a:lnTo>
                      <a:pt x="1125" y="663"/>
                    </a:lnTo>
                    <a:lnTo>
                      <a:pt x="1115" y="723"/>
                    </a:lnTo>
                    <a:lnTo>
                      <a:pt x="1100" y="779"/>
                    </a:lnTo>
                    <a:lnTo>
                      <a:pt x="1079" y="834"/>
                    </a:lnTo>
                    <a:lnTo>
                      <a:pt x="1052" y="886"/>
                    </a:lnTo>
                    <a:lnTo>
                      <a:pt x="1020" y="934"/>
                    </a:lnTo>
                    <a:lnTo>
                      <a:pt x="983" y="978"/>
                    </a:lnTo>
                    <a:lnTo>
                      <a:pt x="943" y="1019"/>
                    </a:lnTo>
                    <a:lnTo>
                      <a:pt x="899" y="1055"/>
                    </a:lnTo>
                    <a:lnTo>
                      <a:pt x="849" y="1087"/>
                    </a:lnTo>
                    <a:lnTo>
                      <a:pt x="798" y="1114"/>
                    </a:lnTo>
                    <a:lnTo>
                      <a:pt x="743" y="1135"/>
                    </a:lnTo>
                    <a:lnTo>
                      <a:pt x="686" y="1152"/>
                    </a:lnTo>
                    <a:lnTo>
                      <a:pt x="626" y="1161"/>
                    </a:lnTo>
                    <a:lnTo>
                      <a:pt x="565" y="1164"/>
                    </a:lnTo>
                    <a:lnTo>
                      <a:pt x="502" y="1161"/>
                    </a:lnTo>
                    <a:lnTo>
                      <a:pt x="443" y="1152"/>
                    </a:lnTo>
                    <a:lnTo>
                      <a:pt x="385" y="1135"/>
                    </a:lnTo>
                    <a:lnTo>
                      <a:pt x="331" y="1114"/>
                    </a:lnTo>
                    <a:lnTo>
                      <a:pt x="279" y="1087"/>
                    </a:lnTo>
                    <a:lnTo>
                      <a:pt x="231" y="1055"/>
                    </a:lnTo>
                    <a:lnTo>
                      <a:pt x="186" y="1019"/>
                    </a:lnTo>
                    <a:lnTo>
                      <a:pt x="145" y="978"/>
                    </a:lnTo>
                    <a:lnTo>
                      <a:pt x="108" y="934"/>
                    </a:lnTo>
                    <a:lnTo>
                      <a:pt x="77" y="886"/>
                    </a:lnTo>
                    <a:lnTo>
                      <a:pt x="50" y="834"/>
                    </a:lnTo>
                    <a:lnTo>
                      <a:pt x="29" y="779"/>
                    </a:lnTo>
                    <a:lnTo>
                      <a:pt x="13" y="723"/>
                    </a:lnTo>
                    <a:lnTo>
                      <a:pt x="3" y="663"/>
                    </a:lnTo>
                    <a:lnTo>
                      <a:pt x="0" y="602"/>
                    </a:lnTo>
                    <a:lnTo>
                      <a:pt x="3" y="541"/>
                    </a:lnTo>
                    <a:lnTo>
                      <a:pt x="13" y="481"/>
                    </a:lnTo>
                    <a:lnTo>
                      <a:pt x="29" y="425"/>
                    </a:lnTo>
                    <a:lnTo>
                      <a:pt x="50" y="370"/>
                    </a:lnTo>
                    <a:lnTo>
                      <a:pt x="77" y="318"/>
                    </a:lnTo>
                    <a:lnTo>
                      <a:pt x="108" y="270"/>
                    </a:lnTo>
                    <a:lnTo>
                      <a:pt x="145" y="226"/>
                    </a:lnTo>
                    <a:lnTo>
                      <a:pt x="186" y="185"/>
                    </a:lnTo>
                    <a:lnTo>
                      <a:pt x="231" y="149"/>
                    </a:lnTo>
                    <a:lnTo>
                      <a:pt x="279" y="117"/>
                    </a:lnTo>
                    <a:lnTo>
                      <a:pt x="331" y="90"/>
                    </a:lnTo>
                    <a:lnTo>
                      <a:pt x="385" y="69"/>
                    </a:lnTo>
                    <a:lnTo>
                      <a:pt x="443" y="52"/>
                    </a:lnTo>
                    <a:lnTo>
                      <a:pt x="502" y="43"/>
                    </a:lnTo>
                    <a:lnTo>
                      <a:pt x="565" y="40"/>
                    </a:lnTo>
                    <a:lnTo>
                      <a:pt x="620" y="43"/>
                    </a:lnTo>
                    <a:lnTo>
                      <a:pt x="674" y="51"/>
                    </a:lnTo>
                    <a:lnTo>
                      <a:pt x="727" y="66"/>
                    </a:lnTo>
                    <a:lnTo>
                      <a:pt x="777" y="86"/>
                    </a:lnTo>
                    <a:lnTo>
                      <a:pt x="827" y="109"/>
                    </a:lnTo>
                    <a:lnTo>
                      <a:pt x="873" y="138"/>
                    </a:lnTo>
                    <a:lnTo>
                      <a:pt x="917" y="170"/>
                    </a:lnTo>
                    <a:lnTo>
                      <a:pt x="108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56" name="Freeform 23"/>
              <p:cNvSpPr>
                <a:spLocks noEditPoints="1"/>
              </p:cNvSpPr>
              <p:nvPr/>
            </p:nvSpPr>
            <p:spPr bwMode="auto">
              <a:xfrm>
                <a:off x="-783" y="2305"/>
                <a:ext cx="165" cy="165"/>
              </a:xfrm>
              <a:custGeom>
                <a:avLst/>
                <a:gdLst>
                  <a:gd name="T0" fmla="*/ 597 w 1159"/>
                  <a:gd name="T1" fmla="*/ 272 h 1154"/>
                  <a:gd name="T2" fmla="*/ 552 w 1159"/>
                  <a:gd name="T3" fmla="*/ 283 h 1154"/>
                  <a:gd name="T4" fmla="*/ 522 w 1159"/>
                  <a:gd name="T5" fmla="*/ 306 h 1154"/>
                  <a:gd name="T6" fmla="*/ 503 w 1159"/>
                  <a:gd name="T7" fmla="*/ 338 h 1154"/>
                  <a:gd name="T8" fmla="*/ 495 w 1159"/>
                  <a:gd name="T9" fmla="*/ 379 h 1154"/>
                  <a:gd name="T10" fmla="*/ 494 w 1159"/>
                  <a:gd name="T11" fmla="*/ 461 h 1154"/>
                  <a:gd name="T12" fmla="*/ 423 w 1159"/>
                  <a:gd name="T13" fmla="*/ 561 h 1154"/>
                  <a:gd name="T14" fmla="*/ 484 w 1159"/>
                  <a:gd name="T15" fmla="*/ 843 h 1154"/>
                  <a:gd name="T16" fmla="*/ 604 w 1159"/>
                  <a:gd name="T17" fmla="*/ 561 h 1154"/>
                  <a:gd name="T18" fmla="*/ 705 w 1159"/>
                  <a:gd name="T19" fmla="*/ 461 h 1154"/>
                  <a:gd name="T20" fmla="*/ 615 w 1159"/>
                  <a:gd name="T21" fmla="*/ 412 h 1154"/>
                  <a:gd name="T22" fmla="*/ 616 w 1159"/>
                  <a:gd name="T23" fmla="*/ 387 h 1154"/>
                  <a:gd name="T24" fmla="*/ 627 w 1159"/>
                  <a:gd name="T25" fmla="*/ 374 h 1154"/>
                  <a:gd name="T26" fmla="*/ 655 w 1159"/>
                  <a:gd name="T27" fmla="*/ 371 h 1154"/>
                  <a:gd name="T28" fmla="*/ 705 w 1159"/>
                  <a:gd name="T29" fmla="*/ 271 h 1154"/>
                  <a:gd name="T30" fmla="*/ 554 w 1159"/>
                  <a:gd name="T31" fmla="*/ 0 h 1154"/>
                  <a:gd name="T32" fmla="*/ 675 w 1159"/>
                  <a:gd name="T33" fmla="*/ 13 h 1154"/>
                  <a:gd name="T34" fmla="*/ 788 w 1159"/>
                  <a:gd name="T35" fmla="*/ 49 h 1154"/>
                  <a:gd name="T36" fmla="*/ 888 w 1159"/>
                  <a:gd name="T37" fmla="*/ 108 h 1154"/>
                  <a:gd name="T38" fmla="*/ 974 w 1159"/>
                  <a:gd name="T39" fmla="*/ 185 h 1154"/>
                  <a:gd name="T40" fmla="*/ 1041 w 1159"/>
                  <a:gd name="T41" fmla="*/ 278 h 1154"/>
                  <a:gd name="T42" fmla="*/ 1090 w 1159"/>
                  <a:gd name="T43" fmla="*/ 384 h 1154"/>
                  <a:gd name="T44" fmla="*/ 1115 w 1159"/>
                  <a:gd name="T45" fmla="*/ 501 h 1154"/>
                  <a:gd name="T46" fmla="*/ 1115 w 1159"/>
                  <a:gd name="T47" fmla="*/ 617 h 1154"/>
                  <a:gd name="T48" fmla="*/ 1093 w 1159"/>
                  <a:gd name="T49" fmla="*/ 723 h 1154"/>
                  <a:gd name="T50" fmla="*/ 1049 w 1159"/>
                  <a:gd name="T51" fmla="*/ 822 h 1154"/>
                  <a:gd name="T52" fmla="*/ 988 w 1159"/>
                  <a:gd name="T53" fmla="*/ 913 h 1154"/>
                  <a:gd name="T54" fmla="*/ 1142 w 1159"/>
                  <a:gd name="T55" fmla="*/ 1099 h 1154"/>
                  <a:gd name="T56" fmla="*/ 1106 w 1159"/>
                  <a:gd name="T57" fmla="*/ 1133 h 1154"/>
                  <a:gd name="T58" fmla="*/ 917 w 1159"/>
                  <a:gd name="T59" fmla="*/ 984 h 1154"/>
                  <a:gd name="T60" fmla="*/ 843 w 1159"/>
                  <a:gd name="T61" fmla="*/ 1037 h 1154"/>
                  <a:gd name="T62" fmla="*/ 756 w 1159"/>
                  <a:gd name="T63" fmla="*/ 1079 h 1154"/>
                  <a:gd name="T64" fmla="*/ 662 w 1159"/>
                  <a:gd name="T65" fmla="*/ 1105 h 1154"/>
                  <a:gd name="T66" fmla="*/ 565 w 1159"/>
                  <a:gd name="T67" fmla="*/ 1114 h 1154"/>
                  <a:gd name="T68" fmla="*/ 443 w 1159"/>
                  <a:gd name="T69" fmla="*/ 1101 h 1154"/>
                  <a:gd name="T70" fmla="*/ 331 w 1159"/>
                  <a:gd name="T71" fmla="*/ 1064 h 1154"/>
                  <a:gd name="T72" fmla="*/ 231 w 1159"/>
                  <a:gd name="T73" fmla="*/ 1006 h 1154"/>
                  <a:gd name="T74" fmla="*/ 145 w 1159"/>
                  <a:gd name="T75" fmla="*/ 930 h 1154"/>
                  <a:gd name="T76" fmla="*/ 77 w 1159"/>
                  <a:gd name="T77" fmla="*/ 838 h 1154"/>
                  <a:gd name="T78" fmla="*/ 29 w 1159"/>
                  <a:gd name="T79" fmla="*/ 735 h 1154"/>
                  <a:gd name="T80" fmla="*/ 3 w 1159"/>
                  <a:gd name="T81" fmla="*/ 621 h 1154"/>
                  <a:gd name="T82" fmla="*/ 3 w 1159"/>
                  <a:gd name="T83" fmla="*/ 505 h 1154"/>
                  <a:gd name="T84" fmla="*/ 25 w 1159"/>
                  <a:gd name="T85" fmla="*/ 395 h 1154"/>
                  <a:gd name="T86" fmla="*/ 65 w 1159"/>
                  <a:gd name="T87" fmla="*/ 294 h 1154"/>
                  <a:gd name="T88" fmla="*/ 124 w 1159"/>
                  <a:gd name="T89" fmla="*/ 204 h 1154"/>
                  <a:gd name="T90" fmla="*/ 200 w 1159"/>
                  <a:gd name="T91" fmla="*/ 128 h 1154"/>
                  <a:gd name="T92" fmla="*/ 288 w 1159"/>
                  <a:gd name="T93" fmla="*/ 68 h 1154"/>
                  <a:gd name="T94" fmla="*/ 387 w 1159"/>
                  <a:gd name="T95" fmla="*/ 25 h 1154"/>
                  <a:gd name="T96" fmla="*/ 497 w 1159"/>
                  <a:gd name="T97" fmla="*/ 2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59" h="1154">
                    <a:moveTo>
                      <a:pt x="625" y="271"/>
                    </a:moveTo>
                    <a:lnTo>
                      <a:pt x="597" y="272"/>
                    </a:lnTo>
                    <a:lnTo>
                      <a:pt x="572" y="277"/>
                    </a:lnTo>
                    <a:lnTo>
                      <a:pt x="552" y="283"/>
                    </a:lnTo>
                    <a:lnTo>
                      <a:pt x="536" y="293"/>
                    </a:lnTo>
                    <a:lnTo>
                      <a:pt x="522" y="306"/>
                    </a:lnTo>
                    <a:lnTo>
                      <a:pt x="511" y="321"/>
                    </a:lnTo>
                    <a:lnTo>
                      <a:pt x="503" y="338"/>
                    </a:lnTo>
                    <a:lnTo>
                      <a:pt x="498" y="357"/>
                    </a:lnTo>
                    <a:lnTo>
                      <a:pt x="495" y="379"/>
                    </a:lnTo>
                    <a:lnTo>
                      <a:pt x="494" y="401"/>
                    </a:lnTo>
                    <a:lnTo>
                      <a:pt x="494" y="461"/>
                    </a:lnTo>
                    <a:lnTo>
                      <a:pt x="423" y="461"/>
                    </a:lnTo>
                    <a:lnTo>
                      <a:pt x="423" y="561"/>
                    </a:lnTo>
                    <a:lnTo>
                      <a:pt x="484" y="561"/>
                    </a:lnTo>
                    <a:lnTo>
                      <a:pt x="484" y="843"/>
                    </a:lnTo>
                    <a:lnTo>
                      <a:pt x="604" y="843"/>
                    </a:lnTo>
                    <a:lnTo>
                      <a:pt x="604" y="561"/>
                    </a:lnTo>
                    <a:lnTo>
                      <a:pt x="696" y="561"/>
                    </a:lnTo>
                    <a:lnTo>
                      <a:pt x="705" y="461"/>
                    </a:lnTo>
                    <a:lnTo>
                      <a:pt x="615" y="461"/>
                    </a:lnTo>
                    <a:lnTo>
                      <a:pt x="615" y="412"/>
                    </a:lnTo>
                    <a:lnTo>
                      <a:pt x="615" y="398"/>
                    </a:lnTo>
                    <a:lnTo>
                      <a:pt x="616" y="387"/>
                    </a:lnTo>
                    <a:lnTo>
                      <a:pt x="619" y="380"/>
                    </a:lnTo>
                    <a:lnTo>
                      <a:pt x="627" y="374"/>
                    </a:lnTo>
                    <a:lnTo>
                      <a:pt x="638" y="372"/>
                    </a:lnTo>
                    <a:lnTo>
                      <a:pt x="655" y="371"/>
                    </a:lnTo>
                    <a:lnTo>
                      <a:pt x="705" y="371"/>
                    </a:lnTo>
                    <a:lnTo>
                      <a:pt x="705" y="271"/>
                    </a:lnTo>
                    <a:lnTo>
                      <a:pt x="625" y="271"/>
                    </a:lnTo>
                    <a:close/>
                    <a:moveTo>
                      <a:pt x="554" y="0"/>
                    </a:moveTo>
                    <a:lnTo>
                      <a:pt x="616" y="3"/>
                    </a:lnTo>
                    <a:lnTo>
                      <a:pt x="675" y="13"/>
                    </a:lnTo>
                    <a:lnTo>
                      <a:pt x="733" y="28"/>
                    </a:lnTo>
                    <a:lnTo>
                      <a:pt x="788" y="49"/>
                    </a:lnTo>
                    <a:lnTo>
                      <a:pt x="839" y="76"/>
                    </a:lnTo>
                    <a:lnTo>
                      <a:pt x="888" y="108"/>
                    </a:lnTo>
                    <a:lnTo>
                      <a:pt x="933" y="145"/>
                    </a:lnTo>
                    <a:lnTo>
                      <a:pt x="974" y="185"/>
                    </a:lnTo>
                    <a:lnTo>
                      <a:pt x="1010" y="230"/>
                    </a:lnTo>
                    <a:lnTo>
                      <a:pt x="1041" y="278"/>
                    </a:lnTo>
                    <a:lnTo>
                      <a:pt x="1068" y="329"/>
                    </a:lnTo>
                    <a:lnTo>
                      <a:pt x="1090" y="384"/>
                    </a:lnTo>
                    <a:lnTo>
                      <a:pt x="1106" y="441"/>
                    </a:lnTo>
                    <a:lnTo>
                      <a:pt x="1115" y="501"/>
                    </a:lnTo>
                    <a:lnTo>
                      <a:pt x="1119" y="561"/>
                    </a:lnTo>
                    <a:lnTo>
                      <a:pt x="1115" y="617"/>
                    </a:lnTo>
                    <a:lnTo>
                      <a:pt x="1107" y="670"/>
                    </a:lnTo>
                    <a:lnTo>
                      <a:pt x="1093" y="723"/>
                    </a:lnTo>
                    <a:lnTo>
                      <a:pt x="1074" y="774"/>
                    </a:lnTo>
                    <a:lnTo>
                      <a:pt x="1049" y="822"/>
                    </a:lnTo>
                    <a:lnTo>
                      <a:pt x="1021" y="869"/>
                    </a:lnTo>
                    <a:lnTo>
                      <a:pt x="988" y="913"/>
                    </a:lnTo>
                    <a:lnTo>
                      <a:pt x="1159" y="1084"/>
                    </a:lnTo>
                    <a:lnTo>
                      <a:pt x="1142" y="1099"/>
                    </a:lnTo>
                    <a:lnTo>
                      <a:pt x="1124" y="1115"/>
                    </a:lnTo>
                    <a:lnTo>
                      <a:pt x="1106" y="1133"/>
                    </a:lnTo>
                    <a:lnTo>
                      <a:pt x="1089" y="1154"/>
                    </a:lnTo>
                    <a:lnTo>
                      <a:pt x="917" y="984"/>
                    </a:lnTo>
                    <a:lnTo>
                      <a:pt x="881" y="1012"/>
                    </a:lnTo>
                    <a:lnTo>
                      <a:pt x="843" y="1037"/>
                    </a:lnTo>
                    <a:lnTo>
                      <a:pt x="801" y="1060"/>
                    </a:lnTo>
                    <a:lnTo>
                      <a:pt x="756" y="1079"/>
                    </a:lnTo>
                    <a:lnTo>
                      <a:pt x="710" y="1094"/>
                    </a:lnTo>
                    <a:lnTo>
                      <a:pt x="662" y="1105"/>
                    </a:lnTo>
                    <a:lnTo>
                      <a:pt x="614" y="1111"/>
                    </a:lnTo>
                    <a:lnTo>
                      <a:pt x="565" y="1114"/>
                    </a:lnTo>
                    <a:lnTo>
                      <a:pt x="502" y="1111"/>
                    </a:lnTo>
                    <a:lnTo>
                      <a:pt x="443" y="1101"/>
                    </a:lnTo>
                    <a:lnTo>
                      <a:pt x="385" y="1085"/>
                    </a:lnTo>
                    <a:lnTo>
                      <a:pt x="331" y="1064"/>
                    </a:lnTo>
                    <a:lnTo>
                      <a:pt x="279" y="1037"/>
                    </a:lnTo>
                    <a:lnTo>
                      <a:pt x="231" y="1006"/>
                    </a:lnTo>
                    <a:lnTo>
                      <a:pt x="186" y="970"/>
                    </a:lnTo>
                    <a:lnTo>
                      <a:pt x="145" y="930"/>
                    </a:lnTo>
                    <a:lnTo>
                      <a:pt x="108" y="886"/>
                    </a:lnTo>
                    <a:lnTo>
                      <a:pt x="77" y="838"/>
                    </a:lnTo>
                    <a:lnTo>
                      <a:pt x="50" y="788"/>
                    </a:lnTo>
                    <a:lnTo>
                      <a:pt x="29" y="735"/>
                    </a:lnTo>
                    <a:lnTo>
                      <a:pt x="13" y="679"/>
                    </a:lnTo>
                    <a:lnTo>
                      <a:pt x="3" y="621"/>
                    </a:lnTo>
                    <a:lnTo>
                      <a:pt x="0" y="561"/>
                    </a:lnTo>
                    <a:lnTo>
                      <a:pt x="3" y="505"/>
                    </a:lnTo>
                    <a:lnTo>
                      <a:pt x="11" y="448"/>
                    </a:lnTo>
                    <a:lnTo>
                      <a:pt x="25" y="395"/>
                    </a:lnTo>
                    <a:lnTo>
                      <a:pt x="43" y="342"/>
                    </a:lnTo>
                    <a:lnTo>
                      <a:pt x="65" y="294"/>
                    </a:lnTo>
                    <a:lnTo>
                      <a:pt x="93" y="247"/>
                    </a:lnTo>
                    <a:lnTo>
                      <a:pt x="124" y="204"/>
                    </a:lnTo>
                    <a:lnTo>
                      <a:pt x="160" y="164"/>
                    </a:lnTo>
                    <a:lnTo>
                      <a:pt x="200" y="128"/>
                    </a:lnTo>
                    <a:lnTo>
                      <a:pt x="241" y="95"/>
                    </a:lnTo>
                    <a:lnTo>
                      <a:pt x="288" y="68"/>
                    </a:lnTo>
                    <a:lnTo>
                      <a:pt x="336" y="44"/>
                    </a:lnTo>
                    <a:lnTo>
                      <a:pt x="387" y="25"/>
                    </a:lnTo>
                    <a:lnTo>
                      <a:pt x="441" y="11"/>
                    </a:lnTo>
                    <a:lnTo>
                      <a:pt x="497" y="2"/>
                    </a:lnTo>
                    <a:lnTo>
                      <a:pt x="5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57" name="Freeform 24"/>
              <p:cNvSpPr>
                <a:spLocks/>
              </p:cNvSpPr>
              <p:nvPr/>
            </p:nvSpPr>
            <p:spPr bwMode="auto">
              <a:xfrm>
                <a:off x="-618" y="2470"/>
                <a:ext cx="160" cy="159"/>
              </a:xfrm>
              <a:custGeom>
                <a:avLst/>
                <a:gdLst>
                  <a:gd name="T0" fmla="*/ 659 w 1119"/>
                  <a:gd name="T1" fmla="*/ 9 h 1114"/>
                  <a:gd name="T2" fmla="*/ 638 w 1119"/>
                  <a:gd name="T3" fmla="*/ 40 h 1114"/>
                  <a:gd name="T4" fmla="*/ 667 w 1119"/>
                  <a:gd name="T5" fmla="*/ 61 h 1114"/>
                  <a:gd name="T6" fmla="*/ 718 w 1119"/>
                  <a:gd name="T7" fmla="*/ 97 h 1114"/>
                  <a:gd name="T8" fmla="*/ 746 w 1119"/>
                  <a:gd name="T9" fmla="*/ 160 h 1114"/>
                  <a:gd name="T10" fmla="*/ 748 w 1119"/>
                  <a:gd name="T11" fmla="*/ 304 h 1114"/>
                  <a:gd name="T12" fmla="*/ 770 w 1119"/>
                  <a:gd name="T13" fmla="*/ 310 h 1114"/>
                  <a:gd name="T14" fmla="*/ 766 w 1119"/>
                  <a:gd name="T15" fmla="*/ 351 h 1114"/>
                  <a:gd name="T16" fmla="*/ 761 w 1119"/>
                  <a:gd name="T17" fmla="*/ 391 h 1114"/>
                  <a:gd name="T18" fmla="*/ 753 w 1119"/>
                  <a:gd name="T19" fmla="*/ 409 h 1114"/>
                  <a:gd name="T20" fmla="*/ 747 w 1119"/>
                  <a:gd name="T21" fmla="*/ 411 h 1114"/>
                  <a:gd name="T22" fmla="*/ 737 w 1119"/>
                  <a:gd name="T23" fmla="*/ 464 h 1114"/>
                  <a:gd name="T24" fmla="*/ 704 w 1119"/>
                  <a:gd name="T25" fmla="*/ 537 h 1114"/>
                  <a:gd name="T26" fmla="*/ 695 w 1119"/>
                  <a:gd name="T27" fmla="*/ 559 h 1114"/>
                  <a:gd name="T28" fmla="*/ 706 w 1119"/>
                  <a:gd name="T29" fmla="*/ 622 h 1114"/>
                  <a:gd name="T30" fmla="*/ 710 w 1119"/>
                  <a:gd name="T31" fmla="*/ 629 h 1114"/>
                  <a:gd name="T32" fmla="*/ 711 w 1119"/>
                  <a:gd name="T33" fmla="*/ 632 h 1114"/>
                  <a:gd name="T34" fmla="*/ 732 w 1119"/>
                  <a:gd name="T35" fmla="*/ 637 h 1114"/>
                  <a:gd name="T36" fmla="*/ 737 w 1119"/>
                  <a:gd name="T37" fmla="*/ 681 h 1114"/>
                  <a:gd name="T38" fmla="*/ 761 w 1119"/>
                  <a:gd name="T39" fmla="*/ 720 h 1114"/>
                  <a:gd name="T40" fmla="*/ 961 w 1119"/>
                  <a:gd name="T41" fmla="*/ 781 h 1114"/>
                  <a:gd name="T42" fmla="*/ 1059 w 1119"/>
                  <a:gd name="T43" fmla="*/ 820 h 1114"/>
                  <a:gd name="T44" fmla="*/ 1041 w 1119"/>
                  <a:gd name="T45" fmla="*/ 965 h 1114"/>
                  <a:gd name="T46" fmla="*/ 870 w 1119"/>
                  <a:gd name="T47" fmla="*/ 1032 h 1114"/>
                  <a:gd name="T48" fmla="*/ 671 w 1119"/>
                  <a:gd name="T49" fmla="*/ 1103 h 1114"/>
                  <a:gd name="T50" fmla="*/ 423 w 1119"/>
                  <a:gd name="T51" fmla="*/ 1090 h 1114"/>
                  <a:gd name="T52" fmla="*/ 271 w 1119"/>
                  <a:gd name="T53" fmla="*/ 1027 h 1114"/>
                  <a:gd name="T54" fmla="*/ 126 w 1119"/>
                  <a:gd name="T55" fmla="*/ 970 h 1114"/>
                  <a:gd name="T56" fmla="*/ 51 w 1119"/>
                  <a:gd name="T57" fmla="*/ 833 h 1114"/>
                  <a:gd name="T58" fmla="*/ 100 w 1119"/>
                  <a:gd name="T59" fmla="*/ 803 h 1114"/>
                  <a:gd name="T60" fmla="*/ 197 w 1119"/>
                  <a:gd name="T61" fmla="*/ 776 h 1114"/>
                  <a:gd name="T62" fmla="*/ 312 w 1119"/>
                  <a:gd name="T63" fmla="*/ 737 h 1114"/>
                  <a:gd name="T64" fmla="*/ 365 w 1119"/>
                  <a:gd name="T65" fmla="*/ 714 h 1114"/>
                  <a:gd name="T66" fmla="*/ 383 w 1119"/>
                  <a:gd name="T67" fmla="*/ 663 h 1114"/>
                  <a:gd name="T68" fmla="*/ 393 w 1119"/>
                  <a:gd name="T69" fmla="*/ 634 h 1114"/>
                  <a:gd name="T70" fmla="*/ 411 w 1119"/>
                  <a:gd name="T71" fmla="*/ 629 h 1114"/>
                  <a:gd name="T72" fmla="*/ 414 w 1119"/>
                  <a:gd name="T73" fmla="*/ 623 h 1114"/>
                  <a:gd name="T74" fmla="*/ 423 w 1119"/>
                  <a:gd name="T75" fmla="*/ 568 h 1114"/>
                  <a:gd name="T76" fmla="*/ 415 w 1119"/>
                  <a:gd name="T77" fmla="*/ 533 h 1114"/>
                  <a:gd name="T78" fmla="*/ 389 w 1119"/>
                  <a:gd name="T79" fmla="*/ 472 h 1114"/>
                  <a:gd name="T80" fmla="*/ 373 w 1119"/>
                  <a:gd name="T81" fmla="*/ 411 h 1114"/>
                  <a:gd name="T82" fmla="*/ 367 w 1119"/>
                  <a:gd name="T83" fmla="*/ 409 h 1114"/>
                  <a:gd name="T84" fmla="*/ 356 w 1119"/>
                  <a:gd name="T85" fmla="*/ 388 h 1114"/>
                  <a:gd name="T86" fmla="*/ 342 w 1119"/>
                  <a:gd name="T87" fmla="*/ 346 h 1114"/>
                  <a:gd name="T88" fmla="*/ 336 w 1119"/>
                  <a:gd name="T89" fmla="*/ 314 h 1114"/>
                  <a:gd name="T90" fmla="*/ 356 w 1119"/>
                  <a:gd name="T91" fmla="*/ 303 h 1114"/>
                  <a:gd name="T92" fmla="*/ 361 w 1119"/>
                  <a:gd name="T93" fmla="*/ 303 h 1114"/>
                  <a:gd name="T94" fmla="*/ 363 w 1119"/>
                  <a:gd name="T95" fmla="*/ 294 h 1114"/>
                  <a:gd name="T96" fmla="*/ 372 w 1119"/>
                  <a:gd name="T97" fmla="*/ 127 h 1114"/>
                  <a:gd name="T98" fmla="*/ 445 w 1119"/>
                  <a:gd name="T99" fmla="*/ 60 h 1114"/>
                  <a:gd name="T100" fmla="*/ 569 w 1119"/>
                  <a:gd name="T101" fmla="*/ 16 h 1114"/>
                  <a:gd name="T102" fmla="*/ 636 w 1119"/>
                  <a:gd name="T103" fmla="*/ 2 h 1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19" h="1114">
                    <a:moveTo>
                      <a:pt x="655" y="0"/>
                    </a:moveTo>
                    <a:lnTo>
                      <a:pt x="665" y="0"/>
                    </a:lnTo>
                    <a:lnTo>
                      <a:pt x="664" y="6"/>
                    </a:lnTo>
                    <a:lnTo>
                      <a:pt x="659" y="9"/>
                    </a:lnTo>
                    <a:lnTo>
                      <a:pt x="652" y="14"/>
                    </a:lnTo>
                    <a:lnTo>
                      <a:pt x="645" y="20"/>
                    </a:lnTo>
                    <a:lnTo>
                      <a:pt x="638" y="30"/>
                    </a:lnTo>
                    <a:lnTo>
                      <a:pt x="638" y="40"/>
                    </a:lnTo>
                    <a:lnTo>
                      <a:pt x="645" y="50"/>
                    </a:lnTo>
                    <a:lnTo>
                      <a:pt x="651" y="51"/>
                    </a:lnTo>
                    <a:lnTo>
                      <a:pt x="659" y="55"/>
                    </a:lnTo>
                    <a:lnTo>
                      <a:pt x="667" y="61"/>
                    </a:lnTo>
                    <a:lnTo>
                      <a:pt x="680" y="69"/>
                    </a:lnTo>
                    <a:lnTo>
                      <a:pt x="695" y="80"/>
                    </a:lnTo>
                    <a:lnTo>
                      <a:pt x="706" y="86"/>
                    </a:lnTo>
                    <a:lnTo>
                      <a:pt x="718" y="97"/>
                    </a:lnTo>
                    <a:lnTo>
                      <a:pt x="728" y="109"/>
                    </a:lnTo>
                    <a:lnTo>
                      <a:pt x="737" y="124"/>
                    </a:lnTo>
                    <a:lnTo>
                      <a:pt x="743" y="141"/>
                    </a:lnTo>
                    <a:lnTo>
                      <a:pt x="746" y="160"/>
                    </a:lnTo>
                    <a:lnTo>
                      <a:pt x="746" y="281"/>
                    </a:lnTo>
                    <a:lnTo>
                      <a:pt x="746" y="292"/>
                    </a:lnTo>
                    <a:lnTo>
                      <a:pt x="747" y="299"/>
                    </a:lnTo>
                    <a:lnTo>
                      <a:pt x="748" y="304"/>
                    </a:lnTo>
                    <a:lnTo>
                      <a:pt x="751" y="304"/>
                    </a:lnTo>
                    <a:lnTo>
                      <a:pt x="756" y="301"/>
                    </a:lnTo>
                    <a:lnTo>
                      <a:pt x="765" y="303"/>
                    </a:lnTo>
                    <a:lnTo>
                      <a:pt x="770" y="310"/>
                    </a:lnTo>
                    <a:lnTo>
                      <a:pt x="772" y="318"/>
                    </a:lnTo>
                    <a:lnTo>
                      <a:pt x="772" y="329"/>
                    </a:lnTo>
                    <a:lnTo>
                      <a:pt x="770" y="341"/>
                    </a:lnTo>
                    <a:lnTo>
                      <a:pt x="766" y="351"/>
                    </a:lnTo>
                    <a:lnTo>
                      <a:pt x="766" y="365"/>
                    </a:lnTo>
                    <a:lnTo>
                      <a:pt x="766" y="376"/>
                    </a:lnTo>
                    <a:lnTo>
                      <a:pt x="764" y="384"/>
                    </a:lnTo>
                    <a:lnTo>
                      <a:pt x="761" y="391"/>
                    </a:lnTo>
                    <a:lnTo>
                      <a:pt x="756" y="402"/>
                    </a:lnTo>
                    <a:lnTo>
                      <a:pt x="755" y="405"/>
                    </a:lnTo>
                    <a:lnTo>
                      <a:pt x="754" y="407"/>
                    </a:lnTo>
                    <a:lnTo>
                      <a:pt x="753" y="409"/>
                    </a:lnTo>
                    <a:lnTo>
                      <a:pt x="751" y="410"/>
                    </a:lnTo>
                    <a:lnTo>
                      <a:pt x="749" y="410"/>
                    </a:lnTo>
                    <a:lnTo>
                      <a:pt x="748" y="411"/>
                    </a:lnTo>
                    <a:lnTo>
                      <a:pt x="747" y="411"/>
                    </a:lnTo>
                    <a:lnTo>
                      <a:pt x="746" y="411"/>
                    </a:lnTo>
                    <a:lnTo>
                      <a:pt x="746" y="424"/>
                    </a:lnTo>
                    <a:lnTo>
                      <a:pt x="742" y="442"/>
                    </a:lnTo>
                    <a:lnTo>
                      <a:pt x="737" y="464"/>
                    </a:lnTo>
                    <a:lnTo>
                      <a:pt x="729" y="487"/>
                    </a:lnTo>
                    <a:lnTo>
                      <a:pt x="719" y="511"/>
                    </a:lnTo>
                    <a:lnTo>
                      <a:pt x="706" y="532"/>
                    </a:lnTo>
                    <a:lnTo>
                      <a:pt x="704" y="537"/>
                    </a:lnTo>
                    <a:lnTo>
                      <a:pt x="700" y="542"/>
                    </a:lnTo>
                    <a:lnTo>
                      <a:pt x="697" y="546"/>
                    </a:lnTo>
                    <a:lnTo>
                      <a:pt x="695" y="551"/>
                    </a:lnTo>
                    <a:lnTo>
                      <a:pt x="695" y="559"/>
                    </a:lnTo>
                    <a:lnTo>
                      <a:pt x="696" y="570"/>
                    </a:lnTo>
                    <a:lnTo>
                      <a:pt x="697" y="582"/>
                    </a:lnTo>
                    <a:lnTo>
                      <a:pt x="700" y="601"/>
                    </a:lnTo>
                    <a:lnTo>
                      <a:pt x="706" y="622"/>
                    </a:lnTo>
                    <a:lnTo>
                      <a:pt x="708" y="625"/>
                    </a:lnTo>
                    <a:lnTo>
                      <a:pt x="709" y="627"/>
                    </a:lnTo>
                    <a:lnTo>
                      <a:pt x="710" y="628"/>
                    </a:lnTo>
                    <a:lnTo>
                      <a:pt x="710" y="629"/>
                    </a:lnTo>
                    <a:lnTo>
                      <a:pt x="710" y="630"/>
                    </a:lnTo>
                    <a:lnTo>
                      <a:pt x="710" y="632"/>
                    </a:lnTo>
                    <a:lnTo>
                      <a:pt x="711" y="632"/>
                    </a:lnTo>
                    <a:lnTo>
                      <a:pt x="711" y="632"/>
                    </a:lnTo>
                    <a:lnTo>
                      <a:pt x="713" y="632"/>
                    </a:lnTo>
                    <a:lnTo>
                      <a:pt x="715" y="632"/>
                    </a:lnTo>
                    <a:lnTo>
                      <a:pt x="725" y="633"/>
                    </a:lnTo>
                    <a:lnTo>
                      <a:pt x="732" y="637"/>
                    </a:lnTo>
                    <a:lnTo>
                      <a:pt x="735" y="643"/>
                    </a:lnTo>
                    <a:lnTo>
                      <a:pt x="736" y="651"/>
                    </a:lnTo>
                    <a:lnTo>
                      <a:pt x="736" y="663"/>
                    </a:lnTo>
                    <a:lnTo>
                      <a:pt x="737" y="681"/>
                    </a:lnTo>
                    <a:lnTo>
                      <a:pt x="741" y="696"/>
                    </a:lnTo>
                    <a:lnTo>
                      <a:pt x="748" y="707"/>
                    </a:lnTo>
                    <a:lnTo>
                      <a:pt x="754" y="716"/>
                    </a:lnTo>
                    <a:lnTo>
                      <a:pt x="761" y="720"/>
                    </a:lnTo>
                    <a:lnTo>
                      <a:pt x="766" y="722"/>
                    </a:lnTo>
                    <a:lnTo>
                      <a:pt x="832" y="744"/>
                    </a:lnTo>
                    <a:lnTo>
                      <a:pt x="897" y="763"/>
                    </a:lnTo>
                    <a:lnTo>
                      <a:pt x="961" y="781"/>
                    </a:lnTo>
                    <a:lnTo>
                      <a:pt x="1028" y="803"/>
                    </a:lnTo>
                    <a:lnTo>
                      <a:pt x="1038" y="805"/>
                    </a:lnTo>
                    <a:lnTo>
                      <a:pt x="1048" y="810"/>
                    </a:lnTo>
                    <a:lnTo>
                      <a:pt x="1059" y="820"/>
                    </a:lnTo>
                    <a:lnTo>
                      <a:pt x="1069" y="833"/>
                    </a:lnTo>
                    <a:lnTo>
                      <a:pt x="1119" y="953"/>
                    </a:lnTo>
                    <a:lnTo>
                      <a:pt x="1079" y="957"/>
                    </a:lnTo>
                    <a:lnTo>
                      <a:pt x="1041" y="965"/>
                    </a:lnTo>
                    <a:lnTo>
                      <a:pt x="1000" y="978"/>
                    </a:lnTo>
                    <a:lnTo>
                      <a:pt x="958" y="994"/>
                    </a:lnTo>
                    <a:lnTo>
                      <a:pt x="915" y="1012"/>
                    </a:lnTo>
                    <a:lnTo>
                      <a:pt x="870" y="1032"/>
                    </a:lnTo>
                    <a:lnTo>
                      <a:pt x="824" y="1053"/>
                    </a:lnTo>
                    <a:lnTo>
                      <a:pt x="776" y="1072"/>
                    </a:lnTo>
                    <a:lnTo>
                      <a:pt x="724" y="1089"/>
                    </a:lnTo>
                    <a:lnTo>
                      <a:pt x="671" y="1103"/>
                    </a:lnTo>
                    <a:lnTo>
                      <a:pt x="615" y="1114"/>
                    </a:lnTo>
                    <a:lnTo>
                      <a:pt x="514" y="1114"/>
                    </a:lnTo>
                    <a:lnTo>
                      <a:pt x="467" y="1103"/>
                    </a:lnTo>
                    <a:lnTo>
                      <a:pt x="423" y="1090"/>
                    </a:lnTo>
                    <a:lnTo>
                      <a:pt x="383" y="1076"/>
                    </a:lnTo>
                    <a:lnTo>
                      <a:pt x="344" y="1060"/>
                    </a:lnTo>
                    <a:lnTo>
                      <a:pt x="307" y="1043"/>
                    </a:lnTo>
                    <a:lnTo>
                      <a:pt x="271" y="1027"/>
                    </a:lnTo>
                    <a:lnTo>
                      <a:pt x="236" y="1011"/>
                    </a:lnTo>
                    <a:lnTo>
                      <a:pt x="200" y="995"/>
                    </a:lnTo>
                    <a:lnTo>
                      <a:pt x="164" y="981"/>
                    </a:lnTo>
                    <a:lnTo>
                      <a:pt x="126" y="970"/>
                    </a:lnTo>
                    <a:lnTo>
                      <a:pt x="86" y="961"/>
                    </a:lnTo>
                    <a:lnTo>
                      <a:pt x="44" y="955"/>
                    </a:lnTo>
                    <a:lnTo>
                      <a:pt x="0" y="953"/>
                    </a:lnTo>
                    <a:lnTo>
                      <a:pt x="51" y="833"/>
                    </a:lnTo>
                    <a:lnTo>
                      <a:pt x="58" y="825"/>
                    </a:lnTo>
                    <a:lnTo>
                      <a:pt x="68" y="818"/>
                    </a:lnTo>
                    <a:lnTo>
                      <a:pt x="82" y="810"/>
                    </a:lnTo>
                    <a:lnTo>
                      <a:pt x="100" y="803"/>
                    </a:lnTo>
                    <a:lnTo>
                      <a:pt x="119" y="798"/>
                    </a:lnTo>
                    <a:lnTo>
                      <a:pt x="141" y="793"/>
                    </a:lnTo>
                    <a:lnTo>
                      <a:pt x="168" y="784"/>
                    </a:lnTo>
                    <a:lnTo>
                      <a:pt x="197" y="776"/>
                    </a:lnTo>
                    <a:lnTo>
                      <a:pt x="227" y="766"/>
                    </a:lnTo>
                    <a:lnTo>
                      <a:pt x="257" y="757"/>
                    </a:lnTo>
                    <a:lnTo>
                      <a:pt x="286" y="747"/>
                    </a:lnTo>
                    <a:lnTo>
                      <a:pt x="312" y="737"/>
                    </a:lnTo>
                    <a:lnTo>
                      <a:pt x="334" y="729"/>
                    </a:lnTo>
                    <a:lnTo>
                      <a:pt x="353" y="722"/>
                    </a:lnTo>
                    <a:lnTo>
                      <a:pt x="359" y="720"/>
                    </a:lnTo>
                    <a:lnTo>
                      <a:pt x="365" y="714"/>
                    </a:lnTo>
                    <a:lnTo>
                      <a:pt x="372" y="704"/>
                    </a:lnTo>
                    <a:lnTo>
                      <a:pt x="377" y="691"/>
                    </a:lnTo>
                    <a:lnTo>
                      <a:pt x="382" y="678"/>
                    </a:lnTo>
                    <a:lnTo>
                      <a:pt x="383" y="663"/>
                    </a:lnTo>
                    <a:lnTo>
                      <a:pt x="384" y="652"/>
                    </a:lnTo>
                    <a:lnTo>
                      <a:pt x="385" y="643"/>
                    </a:lnTo>
                    <a:lnTo>
                      <a:pt x="387" y="637"/>
                    </a:lnTo>
                    <a:lnTo>
                      <a:pt x="393" y="634"/>
                    </a:lnTo>
                    <a:lnTo>
                      <a:pt x="403" y="633"/>
                    </a:lnTo>
                    <a:lnTo>
                      <a:pt x="406" y="632"/>
                    </a:lnTo>
                    <a:lnTo>
                      <a:pt x="409" y="630"/>
                    </a:lnTo>
                    <a:lnTo>
                      <a:pt x="411" y="629"/>
                    </a:lnTo>
                    <a:lnTo>
                      <a:pt x="412" y="627"/>
                    </a:lnTo>
                    <a:lnTo>
                      <a:pt x="413" y="625"/>
                    </a:lnTo>
                    <a:lnTo>
                      <a:pt x="413" y="624"/>
                    </a:lnTo>
                    <a:lnTo>
                      <a:pt x="414" y="623"/>
                    </a:lnTo>
                    <a:lnTo>
                      <a:pt x="414" y="622"/>
                    </a:lnTo>
                    <a:lnTo>
                      <a:pt x="419" y="606"/>
                    </a:lnTo>
                    <a:lnTo>
                      <a:pt x="422" y="587"/>
                    </a:lnTo>
                    <a:lnTo>
                      <a:pt x="423" y="568"/>
                    </a:lnTo>
                    <a:lnTo>
                      <a:pt x="423" y="552"/>
                    </a:lnTo>
                    <a:lnTo>
                      <a:pt x="422" y="545"/>
                    </a:lnTo>
                    <a:lnTo>
                      <a:pt x="418" y="539"/>
                    </a:lnTo>
                    <a:lnTo>
                      <a:pt x="415" y="533"/>
                    </a:lnTo>
                    <a:lnTo>
                      <a:pt x="414" y="532"/>
                    </a:lnTo>
                    <a:lnTo>
                      <a:pt x="404" y="515"/>
                    </a:lnTo>
                    <a:lnTo>
                      <a:pt x="397" y="494"/>
                    </a:lnTo>
                    <a:lnTo>
                      <a:pt x="389" y="472"/>
                    </a:lnTo>
                    <a:lnTo>
                      <a:pt x="384" y="450"/>
                    </a:lnTo>
                    <a:lnTo>
                      <a:pt x="378" y="428"/>
                    </a:lnTo>
                    <a:lnTo>
                      <a:pt x="373" y="411"/>
                    </a:lnTo>
                    <a:lnTo>
                      <a:pt x="373" y="411"/>
                    </a:lnTo>
                    <a:lnTo>
                      <a:pt x="371" y="411"/>
                    </a:lnTo>
                    <a:lnTo>
                      <a:pt x="370" y="411"/>
                    </a:lnTo>
                    <a:lnTo>
                      <a:pt x="368" y="410"/>
                    </a:lnTo>
                    <a:lnTo>
                      <a:pt x="367" y="409"/>
                    </a:lnTo>
                    <a:lnTo>
                      <a:pt x="364" y="407"/>
                    </a:lnTo>
                    <a:lnTo>
                      <a:pt x="363" y="405"/>
                    </a:lnTo>
                    <a:lnTo>
                      <a:pt x="363" y="402"/>
                    </a:lnTo>
                    <a:lnTo>
                      <a:pt x="356" y="388"/>
                    </a:lnTo>
                    <a:lnTo>
                      <a:pt x="349" y="376"/>
                    </a:lnTo>
                    <a:lnTo>
                      <a:pt x="344" y="364"/>
                    </a:lnTo>
                    <a:lnTo>
                      <a:pt x="343" y="351"/>
                    </a:lnTo>
                    <a:lnTo>
                      <a:pt x="342" y="346"/>
                    </a:lnTo>
                    <a:lnTo>
                      <a:pt x="340" y="339"/>
                    </a:lnTo>
                    <a:lnTo>
                      <a:pt x="338" y="331"/>
                    </a:lnTo>
                    <a:lnTo>
                      <a:pt x="336" y="323"/>
                    </a:lnTo>
                    <a:lnTo>
                      <a:pt x="336" y="314"/>
                    </a:lnTo>
                    <a:lnTo>
                      <a:pt x="339" y="308"/>
                    </a:lnTo>
                    <a:lnTo>
                      <a:pt x="344" y="302"/>
                    </a:lnTo>
                    <a:lnTo>
                      <a:pt x="353" y="301"/>
                    </a:lnTo>
                    <a:lnTo>
                      <a:pt x="356" y="303"/>
                    </a:lnTo>
                    <a:lnTo>
                      <a:pt x="358" y="304"/>
                    </a:lnTo>
                    <a:lnTo>
                      <a:pt x="359" y="305"/>
                    </a:lnTo>
                    <a:lnTo>
                      <a:pt x="361" y="304"/>
                    </a:lnTo>
                    <a:lnTo>
                      <a:pt x="361" y="303"/>
                    </a:lnTo>
                    <a:lnTo>
                      <a:pt x="362" y="301"/>
                    </a:lnTo>
                    <a:lnTo>
                      <a:pt x="362" y="299"/>
                    </a:lnTo>
                    <a:lnTo>
                      <a:pt x="362" y="297"/>
                    </a:lnTo>
                    <a:lnTo>
                      <a:pt x="363" y="294"/>
                    </a:lnTo>
                    <a:lnTo>
                      <a:pt x="363" y="291"/>
                    </a:lnTo>
                    <a:lnTo>
                      <a:pt x="363" y="171"/>
                    </a:lnTo>
                    <a:lnTo>
                      <a:pt x="365" y="147"/>
                    </a:lnTo>
                    <a:lnTo>
                      <a:pt x="372" y="127"/>
                    </a:lnTo>
                    <a:lnTo>
                      <a:pt x="383" y="109"/>
                    </a:lnTo>
                    <a:lnTo>
                      <a:pt x="397" y="94"/>
                    </a:lnTo>
                    <a:lnTo>
                      <a:pt x="414" y="80"/>
                    </a:lnTo>
                    <a:lnTo>
                      <a:pt x="445" y="60"/>
                    </a:lnTo>
                    <a:lnTo>
                      <a:pt x="480" y="42"/>
                    </a:lnTo>
                    <a:lnTo>
                      <a:pt x="517" y="30"/>
                    </a:lnTo>
                    <a:lnTo>
                      <a:pt x="554" y="20"/>
                    </a:lnTo>
                    <a:lnTo>
                      <a:pt x="569" y="16"/>
                    </a:lnTo>
                    <a:lnTo>
                      <a:pt x="586" y="11"/>
                    </a:lnTo>
                    <a:lnTo>
                      <a:pt x="604" y="8"/>
                    </a:lnTo>
                    <a:lnTo>
                      <a:pt x="621" y="5"/>
                    </a:lnTo>
                    <a:lnTo>
                      <a:pt x="636" y="2"/>
                    </a:lnTo>
                    <a:lnTo>
                      <a:pt x="648" y="1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</p:grpSp>
      </p:grpSp>
      <p:sp>
        <p:nvSpPr>
          <p:cNvPr id="91" name="Rectangle 90"/>
          <p:cNvSpPr/>
          <p:nvPr/>
        </p:nvSpPr>
        <p:spPr bwMode="ltGray">
          <a:xfrm>
            <a:off x="6174395" y="-1"/>
            <a:ext cx="2969606" cy="24504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100" i="1" dirty="0" smtClean="0">
                <a:solidFill>
                  <a:schemeClr val="bg1"/>
                </a:solidFill>
                <a:latin typeface="+mj-lt"/>
              </a:rPr>
              <a:t>Кадры</a:t>
            </a:r>
            <a:endParaRPr lang="ru-RU" sz="1100" i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2421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6080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le 30"/>
          <p:cNvSpPr>
            <a:spLocks noGrp="1"/>
          </p:cNvSpPr>
          <p:nvPr>
            <p:ph type="title"/>
          </p:nvPr>
        </p:nvSpPr>
        <p:spPr>
          <a:xfrm>
            <a:off x="533400" y="304800"/>
            <a:ext cx="8077201" cy="914400"/>
          </a:xfrm>
        </p:spPr>
        <p:txBody>
          <a:bodyPr/>
          <a:lstStyle/>
          <a:p>
            <a:r>
              <a:rPr lang="ru-RU" dirty="0" smtClean="0"/>
              <a:t>Мы можем помочь вам в развертывании аналитических ресурсов</a:t>
            </a:r>
            <a:r>
              <a:rPr dirty="0"/>
              <a:t/>
            </a:r>
            <a:br>
              <a:rPr dirty="0"/>
            </a:br>
            <a:endParaRPr lang="ru-RU" dirty="0"/>
          </a:p>
        </p:txBody>
      </p:sp>
      <p:sp>
        <p:nvSpPr>
          <p:cNvPr id="3" name="Rectangle 2"/>
          <p:cNvSpPr/>
          <p:nvPr/>
        </p:nvSpPr>
        <p:spPr>
          <a:xfrm>
            <a:off x="533399" y="1017927"/>
            <a:ext cx="4982629" cy="13619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74320">
              <a:spcAft>
                <a:spcPts val="300"/>
              </a:spcAft>
            </a:pPr>
            <a:r>
              <a:rPr lang="ru-RU" sz="1600" i="1" dirty="0" smtClean="0">
                <a:solidFill>
                  <a:schemeClr val="bg1"/>
                </a:solidFill>
                <a:latin typeface="+mj-lt"/>
              </a:rPr>
              <a:t>Мы можем помочь вам выбрать стратегию анализа данных: аналитика как научно-исследовательская работа </a:t>
            </a:r>
          </a:p>
          <a:p>
            <a:pPr indent="-274320">
              <a:spcAft>
                <a:spcPts val="300"/>
              </a:spcAft>
            </a:pPr>
            <a:r>
              <a:rPr lang="ru-RU" sz="1600" i="1" dirty="0" smtClean="0">
                <a:solidFill>
                  <a:schemeClr val="bg1"/>
                </a:solidFill>
                <a:latin typeface="+mj-lt"/>
              </a:rPr>
              <a:t>или аналитика, органично встроенная в операционные процессы...</a:t>
            </a:r>
            <a:endParaRPr lang="ru-RU" sz="16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5139113" y="890680"/>
            <a:ext cx="3518152" cy="2150995"/>
            <a:chOff x="5293469" y="1065257"/>
            <a:chExt cx="3641652" cy="2360502"/>
          </a:xfrm>
        </p:grpSpPr>
        <p:grpSp>
          <p:nvGrpSpPr>
            <p:cNvPr id="271" name="Group 270"/>
            <p:cNvGrpSpPr/>
            <p:nvPr/>
          </p:nvGrpSpPr>
          <p:grpSpPr>
            <a:xfrm>
              <a:off x="6059514" y="1065257"/>
              <a:ext cx="1891219" cy="1779577"/>
              <a:chOff x="5465709" y="2372679"/>
              <a:chExt cx="994998" cy="954808"/>
            </a:xfrm>
          </p:grpSpPr>
          <p:cxnSp>
            <p:nvCxnSpPr>
              <p:cNvPr id="306" name="Straight Arrow Connector 305"/>
              <p:cNvCxnSpPr/>
              <p:nvPr/>
            </p:nvCxnSpPr>
            <p:spPr>
              <a:xfrm flipH="1">
                <a:off x="5465709" y="2510264"/>
                <a:ext cx="165430" cy="233749"/>
              </a:xfrm>
              <a:prstGeom prst="straightConnector1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07" name="Straight Arrow Connector 306"/>
              <p:cNvCxnSpPr/>
              <p:nvPr/>
            </p:nvCxnSpPr>
            <p:spPr>
              <a:xfrm>
                <a:off x="6295277" y="2507548"/>
                <a:ext cx="165430" cy="233749"/>
              </a:xfrm>
              <a:prstGeom prst="straightConnector1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308" name="TextBox 307"/>
              <p:cNvSpPr txBox="1"/>
              <p:nvPr/>
            </p:nvSpPr>
            <p:spPr>
              <a:xfrm>
                <a:off x="5724081" y="2851792"/>
                <a:ext cx="528275" cy="47569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ru-RU" sz="1050" i="1" dirty="0">
                    <a:solidFill>
                      <a:schemeClr val="bg1"/>
                    </a:solidFill>
                    <a:latin typeface="+mj-lt"/>
                  </a:rPr>
                  <a:t>Специалисты в области обработки и анализа данных</a:t>
                </a:r>
              </a:p>
            </p:txBody>
          </p:sp>
          <p:sp>
            <p:nvSpPr>
              <p:cNvPr id="309" name="Freeform 73"/>
              <p:cNvSpPr>
                <a:spLocks/>
              </p:cNvSpPr>
              <p:nvPr/>
            </p:nvSpPr>
            <p:spPr bwMode="auto">
              <a:xfrm>
                <a:off x="6139855" y="2704052"/>
                <a:ext cx="934" cy="3267"/>
              </a:xfrm>
              <a:custGeom>
                <a:avLst/>
                <a:gdLst>
                  <a:gd name="T0" fmla="*/ 0 w 2"/>
                  <a:gd name="T1" fmla="*/ 7 h 7"/>
                  <a:gd name="T2" fmla="*/ 0 w 2"/>
                  <a:gd name="T3" fmla="*/ 7 h 7"/>
                  <a:gd name="T4" fmla="*/ 2 w 2"/>
                  <a:gd name="T5" fmla="*/ 0 h 7"/>
                  <a:gd name="T6" fmla="*/ 2 w 2"/>
                  <a:gd name="T7" fmla="*/ 0 h 7"/>
                  <a:gd name="T8" fmla="*/ 0 w 2"/>
                  <a:gd name="T9" fmla="*/ 7 h 7"/>
                  <a:gd name="T10" fmla="*/ 0 w 2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7">
                    <a:moveTo>
                      <a:pt x="0" y="7"/>
                    </a:moveTo>
                    <a:lnTo>
                      <a:pt x="0" y="7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i="1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310" name="Freeform 74"/>
              <p:cNvSpPr>
                <a:spLocks/>
              </p:cNvSpPr>
              <p:nvPr/>
            </p:nvSpPr>
            <p:spPr bwMode="auto">
              <a:xfrm>
                <a:off x="6254205" y="2524364"/>
                <a:ext cx="934" cy="934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2 w 2"/>
                  <a:gd name="T5" fmla="*/ 0 h 2"/>
                  <a:gd name="T6" fmla="*/ 2 w 2"/>
                  <a:gd name="T7" fmla="*/ 0 h 2"/>
                  <a:gd name="T8" fmla="*/ 0 w 2"/>
                  <a:gd name="T9" fmla="*/ 2 h 2"/>
                  <a:gd name="T10" fmla="*/ 0 w 2"/>
                  <a:gd name="T11" fmla="*/ 2 h 2"/>
                  <a:gd name="T12" fmla="*/ 2 w 2"/>
                  <a:gd name="T13" fmla="*/ 2 h 2"/>
                  <a:gd name="T14" fmla="*/ 2 w 2"/>
                  <a:gd name="T15" fmla="*/ 2 h 2"/>
                  <a:gd name="T16" fmla="*/ 2 w 2"/>
                  <a:gd name="T17" fmla="*/ 0 h 2"/>
                  <a:gd name="T18" fmla="*/ 2 w 2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i="1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311" name="Freeform 75"/>
              <p:cNvSpPr>
                <a:spLocks/>
              </p:cNvSpPr>
              <p:nvPr/>
            </p:nvSpPr>
            <p:spPr bwMode="auto">
              <a:xfrm>
                <a:off x="6213599" y="2535099"/>
                <a:ext cx="10735" cy="10734"/>
              </a:xfrm>
              <a:custGeom>
                <a:avLst/>
                <a:gdLst>
                  <a:gd name="T0" fmla="*/ 10 w 23"/>
                  <a:gd name="T1" fmla="*/ 19 h 23"/>
                  <a:gd name="T2" fmla="*/ 10 w 23"/>
                  <a:gd name="T3" fmla="*/ 19 h 23"/>
                  <a:gd name="T4" fmla="*/ 9 w 23"/>
                  <a:gd name="T5" fmla="*/ 17 h 23"/>
                  <a:gd name="T6" fmla="*/ 7 w 23"/>
                  <a:gd name="T7" fmla="*/ 14 h 23"/>
                  <a:gd name="T8" fmla="*/ 7 w 23"/>
                  <a:gd name="T9" fmla="*/ 6 h 23"/>
                  <a:gd name="T10" fmla="*/ 7 w 23"/>
                  <a:gd name="T11" fmla="*/ 6 h 23"/>
                  <a:gd name="T12" fmla="*/ 7 w 23"/>
                  <a:gd name="T13" fmla="*/ 5 h 23"/>
                  <a:gd name="T14" fmla="*/ 7 w 23"/>
                  <a:gd name="T15" fmla="*/ 5 h 23"/>
                  <a:gd name="T16" fmla="*/ 7 w 23"/>
                  <a:gd name="T17" fmla="*/ 0 h 23"/>
                  <a:gd name="T18" fmla="*/ 7 w 23"/>
                  <a:gd name="T19" fmla="*/ 0 h 23"/>
                  <a:gd name="T20" fmla="*/ 6 w 23"/>
                  <a:gd name="T21" fmla="*/ 0 h 23"/>
                  <a:gd name="T22" fmla="*/ 6 w 23"/>
                  <a:gd name="T23" fmla="*/ 0 h 23"/>
                  <a:gd name="T24" fmla="*/ 3 w 23"/>
                  <a:gd name="T25" fmla="*/ 3 h 23"/>
                  <a:gd name="T26" fmla="*/ 1 w 23"/>
                  <a:gd name="T27" fmla="*/ 11 h 23"/>
                  <a:gd name="T28" fmla="*/ 0 w 23"/>
                  <a:gd name="T29" fmla="*/ 20 h 23"/>
                  <a:gd name="T30" fmla="*/ 0 w 23"/>
                  <a:gd name="T31" fmla="*/ 20 h 23"/>
                  <a:gd name="T32" fmla="*/ 0 w 23"/>
                  <a:gd name="T33" fmla="*/ 22 h 23"/>
                  <a:gd name="T34" fmla="*/ 1 w 23"/>
                  <a:gd name="T35" fmla="*/ 23 h 23"/>
                  <a:gd name="T36" fmla="*/ 10 w 23"/>
                  <a:gd name="T37" fmla="*/ 23 h 23"/>
                  <a:gd name="T38" fmla="*/ 10 w 23"/>
                  <a:gd name="T39" fmla="*/ 23 h 23"/>
                  <a:gd name="T40" fmla="*/ 18 w 23"/>
                  <a:gd name="T41" fmla="*/ 22 h 23"/>
                  <a:gd name="T42" fmla="*/ 23 w 23"/>
                  <a:gd name="T43" fmla="*/ 20 h 23"/>
                  <a:gd name="T44" fmla="*/ 23 w 23"/>
                  <a:gd name="T45" fmla="*/ 20 h 23"/>
                  <a:gd name="T46" fmla="*/ 23 w 23"/>
                  <a:gd name="T47" fmla="*/ 20 h 23"/>
                  <a:gd name="T48" fmla="*/ 23 w 23"/>
                  <a:gd name="T49" fmla="*/ 20 h 23"/>
                  <a:gd name="T50" fmla="*/ 23 w 23"/>
                  <a:gd name="T51" fmla="*/ 20 h 23"/>
                  <a:gd name="T52" fmla="*/ 17 w 23"/>
                  <a:gd name="T53" fmla="*/ 20 h 23"/>
                  <a:gd name="T54" fmla="*/ 10 w 23"/>
                  <a:gd name="T55" fmla="*/ 19 h 23"/>
                  <a:gd name="T56" fmla="*/ 10 w 23"/>
                  <a:gd name="T57" fmla="*/ 1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" h="23">
                    <a:moveTo>
                      <a:pt x="10" y="19"/>
                    </a:moveTo>
                    <a:lnTo>
                      <a:pt x="10" y="19"/>
                    </a:lnTo>
                    <a:lnTo>
                      <a:pt x="9" y="17"/>
                    </a:lnTo>
                    <a:lnTo>
                      <a:pt x="7" y="14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1" y="11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1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8" y="22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17" y="20"/>
                    </a:lnTo>
                    <a:lnTo>
                      <a:pt x="10" y="19"/>
                    </a:lnTo>
                    <a:lnTo>
                      <a:pt x="10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i="1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312" name="Freeform 76"/>
              <p:cNvSpPr>
                <a:spLocks noEditPoints="1"/>
              </p:cNvSpPr>
              <p:nvPr/>
            </p:nvSpPr>
            <p:spPr bwMode="auto">
              <a:xfrm>
                <a:off x="6066578" y="2372679"/>
                <a:ext cx="188560" cy="438253"/>
              </a:xfrm>
              <a:custGeom>
                <a:avLst/>
                <a:gdLst>
                  <a:gd name="T0" fmla="*/ 318 w 404"/>
                  <a:gd name="T1" fmla="*/ 351 h 939"/>
                  <a:gd name="T2" fmla="*/ 207 w 404"/>
                  <a:gd name="T3" fmla="*/ 328 h 939"/>
                  <a:gd name="T4" fmla="*/ 265 w 404"/>
                  <a:gd name="T5" fmla="*/ 314 h 939"/>
                  <a:gd name="T6" fmla="*/ 284 w 404"/>
                  <a:gd name="T7" fmla="*/ 320 h 939"/>
                  <a:gd name="T8" fmla="*/ 296 w 404"/>
                  <a:gd name="T9" fmla="*/ 317 h 939"/>
                  <a:gd name="T10" fmla="*/ 291 w 404"/>
                  <a:gd name="T11" fmla="*/ 303 h 939"/>
                  <a:gd name="T12" fmla="*/ 271 w 404"/>
                  <a:gd name="T13" fmla="*/ 285 h 939"/>
                  <a:gd name="T14" fmla="*/ 225 w 404"/>
                  <a:gd name="T15" fmla="*/ 200 h 939"/>
                  <a:gd name="T16" fmla="*/ 177 w 404"/>
                  <a:gd name="T17" fmla="*/ 163 h 939"/>
                  <a:gd name="T18" fmla="*/ 176 w 404"/>
                  <a:gd name="T19" fmla="*/ 143 h 939"/>
                  <a:gd name="T20" fmla="*/ 187 w 404"/>
                  <a:gd name="T21" fmla="*/ 132 h 939"/>
                  <a:gd name="T22" fmla="*/ 197 w 404"/>
                  <a:gd name="T23" fmla="*/ 120 h 939"/>
                  <a:gd name="T24" fmla="*/ 196 w 404"/>
                  <a:gd name="T25" fmla="*/ 97 h 939"/>
                  <a:gd name="T26" fmla="*/ 208 w 404"/>
                  <a:gd name="T27" fmla="*/ 68 h 939"/>
                  <a:gd name="T28" fmla="*/ 205 w 404"/>
                  <a:gd name="T29" fmla="*/ 35 h 939"/>
                  <a:gd name="T30" fmla="*/ 145 w 404"/>
                  <a:gd name="T31" fmla="*/ 0 h 939"/>
                  <a:gd name="T32" fmla="*/ 100 w 404"/>
                  <a:gd name="T33" fmla="*/ 45 h 939"/>
                  <a:gd name="T34" fmla="*/ 102 w 404"/>
                  <a:gd name="T35" fmla="*/ 105 h 939"/>
                  <a:gd name="T36" fmla="*/ 85 w 404"/>
                  <a:gd name="T37" fmla="*/ 120 h 939"/>
                  <a:gd name="T38" fmla="*/ 49 w 404"/>
                  <a:gd name="T39" fmla="*/ 142 h 939"/>
                  <a:gd name="T40" fmla="*/ 19 w 404"/>
                  <a:gd name="T41" fmla="*/ 152 h 939"/>
                  <a:gd name="T42" fmla="*/ 0 w 404"/>
                  <a:gd name="T43" fmla="*/ 185 h 939"/>
                  <a:gd name="T44" fmla="*/ 8 w 404"/>
                  <a:gd name="T45" fmla="*/ 242 h 939"/>
                  <a:gd name="T46" fmla="*/ 53 w 404"/>
                  <a:gd name="T47" fmla="*/ 356 h 939"/>
                  <a:gd name="T48" fmla="*/ 45 w 404"/>
                  <a:gd name="T49" fmla="*/ 458 h 939"/>
                  <a:gd name="T50" fmla="*/ 65 w 404"/>
                  <a:gd name="T51" fmla="*/ 559 h 939"/>
                  <a:gd name="T52" fmla="*/ 88 w 404"/>
                  <a:gd name="T53" fmla="*/ 743 h 939"/>
                  <a:gd name="T54" fmla="*/ 99 w 404"/>
                  <a:gd name="T55" fmla="*/ 848 h 939"/>
                  <a:gd name="T56" fmla="*/ 94 w 404"/>
                  <a:gd name="T57" fmla="*/ 869 h 939"/>
                  <a:gd name="T58" fmla="*/ 93 w 404"/>
                  <a:gd name="T59" fmla="*/ 909 h 939"/>
                  <a:gd name="T60" fmla="*/ 128 w 404"/>
                  <a:gd name="T61" fmla="*/ 939 h 939"/>
                  <a:gd name="T62" fmla="*/ 162 w 404"/>
                  <a:gd name="T63" fmla="*/ 914 h 939"/>
                  <a:gd name="T64" fmla="*/ 164 w 404"/>
                  <a:gd name="T65" fmla="*/ 882 h 939"/>
                  <a:gd name="T66" fmla="*/ 156 w 404"/>
                  <a:gd name="T67" fmla="*/ 758 h 939"/>
                  <a:gd name="T68" fmla="*/ 160 w 404"/>
                  <a:gd name="T69" fmla="*/ 751 h 939"/>
                  <a:gd name="T70" fmla="*/ 171 w 404"/>
                  <a:gd name="T71" fmla="*/ 883 h 939"/>
                  <a:gd name="T72" fmla="*/ 211 w 404"/>
                  <a:gd name="T73" fmla="*/ 905 h 939"/>
                  <a:gd name="T74" fmla="*/ 288 w 404"/>
                  <a:gd name="T75" fmla="*/ 914 h 939"/>
                  <a:gd name="T76" fmla="*/ 302 w 404"/>
                  <a:gd name="T77" fmla="*/ 886 h 939"/>
                  <a:gd name="T78" fmla="*/ 251 w 404"/>
                  <a:gd name="T79" fmla="*/ 860 h 939"/>
                  <a:gd name="T80" fmla="*/ 236 w 404"/>
                  <a:gd name="T81" fmla="*/ 841 h 939"/>
                  <a:gd name="T82" fmla="*/ 236 w 404"/>
                  <a:gd name="T83" fmla="*/ 817 h 939"/>
                  <a:gd name="T84" fmla="*/ 238 w 404"/>
                  <a:gd name="T85" fmla="*/ 706 h 939"/>
                  <a:gd name="T86" fmla="*/ 236 w 404"/>
                  <a:gd name="T87" fmla="*/ 599 h 939"/>
                  <a:gd name="T88" fmla="*/ 242 w 404"/>
                  <a:gd name="T89" fmla="*/ 504 h 939"/>
                  <a:gd name="T90" fmla="*/ 224 w 404"/>
                  <a:gd name="T91" fmla="*/ 401 h 939"/>
                  <a:gd name="T92" fmla="*/ 216 w 404"/>
                  <a:gd name="T93" fmla="*/ 345 h 939"/>
                  <a:gd name="T94" fmla="*/ 299 w 404"/>
                  <a:gd name="T95" fmla="*/ 388 h 939"/>
                  <a:gd name="T96" fmla="*/ 338 w 404"/>
                  <a:gd name="T97" fmla="*/ 368 h 939"/>
                  <a:gd name="T98" fmla="*/ 270 w 404"/>
                  <a:gd name="T99" fmla="*/ 308 h 939"/>
                  <a:gd name="T100" fmla="*/ 402 w 404"/>
                  <a:gd name="T101" fmla="*/ 327 h 939"/>
                  <a:gd name="T102" fmla="*/ 399 w 404"/>
                  <a:gd name="T103" fmla="*/ 308 h 939"/>
                  <a:gd name="T104" fmla="*/ 390 w 404"/>
                  <a:gd name="T105" fmla="*/ 293 h 939"/>
                  <a:gd name="T106" fmla="*/ 379 w 404"/>
                  <a:gd name="T107" fmla="*/ 313 h 939"/>
                  <a:gd name="T108" fmla="*/ 370 w 404"/>
                  <a:gd name="T109" fmla="*/ 344 h 939"/>
                  <a:gd name="T110" fmla="*/ 322 w 404"/>
                  <a:gd name="T111" fmla="*/ 348 h 939"/>
                  <a:gd name="T112" fmla="*/ 325 w 404"/>
                  <a:gd name="T113" fmla="*/ 367 h 939"/>
                  <a:gd name="T114" fmla="*/ 362 w 404"/>
                  <a:gd name="T115" fmla="*/ 361 h 939"/>
                  <a:gd name="T116" fmla="*/ 396 w 404"/>
                  <a:gd name="T117" fmla="*/ 351 h 939"/>
                  <a:gd name="T118" fmla="*/ 404 w 404"/>
                  <a:gd name="T119" fmla="*/ 327 h 9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04" h="939">
                    <a:moveTo>
                      <a:pt x="325" y="371"/>
                    </a:moveTo>
                    <a:lnTo>
                      <a:pt x="325" y="371"/>
                    </a:lnTo>
                    <a:lnTo>
                      <a:pt x="316" y="371"/>
                    </a:lnTo>
                    <a:lnTo>
                      <a:pt x="315" y="370"/>
                    </a:lnTo>
                    <a:lnTo>
                      <a:pt x="315" y="368"/>
                    </a:lnTo>
                    <a:lnTo>
                      <a:pt x="315" y="368"/>
                    </a:lnTo>
                    <a:lnTo>
                      <a:pt x="316" y="359"/>
                    </a:lnTo>
                    <a:lnTo>
                      <a:pt x="318" y="351"/>
                    </a:lnTo>
                    <a:lnTo>
                      <a:pt x="321" y="348"/>
                    </a:lnTo>
                    <a:lnTo>
                      <a:pt x="321" y="348"/>
                    </a:lnTo>
                    <a:lnTo>
                      <a:pt x="213" y="340"/>
                    </a:lnTo>
                    <a:lnTo>
                      <a:pt x="213" y="340"/>
                    </a:lnTo>
                    <a:lnTo>
                      <a:pt x="207" y="339"/>
                    </a:lnTo>
                    <a:lnTo>
                      <a:pt x="207" y="337"/>
                    </a:lnTo>
                    <a:lnTo>
                      <a:pt x="207" y="337"/>
                    </a:lnTo>
                    <a:lnTo>
                      <a:pt x="207" y="328"/>
                    </a:lnTo>
                    <a:lnTo>
                      <a:pt x="259" y="311"/>
                    </a:lnTo>
                    <a:lnTo>
                      <a:pt x="259" y="311"/>
                    </a:lnTo>
                    <a:lnTo>
                      <a:pt x="261" y="313"/>
                    </a:lnTo>
                    <a:lnTo>
                      <a:pt x="261" y="313"/>
                    </a:lnTo>
                    <a:lnTo>
                      <a:pt x="262" y="313"/>
                    </a:lnTo>
                    <a:lnTo>
                      <a:pt x="262" y="313"/>
                    </a:lnTo>
                    <a:lnTo>
                      <a:pt x="265" y="314"/>
                    </a:lnTo>
                    <a:lnTo>
                      <a:pt x="265" y="314"/>
                    </a:lnTo>
                    <a:lnTo>
                      <a:pt x="271" y="320"/>
                    </a:lnTo>
                    <a:lnTo>
                      <a:pt x="278" y="324"/>
                    </a:lnTo>
                    <a:lnTo>
                      <a:pt x="278" y="324"/>
                    </a:lnTo>
                    <a:lnTo>
                      <a:pt x="282" y="324"/>
                    </a:lnTo>
                    <a:lnTo>
                      <a:pt x="282" y="320"/>
                    </a:lnTo>
                    <a:lnTo>
                      <a:pt x="282" y="320"/>
                    </a:lnTo>
                    <a:lnTo>
                      <a:pt x="284" y="320"/>
                    </a:lnTo>
                    <a:lnTo>
                      <a:pt x="284" y="320"/>
                    </a:lnTo>
                    <a:lnTo>
                      <a:pt x="285" y="320"/>
                    </a:lnTo>
                    <a:lnTo>
                      <a:pt x="287" y="319"/>
                    </a:lnTo>
                    <a:lnTo>
                      <a:pt x="287" y="319"/>
                    </a:lnTo>
                    <a:lnTo>
                      <a:pt x="288" y="313"/>
                    </a:lnTo>
                    <a:lnTo>
                      <a:pt x="288" y="313"/>
                    </a:lnTo>
                    <a:lnTo>
                      <a:pt x="293" y="316"/>
                    </a:lnTo>
                    <a:lnTo>
                      <a:pt x="293" y="316"/>
                    </a:lnTo>
                    <a:lnTo>
                      <a:pt x="296" y="317"/>
                    </a:lnTo>
                    <a:lnTo>
                      <a:pt x="301" y="317"/>
                    </a:lnTo>
                    <a:lnTo>
                      <a:pt x="301" y="317"/>
                    </a:lnTo>
                    <a:lnTo>
                      <a:pt x="301" y="316"/>
                    </a:lnTo>
                    <a:lnTo>
                      <a:pt x="299" y="313"/>
                    </a:lnTo>
                    <a:lnTo>
                      <a:pt x="299" y="313"/>
                    </a:lnTo>
                    <a:lnTo>
                      <a:pt x="293" y="305"/>
                    </a:lnTo>
                    <a:lnTo>
                      <a:pt x="293" y="305"/>
                    </a:lnTo>
                    <a:lnTo>
                      <a:pt x="291" y="303"/>
                    </a:lnTo>
                    <a:lnTo>
                      <a:pt x="291" y="303"/>
                    </a:lnTo>
                    <a:lnTo>
                      <a:pt x="291" y="300"/>
                    </a:lnTo>
                    <a:lnTo>
                      <a:pt x="290" y="293"/>
                    </a:lnTo>
                    <a:lnTo>
                      <a:pt x="290" y="293"/>
                    </a:lnTo>
                    <a:lnTo>
                      <a:pt x="287" y="288"/>
                    </a:lnTo>
                    <a:lnTo>
                      <a:pt x="285" y="287"/>
                    </a:lnTo>
                    <a:lnTo>
                      <a:pt x="285" y="287"/>
                    </a:lnTo>
                    <a:lnTo>
                      <a:pt x="271" y="285"/>
                    </a:lnTo>
                    <a:lnTo>
                      <a:pt x="261" y="285"/>
                    </a:lnTo>
                    <a:lnTo>
                      <a:pt x="248" y="282"/>
                    </a:lnTo>
                    <a:lnTo>
                      <a:pt x="248" y="282"/>
                    </a:lnTo>
                    <a:lnTo>
                      <a:pt x="242" y="270"/>
                    </a:lnTo>
                    <a:lnTo>
                      <a:pt x="238" y="260"/>
                    </a:lnTo>
                    <a:lnTo>
                      <a:pt x="236" y="254"/>
                    </a:lnTo>
                    <a:lnTo>
                      <a:pt x="236" y="254"/>
                    </a:lnTo>
                    <a:lnTo>
                      <a:pt x="225" y="200"/>
                    </a:lnTo>
                    <a:lnTo>
                      <a:pt x="225" y="200"/>
                    </a:lnTo>
                    <a:lnTo>
                      <a:pt x="221" y="188"/>
                    </a:lnTo>
                    <a:lnTo>
                      <a:pt x="219" y="185"/>
                    </a:lnTo>
                    <a:lnTo>
                      <a:pt x="216" y="182"/>
                    </a:lnTo>
                    <a:lnTo>
                      <a:pt x="208" y="177"/>
                    </a:lnTo>
                    <a:lnTo>
                      <a:pt x="201" y="174"/>
                    </a:lnTo>
                    <a:lnTo>
                      <a:pt x="201" y="174"/>
                    </a:lnTo>
                    <a:lnTo>
                      <a:pt x="177" y="163"/>
                    </a:lnTo>
                    <a:lnTo>
                      <a:pt x="165" y="156"/>
                    </a:lnTo>
                    <a:lnTo>
                      <a:pt x="165" y="156"/>
                    </a:lnTo>
                    <a:lnTo>
                      <a:pt x="170" y="154"/>
                    </a:lnTo>
                    <a:lnTo>
                      <a:pt x="173" y="151"/>
                    </a:lnTo>
                    <a:lnTo>
                      <a:pt x="176" y="148"/>
                    </a:lnTo>
                    <a:lnTo>
                      <a:pt x="176" y="145"/>
                    </a:lnTo>
                    <a:lnTo>
                      <a:pt x="176" y="145"/>
                    </a:lnTo>
                    <a:lnTo>
                      <a:pt x="176" y="143"/>
                    </a:lnTo>
                    <a:lnTo>
                      <a:pt x="177" y="142"/>
                    </a:lnTo>
                    <a:lnTo>
                      <a:pt x="182" y="140"/>
                    </a:lnTo>
                    <a:lnTo>
                      <a:pt x="182" y="140"/>
                    </a:lnTo>
                    <a:lnTo>
                      <a:pt x="184" y="139"/>
                    </a:lnTo>
                    <a:lnTo>
                      <a:pt x="184" y="137"/>
                    </a:lnTo>
                    <a:lnTo>
                      <a:pt x="184" y="134"/>
                    </a:lnTo>
                    <a:lnTo>
                      <a:pt x="184" y="134"/>
                    </a:lnTo>
                    <a:lnTo>
                      <a:pt x="187" y="132"/>
                    </a:lnTo>
                    <a:lnTo>
                      <a:pt x="188" y="131"/>
                    </a:lnTo>
                    <a:lnTo>
                      <a:pt x="190" y="126"/>
                    </a:lnTo>
                    <a:lnTo>
                      <a:pt x="190" y="126"/>
                    </a:lnTo>
                    <a:lnTo>
                      <a:pt x="190" y="123"/>
                    </a:lnTo>
                    <a:lnTo>
                      <a:pt x="191" y="122"/>
                    </a:lnTo>
                    <a:lnTo>
                      <a:pt x="191" y="122"/>
                    </a:lnTo>
                    <a:lnTo>
                      <a:pt x="194" y="122"/>
                    </a:lnTo>
                    <a:lnTo>
                      <a:pt x="197" y="120"/>
                    </a:lnTo>
                    <a:lnTo>
                      <a:pt x="197" y="120"/>
                    </a:lnTo>
                    <a:lnTo>
                      <a:pt x="199" y="119"/>
                    </a:lnTo>
                    <a:lnTo>
                      <a:pt x="199" y="115"/>
                    </a:lnTo>
                    <a:lnTo>
                      <a:pt x="197" y="108"/>
                    </a:lnTo>
                    <a:lnTo>
                      <a:pt x="197" y="108"/>
                    </a:lnTo>
                    <a:lnTo>
                      <a:pt x="196" y="102"/>
                    </a:lnTo>
                    <a:lnTo>
                      <a:pt x="196" y="97"/>
                    </a:lnTo>
                    <a:lnTo>
                      <a:pt x="196" y="97"/>
                    </a:lnTo>
                    <a:lnTo>
                      <a:pt x="199" y="94"/>
                    </a:lnTo>
                    <a:lnTo>
                      <a:pt x="202" y="89"/>
                    </a:lnTo>
                    <a:lnTo>
                      <a:pt x="202" y="89"/>
                    </a:lnTo>
                    <a:lnTo>
                      <a:pt x="204" y="89"/>
                    </a:lnTo>
                    <a:lnTo>
                      <a:pt x="205" y="85"/>
                    </a:lnTo>
                    <a:lnTo>
                      <a:pt x="205" y="85"/>
                    </a:lnTo>
                    <a:lnTo>
                      <a:pt x="207" y="77"/>
                    </a:lnTo>
                    <a:lnTo>
                      <a:pt x="208" y="68"/>
                    </a:lnTo>
                    <a:lnTo>
                      <a:pt x="208" y="68"/>
                    </a:lnTo>
                    <a:lnTo>
                      <a:pt x="208" y="65"/>
                    </a:lnTo>
                    <a:lnTo>
                      <a:pt x="207" y="60"/>
                    </a:lnTo>
                    <a:lnTo>
                      <a:pt x="205" y="55"/>
                    </a:lnTo>
                    <a:lnTo>
                      <a:pt x="205" y="55"/>
                    </a:lnTo>
                    <a:lnTo>
                      <a:pt x="208" y="49"/>
                    </a:lnTo>
                    <a:lnTo>
                      <a:pt x="208" y="41"/>
                    </a:lnTo>
                    <a:lnTo>
                      <a:pt x="205" y="35"/>
                    </a:lnTo>
                    <a:lnTo>
                      <a:pt x="201" y="28"/>
                    </a:lnTo>
                    <a:lnTo>
                      <a:pt x="193" y="20"/>
                    </a:lnTo>
                    <a:lnTo>
                      <a:pt x="185" y="14"/>
                    </a:lnTo>
                    <a:lnTo>
                      <a:pt x="176" y="8"/>
                    </a:lnTo>
                    <a:lnTo>
                      <a:pt x="165" y="1"/>
                    </a:lnTo>
                    <a:lnTo>
                      <a:pt x="165" y="1"/>
                    </a:lnTo>
                    <a:lnTo>
                      <a:pt x="154" y="0"/>
                    </a:lnTo>
                    <a:lnTo>
                      <a:pt x="145" y="0"/>
                    </a:lnTo>
                    <a:lnTo>
                      <a:pt x="136" y="1"/>
                    </a:lnTo>
                    <a:lnTo>
                      <a:pt x="127" y="6"/>
                    </a:lnTo>
                    <a:lnTo>
                      <a:pt x="119" y="12"/>
                    </a:lnTo>
                    <a:lnTo>
                      <a:pt x="113" y="20"/>
                    </a:lnTo>
                    <a:lnTo>
                      <a:pt x="106" y="28"/>
                    </a:lnTo>
                    <a:lnTo>
                      <a:pt x="102" y="35"/>
                    </a:lnTo>
                    <a:lnTo>
                      <a:pt x="102" y="35"/>
                    </a:lnTo>
                    <a:lnTo>
                      <a:pt x="100" y="45"/>
                    </a:lnTo>
                    <a:lnTo>
                      <a:pt x="99" y="52"/>
                    </a:lnTo>
                    <a:lnTo>
                      <a:pt x="99" y="60"/>
                    </a:lnTo>
                    <a:lnTo>
                      <a:pt x="100" y="66"/>
                    </a:lnTo>
                    <a:lnTo>
                      <a:pt x="103" y="78"/>
                    </a:lnTo>
                    <a:lnTo>
                      <a:pt x="105" y="89"/>
                    </a:lnTo>
                    <a:lnTo>
                      <a:pt x="105" y="89"/>
                    </a:lnTo>
                    <a:lnTo>
                      <a:pt x="103" y="102"/>
                    </a:lnTo>
                    <a:lnTo>
                      <a:pt x="102" y="105"/>
                    </a:lnTo>
                    <a:lnTo>
                      <a:pt x="97" y="115"/>
                    </a:lnTo>
                    <a:lnTo>
                      <a:pt x="97" y="115"/>
                    </a:lnTo>
                    <a:lnTo>
                      <a:pt x="94" y="115"/>
                    </a:lnTo>
                    <a:lnTo>
                      <a:pt x="93" y="117"/>
                    </a:lnTo>
                    <a:lnTo>
                      <a:pt x="91" y="117"/>
                    </a:lnTo>
                    <a:lnTo>
                      <a:pt x="90" y="119"/>
                    </a:lnTo>
                    <a:lnTo>
                      <a:pt x="90" y="119"/>
                    </a:lnTo>
                    <a:lnTo>
                      <a:pt x="85" y="120"/>
                    </a:lnTo>
                    <a:lnTo>
                      <a:pt x="80" y="125"/>
                    </a:lnTo>
                    <a:lnTo>
                      <a:pt x="71" y="134"/>
                    </a:lnTo>
                    <a:lnTo>
                      <a:pt x="71" y="134"/>
                    </a:lnTo>
                    <a:lnTo>
                      <a:pt x="63" y="139"/>
                    </a:lnTo>
                    <a:lnTo>
                      <a:pt x="59" y="140"/>
                    </a:lnTo>
                    <a:lnTo>
                      <a:pt x="54" y="140"/>
                    </a:lnTo>
                    <a:lnTo>
                      <a:pt x="54" y="140"/>
                    </a:lnTo>
                    <a:lnTo>
                      <a:pt x="49" y="142"/>
                    </a:lnTo>
                    <a:lnTo>
                      <a:pt x="45" y="142"/>
                    </a:lnTo>
                    <a:lnTo>
                      <a:pt x="37" y="146"/>
                    </a:lnTo>
                    <a:lnTo>
                      <a:pt x="37" y="146"/>
                    </a:lnTo>
                    <a:lnTo>
                      <a:pt x="32" y="149"/>
                    </a:lnTo>
                    <a:lnTo>
                      <a:pt x="28" y="149"/>
                    </a:lnTo>
                    <a:lnTo>
                      <a:pt x="28" y="149"/>
                    </a:lnTo>
                    <a:lnTo>
                      <a:pt x="23" y="149"/>
                    </a:lnTo>
                    <a:lnTo>
                      <a:pt x="19" y="152"/>
                    </a:lnTo>
                    <a:lnTo>
                      <a:pt x="8" y="159"/>
                    </a:lnTo>
                    <a:lnTo>
                      <a:pt x="8" y="159"/>
                    </a:lnTo>
                    <a:lnTo>
                      <a:pt x="5" y="162"/>
                    </a:lnTo>
                    <a:lnTo>
                      <a:pt x="2" y="163"/>
                    </a:lnTo>
                    <a:lnTo>
                      <a:pt x="2" y="174"/>
                    </a:lnTo>
                    <a:lnTo>
                      <a:pt x="2" y="174"/>
                    </a:lnTo>
                    <a:lnTo>
                      <a:pt x="0" y="185"/>
                    </a:lnTo>
                    <a:lnTo>
                      <a:pt x="0" y="185"/>
                    </a:lnTo>
                    <a:lnTo>
                      <a:pt x="0" y="200"/>
                    </a:lnTo>
                    <a:lnTo>
                      <a:pt x="0" y="200"/>
                    </a:lnTo>
                    <a:lnTo>
                      <a:pt x="0" y="206"/>
                    </a:lnTo>
                    <a:lnTo>
                      <a:pt x="2" y="216"/>
                    </a:lnTo>
                    <a:lnTo>
                      <a:pt x="2" y="216"/>
                    </a:lnTo>
                    <a:lnTo>
                      <a:pt x="5" y="234"/>
                    </a:lnTo>
                    <a:lnTo>
                      <a:pt x="5" y="234"/>
                    </a:lnTo>
                    <a:lnTo>
                      <a:pt x="8" y="242"/>
                    </a:lnTo>
                    <a:lnTo>
                      <a:pt x="11" y="251"/>
                    </a:lnTo>
                    <a:lnTo>
                      <a:pt x="22" y="274"/>
                    </a:lnTo>
                    <a:lnTo>
                      <a:pt x="34" y="300"/>
                    </a:lnTo>
                    <a:lnTo>
                      <a:pt x="46" y="327"/>
                    </a:lnTo>
                    <a:lnTo>
                      <a:pt x="46" y="327"/>
                    </a:lnTo>
                    <a:lnTo>
                      <a:pt x="49" y="339"/>
                    </a:lnTo>
                    <a:lnTo>
                      <a:pt x="51" y="348"/>
                    </a:lnTo>
                    <a:lnTo>
                      <a:pt x="53" y="356"/>
                    </a:lnTo>
                    <a:lnTo>
                      <a:pt x="53" y="364"/>
                    </a:lnTo>
                    <a:lnTo>
                      <a:pt x="49" y="377"/>
                    </a:lnTo>
                    <a:lnTo>
                      <a:pt x="46" y="390"/>
                    </a:lnTo>
                    <a:lnTo>
                      <a:pt x="46" y="390"/>
                    </a:lnTo>
                    <a:lnTo>
                      <a:pt x="45" y="405"/>
                    </a:lnTo>
                    <a:lnTo>
                      <a:pt x="43" y="419"/>
                    </a:lnTo>
                    <a:lnTo>
                      <a:pt x="45" y="458"/>
                    </a:lnTo>
                    <a:lnTo>
                      <a:pt x="45" y="458"/>
                    </a:lnTo>
                    <a:lnTo>
                      <a:pt x="46" y="481"/>
                    </a:lnTo>
                    <a:lnTo>
                      <a:pt x="45" y="498"/>
                    </a:lnTo>
                    <a:lnTo>
                      <a:pt x="43" y="515"/>
                    </a:lnTo>
                    <a:lnTo>
                      <a:pt x="54" y="513"/>
                    </a:lnTo>
                    <a:lnTo>
                      <a:pt x="54" y="513"/>
                    </a:lnTo>
                    <a:lnTo>
                      <a:pt x="54" y="522"/>
                    </a:lnTo>
                    <a:lnTo>
                      <a:pt x="57" y="533"/>
                    </a:lnTo>
                    <a:lnTo>
                      <a:pt x="65" y="559"/>
                    </a:lnTo>
                    <a:lnTo>
                      <a:pt x="73" y="586"/>
                    </a:lnTo>
                    <a:lnTo>
                      <a:pt x="76" y="598"/>
                    </a:lnTo>
                    <a:lnTo>
                      <a:pt x="77" y="609"/>
                    </a:lnTo>
                    <a:lnTo>
                      <a:pt x="77" y="609"/>
                    </a:lnTo>
                    <a:lnTo>
                      <a:pt x="83" y="675"/>
                    </a:lnTo>
                    <a:lnTo>
                      <a:pt x="86" y="714"/>
                    </a:lnTo>
                    <a:lnTo>
                      <a:pt x="88" y="743"/>
                    </a:lnTo>
                    <a:lnTo>
                      <a:pt x="88" y="743"/>
                    </a:lnTo>
                    <a:lnTo>
                      <a:pt x="88" y="766"/>
                    </a:lnTo>
                    <a:lnTo>
                      <a:pt x="91" y="783"/>
                    </a:lnTo>
                    <a:lnTo>
                      <a:pt x="93" y="798"/>
                    </a:lnTo>
                    <a:lnTo>
                      <a:pt x="94" y="812"/>
                    </a:lnTo>
                    <a:lnTo>
                      <a:pt x="94" y="812"/>
                    </a:lnTo>
                    <a:lnTo>
                      <a:pt x="96" y="834"/>
                    </a:lnTo>
                    <a:lnTo>
                      <a:pt x="99" y="848"/>
                    </a:lnTo>
                    <a:lnTo>
                      <a:pt x="99" y="848"/>
                    </a:lnTo>
                    <a:lnTo>
                      <a:pt x="100" y="854"/>
                    </a:lnTo>
                    <a:lnTo>
                      <a:pt x="99" y="854"/>
                    </a:lnTo>
                    <a:lnTo>
                      <a:pt x="96" y="855"/>
                    </a:lnTo>
                    <a:lnTo>
                      <a:pt x="93" y="857"/>
                    </a:lnTo>
                    <a:lnTo>
                      <a:pt x="93" y="857"/>
                    </a:lnTo>
                    <a:lnTo>
                      <a:pt x="91" y="860"/>
                    </a:lnTo>
                    <a:lnTo>
                      <a:pt x="91" y="865"/>
                    </a:lnTo>
                    <a:lnTo>
                      <a:pt x="94" y="869"/>
                    </a:lnTo>
                    <a:lnTo>
                      <a:pt x="96" y="875"/>
                    </a:lnTo>
                    <a:lnTo>
                      <a:pt x="96" y="875"/>
                    </a:lnTo>
                    <a:lnTo>
                      <a:pt x="97" y="888"/>
                    </a:lnTo>
                    <a:lnTo>
                      <a:pt x="97" y="892"/>
                    </a:lnTo>
                    <a:lnTo>
                      <a:pt x="97" y="892"/>
                    </a:lnTo>
                    <a:lnTo>
                      <a:pt x="96" y="895"/>
                    </a:lnTo>
                    <a:lnTo>
                      <a:pt x="94" y="902"/>
                    </a:lnTo>
                    <a:lnTo>
                      <a:pt x="93" y="909"/>
                    </a:lnTo>
                    <a:lnTo>
                      <a:pt x="93" y="917"/>
                    </a:lnTo>
                    <a:lnTo>
                      <a:pt x="96" y="925"/>
                    </a:lnTo>
                    <a:lnTo>
                      <a:pt x="99" y="929"/>
                    </a:lnTo>
                    <a:lnTo>
                      <a:pt x="102" y="932"/>
                    </a:lnTo>
                    <a:lnTo>
                      <a:pt x="106" y="934"/>
                    </a:lnTo>
                    <a:lnTo>
                      <a:pt x="113" y="937"/>
                    </a:lnTo>
                    <a:lnTo>
                      <a:pt x="119" y="939"/>
                    </a:lnTo>
                    <a:lnTo>
                      <a:pt x="128" y="939"/>
                    </a:lnTo>
                    <a:lnTo>
                      <a:pt x="128" y="939"/>
                    </a:lnTo>
                    <a:lnTo>
                      <a:pt x="136" y="937"/>
                    </a:lnTo>
                    <a:lnTo>
                      <a:pt x="143" y="936"/>
                    </a:lnTo>
                    <a:lnTo>
                      <a:pt x="148" y="934"/>
                    </a:lnTo>
                    <a:lnTo>
                      <a:pt x="153" y="931"/>
                    </a:lnTo>
                    <a:lnTo>
                      <a:pt x="157" y="928"/>
                    </a:lnTo>
                    <a:lnTo>
                      <a:pt x="159" y="923"/>
                    </a:lnTo>
                    <a:lnTo>
                      <a:pt x="162" y="914"/>
                    </a:lnTo>
                    <a:lnTo>
                      <a:pt x="164" y="905"/>
                    </a:lnTo>
                    <a:lnTo>
                      <a:pt x="162" y="897"/>
                    </a:lnTo>
                    <a:lnTo>
                      <a:pt x="160" y="891"/>
                    </a:lnTo>
                    <a:lnTo>
                      <a:pt x="160" y="891"/>
                    </a:lnTo>
                    <a:lnTo>
                      <a:pt x="164" y="888"/>
                    </a:lnTo>
                    <a:lnTo>
                      <a:pt x="164" y="885"/>
                    </a:lnTo>
                    <a:lnTo>
                      <a:pt x="164" y="882"/>
                    </a:lnTo>
                    <a:lnTo>
                      <a:pt x="164" y="882"/>
                    </a:lnTo>
                    <a:lnTo>
                      <a:pt x="164" y="868"/>
                    </a:lnTo>
                    <a:lnTo>
                      <a:pt x="162" y="854"/>
                    </a:lnTo>
                    <a:lnTo>
                      <a:pt x="162" y="854"/>
                    </a:lnTo>
                    <a:lnTo>
                      <a:pt x="159" y="826"/>
                    </a:lnTo>
                    <a:lnTo>
                      <a:pt x="156" y="795"/>
                    </a:lnTo>
                    <a:lnTo>
                      <a:pt x="156" y="795"/>
                    </a:lnTo>
                    <a:lnTo>
                      <a:pt x="156" y="781"/>
                    </a:lnTo>
                    <a:lnTo>
                      <a:pt x="156" y="758"/>
                    </a:lnTo>
                    <a:lnTo>
                      <a:pt x="157" y="717"/>
                    </a:lnTo>
                    <a:lnTo>
                      <a:pt x="157" y="717"/>
                    </a:lnTo>
                    <a:lnTo>
                      <a:pt x="159" y="710"/>
                    </a:lnTo>
                    <a:lnTo>
                      <a:pt x="159" y="710"/>
                    </a:lnTo>
                    <a:lnTo>
                      <a:pt x="157" y="717"/>
                    </a:lnTo>
                    <a:lnTo>
                      <a:pt x="157" y="717"/>
                    </a:lnTo>
                    <a:lnTo>
                      <a:pt x="159" y="732"/>
                    </a:lnTo>
                    <a:lnTo>
                      <a:pt x="160" y="751"/>
                    </a:lnTo>
                    <a:lnTo>
                      <a:pt x="167" y="795"/>
                    </a:lnTo>
                    <a:lnTo>
                      <a:pt x="173" y="835"/>
                    </a:lnTo>
                    <a:lnTo>
                      <a:pt x="176" y="857"/>
                    </a:lnTo>
                    <a:lnTo>
                      <a:pt x="176" y="857"/>
                    </a:lnTo>
                    <a:lnTo>
                      <a:pt x="176" y="863"/>
                    </a:lnTo>
                    <a:lnTo>
                      <a:pt x="174" y="866"/>
                    </a:lnTo>
                    <a:lnTo>
                      <a:pt x="173" y="872"/>
                    </a:lnTo>
                    <a:lnTo>
                      <a:pt x="171" y="883"/>
                    </a:lnTo>
                    <a:lnTo>
                      <a:pt x="171" y="883"/>
                    </a:lnTo>
                    <a:lnTo>
                      <a:pt x="174" y="891"/>
                    </a:lnTo>
                    <a:lnTo>
                      <a:pt x="177" y="895"/>
                    </a:lnTo>
                    <a:lnTo>
                      <a:pt x="185" y="899"/>
                    </a:lnTo>
                    <a:lnTo>
                      <a:pt x="191" y="902"/>
                    </a:lnTo>
                    <a:lnTo>
                      <a:pt x="205" y="903"/>
                    </a:lnTo>
                    <a:lnTo>
                      <a:pt x="211" y="905"/>
                    </a:lnTo>
                    <a:lnTo>
                      <a:pt x="211" y="905"/>
                    </a:lnTo>
                    <a:lnTo>
                      <a:pt x="219" y="909"/>
                    </a:lnTo>
                    <a:lnTo>
                      <a:pt x="228" y="912"/>
                    </a:lnTo>
                    <a:lnTo>
                      <a:pt x="239" y="915"/>
                    </a:lnTo>
                    <a:lnTo>
                      <a:pt x="239" y="915"/>
                    </a:lnTo>
                    <a:lnTo>
                      <a:pt x="258" y="917"/>
                    </a:lnTo>
                    <a:lnTo>
                      <a:pt x="268" y="917"/>
                    </a:lnTo>
                    <a:lnTo>
                      <a:pt x="279" y="915"/>
                    </a:lnTo>
                    <a:lnTo>
                      <a:pt x="288" y="914"/>
                    </a:lnTo>
                    <a:lnTo>
                      <a:pt x="298" y="909"/>
                    </a:lnTo>
                    <a:lnTo>
                      <a:pt x="301" y="906"/>
                    </a:lnTo>
                    <a:lnTo>
                      <a:pt x="302" y="903"/>
                    </a:lnTo>
                    <a:lnTo>
                      <a:pt x="304" y="900"/>
                    </a:lnTo>
                    <a:lnTo>
                      <a:pt x="305" y="895"/>
                    </a:lnTo>
                    <a:lnTo>
                      <a:pt x="305" y="895"/>
                    </a:lnTo>
                    <a:lnTo>
                      <a:pt x="304" y="891"/>
                    </a:lnTo>
                    <a:lnTo>
                      <a:pt x="302" y="886"/>
                    </a:lnTo>
                    <a:lnTo>
                      <a:pt x="298" y="878"/>
                    </a:lnTo>
                    <a:lnTo>
                      <a:pt x="290" y="874"/>
                    </a:lnTo>
                    <a:lnTo>
                      <a:pt x="281" y="871"/>
                    </a:lnTo>
                    <a:lnTo>
                      <a:pt x="262" y="865"/>
                    </a:lnTo>
                    <a:lnTo>
                      <a:pt x="256" y="863"/>
                    </a:lnTo>
                    <a:lnTo>
                      <a:pt x="254" y="862"/>
                    </a:lnTo>
                    <a:lnTo>
                      <a:pt x="254" y="862"/>
                    </a:lnTo>
                    <a:lnTo>
                      <a:pt x="251" y="860"/>
                    </a:lnTo>
                    <a:lnTo>
                      <a:pt x="248" y="858"/>
                    </a:lnTo>
                    <a:lnTo>
                      <a:pt x="245" y="858"/>
                    </a:lnTo>
                    <a:lnTo>
                      <a:pt x="245" y="858"/>
                    </a:lnTo>
                    <a:lnTo>
                      <a:pt x="244" y="852"/>
                    </a:lnTo>
                    <a:lnTo>
                      <a:pt x="241" y="843"/>
                    </a:lnTo>
                    <a:lnTo>
                      <a:pt x="241" y="843"/>
                    </a:lnTo>
                    <a:lnTo>
                      <a:pt x="239" y="841"/>
                    </a:lnTo>
                    <a:lnTo>
                      <a:pt x="236" y="841"/>
                    </a:lnTo>
                    <a:lnTo>
                      <a:pt x="231" y="841"/>
                    </a:lnTo>
                    <a:lnTo>
                      <a:pt x="231" y="841"/>
                    </a:lnTo>
                    <a:lnTo>
                      <a:pt x="230" y="840"/>
                    </a:lnTo>
                    <a:lnTo>
                      <a:pt x="230" y="838"/>
                    </a:lnTo>
                    <a:lnTo>
                      <a:pt x="230" y="832"/>
                    </a:lnTo>
                    <a:lnTo>
                      <a:pt x="230" y="832"/>
                    </a:lnTo>
                    <a:lnTo>
                      <a:pt x="234" y="825"/>
                    </a:lnTo>
                    <a:lnTo>
                      <a:pt x="236" y="817"/>
                    </a:lnTo>
                    <a:lnTo>
                      <a:pt x="236" y="809"/>
                    </a:lnTo>
                    <a:lnTo>
                      <a:pt x="236" y="809"/>
                    </a:lnTo>
                    <a:lnTo>
                      <a:pt x="234" y="784"/>
                    </a:lnTo>
                    <a:lnTo>
                      <a:pt x="234" y="767"/>
                    </a:lnTo>
                    <a:lnTo>
                      <a:pt x="236" y="749"/>
                    </a:lnTo>
                    <a:lnTo>
                      <a:pt x="236" y="749"/>
                    </a:lnTo>
                    <a:lnTo>
                      <a:pt x="236" y="724"/>
                    </a:lnTo>
                    <a:lnTo>
                      <a:pt x="238" y="706"/>
                    </a:lnTo>
                    <a:lnTo>
                      <a:pt x="238" y="706"/>
                    </a:lnTo>
                    <a:lnTo>
                      <a:pt x="238" y="695"/>
                    </a:lnTo>
                    <a:lnTo>
                      <a:pt x="236" y="686"/>
                    </a:lnTo>
                    <a:lnTo>
                      <a:pt x="234" y="673"/>
                    </a:lnTo>
                    <a:lnTo>
                      <a:pt x="233" y="656"/>
                    </a:lnTo>
                    <a:lnTo>
                      <a:pt x="233" y="656"/>
                    </a:lnTo>
                    <a:lnTo>
                      <a:pt x="233" y="630"/>
                    </a:lnTo>
                    <a:lnTo>
                      <a:pt x="236" y="599"/>
                    </a:lnTo>
                    <a:lnTo>
                      <a:pt x="238" y="570"/>
                    </a:lnTo>
                    <a:lnTo>
                      <a:pt x="239" y="547"/>
                    </a:lnTo>
                    <a:lnTo>
                      <a:pt x="239" y="547"/>
                    </a:lnTo>
                    <a:lnTo>
                      <a:pt x="239" y="530"/>
                    </a:lnTo>
                    <a:lnTo>
                      <a:pt x="238" y="518"/>
                    </a:lnTo>
                    <a:lnTo>
                      <a:pt x="234" y="507"/>
                    </a:lnTo>
                    <a:lnTo>
                      <a:pt x="242" y="504"/>
                    </a:lnTo>
                    <a:lnTo>
                      <a:pt x="242" y="504"/>
                    </a:lnTo>
                    <a:lnTo>
                      <a:pt x="241" y="482"/>
                    </a:lnTo>
                    <a:lnTo>
                      <a:pt x="236" y="462"/>
                    </a:lnTo>
                    <a:lnTo>
                      <a:pt x="233" y="451"/>
                    </a:lnTo>
                    <a:lnTo>
                      <a:pt x="230" y="442"/>
                    </a:lnTo>
                    <a:lnTo>
                      <a:pt x="230" y="442"/>
                    </a:lnTo>
                    <a:lnTo>
                      <a:pt x="225" y="428"/>
                    </a:lnTo>
                    <a:lnTo>
                      <a:pt x="222" y="421"/>
                    </a:lnTo>
                    <a:lnTo>
                      <a:pt x="224" y="401"/>
                    </a:lnTo>
                    <a:lnTo>
                      <a:pt x="224" y="401"/>
                    </a:lnTo>
                    <a:lnTo>
                      <a:pt x="224" y="387"/>
                    </a:lnTo>
                    <a:lnTo>
                      <a:pt x="222" y="379"/>
                    </a:lnTo>
                    <a:lnTo>
                      <a:pt x="217" y="368"/>
                    </a:lnTo>
                    <a:lnTo>
                      <a:pt x="217" y="368"/>
                    </a:lnTo>
                    <a:lnTo>
                      <a:pt x="211" y="345"/>
                    </a:lnTo>
                    <a:lnTo>
                      <a:pt x="216" y="345"/>
                    </a:lnTo>
                    <a:lnTo>
                      <a:pt x="216" y="345"/>
                    </a:lnTo>
                    <a:lnTo>
                      <a:pt x="216" y="348"/>
                    </a:lnTo>
                    <a:lnTo>
                      <a:pt x="219" y="351"/>
                    </a:lnTo>
                    <a:lnTo>
                      <a:pt x="222" y="354"/>
                    </a:lnTo>
                    <a:lnTo>
                      <a:pt x="222" y="354"/>
                    </a:lnTo>
                    <a:lnTo>
                      <a:pt x="236" y="361"/>
                    </a:lnTo>
                    <a:lnTo>
                      <a:pt x="264" y="371"/>
                    </a:lnTo>
                    <a:lnTo>
                      <a:pt x="264" y="371"/>
                    </a:lnTo>
                    <a:lnTo>
                      <a:pt x="299" y="388"/>
                    </a:lnTo>
                    <a:lnTo>
                      <a:pt x="316" y="398"/>
                    </a:lnTo>
                    <a:lnTo>
                      <a:pt x="316" y="398"/>
                    </a:lnTo>
                    <a:lnTo>
                      <a:pt x="318" y="396"/>
                    </a:lnTo>
                    <a:lnTo>
                      <a:pt x="318" y="396"/>
                    </a:lnTo>
                    <a:lnTo>
                      <a:pt x="322" y="390"/>
                    </a:lnTo>
                    <a:lnTo>
                      <a:pt x="330" y="381"/>
                    </a:lnTo>
                    <a:lnTo>
                      <a:pt x="330" y="381"/>
                    </a:lnTo>
                    <a:lnTo>
                      <a:pt x="338" y="368"/>
                    </a:lnTo>
                    <a:lnTo>
                      <a:pt x="338" y="368"/>
                    </a:lnTo>
                    <a:lnTo>
                      <a:pt x="333" y="370"/>
                    </a:lnTo>
                    <a:lnTo>
                      <a:pt x="325" y="371"/>
                    </a:lnTo>
                    <a:lnTo>
                      <a:pt x="325" y="371"/>
                    </a:lnTo>
                    <a:close/>
                    <a:moveTo>
                      <a:pt x="273" y="305"/>
                    </a:moveTo>
                    <a:lnTo>
                      <a:pt x="273" y="305"/>
                    </a:lnTo>
                    <a:lnTo>
                      <a:pt x="276" y="305"/>
                    </a:lnTo>
                    <a:lnTo>
                      <a:pt x="270" y="308"/>
                    </a:lnTo>
                    <a:lnTo>
                      <a:pt x="270" y="308"/>
                    </a:lnTo>
                    <a:lnTo>
                      <a:pt x="267" y="303"/>
                    </a:lnTo>
                    <a:lnTo>
                      <a:pt x="267" y="303"/>
                    </a:lnTo>
                    <a:lnTo>
                      <a:pt x="273" y="305"/>
                    </a:lnTo>
                    <a:lnTo>
                      <a:pt x="273" y="305"/>
                    </a:lnTo>
                    <a:close/>
                    <a:moveTo>
                      <a:pt x="404" y="327"/>
                    </a:moveTo>
                    <a:lnTo>
                      <a:pt x="404" y="327"/>
                    </a:lnTo>
                    <a:lnTo>
                      <a:pt x="402" y="327"/>
                    </a:lnTo>
                    <a:lnTo>
                      <a:pt x="402" y="327"/>
                    </a:lnTo>
                    <a:lnTo>
                      <a:pt x="404" y="325"/>
                    </a:lnTo>
                    <a:lnTo>
                      <a:pt x="404" y="325"/>
                    </a:lnTo>
                    <a:lnTo>
                      <a:pt x="404" y="322"/>
                    </a:lnTo>
                    <a:lnTo>
                      <a:pt x="402" y="319"/>
                    </a:lnTo>
                    <a:lnTo>
                      <a:pt x="402" y="319"/>
                    </a:lnTo>
                    <a:lnTo>
                      <a:pt x="401" y="316"/>
                    </a:lnTo>
                    <a:lnTo>
                      <a:pt x="399" y="308"/>
                    </a:lnTo>
                    <a:lnTo>
                      <a:pt x="399" y="308"/>
                    </a:lnTo>
                    <a:lnTo>
                      <a:pt x="398" y="303"/>
                    </a:lnTo>
                    <a:lnTo>
                      <a:pt x="396" y="302"/>
                    </a:lnTo>
                    <a:lnTo>
                      <a:pt x="395" y="302"/>
                    </a:lnTo>
                    <a:lnTo>
                      <a:pt x="395" y="302"/>
                    </a:lnTo>
                    <a:lnTo>
                      <a:pt x="395" y="297"/>
                    </a:lnTo>
                    <a:lnTo>
                      <a:pt x="392" y="294"/>
                    </a:lnTo>
                    <a:lnTo>
                      <a:pt x="390" y="293"/>
                    </a:lnTo>
                    <a:lnTo>
                      <a:pt x="390" y="293"/>
                    </a:lnTo>
                    <a:lnTo>
                      <a:pt x="387" y="294"/>
                    </a:lnTo>
                    <a:lnTo>
                      <a:pt x="386" y="297"/>
                    </a:lnTo>
                    <a:lnTo>
                      <a:pt x="386" y="300"/>
                    </a:lnTo>
                    <a:lnTo>
                      <a:pt x="386" y="300"/>
                    </a:lnTo>
                    <a:lnTo>
                      <a:pt x="382" y="302"/>
                    </a:lnTo>
                    <a:lnTo>
                      <a:pt x="381" y="305"/>
                    </a:lnTo>
                    <a:lnTo>
                      <a:pt x="379" y="313"/>
                    </a:lnTo>
                    <a:lnTo>
                      <a:pt x="381" y="325"/>
                    </a:lnTo>
                    <a:lnTo>
                      <a:pt x="381" y="325"/>
                    </a:lnTo>
                    <a:lnTo>
                      <a:pt x="378" y="324"/>
                    </a:lnTo>
                    <a:lnTo>
                      <a:pt x="375" y="325"/>
                    </a:lnTo>
                    <a:lnTo>
                      <a:pt x="375" y="325"/>
                    </a:lnTo>
                    <a:lnTo>
                      <a:pt x="373" y="330"/>
                    </a:lnTo>
                    <a:lnTo>
                      <a:pt x="373" y="330"/>
                    </a:lnTo>
                    <a:lnTo>
                      <a:pt x="370" y="344"/>
                    </a:lnTo>
                    <a:lnTo>
                      <a:pt x="353" y="350"/>
                    </a:lnTo>
                    <a:lnTo>
                      <a:pt x="341" y="348"/>
                    </a:lnTo>
                    <a:lnTo>
                      <a:pt x="341" y="348"/>
                    </a:lnTo>
                    <a:lnTo>
                      <a:pt x="336" y="348"/>
                    </a:lnTo>
                    <a:lnTo>
                      <a:pt x="336" y="348"/>
                    </a:lnTo>
                    <a:lnTo>
                      <a:pt x="325" y="348"/>
                    </a:lnTo>
                    <a:lnTo>
                      <a:pt x="325" y="348"/>
                    </a:lnTo>
                    <a:lnTo>
                      <a:pt x="322" y="348"/>
                    </a:lnTo>
                    <a:lnTo>
                      <a:pt x="322" y="348"/>
                    </a:lnTo>
                    <a:lnTo>
                      <a:pt x="322" y="353"/>
                    </a:lnTo>
                    <a:lnTo>
                      <a:pt x="322" y="353"/>
                    </a:lnTo>
                    <a:lnTo>
                      <a:pt x="322" y="354"/>
                    </a:lnTo>
                    <a:lnTo>
                      <a:pt x="322" y="354"/>
                    </a:lnTo>
                    <a:lnTo>
                      <a:pt x="322" y="362"/>
                    </a:lnTo>
                    <a:lnTo>
                      <a:pt x="324" y="365"/>
                    </a:lnTo>
                    <a:lnTo>
                      <a:pt x="325" y="367"/>
                    </a:lnTo>
                    <a:lnTo>
                      <a:pt x="325" y="367"/>
                    </a:lnTo>
                    <a:lnTo>
                      <a:pt x="332" y="368"/>
                    </a:lnTo>
                    <a:lnTo>
                      <a:pt x="338" y="368"/>
                    </a:lnTo>
                    <a:lnTo>
                      <a:pt x="338" y="367"/>
                    </a:lnTo>
                    <a:lnTo>
                      <a:pt x="338" y="367"/>
                    </a:lnTo>
                    <a:lnTo>
                      <a:pt x="353" y="364"/>
                    </a:lnTo>
                    <a:lnTo>
                      <a:pt x="362" y="361"/>
                    </a:lnTo>
                    <a:lnTo>
                      <a:pt x="362" y="361"/>
                    </a:lnTo>
                    <a:lnTo>
                      <a:pt x="378" y="359"/>
                    </a:lnTo>
                    <a:lnTo>
                      <a:pt x="378" y="359"/>
                    </a:lnTo>
                    <a:lnTo>
                      <a:pt x="387" y="359"/>
                    </a:lnTo>
                    <a:lnTo>
                      <a:pt x="387" y="359"/>
                    </a:lnTo>
                    <a:lnTo>
                      <a:pt x="390" y="357"/>
                    </a:lnTo>
                    <a:lnTo>
                      <a:pt x="392" y="356"/>
                    </a:lnTo>
                    <a:lnTo>
                      <a:pt x="396" y="351"/>
                    </a:lnTo>
                    <a:lnTo>
                      <a:pt x="396" y="351"/>
                    </a:lnTo>
                    <a:lnTo>
                      <a:pt x="398" y="348"/>
                    </a:lnTo>
                    <a:lnTo>
                      <a:pt x="399" y="345"/>
                    </a:lnTo>
                    <a:lnTo>
                      <a:pt x="399" y="345"/>
                    </a:lnTo>
                    <a:lnTo>
                      <a:pt x="402" y="337"/>
                    </a:lnTo>
                    <a:lnTo>
                      <a:pt x="404" y="330"/>
                    </a:lnTo>
                    <a:lnTo>
                      <a:pt x="404" y="330"/>
                    </a:lnTo>
                    <a:lnTo>
                      <a:pt x="404" y="327"/>
                    </a:lnTo>
                    <a:lnTo>
                      <a:pt x="404" y="327"/>
                    </a:lnTo>
                    <a:close/>
                  </a:path>
                </a:pathLst>
              </a:custGeom>
              <a:solidFill>
                <a:srgbClr val="8E8A8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i="1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313" name="Freeform 77"/>
              <p:cNvSpPr>
                <a:spLocks/>
              </p:cNvSpPr>
              <p:nvPr/>
            </p:nvSpPr>
            <p:spPr bwMode="auto">
              <a:xfrm>
                <a:off x="6163191" y="2457623"/>
                <a:ext cx="107816" cy="78410"/>
              </a:xfrm>
              <a:custGeom>
                <a:avLst/>
                <a:gdLst>
                  <a:gd name="T0" fmla="*/ 228 w 231"/>
                  <a:gd name="T1" fmla="*/ 1 h 168"/>
                  <a:gd name="T2" fmla="*/ 222 w 231"/>
                  <a:gd name="T3" fmla="*/ 0 h 168"/>
                  <a:gd name="T4" fmla="*/ 166 w 231"/>
                  <a:gd name="T5" fmla="*/ 6 h 168"/>
                  <a:gd name="T6" fmla="*/ 163 w 231"/>
                  <a:gd name="T7" fmla="*/ 6 h 168"/>
                  <a:gd name="T8" fmla="*/ 158 w 231"/>
                  <a:gd name="T9" fmla="*/ 18 h 168"/>
                  <a:gd name="T10" fmla="*/ 140 w 231"/>
                  <a:gd name="T11" fmla="*/ 121 h 168"/>
                  <a:gd name="T12" fmla="*/ 86 w 231"/>
                  <a:gd name="T13" fmla="*/ 123 h 168"/>
                  <a:gd name="T14" fmla="*/ 92 w 231"/>
                  <a:gd name="T15" fmla="*/ 131 h 168"/>
                  <a:gd name="T16" fmla="*/ 94 w 231"/>
                  <a:gd name="T17" fmla="*/ 135 h 168"/>
                  <a:gd name="T18" fmla="*/ 89 w 231"/>
                  <a:gd name="T19" fmla="*/ 135 h 168"/>
                  <a:gd name="T20" fmla="*/ 86 w 231"/>
                  <a:gd name="T21" fmla="*/ 134 h 168"/>
                  <a:gd name="T22" fmla="*/ 81 w 231"/>
                  <a:gd name="T23" fmla="*/ 131 h 168"/>
                  <a:gd name="T24" fmla="*/ 80 w 231"/>
                  <a:gd name="T25" fmla="*/ 132 h 168"/>
                  <a:gd name="T26" fmla="*/ 80 w 231"/>
                  <a:gd name="T27" fmla="*/ 137 h 168"/>
                  <a:gd name="T28" fmla="*/ 77 w 231"/>
                  <a:gd name="T29" fmla="*/ 138 h 168"/>
                  <a:gd name="T30" fmla="*/ 75 w 231"/>
                  <a:gd name="T31" fmla="*/ 138 h 168"/>
                  <a:gd name="T32" fmla="*/ 75 w 231"/>
                  <a:gd name="T33" fmla="*/ 142 h 168"/>
                  <a:gd name="T34" fmla="*/ 71 w 231"/>
                  <a:gd name="T35" fmla="*/ 142 h 168"/>
                  <a:gd name="T36" fmla="*/ 58 w 231"/>
                  <a:gd name="T37" fmla="*/ 132 h 168"/>
                  <a:gd name="T38" fmla="*/ 55 w 231"/>
                  <a:gd name="T39" fmla="*/ 131 h 168"/>
                  <a:gd name="T40" fmla="*/ 54 w 231"/>
                  <a:gd name="T41" fmla="*/ 131 h 168"/>
                  <a:gd name="T42" fmla="*/ 52 w 231"/>
                  <a:gd name="T43" fmla="*/ 129 h 168"/>
                  <a:gd name="T44" fmla="*/ 0 w 231"/>
                  <a:gd name="T45" fmla="*/ 146 h 168"/>
                  <a:gd name="T46" fmla="*/ 0 w 231"/>
                  <a:gd name="T47" fmla="*/ 155 h 168"/>
                  <a:gd name="T48" fmla="*/ 6 w 231"/>
                  <a:gd name="T49" fmla="*/ 158 h 168"/>
                  <a:gd name="T50" fmla="*/ 114 w 231"/>
                  <a:gd name="T51" fmla="*/ 166 h 168"/>
                  <a:gd name="T52" fmla="*/ 115 w 231"/>
                  <a:gd name="T53" fmla="*/ 166 h 168"/>
                  <a:gd name="T54" fmla="*/ 118 w 231"/>
                  <a:gd name="T55" fmla="*/ 166 h 168"/>
                  <a:gd name="T56" fmla="*/ 129 w 231"/>
                  <a:gd name="T57" fmla="*/ 166 h 168"/>
                  <a:gd name="T58" fmla="*/ 134 w 231"/>
                  <a:gd name="T59" fmla="*/ 166 h 168"/>
                  <a:gd name="T60" fmla="*/ 163 w 231"/>
                  <a:gd name="T61" fmla="*/ 162 h 168"/>
                  <a:gd name="T62" fmla="*/ 166 w 231"/>
                  <a:gd name="T63" fmla="*/ 148 h 168"/>
                  <a:gd name="T64" fmla="*/ 168 w 231"/>
                  <a:gd name="T65" fmla="*/ 143 h 168"/>
                  <a:gd name="T66" fmla="*/ 171 w 231"/>
                  <a:gd name="T67" fmla="*/ 142 h 168"/>
                  <a:gd name="T68" fmla="*/ 174 w 231"/>
                  <a:gd name="T69" fmla="*/ 143 h 168"/>
                  <a:gd name="T70" fmla="*/ 174 w 231"/>
                  <a:gd name="T71" fmla="*/ 123 h 168"/>
                  <a:gd name="T72" fmla="*/ 179 w 231"/>
                  <a:gd name="T73" fmla="*/ 118 h 168"/>
                  <a:gd name="T74" fmla="*/ 179 w 231"/>
                  <a:gd name="T75" fmla="*/ 115 h 168"/>
                  <a:gd name="T76" fmla="*/ 183 w 231"/>
                  <a:gd name="T77" fmla="*/ 111 h 168"/>
                  <a:gd name="T78" fmla="*/ 185 w 231"/>
                  <a:gd name="T79" fmla="*/ 112 h 168"/>
                  <a:gd name="T80" fmla="*/ 188 w 231"/>
                  <a:gd name="T81" fmla="*/ 120 h 168"/>
                  <a:gd name="T82" fmla="*/ 189 w 231"/>
                  <a:gd name="T83" fmla="*/ 120 h 168"/>
                  <a:gd name="T84" fmla="*/ 192 w 231"/>
                  <a:gd name="T85" fmla="*/ 126 h 168"/>
                  <a:gd name="T86" fmla="*/ 194 w 231"/>
                  <a:gd name="T87" fmla="*/ 134 h 168"/>
                  <a:gd name="T88" fmla="*/ 195 w 231"/>
                  <a:gd name="T89" fmla="*/ 137 h 168"/>
                  <a:gd name="T90" fmla="*/ 197 w 231"/>
                  <a:gd name="T91" fmla="*/ 143 h 168"/>
                  <a:gd name="T92" fmla="*/ 197 w 231"/>
                  <a:gd name="T93" fmla="*/ 143 h 168"/>
                  <a:gd name="T94" fmla="*/ 197 w 231"/>
                  <a:gd name="T95" fmla="*/ 145 h 168"/>
                  <a:gd name="T96" fmla="*/ 206 w 231"/>
                  <a:gd name="T97" fmla="*/ 140 h 168"/>
                  <a:gd name="T98" fmla="*/ 208 w 231"/>
                  <a:gd name="T99" fmla="*/ 138 h 168"/>
                  <a:gd name="T100" fmla="*/ 209 w 231"/>
                  <a:gd name="T101" fmla="*/ 134 h 168"/>
                  <a:gd name="T102" fmla="*/ 231 w 231"/>
                  <a:gd name="T103" fmla="*/ 7 h 168"/>
                  <a:gd name="T104" fmla="*/ 231 w 231"/>
                  <a:gd name="T105" fmla="*/ 3 h 168"/>
                  <a:gd name="T106" fmla="*/ 228 w 231"/>
                  <a:gd name="T107" fmla="*/ 1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1" h="168">
                    <a:moveTo>
                      <a:pt x="228" y="1"/>
                    </a:moveTo>
                    <a:lnTo>
                      <a:pt x="228" y="1"/>
                    </a:lnTo>
                    <a:lnTo>
                      <a:pt x="222" y="0"/>
                    </a:lnTo>
                    <a:lnTo>
                      <a:pt x="222" y="0"/>
                    </a:lnTo>
                    <a:lnTo>
                      <a:pt x="166" y="6"/>
                    </a:lnTo>
                    <a:lnTo>
                      <a:pt x="166" y="6"/>
                    </a:lnTo>
                    <a:lnTo>
                      <a:pt x="165" y="6"/>
                    </a:lnTo>
                    <a:lnTo>
                      <a:pt x="163" y="6"/>
                    </a:lnTo>
                    <a:lnTo>
                      <a:pt x="160" y="11"/>
                    </a:lnTo>
                    <a:lnTo>
                      <a:pt x="158" y="18"/>
                    </a:lnTo>
                    <a:lnTo>
                      <a:pt x="158" y="18"/>
                    </a:lnTo>
                    <a:lnTo>
                      <a:pt x="140" y="121"/>
                    </a:lnTo>
                    <a:lnTo>
                      <a:pt x="86" y="123"/>
                    </a:lnTo>
                    <a:lnTo>
                      <a:pt x="86" y="123"/>
                    </a:lnTo>
                    <a:lnTo>
                      <a:pt x="92" y="131"/>
                    </a:lnTo>
                    <a:lnTo>
                      <a:pt x="92" y="131"/>
                    </a:lnTo>
                    <a:lnTo>
                      <a:pt x="94" y="134"/>
                    </a:lnTo>
                    <a:lnTo>
                      <a:pt x="94" y="135"/>
                    </a:lnTo>
                    <a:lnTo>
                      <a:pt x="94" y="135"/>
                    </a:lnTo>
                    <a:lnTo>
                      <a:pt x="89" y="135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3" y="131"/>
                    </a:lnTo>
                    <a:lnTo>
                      <a:pt x="81" y="131"/>
                    </a:lnTo>
                    <a:lnTo>
                      <a:pt x="81" y="131"/>
                    </a:lnTo>
                    <a:lnTo>
                      <a:pt x="80" y="132"/>
                    </a:lnTo>
                    <a:lnTo>
                      <a:pt x="80" y="137"/>
                    </a:lnTo>
                    <a:lnTo>
                      <a:pt x="80" y="137"/>
                    </a:lnTo>
                    <a:lnTo>
                      <a:pt x="78" y="138"/>
                    </a:lnTo>
                    <a:lnTo>
                      <a:pt x="77" y="138"/>
                    </a:lnTo>
                    <a:lnTo>
                      <a:pt x="77" y="138"/>
                    </a:lnTo>
                    <a:lnTo>
                      <a:pt x="75" y="138"/>
                    </a:lnTo>
                    <a:lnTo>
                      <a:pt x="75" y="138"/>
                    </a:lnTo>
                    <a:lnTo>
                      <a:pt x="75" y="142"/>
                    </a:lnTo>
                    <a:lnTo>
                      <a:pt x="71" y="142"/>
                    </a:lnTo>
                    <a:lnTo>
                      <a:pt x="71" y="142"/>
                    </a:lnTo>
                    <a:lnTo>
                      <a:pt x="64" y="138"/>
                    </a:lnTo>
                    <a:lnTo>
                      <a:pt x="58" y="132"/>
                    </a:lnTo>
                    <a:lnTo>
                      <a:pt x="58" y="132"/>
                    </a:lnTo>
                    <a:lnTo>
                      <a:pt x="55" y="131"/>
                    </a:lnTo>
                    <a:lnTo>
                      <a:pt x="55" y="131"/>
                    </a:lnTo>
                    <a:lnTo>
                      <a:pt x="54" y="131"/>
                    </a:lnTo>
                    <a:lnTo>
                      <a:pt x="54" y="131"/>
                    </a:lnTo>
                    <a:lnTo>
                      <a:pt x="52" y="129"/>
                    </a:lnTo>
                    <a:lnTo>
                      <a:pt x="0" y="146"/>
                    </a:lnTo>
                    <a:lnTo>
                      <a:pt x="0" y="146"/>
                    </a:lnTo>
                    <a:lnTo>
                      <a:pt x="0" y="155"/>
                    </a:lnTo>
                    <a:lnTo>
                      <a:pt x="0" y="155"/>
                    </a:lnTo>
                    <a:lnTo>
                      <a:pt x="0" y="157"/>
                    </a:lnTo>
                    <a:lnTo>
                      <a:pt x="6" y="158"/>
                    </a:lnTo>
                    <a:lnTo>
                      <a:pt x="6" y="158"/>
                    </a:lnTo>
                    <a:lnTo>
                      <a:pt x="114" y="166"/>
                    </a:lnTo>
                    <a:lnTo>
                      <a:pt x="114" y="166"/>
                    </a:lnTo>
                    <a:lnTo>
                      <a:pt x="115" y="166"/>
                    </a:lnTo>
                    <a:lnTo>
                      <a:pt x="115" y="166"/>
                    </a:lnTo>
                    <a:lnTo>
                      <a:pt x="118" y="166"/>
                    </a:lnTo>
                    <a:lnTo>
                      <a:pt x="118" y="166"/>
                    </a:lnTo>
                    <a:lnTo>
                      <a:pt x="129" y="166"/>
                    </a:lnTo>
                    <a:lnTo>
                      <a:pt x="129" y="166"/>
                    </a:lnTo>
                    <a:lnTo>
                      <a:pt x="134" y="166"/>
                    </a:lnTo>
                    <a:lnTo>
                      <a:pt x="146" y="168"/>
                    </a:lnTo>
                    <a:lnTo>
                      <a:pt x="163" y="162"/>
                    </a:lnTo>
                    <a:lnTo>
                      <a:pt x="163" y="162"/>
                    </a:lnTo>
                    <a:lnTo>
                      <a:pt x="166" y="148"/>
                    </a:lnTo>
                    <a:lnTo>
                      <a:pt x="166" y="148"/>
                    </a:lnTo>
                    <a:lnTo>
                      <a:pt x="168" y="143"/>
                    </a:lnTo>
                    <a:lnTo>
                      <a:pt x="168" y="143"/>
                    </a:lnTo>
                    <a:lnTo>
                      <a:pt x="171" y="142"/>
                    </a:lnTo>
                    <a:lnTo>
                      <a:pt x="174" y="143"/>
                    </a:lnTo>
                    <a:lnTo>
                      <a:pt x="174" y="143"/>
                    </a:lnTo>
                    <a:lnTo>
                      <a:pt x="172" y="131"/>
                    </a:lnTo>
                    <a:lnTo>
                      <a:pt x="174" y="123"/>
                    </a:lnTo>
                    <a:lnTo>
                      <a:pt x="175" y="120"/>
                    </a:lnTo>
                    <a:lnTo>
                      <a:pt x="179" y="118"/>
                    </a:lnTo>
                    <a:lnTo>
                      <a:pt x="179" y="118"/>
                    </a:lnTo>
                    <a:lnTo>
                      <a:pt x="179" y="115"/>
                    </a:lnTo>
                    <a:lnTo>
                      <a:pt x="180" y="112"/>
                    </a:lnTo>
                    <a:lnTo>
                      <a:pt x="183" y="111"/>
                    </a:lnTo>
                    <a:lnTo>
                      <a:pt x="183" y="111"/>
                    </a:lnTo>
                    <a:lnTo>
                      <a:pt x="185" y="112"/>
                    </a:lnTo>
                    <a:lnTo>
                      <a:pt x="188" y="115"/>
                    </a:lnTo>
                    <a:lnTo>
                      <a:pt x="188" y="120"/>
                    </a:lnTo>
                    <a:lnTo>
                      <a:pt x="188" y="120"/>
                    </a:lnTo>
                    <a:lnTo>
                      <a:pt x="189" y="120"/>
                    </a:lnTo>
                    <a:lnTo>
                      <a:pt x="191" y="121"/>
                    </a:lnTo>
                    <a:lnTo>
                      <a:pt x="192" y="126"/>
                    </a:lnTo>
                    <a:lnTo>
                      <a:pt x="192" y="126"/>
                    </a:lnTo>
                    <a:lnTo>
                      <a:pt x="194" y="134"/>
                    </a:lnTo>
                    <a:lnTo>
                      <a:pt x="195" y="137"/>
                    </a:lnTo>
                    <a:lnTo>
                      <a:pt x="195" y="137"/>
                    </a:lnTo>
                    <a:lnTo>
                      <a:pt x="197" y="140"/>
                    </a:lnTo>
                    <a:lnTo>
                      <a:pt x="197" y="143"/>
                    </a:lnTo>
                    <a:lnTo>
                      <a:pt x="197" y="143"/>
                    </a:lnTo>
                    <a:lnTo>
                      <a:pt x="197" y="143"/>
                    </a:lnTo>
                    <a:lnTo>
                      <a:pt x="197" y="143"/>
                    </a:lnTo>
                    <a:lnTo>
                      <a:pt x="197" y="145"/>
                    </a:lnTo>
                    <a:lnTo>
                      <a:pt x="197" y="145"/>
                    </a:lnTo>
                    <a:lnTo>
                      <a:pt x="206" y="140"/>
                    </a:lnTo>
                    <a:lnTo>
                      <a:pt x="206" y="140"/>
                    </a:lnTo>
                    <a:lnTo>
                      <a:pt x="208" y="138"/>
                    </a:lnTo>
                    <a:lnTo>
                      <a:pt x="209" y="134"/>
                    </a:lnTo>
                    <a:lnTo>
                      <a:pt x="209" y="134"/>
                    </a:lnTo>
                    <a:lnTo>
                      <a:pt x="231" y="7"/>
                    </a:lnTo>
                    <a:lnTo>
                      <a:pt x="231" y="7"/>
                    </a:lnTo>
                    <a:lnTo>
                      <a:pt x="231" y="4"/>
                    </a:lnTo>
                    <a:lnTo>
                      <a:pt x="231" y="3"/>
                    </a:lnTo>
                    <a:lnTo>
                      <a:pt x="228" y="1"/>
                    </a:lnTo>
                    <a:lnTo>
                      <a:pt x="228" y="1"/>
                    </a:lnTo>
                    <a:close/>
                  </a:path>
                </a:pathLst>
              </a:custGeom>
              <a:solidFill>
                <a:srgbClr val="66635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i="1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314" name="Freeform 78"/>
              <p:cNvSpPr>
                <a:spLocks noEditPoints="1"/>
              </p:cNvSpPr>
              <p:nvPr/>
            </p:nvSpPr>
            <p:spPr bwMode="auto">
              <a:xfrm>
                <a:off x="6106717" y="2426352"/>
                <a:ext cx="51808" cy="91011"/>
              </a:xfrm>
              <a:custGeom>
                <a:avLst/>
                <a:gdLst>
                  <a:gd name="T0" fmla="*/ 111 w 111"/>
                  <a:gd name="T1" fmla="*/ 178 h 195"/>
                  <a:gd name="T2" fmla="*/ 107 w 111"/>
                  <a:gd name="T3" fmla="*/ 165 h 195"/>
                  <a:gd name="T4" fmla="*/ 105 w 111"/>
                  <a:gd name="T5" fmla="*/ 193 h 195"/>
                  <a:gd name="T6" fmla="*/ 107 w 111"/>
                  <a:gd name="T7" fmla="*/ 195 h 195"/>
                  <a:gd name="T8" fmla="*/ 108 w 111"/>
                  <a:gd name="T9" fmla="*/ 193 h 195"/>
                  <a:gd name="T10" fmla="*/ 110 w 111"/>
                  <a:gd name="T11" fmla="*/ 190 h 195"/>
                  <a:gd name="T12" fmla="*/ 111 w 111"/>
                  <a:gd name="T13" fmla="*/ 178 h 195"/>
                  <a:gd name="T14" fmla="*/ 61 w 111"/>
                  <a:gd name="T15" fmla="*/ 36 h 195"/>
                  <a:gd name="T16" fmla="*/ 57 w 111"/>
                  <a:gd name="T17" fmla="*/ 37 h 195"/>
                  <a:gd name="T18" fmla="*/ 50 w 111"/>
                  <a:gd name="T19" fmla="*/ 37 h 195"/>
                  <a:gd name="T20" fmla="*/ 37 w 111"/>
                  <a:gd name="T21" fmla="*/ 31 h 195"/>
                  <a:gd name="T22" fmla="*/ 27 w 111"/>
                  <a:gd name="T23" fmla="*/ 24 h 195"/>
                  <a:gd name="T24" fmla="*/ 11 w 111"/>
                  <a:gd name="T25" fmla="*/ 13 h 195"/>
                  <a:gd name="T26" fmla="*/ 8 w 111"/>
                  <a:gd name="T27" fmla="*/ 8 h 195"/>
                  <a:gd name="T28" fmla="*/ 11 w 111"/>
                  <a:gd name="T29" fmla="*/ 5 h 195"/>
                  <a:gd name="T30" fmla="*/ 11 w 111"/>
                  <a:gd name="T31" fmla="*/ 0 h 195"/>
                  <a:gd name="T32" fmla="*/ 8 w 111"/>
                  <a:gd name="T33" fmla="*/ 0 h 195"/>
                  <a:gd name="T34" fmla="*/ 5 w 111"/>
                  <a:gd name="T35" fmla="*/ 2 h 195"/>
                  <a:gd name="T36" fmla="*/ 4 w 111"/>
                  <a:gd name="T37" fmla="*/ 4 h 195"/>
                  <a:gd name="T38" fmla="*/ 0 w 111"/>
                  <a:gd name="T39" fmla="*/ 8 h 195"/>
                  <a:gd name="T40" fmla="*/ 8 w 111"/>
                  <a:gd name="T41" fmla="*/ 17 h 195"/>
                  <a:gd name="T42" fmla="*/ 16 w 111"/>
                  <a:gd name="T43" fmla="*/ 27 h 195"/>
                  <a:gd name="T44" fmla="*/ 31 w 111"/>
                  <a:gd name="T45" fmla="*/ 47 h 195"/>
                  <a:gd name="T46" fmla="*/ 50 w 111"/>
                  <a:gd name="T47" fmla="*/ 74 h 195"/>
                  <a:gd name="T48" fmla="*/ 48 w 111"/>
                  <a:gd name="T49" fmla="*/ 59 h 195"/>
                  <a:gd name="T50" fmla="*/ 44 w 111"/>
                  <a:gd name="T51" fmla="*/ 54 h 195"/>
                  <a:gd name="T52" fmla="*/ 41 w 111"/>
                  <a:gd name="T53" fmla="*/ 53 h 195"/>
                  <a:gd name="T54" fmla="*/ 45 w 111"/>
                  <a:gd name="T55" fmla="*/ 44 h 195"/>
                  <a:gd name="T56" fmla="*/ 50 w 111"/>
                  <a:gd name="T57" fmla="*/ 44 h 195"/>
                  <a:gd name="T58" fmla="*/ 53 w 111"/>
                  <a:gd name="T59" fmla="*/ 44 h 195"/>
                  <a:gd name="T60" fmla="*/ 57 w 111"/>
                  <a:gd name="T61" fmla="*/ 50 h 195"/>
                  <a:gd name="T62" fmla="*/ 62 w 111"/>
                  <a:gd name="T63" fmla="*/ 64 h 195"/>
                  <a:gd name="T64" fmla="*/ 70 w 111"/>
                  <a:gd name="T65" fmla="*/ 78 h 195"/>
                  <a:gd name="T66" fmla="*/ 73 w 111"/>
                  <a:gd name="T67" fmla="*/ 87 h 195"/>
                  <a:gd name="T68" fmla="*/ 71 w 111"/>
                  <a:gd name="T69" fmla="*/ 48 h 195"/>
                  <a:gd name="T70" fmla="*/ 70 w 111"/>
                  <a:gd name="T71" fmla="*/ 41 h 195"/>
                  <a:gd name="T72" fmla="*/ 62 w 111"/>
                  <a:gd name="T73" fmla="*/ 36 h 195"/>
                  <a:gd name="T74" fmla="*/ 61 w 111"/>
                  <a:gd name="T75" fmla="*/ 36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1" h="195">
                    <a:moveTo>
                      <a:pt x="111" y="178"/>
                    </a:moveTo>
                    <a:lnTo>
                      <a:pt x="111" y="178"/>
                    </a:lnTo>
                    <a:lnTo>
                      <a:pt x="108" y="170"/>
                    </a:lnTo>
                    <a:lnTo>
                      <a:pt x="107" y="165"/>
                    </a:lnTo>
                    <a:lnTo>
                      <a:pt x="105" y="193"/>
                    </a:lnTo>
                    <a:lnTo>
                      <a:pt x="105" y="193"/>
                    </a:lnTo>
                    <a:lnTo>
                      <a:pt x="107" y="195"/>
                    </a:lnTo>
                    <a:lnTo>
                      <a:pt x="107" y="195"/>
                    </a:lnTo>
                    <a:lnTo>
                      <a:pt x="108" y="193"/>
                    </a:lnTo>
                    <a:lnTo>
                      <a:pt x="108" y="193"/>
                    </a:lnTo>
                    <a:lnTo>
                      <a:pt x="110" y="190"/>
                    </a:lnTo>
                    <a:lnTo>
                      <a:pt x="110" y="190"/>
                    </a:lnTo>
                    <a:lnTo>
                      <a:pt x="111" y="185"/>
                    </a:lnTo>
                    <a:lnTo>
                      <a:pt x="111" y="178"/>
                    </a:lnTo>
                    <a:lnTo>
                      <a:pt x="111" y="178"/>
                    </a:lnTo>
                    <a:close/>
                    <a:moveTo>
                      <a:pt x="61" y="36"/>
                    </a:moveTo>
                    <a:lnTo>
                      <a:pt x="61" y="36"/>
                    </a:lnTo>
                    <a:lnTo>
                      <a:pt x="57" y="37"/>
                    </a:lnTo>
                    <a:lnTo>
                      <a:pt x="53" y="39"/>
                    </a:lnTo>
                    <a:lnTo>
                      <a:pt x="50" y="37"/>
                    </a:lnTo>
                    <a:lnTo>
                      <a:pt x="45" y="36"/>
                    </a:lnTo>
                    <a:lnTo>
                      <a:pt x="37" y="31"/>
                    </a:lnTo>
                    <a:lnTo>
                      <a:pt x="27" y="24"/>
                    </a:lnTo>
                    <a:lnTo>
                      <a:pt x="27" y="24"/>
                    </a:lnTo>
                    <a:lnTo>
                      <a:pt x="17" y="17"/>
                    </a:lnTo>
                    <a:lnTo>
                      <a:pt x="11" y="13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8" y="17"/>
                    </a:lnTo>
                    <a:lnTo>
                      <a:pt x="8" y="17"/>
                    </a:lnTo>
                    <a:lnTo>
                      <a:pt x="16" y="27"/>
                    </a:lnTo>
                    <a:lnTo>
                      <a:pt x="31" y="47"/>
                    </a:lnTo>
                    <a:lnTo>
                      <a:pt x="31" y="47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50" y="68"/>
                    </a:lnTo>
                    <a:lnTo>
                      <a:pt x="48" y="59"/>
                    </a:lnTo>
                    <a:lnTo>
                      <a:pt x="48" y="59"/>
                    </a:lnTo>
                    <a:lnTo>
                      <a:pt x="44" y="54"/>
                    </a:lnTo>
                    <a:lnTo>
                      <a:pt x="41" y="53"/>
                    </a:lnTo>
                    <a:lnTo>
                      <a:pt x="41" y="53"/>
                    </a:lnTo>
                    <a:lnTo>
                      <a:pt x="42" y="47"/>
                    </a:lnTo>
                    <a:lnTo>
                      <a:pt x="45" y="44"/>
                    </a:lnTo>
                    <a:lnTo>
                      <a:pt x="47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53" y="44"/>
                    </a:lnTo>
                    <a:lnTo>
                      <a:pt x="54" y="45"/>
                    </a:lnTo>
                    <a:lnTo>
                      <a:pt x="57" y="50"/>
                    </a:lnTo>
                    <a:lnTo>
                      <a:pt x="59" y="56"/>
                    </a:lnTo>
                    <a:lnTo>
                      <a:pt x="62" y="64"/>
                    </a:lnTo>
                    <a:lnTo>
                      <a:pt x="62" y="64"/>
                    </a:lnTo>
                    <a:lnTo>
                      <a:pt x="70" y="78"/>
                    </a:lnTo>
                    <a:lnTo>
                      <a:pt x="73" y="87"/>
                    </a:lnTo>
                    <a:lnTo>
                      <a:pt x="73" y="87"/>
                    </a:lnTo>
                    <a:lnTo>
                      <a:pt x="71" y="48"/>
                    </a:lnTo>
                    <a:lnTo>
                      <a:pt x="71" y="48"/>
                    </a:lnTo>
                    <a:lnTo>
                      <a:pt x="71" y="44"/>
                    </a:lnTo>
                    <a:lnTo>
                      <a:pt x="70" y="41"/>
                    </a:lnTo>
                    <a:lnTo>
                      <a:pt x="67" y="37"/>
                    </a:lnTo>
                    <a:lnTo>
                      <a:pt x="62" y="36"/>
                    </a:lnTo>
                    <a:lnTo>
                      <a:pt x="61" y="36"/>
                    </a:lnTo>
                    <a:lnTo>
                      <a:pt x="61" y="3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i="1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grpSp>
            <p:nvGrpSpPr>
              <p:cNvPr id="315" name="Group 314"/>
              <p:cNvGrpSpPr/>
              <p:nvPr/>
            </p:nvGrpSpPr>
            <p:grpSpPr>
              <a:xfrm>
                <a:off x="5705431" y="2372679"/>
                <a:ext cx="445194" cy="438253"/>
                <a:chOff x="3952441" y="1204189"/>
                <a:chExt cx="964255" cy="949226"/>
              </a:xfrm>
            </p:grpSpPr>
            <p:grpSp>
              <p:nvGrpSpPr>
                <p:cNvPr id="316" name="Group 315"/>
                <p:cNvGrpSpPr/>
                <p:nvPr/>
              </p:nvGrpSpPr>
              <p:grpSpPr>
                <a:xfrm>
                  <a:off x="4473919" y="1204189"/>
                  <a:ext cx="442777" cy="949226"/>
                  <a:chOff x="3761512" y="5031077"/>
                  <a:chExt cx="614957" cy="1318366"/>
                </a:xfrm>
              </p:grpSpPr>
              <p:sp>
                <p:nvSpPr>
                  <p:cNvPr id="331" name="Freeform 73"/>
                  <p:cNvSpPr>
                    <a:spLocks/>
                  </p:cNvSpPr>
                  <p:nvPr/>
                </p:nvSpPr>
                <p:spPr bwMode="auto">
                  <a:xfrm>
                    <a:off x="3981941" y="6027925"/>
                    <a:ext cx="2808" cy="9828"/>
                  </a:xfrm>
                  <a:custGeom>
                    <a:avLst/>
                    <a:gdLst>
                      <a:gd name="T0" fmla="*/ 0 w 2"/>
                      <a:gd name="T1" fmla="*/ 7 h 7"/>
                      <a:gd name="T2" fmla="*/ 0 w 2"/>
                      <a:gd name="T3" fmla="*/ 7 h 7"/>
                      <a:gd name="T4" fmla="*/ 2 w 2"/>
                      <a:gd name="T5" fmla="*/ 0 h 7"/>
                      <a:gd name="T6" fmla="*/ 2 w 2"/>
                      <a:gd name="T7" fmla="*/ 0 h 7"/>
                      <a:gd name="T8" fmla="*/ 0 w 2"/>
                      <a:gd name="T9" fmla="*/ 7 h 7"/>
                      <a:gd name="T10" fmla="*/ 0 w 2"/>
                      <a:gd name="T11" fmla="*/ 7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" h="7">
                        <a:moveTo>
                          <a:pt x="0" y="7"/>
                        </a:moveTo>
                        <a:lnTo>
                          <a:pt x="0" y="7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0" y="7"/>
                        </a:lnTo>
                        <a:lnTo>
                          <a:pt x="0" y="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332" name="Freeform 74"/>
                  <p:cNvSpPr>
                    <a:spLocks/>
                  </p:cNvSpPr>
                  <p:nvPr/>
                </p:nvSpPr>
                <p:spPr bwMode="auto">
                  <a:xfrm>
                    <a:off x="4325925" y="5487381"/>
                    <a:ext cx="2808" cy="2808"/>
                  </a:xfrm>
                  <a:custGeom>
                    <a:avLst/>
                    <a:gdLst>
                      <a:gd name="T0" fmla="*/ 2 w 2"/>
                      <a:gd name="T1" fmla="*/ 0 h 2"/>
                      <a:gd name="T2" fmla="*/ 2 w 2"/>
                      <a:gd name="T3" fmla="*/ 0 h 2"/>
                      <a:gd name="T4" fmla="*/ 2 w 2"/>
                      <a:gd name="T5" fmla="*/ 0 h 2"/>
                      <a:gd name="T6" fmla="*/ 2 w 2"/>
                      <a:gd name="T7" fmla="*/ 0 h 2"/>
                      <a:gd name="T8" fmla="*/ 0 w 2"/>
                      <a:gd name="T9" fmla="*/ 2 h 2"/>
                      <a:gd name="T10" fmla="*/ 0 w 2"/>
                      <a:gd name="T11" fmla="*/ 2 h 2"/>
                      <a:gd name="T12" fmla="*/ 2 w 2"/>
                      <a:gd name="T13" fmla="*/ 2 h 2"/>
                      <a:gd name="T14" fmla="*/ 2 w 2"/>
                      <a:gd name="T15" fmla="*/ 2 h 2"/>
                      <a:gd name="T16" fmla="*/ 2 w 2"/>
                      <a:gd name="T17" fmla="*/ 0 h 2"/>
                      <a:gd name="T18" fmla="*/ 2 w 2"/>
                      <a:gd name="T19" fmla="*/ 0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" h="2">
                        <a:moveTo>
                          <a:pt x="2" y="0"/>
                        </a:move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336" name="Freeform 75"/>
                  <p:cNvSpPr>
                    <a:spLocks/>
                  </p:cNvSpPr>
                  <p:nvPr/>
                </p:nvSpPr>
                <p:spPr bwMode="auto">
                  <a:xfrm>
                    <a:off x="4203775" y="5519673"/>
                    <a:ext cx="32293" cy="32292"/>
                  </a:xfrm>
                  <a:custGeom>
                    <a:avLst/>
                    <a:gdLst>
                      <a:gd name="T0" fmla="*/ 10 w 23"/>
                      <a:gd name="T1" fmla="*/ 19 h 23"/>
                      <a:gd name="T2" fmla="*/ 10 w 23"/>
                      <a:gd name="T3" fmla="*/ 19 h 23"/>
                      <a:gd name="T4" fmla="*/ 9 w 23"/>
                      <a:gd name="T5" fmla="*/ 17 h 23"/>
                      <a:gd name="T6" fmla="*/ 7 w 23"/>
                      <a:gd name="T7" fmla="*/ 14 h 23"/>
                      <a:gd name="T8" fmla="*/ 7 w 23"/>
                      <a:gd name="T9" fmla="*/ 6 h 23"/>
                      <a:gd name="T10" fmla="*/ 7 w 23"/>
                      <a:gd name="T11" fmla="*/ 6 h 23"/>
                      <a:gd name="T12" fmla="*/ 7 w 23"/>
                      <a:gd name="T13" fmla="*/ 5 h 23"/>
                      <a:gd name="T14" fmla="*/ 7 w 23"/>
                      <a:gd name="T15" fmla="*/ 5 h 23"/>
                      <a:gd name="T16" fmla="*/ 7 w 23"/>
                      <a:gd name="T17" fmla="*/ 0 h 23"/>
                      <a:gd name="T18" fmla="*/ 7 w 23"/>
                      <a:gd name="T19" fmla="*/ 0 h 23"/>
                      <a:gd name="T20" fmla="*/ 6 w 23"/>
                      <a:gd name="T21" fmla="*/ 0 h 23"/>
                      <a:gd name="T22" fmla="*/ 6 w 23"/>
                      <a:gd name="T23" fmla="*/ 0 h 23"/>
                      <a:gd name="T24" fmla="*/ 3 w 23"/>
                      <a:gd name="T25" fmla="*/ 3 h 23"/>
                      <a:gd name="T26" fmla="*/ 1 w 23"/>
                      <a:gd name="T27" fmla="*/ 11 h 23"/>
                      <a:gd name="T28" fmla="*/ 0 w 23"/>
                      <a:gd name="T29" fmla="*/ 20 h 23"/>
                      <a:gd name="T30" fmla="*/ 0 w 23"/>
                      <a:gd name="T31" fmla="*/ 20 h 23"/>
                      <a:gd name="T32" fmla="*/ 0 w 23"/>
                      <a:gd name="T33" fmla="*/ 22 h 23"/>
                      <a:gd name="T34" fmla="*/ 1 w 23"/>
                      <a:gd name="T35" fmla="*/ 23 h 23"/>
                      <a:gd name="T36" fmla="*/ 10 w 23"/>
                      <a:gd name="T37" fmla="*/ 23 h 23"/>
                      <a:gd name="T38" fmla="*/ 10 w 23"/>
                      <a:gd name="T39" fmla="*/ 23 h 23"/>
                      <a:gd name="T40" fmla="*/ 18 w 23"/>
                      <a:gd name="T41" fmla="*/ 22 h 23"/>
                      <a:gd name="T42" fmla="*/ 23 w 23"/>
                      <a:gd name="T43" fmla="*/ 20 h 23"/>
                      <a:gd name="T44" fmla="*/ 23 w 23"/>
                      <a:gd name="T45" fmla="*/ 20 h 23"/>
                      <a:gd name="T46" fmla="*/ 23 w 23"/>
                      <a:gd name="T47" fmla="*/ 20 h 23"/>
                      <a:gd name="T48" fmla="*/ 23 w 23"/>
                      <a:gd name="T49" fmla="*/ 20 h 23"/>
                      <a:gd name="T50" fmla="*/ 23 w 23"/>
                      <a:gd name="T51" fmla="*/ 20 h 23"/>
                      <a:gd name="T52" fmla="*/ 17 w 23"/>
                      <a:gd name="T53" fmla="*/ 20 h 23"/>
                      <a:gd name="T54" fmla="*/ 10 w 23"/>
                      <a:gd name="T55" fmla="*/ 19 h 23"/>
                      <a:gd name="T56" fmla="*/ 10 w 23"/>
                      <a:gd name="T57" fmla="*/ 19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23" h="23">
                        <a:moveTo>
                          <a:pt x="10" y="19"/>
                        </a:moveTo>
                        <a:lnTo>
                          <a:pt x="10" y="19"/>
                        </a:lnTo>
                        <a:lnTo>
                          <a:pt x="9" y="17"/>
                        </a:lnTo>
                        <a:lnTo>
                          <a:pt x="7" y="14"/>
                        </a:lnTo>
                        <a:lnTo>
                          <a:pt x="7" y="6"/>
                        </a:lnTo>
                        <a:lnTo>
                          <a:pt x="7" y="6"/>
                        </a:lnTo>
                        <a:lnTo>
                          <a:pt x="7" y="5"/>
                        </a:lnTo>
                        <a:lnTo>
                          <a:pt x="7" y="5"/>
                        </a:lnTo>
                        <a:lnTo>
                          <a:pt x="7" y="0"/>
                        </a:lnTo>
                        <a:lnTo>
                          <a:pt x="7" y="0"/>
                        </a:lnTo>
                        <a:lnTo>
                          <a:pt x="6" y="0"/>
                        </a:lnTo>
                        <a:lnTo>
                          <a:pt x="6" y="0"/>
                        </a:lnTo>
                        <a:lnTo>
                          <a:pt x="3" y="3"/>
                        </a:lnTo>
                        <a:lnTo>
                          <a:pt x="1" y="11"/>
                        </a:lnTo>
                        <a:lnTo>
                          <a:pt x="0" y="20"/>
                        </a:lnTo>
                        <a:lnTo>
                          <a:pt x="0" y="20"/>
                        </a:lnTo>
                        <a:lnTo>
                          <a:pt x="0" y="22"/>
                        </a:lnTo>
                        <a:lnTo>
                          <a:pt x="1" y="23"/>
                        </a:lnTo>
                        <a:lnTo>
                          <a:pt x="10" y="23"/>
                        </a:lnTo>
                        <a:lnTo>
                          <a:pt x="10" y="23"/>
                        </a:lnTo>
                        <a:lnTo>
                          <a:pt x="18" y="22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17" y="20"/>
                        </a:lnTo>
                        <a:lnTo>
                          <a:pt x="10" y="19"/>
                        </a:lnTo>
                        <a:lnTo>
                          <a:pt x="10" y="1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338" name="Freeform 76"/>
                  <p:cNvSpPr>
                    <a:spLocks noEditPoints="1"/>
                  </p:cNvSpPr>
                  <p:nvPr/>
                </p:nvSpPr>
                <p:spPr bwMode="auto">
                  <a:xfrm>
                    <a:off x="3761512" y="5031077"/>
                    <a:ext cx="567221" cy="1318366"/>
                  </a:xfrm>
                  <a:custGeom>
                    <a:avLst/>
                    <a:gdLst>
                      <a:gd name="T0" fmla="*/ 318 w 404"/>
                      <a:gd name="T1" fmla="*/ 351 h 939"/>
                      <a:gd name="T2" fmla="*/ 207 w 404"/>
                      <a:gd name="T3" fmla="*/ 328 h 939"/>
                      <a:gd name="T4" fmla="*/ 265 w 404"/>
                      <a:gd name="T5" fmla="*/ 314 h 939"/>
                      <a:gd name="T6" fmla="*/ 284 w 404"/>
                      <a:gd name="T7" fmla="*/ 320 h 939"/>
                      <a:gd name="T8" fmla="*/ 296 w 404"/>
                      <a:gd name="T9" fmla="*/ 317 h 939"/>
                      <a:gd name="T10" fmla="*/ 291 w 404"/>
                      <a:gd name="T11" fmla="*/ 303 h 939"/>
                      <a:gd name="T12" fmla="*/ 271 w 404"/>
                      <a:gd name="T13" fmla="*/ 285 h 939"/>
                      <a:gd name="T14" fmla="*/ 225 w 404"/>
                      <a:gd name="T15" fmla="*/ 200 h 939"/>
                      <a:gd name="T16" fmla="*/ 177 w 404"/>
                      <a:gd name="T17" fmla="*/ 163 h 939"/>
                      <a:gd name="T18" fmla="*/ 176 w 404"/>
                      <a:gd name="T19" fmla="*/ 143 h 939"/>
                      <a:gd name="T20" fmla="*/ 187 w 404"/>
                      <a:gd name="T21" fmla="*/ 132 h 939"/>
                      <a:gd name="T22" fmla="*/ 197 w 404"/>
                      <a:gd name="T23" fmla="*/ 120 h 939"/>
                      <a:gd name="T24" fmla="*/ 196 w 404"/>
                      <a:gd name="T25" fmla="*/ 97 h 939"/>
                      <a:gd name="T26" fmla="*/ 208 w 404"/>
                      <a:gd name="T27" fmla="*/ 68 h 939"/>
                      <a:gd name="T28" fmla="*/ 205 w 404"/>
                      <a:gd name="T29" fmla="*/ 35 h 939"/>
                      <a:gd name="T30" fmla="*/ 145 w 404"/>
                      <a:gd name="T31" fmla="*/ 0 h 939"/>
                      <a:gd name="T32" fmla="*/ 100 w 404"/>
                      <a:gd name="T33" fmla="*/ 45 h 939"/>
                      <a:gd name="T34" fmla="*/ 102 w 404"/>
                      <a:gd name="T35" fmla="*/ 105 h 939"/>
                      <a:gd name="T36" fmla="*/ 85 w 404"/>
                      <a:gd name="T37" fmla="*/ 120 h 939"/>
                      <a:gd name="T38" fmla="*/ 49 w 404"/>
                      <a:gd name="T39" fmla="*/ 142 h 939"/>
                      <a:gd name="T40" fmla="*/ 19 w 404"/>
                      <a:gd name="T41" fmla="*/ 152 h 939"/>
                      <a:gd name="T42" fmla="*/ 0 w 404"/>
                      <a:gd name="T43" fmla="*/ 185 h 939"/>
                      <a:gd name="T44" fmla="*/ 8 w 404"/>
                      <a:gd name="T45" fmla="*/ 242 h 939"/>
                      <a:gd name="T46" fmla="*/ 53 w 404"/>
                      <a:gd name="T47" fmla="*/ 356 h 939"/>
                      <a:gd name="T48" fmla="*/ 45 w 404"/>
                      <a:gd name="T49" fmla="*/ 458 h 939"/>
                      <a:gd name="T50" fmla="*/ 65 w 404"/>
                      <a:gd name="T51" fmla="*/ 559 h 939"/>
                      <a:gd name="T52" fmla="*/ 88 w 404"/>
                      <a:gd name="T53" fmla="*/ 743 h 939"/>
                      <a:gd name="T54" fmla="*/ 99 w 404"/>
                      <a:gd name="T55" fmla="*/ 848 h 939"/>
                      <a:gd name="T56" fmla="*/ 94 w 404"/>
                      <a:gd name="T57" fmla="*/ 869 h 939"/>
                      <a:gd name="T58" fmla="*/ 93 w 404"/>
                      <a:gd name="T59" fmla="*/ 909 h 939"/>
                      <a:gd name="T60" fmla="*/ 128 w 404"/>
                      <a:gd name="T61" fmla="*/ 939 h 939"/>
                      <a:gd name="T62" fmla="*/ 162 w 404"/>
                      <a:gd name="T63" fmla="*/ 914 h 939"/>
                      <a:gd name="T64" fmla="*/ 164 w 404"/>
                      <a:gd name="T65" fmla="*/ 882 h 939"/>
                      <a:gd name="T66" fmla="*/ 156 w 404"/>
                      <a:gd name="T67" fmla="*/ 758 h 939"/>
                      <a:gd name="T68" fmla="*/ 160 w 404"/>
                      <a:gd name="T69" fmla="*/ 751 h 939"/>
                      <a:gd name="T70" fmla="*/ 171 w 404"/>
                      <a:gd name="T71" fmla="*/ 883 h 939"/>
                      <a:gd name="T72" fmla="*/ 211 w 404"/>
                      <a:gd name="T73" fmla="*/ 905 h 939"/>
                      <a:gd name="T74" fmla="*/ 288 w 404"/>
                      <a:gd name="T75" fmla="*/ 914 h 939"/>
                      <a:gd name="T76" fmla="*/ 302 w 404"/>
                      <a:gd name="T77" fmla="*/ 886 h 939"/>
                      <a:gd name="T78" fmla="*/ 251 w 404"/>
                      <a:gd name="T79" fmla="*/ 860 h 939"/>
                      <a:gd name="T80" fmla="*/ 236 w 404"/>
                      <a:gd name="T81" fmla="*/ 841 h 939"/>
                      <a:gd name="T82" fmla="*/ 236 w 404"/>
                      <a:gd name="T83" fmla="*/ 817 h 939"/>
                      <a:gd name="T84" fmla="*/ 238 w 404"/>
                      <a:gd name="T85" fmla="*/ 706 h 939"/>
                      <a:gd name="T86" fmla="*/ 236 w 404"/>
                      <a:gd name="T87" fmla="*/ 599 h 939"/>
                      <a:gd name="T88" fmla="*/ 242 w 404"/>
                      <a:gd name="T89" fmla="*/ 504 h 939"/>
                      <a:gd name="T90" fmla="*/ 224 w 404"/>
                      <a:gd name="T91" fmla="*/ 401 h 939"/>
                      <a:gd name="T92" fmla="*/ 216 w 404"/>
                      <a:gd name="T93" fmla="*/ 345 h 939"/>
                      <a:gd name="T94" fmla="*/ 299 w 404"/>
                      <a:gd name="T95" fmla="*/ 388 h 939"/>
                      <a:gd name="T96" fmla="*/ 338 w 404"/>
                      <a:gd name="T97" fmla="*/ 368 h 939"/>
                      <a:gd name="T98" fmla="*/ 270 w 404"/>
                      <a:gd name="T99" fmla="*/ 308 h 939"/>
                      <a:gd name="T100" fmla="*/ 402 w 404"/>
                      <a:gd name="T101" fmla="*/ 327 h 939"/>
                      <a:gd name="T102" fmla="*/ 399 w 404"/>
                      <a:gd name="T103" fmla="*/ 308 h 939"/>
                      <a:gd name="T104" fmla="*/ 390 w 404"/>
                      <a:gd name="T105" fmla="*/ 293 h 939"/>
                      <a:gd name="T106" fmla="*/ 379 w 404"/>
                      <a:gd name="T107" fmla="*/ 313 h 939"/>
                      <a:gd name="T108" fmla="*/ 370 w 404"/>
                      <a:gd name="T109" fmla="*/ 344 h 939"/>
                      <a:gd name="T110" fmla="*/ 322 w 404"/>
                      <a:gd name="T111" fmla="*/ 348 h 939"/>
                      <a:gd name="T112" fmla="*/ 325 w 404"/>
                      <a:gd name="T113" fmla="*/ 367 h 939"/>
                      <a:gd name="T114" fmla="*/ 362 w 404"/>
                      <a:gd name="T115" fmla="*/ 361 h 939"/>
                      <a:gd name="T116" fmla="*/ 396 w 404"/>
                      <a:gd name="T117" fmla="*/ 351 h 939"/>
                      <a:gd name="T118" fmla="*/ 404 w 404"/>
                      <a:gd name="T119" fmla="*/ 327 h 9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</a:cxnLst>
                    <a:rect l="0" t="0" r="r" b="b"/>
                    <a:pathLst>
                      <a:path w="404" h="939">
                        <a:moveTo>
                          <a:pt x="325" y="371"/>
                        </a:moveTo>
                        <a:lnTo>
                          <a:pt x="325" y="371"/>
                        </a:lnTo>
                        <a:lnTo>
                          <a:pt x="316" y="371"/>
                        </a:lnTo>
                        <a:lnTo>
                          <a:pt x="315" y="370"/>
                        </a:lnTo>
                        <a:lnTo>
                          <a:pt x="315" y="368"/>
                        </a:lnTo>
                        <a:lnTo>
                          <a:pt x="315" y="368"/>
                        </a:lnTo>
                        <a:lnTo>
                          <a:pt x="316" y="359"/>
                        </a:lnTo>
                        <a:lnTo>
                          <a:pt x="318" y="351"/>
                        </a:lnTo>
                        <a:lnTo>
                          <a:pt x="321" y="348"/>
                        </a:lnTo>
                        <a:lnTo>
                          <a:pt x="321" y="348"/>
                        </a:lnTo>
                        <a:lnTo>
                          <a:pt x="213" y="340"/>
                        </a:lnTo>
                        <a:lnTo>
                          <a:pt x="213" y="340"/>
                        </a:lnTo>
                        <a:lnTo>
                          <a:pt x="207" y="339"/>
                        </a:lnTo>
                        <a:lnTo>
                          <a:pt x="207" y="337"/>
                        </a:lnTo>
                        <a:lnTo>
                          <a:pt x="207" y="337"/>
                        </a:lnTo>
                        <a:lnTo>
                          <a:pt x="207" y="328"/>
                        </a:lnTo>
                        <a:lnTo>
                          <a:pt x="259" y="311"/>
                        </a:lnTo>
                        <a:lnTo>
                          <a:pt x="259" y="311"/>
                        </a:lnTo>
                        <a:lnTo>
                          <a:pt x="261" y="313"/>
                        </a:lnTo>
                        <a:lnTo>
                          <a:pt x="261" y="313"/>
                        </a:lnTo>
                        <a:lnTo>
                          <a:pt x="262" y="313"/>
                        </a:lnTo>
                        <a:lnTo>
                          <a:pt x="262" y="313"/>
                        </a:lnTo>
                        <a:lnTo>
                          <a:pt x="265" y="314"/>
                        </a:lnTo>
                        <a:lnTo>
                          <a:pt x="265" y="314"/>
                        </a:lnTo>
                        <a:lnTo>
                          <a:pt x="271" y="320"/>
                        </a:lnTo>
                        <a:lnTo>
                          <a:pt x="278" y="324"/>
                        </a:lnTo>
                        <a:lnTo>
                          <a:pt x="278" y="324"/>
                        </a:lnTo>
                        <a:lnTo>
                          <a:pt x="282" y="324"/>
                        </a:lnTo>
                        <a:lnTo>
                          <a:pt x="282" y="320"/>
                        </a:lnTo>
                        <a:lnTo>
                          <a:pt x="282" y="320"/>
                        </a:lnTo>
                        <a:lnTo>
                          <a:pt x="284" y="320"/>
                        </a:lnTo>
                        <a:lnTo>
                          <a:pt x="284" y="320"/>
                        </a:lnTo>
                        <a:lnTo>
                          <a:pt x="285" y="320"/>
                        </a:lnTo>
                        <a:lnTo>
                          <a:pt x="287" y="319"/>
                        </a:lnTo>
                        <a:lnTo>
                          <a:pt x="287" y="319"/>
                        </a:lnTo>
                        <a:lnTo>
                          <a:pt x="288" y="313"/>
                        </a:lnTo>
                        <a:lnTo>
                          <a:pt x="288" y="313"/>
                        </a:lnTo>
                        <a:lnTo>
                          <a:pt x="293" y="316"/>
                        </a:lnTo>
                        <a:lnTo>
                          <a:pt x="293" y="316"/>
                        </a:lnTo>
                        <a:lnTo>
                          <a:pt x="296" y="317"/>
                        </a:lnTo>
                        <a:lnTo>
                          <a:pt x="301" y="317"/>
                        </a:lnTo>
                        <a:lnTo>
                          <a:pt x="301" y="317"/>
                        </a:lnTo>
                        <a:lnTo>
                          <a:pt x="301" y="316"/>
                        </a:lnTo>
                        <a:lnTo>
                          <a:pt x="299" y="313"/>
                        </a:lnTo>
                        <a:lnTo>
                          <a:pt x="299" y="313"/>
                        </a:lnTo>
                        <a:lnTo>
                          <a:pt x="293" y="305"/>
                        </a:lnTo>
                        <a:lnTo>
                          <a:pt x="293" y="305"/>
                        </a:lnTo>
                        <a:lnTo>
                          <a:pt x="291" y="303"/>
                        </a:lnTo>
                        <a:lnTo>
                          <a:pt x="291" y="303"/>
                        </a:lnTo>
                        <a:lnTo>
                          <a:pt x="291" y="300"/>
                        </a:lnTo>
                        <a:lnTo>
                          <a:pt x="290" y="293"/>
                        </a:lnTo>
                        <a:lnTo>
                          <a:pt x="290" y="293"/>
                        </a:lnTo>
                        <a:lnTo>
                          <a:pt x="287" y="288"/>
                        </a:lnTo>
                        <a:lnTo>
                          <a:pt x="285" y="287"/>
                        </a:lnTo>
                        <a:lnTo>
                          <a:pt x="285" y="287"/>
                        </a:lnTo>
                        <a:lnTo>
                          <a:pt x="271" y="285"/>
                        </a:lnTo>
                        <a:lnTo>
                          <a:pt x="261" y="285"/>
                        </a:lnTo>
                        <a:lnTo>
                          <a:pt x="248" y="282"/>
                        </a:lnTo>
                        <a:lnTo>
                          <a:pt x="248" y="282"/>
                        </a:lnTo>
                        <a:lnTo>
                          <a:pt x="242" y="270"/>
                        </a:lnTo>
                        <a:lnTo>
                          <a:pt x="238" y="260"/>
                        </a:lnTo>
                        <a:lnTo>
                          <a:pt x="236" y="254"/>
                        </a:lnTo>
                        <a:lnTo>
                          <a:pt x="236" y="254"/>
                        </a:lnTo>
                        <a:lnTo>
                          <a:pt x="225" y="200"/>
                        </a:lnTo>
                        <a:lnTo>
                          <a:pt x="225" y="200"/>
                        </a:lnTo>
                        <a:lnTo>
                          <a:pt x="221" y="188"/>
                        </a:lnTo>
                        <a:lnTo>
                          <a:pt x="219" y="185"/>
                        </a:lnTo>
                        <a:lnTo>
                          <a:pt x="216" y="182"/>
                        </a:lnTo>
                        <a:lnTo>
                          <a:pt x="208" y="177"/>
                        </a:lnTo>
                        <a:lnTo>
                          <a:pt x="201" y="174"/>
                        </a:lnTo>
                        <a:lnTo>
                          <a:pt x="201" y="174"/>
                        </a:lnTo>
                        <a:lnTo>
                          <a:pt x="177" y="163"/>
                        </a:lnTo>
                        <a:lnTo>
                          <a:pt x="165" y="156"/>
                        </a:lnTo>
                        <a:lnTo>
                          <a:pt x="165" y="156"/>
                        </a:lnTo>
                        <a:lnTo>
                          <a:pt x="170" y="154"/>
                        </a:lnTo>
                        <a:lnTo>
                          <a:pt x="173" y="151"/>
                        </a:lnTo>
                        <a:lnTo>
                          <a:pt x="176" y="148"/>
                        </a:lnTo>
                        <a:lnTo>
                          <a:pt x="176" y="145"/>
                        </a:lnTo>
                        <a:lnTo>
                          <a:pt x="176" y="145"/>
                        </a:lnTo>
                        <a:lnTo>
                          <a:pt x="176" y="143"/>
                        </a:lnTo>
                        <a:lnTo>
                          <a:pt x="177" y="142"/>
                        </a:lnTo>
                        <a:lnTo>
                          <a:pt x="182" y="140"/>
                        </a:lnTo>
                        <a:lnTo>
                          <a:pt x="182" y="140"/>
                        </a:lnTo>
                        <a:lnTo>
                          <a:pt x="184" y="139"/>
                        </a:lnTo>
                        <a:lnTo>
                          <a:pt x="184" y="137"/>
                        </a:lnTo>
                        <a:lnTo>
                          <a:pt x="184" y="134"/>
                        </a:lnTo>
                        <a:lnTo>
                          <a:pt x="184" y="134"/>
                        </a:lnTo>
                        <a:lnTo>
                          <a:pt x="187" y="132"/>
                        </a:lnTo>
                        <a:lnTo>
                          <a:pt x="188" y="131"/>
                        </a:lnTo>
                        <a:lnTo>
                          <a:pt x="190" y="126"/>
                        </a:lnTo>
                        <a:lnTo>
                          <a:pt x="190" y="126"/>
                        </a:lnTo>
                        <a:lnTo>
                          <a:pt x="190" y="123"/>
                        </a:lnTo>
                        <a:lnTo>
                          <a:pt x="191" y="122"/>
                        </a:lnTo>
                        <a:lnTo>
                          <a:pt x="191" y="122"/>
                        </a:lnTo>
                        <a:lnTo>
                          <a:pt x="194" y="122"/>
                        </a:lnTo>
                        <a:lnTo>
                          <a:pt x="197" y="120"/>
                        </a:lnTo>
                        <a:lnTo>
                          <a:pt x="197" y="120"/>
                        </a:lnTo>
                        <a:lnTo>
                          <a:pt x="199" y="119"/>
                        </a:lnTo>
                        <a:lnTo>
                          <a:pt x="199" y="115"/>
                        </a:lnTo>
                        <a:lnTo>
                          <a:pt x="197" y="108"/>
                        </a:lnTo>
                        <a:lnTo>
                          <a:pt x="197" y="108"/>
                        </a:lnTo>
                        <a:lnTo>
                          <a:pt x="196" y="102"/>
                        </a:lnTo>
                        <a:lnTo>
                          <a:pt x="196" y="97"/>
                        </a:lnTo>
                        <a:lnTo>
                          <a:pt x="196" y="97"/>
                        </a:lnTo>
                        <a:lnTo>
                          <a:pt x="199" y="94"/>
                        </a:lnTo>
                        <a:lnTo>
                          <a:pt x="202" y="89"/>
                        </a:lnTo>
                        <a:lnTo>
                          <a:pt x="202" y="89"/>
                        </a:lnTo>
                        <a:lnTo>
                          <a:pt x="204" y="89"/>
                        </a:lnTo>
                        <a:lnTo>
                          <a:pt x="205" y="85"/>
                        </a:lnTo>
                        <a:lnTo>
                          <a:pt x="205" y="85"/>
                        </a:lnTo>
                        <a:lnTo>
                          <a:pt x="207" y="77"/>
                        </a:lnTo>
                        <a:lnTo>
                          <a:pt x="208" y="68"/>
                        </a:lnTo>
                        <a:lnTo>
                          <a:pt x="208" y="68"/>
                        </a:lnTo>
                        <a:lnTo>
                          <a:pt x="208" y="65"/>
                        </a:lnTo>
                        <a:lnTo>
                          <a:pt x="207" y="60"/>
                        </a:lnTo>
                        <a:lnTo>
                          <a:pt x="205" y="55"/>
                        </a:lnTo>
                        <a:lnTo>
                          <a:pt x="205" y="55"/>
                        </a:lnTo>
                        <a:lnTo>
                          <a:pt x="208" y="49"/>
                        </a:lnTo>
                        <a:lnTo>
                          <a:pt x="208" y="41"/>
                        </a:lnTo>
                        <a:lnTo>
                          <a:pt x="205" y="35"/>
                        </a:lnTo>
                        <a:lnTo>
                          <a:pt x="201" y="28"/>
                        </a:lnTo>
                        <a:lnTo>
                          <a:pt x="193" y="20"/>
                        </a:lnTo>
                        <a:lnTo>
                          <a:pt x="185" y="14"/>
                        </a:lnTo>
                        <a:lnTo>
                          <a:pt x="176" y="8"/>
                        </a:lnTo>
                        <a:lnTo>
                          <a:pt x="165" y="1"/>
                        </a:lnTo>
                        <a:lnTo>
                          <a:pt x="165" y="1"/>
                        </a:lnTo>
                        <a:lnTo>
                          <a:pt x="154" y="0"/>
                        </a:lnTo>
                        <a:lnTo>
                          <a:pt x="145" y="0"/>
                        </a:lnTo>
                        <a:lnTo>
                          <a:pt x="136" y="1"/>
                        </a:lnTo>
                        <a:lnTo>
                          <a:pt x="127" y="6"/>
                        </a:lnTo>
                        <a:lnTo>
                          <a:pt x="119" y="12"/>
                        </a:lnTo>
                        <a:lnTo>
                          <a:pt x="113" y="20"/>
                        </a:lnTo>
                        <a:lnTo>
                          <a:pt x="106" y="28"/>
                        </a:lnTo>
                        <a:lnTo>
                          <a:pt x="102" y="35"/>
                        </a:lnTo>
                        <a:lnTo>
                          <a:pt x="102" y="35"/>
                        </a:lnTo>
                        <a:lnTo>
                          <a:pt x="100" y="45"/>
                        </a:lnTo>
                        <a:lnTo>
                          <a:pt x="99" y="52"/>
                        </a:lnTo>
                        <a:lnTo>
                          <a:pt x="99" y="60"/>
                        </a:lnTo>
                        <a:lnTo>
                          <a:pt x="100" y="66"/>
                        </a:lnTo>
                        <a:lnTo>
                          <a:pt x="103" y="78"/>
                        </a:lnTo>
                        <a:lnTo>
                          <a:pt x="105" y="89"/>
                        </a:lnTo>
                        <a:lnTo>
                          <a:pt x="105" y="89"/>
                        </a:lnTo>
                        <a:lnTo>
                          <a:pt x="103" y="102"/>
                        </a:lnTo>
                        <a:lnTo>
                          <a:pt x="102" y="105"/>
                        </a:lnTo>
                        <a:lnTo>
                          <a:pt x="97" y="115"/>
                        </a:lnTo>
                        <a:lnTo>
                          <a:pt x="97" y="115"/>
                        </a:lnTo>
                        <a:lnTo>
                          <a:pt x="94" y="115"/>
                        </a:lnTo>
                        <a:lnTo>
                          <a:pt x="93" y="117"/>
                        </a:lnTo>
                        <a:lnTo>
                          <a:pt x="91" y="117"/>
                        </a:lnTo>
                        <a:lnTo>
                          <a:pt x="90" y="119"/>
                        </a:lnTo>
                        <a:lnTo>
                          <a:pt x="90" y="119"/>
                        </a:lnTo>
                        <a:lnTo>
                          <a:pt x="85" y="120"/>
                        </a:lnTo>
                        <a:lnTo>
                          <a:pt x="80" y="125"/>
                        </a:lnTo>
                        <a:lnTo>
                          <a:pt x="71" y="134"/>
                        </a:lnTo>
                        <a:lnTo>
                          <a:pt x="71" y="134"/>
                        </a:lnTo>
                        <a:lnTo>
                          <a:pt x="63" y="139"/>
                        </a:lnTo>
                        <a:lnTo>
                          <a:pt x="59" y="140"/>
                        </a:lnTo>
                        <a:lnTo>
                          <a:pt x="54" y="140"/>
                        </a:lnTo>
                        <a:lnTo>
                          <a:pt x="54" y="140"/>
                        </a:lnTo>
                        <a:lnTo>
                          <a:pt x="49" y="142"/>
                        </a:lnTo>
                        <a:lnTo>
                          <a:pt x="45" y="142"/>
                        </a:lnTo>
                        <a:lnTo>
                          <a:pt x="37" y="146"/>
                        </a:lnTo>
                        <a:lnTo>
                          <a:pt x="37" y="146"/>
                        </a:lnTo>
                        <a:lnTo>
                          <a:pt x="32" y="149"/>
                        </a:lnTo>
                        <a:lnTo>
                          <a:pt x="28" y="149"/>
                        </a:lnTo>
                        <a:lnTo>
                          <a:pt x="28" y="149"/>
                        </a:lnTo>
                        <a:lnTo>
                          <a:pt x="23" y="149"/>
                        </a:lnTo>
                        <a:lnTo>
                          <a:pt x="19" y="152"/>
                        </a:lnTo>
                        <a:lnTo>
                          <a:pt x="8" y="159"/>
                        </a:lnTo>
                        <a:lnTo>
                          <a:pt x="8" y="159"/>
                        </a:lnTo>
                        <a:lnTo>
                          <a:pt x="5" y="162"/>
                        </a:lnTo>
                        <a:lnTo>
                          <a:pt x="2" y="163"/>
                        </a:lnTo>
                        <a:lnTo>
                          <a:pt x="2" y="174"/>
                        </a:lnTo>
                        <a:lnTo>
                          <a:pt x="2" y="174"/>
                        </a:lnTo>
                        <a:lnTo>
                          <a:pt x="0" y="185"/>
                        </a:lnTo>
                        <a:lnTo>
                          <a:pt x="0" y="185"/>
                        </a:lnTo>
                        <a:lnTo>
                          <a:pt x="0" y="200"/>
                        </a:lnTo>
                        <a:lnTo>
                          <a:pt x="0" y="200"/>
                        </a:lnTo>
                        <a:lnTo>
                          <a:pt x="0" y="206"/>
                        </a:lnTo>
                        <a:lnTo>
                          <a:pt x="2" y="216"/>
                        </a:lnTo>
                        <a:lnTo>
                          <a:pt x="2" y="216"/>
                        </a:lnTo>
                        <a:lnTo>
                          <a:pt x="5" y="234"/>
                        </a:lnTo>
                        <a:lnTo>
                          <a:pt x="5" y="234"/>
                        </a:lnTo>
                        <a:lnTo>
                          <a:pt x="8" y="242"/>
                        </a:lnTo>
                        <a:lnTo>
                          <a:pt x="11" y="251"/>
                        </a:lnTo>
                        <a:lnTo>
                          <a:pt x="22" y="274"/>
                        </a:lnTo>
                        <a:lnTo>
                          <a:pt x="34" y="300"/>
                        </a:lnTo>
                        <a:lnTo>
                          <a:pt x="46" y="327"/>
                        </a:lnTo>
                        <a:lnTo>
                          <a:pt x="46" y="327"/>
                        </a:lnTo>
                        <a:lnTo>
                          <a:pt x="49" y="339"/>
                        </a:lnTo>
                        <a:lnTo>
                          <a:pt x="51" y="348"/>
                        </a:lnTo>
                        <a:lnTo>
                          <a:pt x="53" y="356"/>
                        </a:lnTo>
                        <a:lnTo>
                          <a:pt x="53" y="364"/>
                        </a:lnTo>
                        <a:lnTo>
                          <a:pt x="49" y="377"/>
                        </a:lnTo>
                        <a:lnTo>
                          <a:pt x="46" y="390"/>
                        </a:lnTo>
                        <a:lnTo>
                          <a:pt x="46" y="390"/>
                        </a:lnTo>
                        <a:lnTo>
                          <a:pt x="45" y="405"/>
                        </a:lnTo>
                        <a:lnTo>
                          <a:pt x="43" y="419"/>
                        </a:lnTo>
                        <a:lnTo>
                          <a:pt x="45" y="458"/>
                        </a:lnTo>
                        <a:lnTo>
                          <a:pt x="45" y="458"/>
                        </a:lnTo>
                        <a:lnTo>
                          <a:pt x="46" y="481"/>
                        </a:lnTo>
                        <a:lnTo>
                          <a:pt x="45" y="498"/>
                        </a:lnTo>
                        <a:lnTo>
                          <a:pt x="43" y="515"/>
                        </a:lnTo>
                        <a:lnTo>
                          <a:pt x="54" y="513"/>
                        </a:lnTo>
                        <a:lnTo>
                          <a:pt x="54" y="513"/>
                        </a:lnTo>
                        <a:lnTo>
                          <a:pt x="54" y="522"/>
                        </a:lnTo>
                        <a:lnTo>
                          <a:pt x="57" y="533"/>
                        </a:lnTo>
                        <a:lnTo>
                          <a:pt x="65" y="559"/>
                        </a:lnTo>
                        <a:lnTo>
                          <a:pt x="73" y="586"/>
                        </a:lnTo>
                        <a:lnTo>
                          <a:pt x="76" y="598"/>
                        </a:lnTo>
                        <a:lnTo>
                          <a:pt x="77" y="609"/>
                        </a:lnTo>
                        <a:lnTo>
                          <a:pt x="77" y="609"/>
                        </a:lnTo>
                        <a:lnTo>
                          <a:pt x="83" y="675"/>
                        </a:lnTo>
                        <a:lnTo>
                          <a:pt x="86" y="714"/>
                        </a:lnTo>
                        <a:lnTo>
                          <a:pt x="88" y="743"/>
                        </a:lnTo>
                        <a:lnTo>
                          <a:pt x="88" y="743"/>
                        </a:lnTo>
                        <a:lnTo>
                          <a:pt x="88" y="766"/>
                        </a:lnTo>
                        <a:lnTo>
                          <a:pt x="91" y="783"/>
                        </a:lnTo>
                        <a:lnTo>
                          <a:pt x="93" y="798"/>
                        </a:lnTo>
                        <a:lnTo>
                          <a:pt x="94" y="812"/>
                        </a:lnTo>
                        <a:lnTo>
                          <a:pt x="94" y="812"/>
                        </a:lnTo>
                        <a:lnTo>
                          <a:pt x="96" y="834"/>
                        </a:lnTo>
                        <a:lnTo>
                          <a:pt x="99" y="848"/>
                        </a:lnTo>
                        <a:lnTo>
                          <a:pt x="99" y="848"/>
                        </a:lnTo>
                        <a:lnTo>
                          <a:pt x="100" y="854"/>
                        </a:lnTo>
                        <a:lnTo>
                          <a:pt x="99" y="854"/>
                        </a:lnTo>
                        <a:lnTo>
                          <a:pt x="96" y="855"/>
                        </a:lnTo>
                        <a:lnTo>
                          <a:pt x="93" y="857"/>
                        </a:lnTo>
                        <a:lnTo>
                          <a:pt x="93" y="857"/>
                        </a:lnTo>
                        <a:lnTo>
                          <a:pt x="91" y="860"/>
                        </a:lnTo>
                        <a:lnTo>
                          <a:pt x="91" y="865"/>
                        </a:lnTo>
                        <a:lnTo>
                          <a:pt x="94" y="869"/>
                        </a:lnTo>
                        <a:lnTo>
                          <a:pt x="96" y="875"/>
                        </a:lnTo>
                        <a:lnTo>
                          <a:pt x="96" y="875"/>
                        </a:lnTo>
                        <a:lnTo>
                          <a:pt x="97" y="888"/>
                        </a:lnTo>
                        <a:lnTo>
                          <a:pt x="97" y="892"/>
                        </a:lnTo>
                        <a:lnTo>
                          <a:pt x="97" y="892"/>
                        </a:lnTo>
                        <a:lnTo>
                          <a:pt x="96" y="895"/>
                        </a:lnTo>
                        <a:lnTo>
                          <a:pt x="94" y="902"/>
                        </a:lnTo>
                        <a:lnTo>
                          <a:pt x="93" y="909"/>
                        </a:lnTo>
                        <a:lnTo>
                          <a:pt x="93" y="917"/>
                        </a:lnTo>
                        <a:lnTo>
                          <a:pt x="96" y="925"/>
                        </a:lnTo>
                        <a:lnTo>
                          <a:pt x="99" y="929"/>
                        </a:lnTo>
                        <a:lnTo>
                          <a:pt x="102" y="932"/>
                        </a:lnTo>
                        <a:lnTo>
                          <a:pt x="106" y="934"/>
                        </a:lnTo>
                        <a:lnTo>
                          <a:pt x="113" y="937"/>
                        </a:lnTo>
                        <a:lnTo>
                          <a:pt x="119" y="939"/>
                        </a:lnTo>
                        <a:lnTo>
                          <a:pt x="128" y="939"/>
                        </a:lnTo>
                        <a:lnTo>
                          <a:pt x="128" y="939"/>
                        </a:lnTo>
                        <a:lnTo>
                          <a:pt x="136" y="937"/>
                        </a:lnTo>
                        <a:lnTo>
                          <a:pt x="143" y="936"/>
                        </a:lnTo>
                        <a:lnTo>
                          <a:pt x="148" y="934"/>
                        </a:lnTo>
                        <a:lnTo>
                          <a:pt x="153" y="931"/>
                        </a:lnTo>
                        <a:lnTo>
                          <a:pt x="157" y="928"/>
                        </a:lnTo>
                        <a:lnTo>
                          <a:pt x="159" y="923"/>
                        </a:lnTo>
                        <a:lnTo>
                          <a:pt x="162" y="914"/>
                        </a:lnTo>
                        <a:lnTo>
                          <a:pt x="164" y="905"/>
                        </a:lnTo>
                        <a:lnTo>
                          <a:pt x="162" y="897"/>
                        </a:lnTo>
                        <a:lnTo>
                          <a:pt x="160" y="891"/>
                        </a:lnTo>
                        <a:lnTo>
                          <a:pt x="160" y="891"/>
                        </a:lnTo>
                        <a:lnTo>
                          <a:pt x="164" y="888"/>
                        </a:lnTo>
                        <a:lnTo>
                          <a:pt x="164" y="885"/>
                        </a:lnTo>
                        <a:lnTo>
                          <a:pt x="164" y="882"/>
                        </a:lnTo>
                        <a:lnTo>
                          <a:pt x="164" y="882"/>
                        </a:lnTo>
                        <a:lnTo>
                          <a:pt x="164" y="868"/>
                        </a:lnTo>
                        <a:lnTo>
                          <a:pt x="162" y="854"/>
                        </a:lnTo>
                        <a:lnTo>
                          <a:pt x="162" y="854"/>
                        </a:lnTo>
                        <a:lnTo>
                          <a:pt x="159" y="826"/>
                        </a:lnTo>
                        <a:lnTo>
                          <a:pt x="156" y="795"/>
                        </a:lnTo>
                        <a:lnTo>
                          <a:pt x="156" y="795"/>
                        </a:lnTo>
                        <a:lnTo>
                          <a:pt x="156" y="781"/>
                        </a:lnTo>
                        <a:lnTo>
                          <a:pt x="156" y="758"/>
                        </a:lnTo>
                        <a:lnTo>
                          <a:pt x="157" y="717"/>
                        </a:lnTo>
                        <a:lnTo>
                          <a:pt x="157" y="717"/>
                        </a:lnTo>
                        <a:lnTo>
                          <a:pt x="159" y="710"/>
                        </a:lnTo>
                        <a:lnTo>
                          <a:pt x="159" y="710"/>
                        </a:lnTo>
                        <a:lnTo>
                          <a:pt x="157" y="717"/>
                        </a:lnTo>
                        <a:lnTo>
                          <a:pt x="157" y="717"/>
                        </a:lnTo>
                        <a:lnTo>
                          <a:pt x="159" y="732"/>
                        </a:lnTo>
                        <a:lnTo>
                          <a:pt x="160" y="751"/>
                        </a:lnTo>
                        <a:lnTo>
                          <a:pt x="167" y="795"/>
                        </a:lnTo>
                        <a:lnTo>
                          <a:pt x="173" y="835"/>
                        </a:lnTo>
                        <a:lnTo>
                          <a:pt x="176" y="857"/>
                        </a:lnTo>
                        <a:lnTo>
                          <a:pt x="176" y="857"/>
                        </a:lnTo>
                        <a:lnTo>
                          <a:pt x="176" y="863"/>
                        </a:lnTo>
                        <a:lnTo>
                          <a:pt x="174" y="866"/>
                        </a:lnTo>
                        <a:lnTo>
                          <a:pt x="173" y="872"/>
                        </a:lnTo>
                        <a:lnTo>
                          <a:pt x="171" y="883"/>
                        </a:lnTo>
                        <a:lnTo>
                          <a:pt x="171" y="883"/>
                        </a:lnTo>
                        <a:lnTo>
                          <a:pt x="174" y="891"/>
                        </a:lnTo>
                        <a:lnTo>
                          <a:pt x="177" y="895"/>
                        </a:lnTo>
                        <a:lnTo>
                          <a:pt x="185" y="899"/>
                        </a:lnTo>
                        <a:lnTo>
                          <a:pt x="191" y="902"/>
                        </a:lnTo>
                        <a:lnTo>
                          <a:pt x="205" y="903"/>
                        </a:lnTo>
                        <a:lnTo>
                          <a:pt x="211" y="905"/>
                        </a:lnTo>
                        <a:lnTo>
                          <a:pt x="211" y="905"/>
                        </a:lnTo>
                        <a:lnTo>
                          <a:pt x="219" y="909"/>
                        </a:lnTo>
                        <a:lnTo>
                          <a:pt x="228" y="912"/>
                        </a:lnTo>
                        <a:lnTo>
                          <a:pt x="239" y="915"/>
                        </a:lnTo>
                        <a:lnTo>
                          <a:pt x="239" y="915"/>
                        </a:lnTo>
                        <a:lnTo>
                          <a:pt x="258" y="917"/>
                        </a:lnTo>
                        <a:lnTo>
                          <a:pt x="268" y="917"/>
                        </a:lnTo>
                        <a:lnTo>
                          <a:pt x="279" y="915"/>
                        </a:lnTo>
                        <a:lnTo>
                          <a:pt x="288" y="914"/>
                        </a:lnTo>
                        <a:lnTo>
                          <a:pt x="298" y="909"/>
                        </a:lnTo>
                        <a:lnTo>
                          <a:pt x="301" y="906"/>
                        </a:lnTo>
                        <a:lnTo>
                          <a:pt x="302" y="903"/>
                        </a:lnTo>
                        <a:lnTo>
                          <a:pt x="304" y="900"/>
                        </a:lnTo>
                        <a:lnTo>
                          <a:pt x="305" y="895"/>
                        </a:lnTo>
                        <a:lnTo>
                          <a:pt x="305" y="895"/>
                        </a:lnTo>
                        <a:lnTo>
                          <a:pt x="304" y="891"/>
                        </a:lnTo>
                        <a:lnTo>
                          <a:pt x="302" y="886"/>
                        </a:lnTo>
                        <a:lnTo>
                          <a:pt x="298" y="878"/>
                        </a:lnTo>
                        <a:lnTo>
                          <a:pt x="290" y="874"/>
                        </a:lnTo>
                        <a:lnTo>
                          <a:pt x="281" y="871"/>
                        </a:lnTo>
                        <a:lnTo>
                          <a:pt x="262" y="865"/>
                        </a:lnTo>
                        <a:lnTo>
                          <a:pt x="256" y="863"/>
                        </a:lnTo>
                        <a:lnTo>
                          <a:pt x="254" y="862"/>
                        </a:lnTo>
                        <a:lnTo>
                          <a:pt x="254" y="862"/>
                        </a:lnTo>
                        <a:lnTo>
                          <a:pt x="251" y="860"/>
                        </a:lnTo>
                        <a:lnTo>
                          <a:pt x="248" y="858"/>
                        </a:lnTo>
                        <a:lnTo>
                          <a:pt x="245" y="858"/>
                        </a:lnTo>
                        <a:lnTo>
                          <a:pt x="245" y="858"/>
                        </a:lnTo>
                        <a:lnTo>
                          <a:pt x="244" y="852"/>
                        </a:lnTo>
                        <a:lnTo>
                          <a:pt x="241" y="843"/>
                        </a:lnTo>
                        <a:lnTo>
                          <a:pt x="241" y="843"/>
                        </a:lnTo>
                        <a:lnTo>
                          <a:pt x="239" y="841"/>
                        </a:lnTo>
                        <a:lnTo>
                          <a:pt x="236" y="841"/>
                        </a:lnTo>
                        <a:lnTo>
                          <a:pt x="231" y="841"/>
                        </a:lnTo>
                        <a:lnTo>
                          <a:pt x="231" y="841"/>
                        </a:lnTo>
                        <a:lnTo>
                          <a:pt x="230" y="840"/>
                        </a:lnTo>
                        <a:lnTo>
                          <a:pt x="230" y="838"/>
                        </a:lnTo>
                        <a:lnTo>
                          <a:pt x="230" y="832"/>
                        </a:lnTo>
                        <a:lnTo>
                          <a:pt x="230" y="832"/>
                        </a:lnTo>
                        <a:lnTo>
                          <a:pt x="234" y="825"/>
                        </a:lnTo>
                        <a:lnTo>
                          <a:pt x="236" y="817"/>
                        </a:lnTo>
                        <a:lnTo>
                          <a:pt x="236" y="809"/>
                        </a:lnTo>
                        <a:lnTo>
                          <a:pt x="236" y="809"/>
                        </a:lnTo>
                        <a:lnTo>
                          <a:pt x="234" y="784"/>
                        </a:lnTo>
                        <a:lnTo>
                          <a:pt x="234" y="767"/>
                        </a:lnTo>
                        <a:lnTo>
                          <a:pt x="236" y="749"/>
                        </a:lnTo>
                        <a:lnTo>
                          <a:pt x="236" y="749"/>
                        </a:lnTo>
                        <a:lnTo>
                          <a:pt x="236" y="724"/>
                        </a:lnTo>
                        <a:lnTo>
                          <a:pt x="238" y="706"/>
                        </a:lnTo>
                        <a:lnTo>
                          <a:pt x="238" y="706"/>
                        </a:lnTo>
                        <a:lnTo>
                          <a:pt x="238" y="695"/>
                        </a:lnTo>
                        <a:lnTo>
                          <a:pt x="236" y="686"/>
                        </a:lnTo>
                        <a:lnTo>
                          <a:pt x="234" y="673"/>
                        </a:lnTo>
                        <a:lnTo>
                          <a:pt x="233" y="656"/>
                        </a:lnTo>
                        <a:lnTo>
                          <a:pt x="233" y="656"/>
                        </a:lnTo>
                        <a:lnTo>
                          <a:pt x="233" y="630"/>
                        </a:lnTo>
                        <a:lnTo>
                          <a:pt x="236" y="599"/>
                        </a:lnTo>
                        <a:lnTo>
                          <a:pt x="238" y="570"/>
                        </a:lnTo>
                        <a:lnTo>
                          <a:pt x="239" y="547"/>
                        </a:lnTo>
                        <a:lnTo>
                          <a:pt x="239" y="547"/>
                        </a:lnTo>
                        <a:lnTo>
                          <a:pt x="239" y="530"/>
                        </a:lnTo>
                        <a:lnTo>
                          <a:pt x="238" y="518"/>
                        </a:lnTo>
                        <a:lnTo>
                          <a:pt x="234" y="507"/>
                        </a:lnTo>
                        <a:lnTo>
                          <a:pt x="242" y="504"/>
                        </a:lnTo>
                        <a:lnTo>
                          <a:pt x="242" y="504"/>
                        </a:lnTo>
                        <a:lnTo>
                          <a:pt x="241" y="482"/>
                        </a:lnTo>
                        <a:lnTo>
                          <a:pt x="236" y="462"/>
                        </a:lnTo>
                        <a:lnTo>
                          <a:pt x="233" y="451"/>
                        </a:lnTo>
                        <a:lnTo>
                          <a:pt x="230" y="442"/>
                        </a:lnTo>
                        <a:lnTo>
                          <a:pt x="230" y="442"/>
                        </a:lnTo>
                        <a:lnTo>
                          <a:pt x="225" y="428"/>
                        </a:lnTo>
                        <a:lnTo>
                          <a:pt x="222" y="421"/>
                        </a:lnTo>
                        <a:lnTo>
                          <a:pt x="224" y="401"/>
                        </a:lnTo>
                        <a:lnTo>
                          <a:pt x="224" y="401"/>
                        </a:lnTo>
                        <a:lnTo>
                          <a:pt x="224" y="387"/>
                        </a:lnTo>
                        <a:lnTo>
                          <a:pt x="222" y="379"/>
                        </a:lnTo>
                        <a:lnTo>
                          <a:pt x="217" y="368"/>
                        </a:lnTo>
                        <a:lnTo>
                          <a:pt x="217" y="368"/>
                        </a:lnTo>
                        <a:lnTo>
                          <a:pt x="211" y="345"/>
                        </a:lnTo>
                        <a:lnTo>
                          <a:pt x="216" y="345"/>
                        </a:lnTo>
                        <a:lnTo>
                          <a:pt x="216" y="345"/>
                        </a:lnTo>
                        <a:lnTo>
                          <a:pt x="216" y="348"/>
                        </a:lnTo>
                        <a:lnTo>
                          <a:pt x="219" y="351"/>
                        </a:lnTo>
                        <a:lnTo>
                          <a:pt x="222" y="354"/>
                        </a:lnTo>
                        <a:lnTo>
                          <a:pt x="222" y="354"/>
                        </a:lnTo>
                        <a:lnTo>
                          <a:pt x="236" y="361"/>
                        </a:lnTo>
                        <a:lnTo>
                          <a:pt x="264" y="371"/>
                        </a:lnTo>
                        <a:lnTo>
                          <a:pt x="264" y="371"/>
                        </a:lnTo>
                        <a:lnTo>
                          <a:pt x="299" y="388"/>
                        </a:lnTo>
                        <a:lnTo>
                          <a:pt x="316" y="398"/>
                        </a:lnTo>
                        <a:lnTo>
                          <a:pt x="316" y="398"/>
                        </a:lnTo>
                        <a:lnTo>
                          <a:pt x="318" y="396"/>
                        </a:lnTo>
                        <a:lnTo>
                          <a:pt x="318" y="396"/>
                        </a:lnTo>
                        <a:lnTo>
                          <a:pt x="322" y="390"/>
                        </a:lnTo>
                        <a:lnTo>
                          <a:pt x="330" y="381"/>
                        </a:lnTo>
                        <a:lnTo>
                          <a:pt x="330" y="381"/>
                        </a:lnTo>
                        <a:lnTo>
                          <a:pt x="338" y="368"/>
                        </a:lnTo>
                        <a:lnTo>
                          <a:pt x="338" y="368"/>
                        </a:lnTo>
                        <a:lnTo>
                          <a:pt x="333" y="370"/>
                        </a:lnTo>
                        <a:lnTo>
                          <a:pt x="325" y="371"/>
                        </a:lnTo>
                        <a:lnTo>
                          <a:pt x="325" y="371"/>
                        </a:lnTo>
                        <a:close/>
                        <a:moveTo>
                          <a:pt x="273" y="305"/>
                        </a:moveTo>
                        <a:lnTo>
                          <a:pt x="273" y="305"/>
                        </a:lnTo>
                        <a:lnTo>
                          <a:pt x="276" y="305"/>
                        </a:lnTo>
                        <a:lnTo>
                          <a:pt x="270" y="308"/>
                        </a:lnTo>
                        <a:lnTo>
                          <a:pt x="270" y="308"/>
                        </a:lnTo>
                        <a:lnTo>
                          <a:pt x="267" y="303"/>
                        </a:lnTo>
                        <a:lnTo>
                          <a:pt x="267" y="303"/>
                        </a:lnTo>
                        <a:lnTo>
                          <a:pt x="273" y="305"/>
                        </a:lnTo>
                        <a:lnTo>
                          <a:pt x="273" y="305"/>
                        </a:lnTo>
                        <a:close/>
                        <a:moveTo>
                          <a:pt x="404" y="327"/>
                        </a:moveTo>
                        <a:lnTo>
                          <a:pt x="404" y="327"/>
                        </a:lnTo>
                        <a:lnTo>
                          <a:pt x="402" y="327"/>
                        </a:lnTo>
                        <a:lnTo>
                          <a:pt x="402" y="327"/>
                        </a:lnTo>
                        <a:lnTo>
                          <a:pt x="404" y="325"/>
                        </a:lnTo>
                        <a:lnTo>
                          <a:pt x="404" y="325"/>
                        </a:lnTo>
                        <a:lnTo>
                          <a:pt x="404" y="322"/>
                        </a:lnTo>
                        <a:lnTo>
                          <a:pt x="402" y="319"/>
                        </a:lnTo>
                        <a:lnTo>
                          <a:pt x="402" y="319"/>
                        </a:lnTo>
                        <a:lnTo>
                          <a:pt x="401" y="316"/>
                        </a:lnTo>
                        <a:lnTo>
                          <a:pt x="399" y="308"/>
                        </a:lnTo>
                        <a:lnTo>
                          <a:pt x="399" y="308"/>
                        </a:lnTo>
                        <a:lnTo>
                          <a:pt x="398" y="303"/>
                        </a:lnTo>
                        <a:lnTo>
                          <a:pt x="396" y="302"/>
                        </a:lnTo>
                        <a:lnTo>
                          <a:pt x="395" y="302"/>
                        </a:lnTo>
                        <a:lnTo>
                          <a:pt x="395" y="302"/>
                        </a:lnTo>
                        <a:lnTo>
                          <a:pt x="395" y="297"/>
                        </a:lnTo>
                        <a:lnTo>
                          <a:pt x="392" y="294"/>
                        </a:lnTo>
                        <a:lnTo>
                          <a:pt x="390" y="293"/>
                        </a:lnTo>
                        <a:lnTo>
                          <a:pt x="390" y="293"/>
                        </a:lnTo>
                        <a:lnTo>
                          <a:pt x="387" y="294"/>
                        </a:lnTo>
                        <a:lnTo>
                          <a:pt x="386" y="297"/>
                        </a:lnTo>
                        <a:lnTo>
                          <a:pt x="386" y="300"/>
                        </a:lnTo>
                        <a:lnTo>
                          <a:pt x="386" y="300"/>
                        </a:lnTo>
                        <a:lnTo>
                          <a:pt x="382" y="302"/>
                        </a:lnTo>
                        <a:lnTo>
                          <a:pt x="381" y="305"/>
                        </a:lnTo>
                        <a:lnTo>
                          <a:pt x="379" y="313"/>
                        </a:lnTo>
                        <a:lnTo>
                          <a:pt x="381" y="325"/>
                        </a:lnTo>
                        <a:lnTo>
                          <a:pt x="381" y="325"/>
                        </a:lnTo>
                        <a:lnTo>
                          <a:pt x="378" y="324"/>
                        </a:lnTo>
                        <a:lnTo>
                          <a:pt x="375" y="325"/>
                        </a:lnTo>
                        <a:lnTo>
                          <a:pt x="375" y="325"/>
                        </a:lnTo>
                        <a:lnTo>
                          <a:pt x="373" y="330"/>
                        </a:lnTo>
                        <a:lnTo>
                          <a:pt x="373" y="330"/>
                        </a:lnTo>
                        <a:lnTo>
                          <a:pt x="370" y="344"/>
                        </a:lnTo>
                        <a:lnTo>
                          <a:pt x="353" y="350"/>
                        </a:lnTo>
                        <a:lnTo>
                          <a:pt x="341" y="348"/>
                        </a:lnTo>
                        <a:lnTo>
                          <a:pt x="341" y="348"/>
                        </a:lnTo>
                        <a:lnTo>
                          <a:pt x="336" y="348"/>
                        </a:lnTo>
                        <a:lnTo>
                          <a:pt x="336" y="348"/>
                        </a:lnTo>
                        <a:lnTo>
                          <a:pt x="325" y="348"/>
                        </a:lnTo>
                        <a:lnTo>
                          <a:pt x="325" y="348"/>
                        </a:lnTo>
                        <a:lnTo>
                          <a:pt x="322" y="348"/>
                        </a:lnTo>
                        <a:lnTo>
                          <a:pt x="322" y="348"/>
                        </a:lnTo>
                        <a:lnTo>
                          <a:pt x="322" y="353"/>
                        </a:lnTo>
                        <a:lnTo>
                          <a:pt x="322" y="353"/>
                        </a:lnTo>
                        <a:lnTo>
                          <a:pt x="322" y="354"/>
                        </a:lnTo>
                        <a:lnTo>
                          <a:pt x="322" y="354"/>
                        </a:lnTo>
                        <a:lnTo>
                          <a:pt x="322" y="362"/>
                        </a:lnTo>
                        <a:lnTo>
                          <a:pt x="324" y="365"/>
                        </a:lnTo>
                        <a:lnTo>
                          <a:pt x="325" y="367"/>
                        </a:lnTo>
                        <a:lnTo>
                          <a:pt x="325" y="367"/>
                        </a:lnTo>
                        <a:lnTo>
                          <a:pt x="332" y="368"/>
                        </a:lnTo>
                        <a:lnTo>
                          <a:pt x="338" y="368"/>
                        </a:lnTo>
                        <a:lnTo>
                          <a:pt x="338" y="367"/>
                        </a:lnTo>
                        <a:lnTo>
                          <a:pt x="338" y="367"/>
                        </a:lnTo>
                        <a:lnTo>
                          <a:pt x="353" y="364"/>
                        </a:lnTo>
                        <a:lnTo>
                          <a:pt x="362" y="361"/>
                        </a:lnTo>
                        <a:lnTo>
                          <a:pt x="362" y="361"/>
                        </a:lnTo>
                        <a:lnTo>
                          <a:pt x="378" y="359"/>
                        </a:lnTo>
                        <a:lnTo>
                          <a:pt x="378" y="359"/>
                        </a:lnTo>
                        <a:lnTo>
                          <a:pt x="387" y="359"/>
                        </a:lnTo>
                        <a:lnTo>
                          <a:pt x="387" y="359"/>
                        </a:lnTo>
                        <a:lnTo>
                          <a:pt x="390" y="357"/>
                        </a:lnTo>
                        <a:lnTo>
                          <a:pt x="392" y="356"/>
                        </a:lnTo>
                        <a:lnTo>
                          <a:pt x="396" y="351"/>
                        </a:lnTo>
                        <a:lnTo>
                          <a:pt x="396" y="351"/>
                        </a:lnTo>
                        <a:lnTo>
                          <a:pt x="398" y="348"/>
                        </a:lnTo>
                        <a:lnTo>
                          <a:pt x="399" y="345"/>
                        </a:lnTo>
                        <a:lnTo>
                          <a:pt x="399" y="345"/>
                        </a:lnTo>
                        <a:lnTo>
                          <a:pt x="402" y="337"/>
                        </a:lnTo>
                        <a:lnTo>
                          <a:pt x="404" y="330"/>
                        </a:lnTo>
                        <a:lnTo>
                          <a:pt x="404" y="330"/>
                        </a:lnTo>
                        <a:lnTo>
                          <a:pt x="404" y="327"/>
                        </a:lnTo>
                        <a:lnTo>
                          <a:pt x="404" y="327"/>
                        </a:lnTo>
                        <a:close/>
                      </a:path>
                    </a:pathLst>
                  </a:custGeom>
                  <a:solidFill>
                    <a:srgbClr val="8E8A81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340" name="Freeform 77"/>
                  <p:cNvSpPr>
                    <a:spLocks/>
                  </p:cNvSpPr>
                  <p:nvPr/>
                </p:nvSpPr>
                <p:spPr bwMode="auto">
                  <a:xfrm>
                    <a:off x="4052142" y="5286607"/>
                    <a:ext cx="324327" cy="235874"/>
                  </a:xfrm>
                  <a:custGeom>
                    <a:avLst/>
                    <a:gdLst>
                      <a:gd name="T0" fmla="*/ 228 w 231"/>
                      <a:gd name="T1" fmla="*/ 1 h 168"/>
                      <a:gd name="T2" fmla="*/ 222 w 231"/>
                      <a:gd name="T3" fmla="*/ 0 h 168"/>
                      <a:gd name="T4" fmla="*/ 166 w 231"/>
                      <a:gd name="T5" fmla="*/ 6 h 168"/>
                      <a:gd name="T6" fmla="*/ 163 w 231"/>
                      <a:gd name="T7" fmla="*/ 6 h 168"/>
                      <a:gd name="T8" fmla="*/ 158 w 231"/>
                      <a:gd name="T9" fmla="*/ 18 h 168"/>
                      <a:gd name="T10" fmla="*/ 140 w 231"/>
                      <a:gd name="T11" fmla="*/ 121 h 168"/>
                      <a:gd name="T12" fmla="*/ 86 w 231"/>
                      <a:gd name="T13" fmla="*/ 123 h 168"/>
                      <a:gd name="T14" fmla="*/ 92 w 231"/>
                      <a:gd name="T15" fmla="*/ 131 h 168"/>
                      <a:gd name="T16" fmla="*/ 94 w 231"/>
                      <a:gd name="T17" fmla="*/ 135 h 168"/>
                      <a:gd name="T18" fmla="*/ 89 w 231"/>
                      <a:gd name="T19" fmla="*/ 135 h 168"/>
                      <a:gd name="T20" fmla="*/ 86 w 231"/>
                      <a:gd name="T21" fmla="*/ 134 h 168"/>
                      <a:gd name="T22" fmla="*/ 81 w 231"/>
                      <a:gd name="T23" fmla="*/ 131 h 168"/>
                      <a:gd name="T24" fmla="*/ 80 w 231"/>
                      <a:gd name="T25" fmla="*/ 132 h 168"/>
                      <a:gd name="T26" fmla="*/ 80 w 231"/>
                      <a:gd name="T27" fmla="*/ 137 h 168"/>
                      <a:gd name="T28" fmla="*/ 77 w 231"/>
                      <a:gd name="T29" fmla="*/ 138 h 168"/>
                      <a:gd name="T30" fmla="*/ 75 w 231"/>
                      <a:gd name="T31" fmla="*/ 138 h 168"/>
                      <a:gd name="T32" fmla="*/ 75 w 231"/>
                      <a:gd name="T33" fmla="*/ 142 h 168"/>
                      <a:gd name="T34" fmla="*/ 71 w 231"/>
                      <a:gd name="T35" fmla="*/ 142 h 168"/>
                      <a:gd name="T36" fmla="*/ 58 w 231"/>
                      <a:gd name="T37" fmla="*/ 132 h 168"/>
                      <a:gd name="T38" fmla="*/ 55 w 231"/>
                      <a:gd name="T39" fmla="*/ 131 h 168"/>
                      <a:gd name="T40" fmla="*/ 54 w 231"/>
                      <a:gd name="T41" fmla="*/ 131 h 168"/>
                      <a:gd name="T42" fmla="*/ 52 w 231"/>
                      <a:gd name="T43" fmla="*/ 129 h 168"/>
                      <a:gd name="T44" fmla="*/ 0 w 231"/>
                      <a:gd name="T45" fmla="*/ 146 h 168"/>
                      <a:gd name="T46" fmla="*/ 0 w 231"/>
                      <a:gd name="T47" fmla="*/ 155 h 168"/>
                      <a:gd name="T48" fmla="*/ 6 w 231"/>
                      <a:gd name="T49" fmla="*/ 158 h 168"/>
                      <a:gd name="T50" fmla="*/ 114 w 231"/>
                      <a:gd name="T51" fmla="*/ 166 h 168"/>
                      <a:gd name="T52" fmla="*/ 115 w 231"/>
                      <a:gd name="T53" fmla="*/ 166 h 168"/>
                      <a:gd name="T54" fmla="*/ 118 w 231"/>
                      <a:gd name="T55" fmla="*/ 166 h 168"/>
                      <a:gd name="T56" fmla="*/ 129 w 231"/>
                      <a:gd name="T57" fmla="*/ 166 h 168"/>
                      <a:gd name="T58" fmla="*/ 134 w 231"/>
                      <a:gd name="T59" fmla="*/ 166 h 168"/>
                      <a:gd name="T60" fmla="*/ 163 w 231"/>
                      <a:gd name="T61" fmla="*/ 162 h 168"/>
                      <a:gd name="T62" fmla="*/ 166 w 231"/>
                      <a:gd name="T63" fmla="*/ 148 h 168"/>
                      <a:gd name="T64" fmla="*/ 168 w 231"/>
                      <a:gd name="T65" fmla="*/ 143 h 168"/>
                      <a:gd name="T66" fmla="*/ 171 w 231"/>
                      <a:gd name="T67" fmla="*/ 142 h 168"/>
                      <a:gd name="T68" fmla="*/ 174 w 231"/>
                      <a:gd name="T69" fmla="*/ 143 h 168"/>
                      <a:gd name="T70" fmla="*/ 174 w 231"/>
                      <a:gd name="T71" fmla="*/ 123 h 168"/>
                      <a:gd name="T72" fmla="*/ 179 w 231"/>
                      <a:gd name="T73" fmla="*/ 118 h 168"/>
                      <a:gd name="T74" fmla="*/ 179 w 231"/>
                      <a:gd name="T75" fmla="*/ 115 h 168"/>
                      <a:gd name="T76" fmla="*/ 183 w 231"/>
                      <a:gd name="T77" fmla="*/ 111 h 168"/>
                      <a:gd name="T78" fmla="*/ 185 w 231"/>
                      <a:gd name="T79" fmla="*/ 112 h 168"/>
                      <a:gd name="T80" fmla="*/ 188 w 231"/>
                      <a:gd name="T81" fmla="*/ 120 h 168"/>
                      <a:gd name="T82" fmla="*/ 189 w 231"/>
                      <a:gd name="T83" fmla="*/ 120 h 168"/>
                      <a:gd name="T84" fmla="*/ 192 w 231"/>
                      <a:gd name="T85" fmla="*/ 126 h 168"/>
                      <a:gd name="T86" fmla="*/ 194 w 231"/>
                      <a:gd name="T87" fmla="*/ 134 h 168"/>
                      <a:gd name="T88" fmla="*/ 195 w 231"/>
                      <a:gd name="T89" fmla="*/ 137 h 168"/>
                      <a:gd name="T90" fmla="*/ 197 w 231"/>
                      <a:gd name="T91" fmla="*/ 143 h 168"/>
                      <a:gd name="T92" fmla="*/ 197 w 231"/>
                      <a:gd name="T93" fmla="*/ 143 h 168"/>
                      <a:gd name="T94" fmla="*/ 197 w 231"/>
                      <a:gd name="T95" fmla="*/ 145 h 168"/>
                      <a:gd name="T96" fmla="*/ 206 w 231"/>
                      <a:gd name="T97" fmla="*/ 140 h 168"/>
                      <a:gd name="T98" fmla="*/ 208 w 231"/>
                      <a:gd name="T99" fmla="*/ 138 h 168"/>
                      <a:gd name="T100" fmla="*/ 209 w 231"/>
                      <a:gd name="T101" fmla="*/ 134 h 168"/>
                      <a:gd name="T102" fmla="*/ 231 w 231"/>
                      <a:gd name="T103" fmla="*/ 7 h 168"/>
                      <a:gd name="T104" fmla="*/ 231 w 231"/>
                      <a:gd name="T105" fmla="*/ 3 h 168"/>
                      <a:gd name="T106" fmla="*/ 228 w 231"/>
                      <a:gd name="T107" fmla="*/ 1 h 1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231" h="168">
                        <a:moveTo>
                          <a:pt x="228" y="1"/>
                        </a:moveTo>
                        <a:lnTo>
                          <a:pt x="228" y="1"/>
                        </a:lnTo>
                        <a:lnTo>
                          <a:pt x="222" y="0"/>
                        </a:lnTo>
                        <a:lnTo>
                          <a:pt x="222" y="0"/>
                        </a:lnTo>
                        <a:lnTo>
                          <a:pt x="166" y="6"/>
                        </a:lnTo>
                        <a:lnTo>
                          <a:pt x="166" y="6"/>
                        </a:lnTo>
                        <a:lnTo>
                          <a:pt x="165" y="6"/>
                        </a:lnTo>
                        <a:lnTo>
                          <a:pt x="163" y="6"/>
                        </a:lnTo>
                        <a:lnTo>
                          <a:pt x="160" y="11"/>
                        </a:lnTo>
                        <a:lnTo>
                          <a:pt x="158" y="18"/>
                        </a:lnTo>
                        <a:lnTo>
                          <a:pt x="158" y="18"/>
                        </a:lnTo>
                        <a:lnTo>
                          <a:pt x="140" y="121"/>
                        </a:lnTo>
                        <a:lnTo>
                          <a:pt x="86" y="123"/>
                        </a:lnTo>
                        <a:lnTo>
                          <a:pt x="86" y="123"/>
                        </a:lnTo>
                        <a:lnTo>
                          <a:pt x="92" y="131"/>
                        </a:lnTo>
                        <a:lnTo>
                          <a:pt x="92" y="131"/>
                        </a:lnTo>
                        <a:lnTo>
                          <a:pt x="94" y="134"/>
                        </a:lnTo>
                        <a:lnTo>
                          <a:pt x="94" y="135"/>
                        </a:lnTo>
                        <a:lnTo>
                          <a:pt x="94" y="135"/>
                        </a:lnTo>
                        <a:lnTo>
                          <a:pt x="89" y="135"/>
                        </a:lnTo>
                        <a:lnTo>
                          <a:pt x="86" y="134"/>
                        </a:lnTo>
                        <a:lnTo>
                          <a:pt x="86" y="134"/>
                        </a:lnTo>
                        <a:lnTo>
                          <a:pt x="83" y="131"/>
                        </a:lnTo>
                        <a:lnTo>
                          <a:pt x="81" y="131"/>
                        </a:lnTo>
                        <a:lnTo>
                          <a:pt x="81" y="131"/>
                        </a:lnTo>
                        <a:lnTo>
                          <a:pt x="80" y="132"/>
                        </a:lnTo>
                        <a:lnTo>
                          <a:pt x="80" y="137"/>
                        </a:lnTo>
                        <a:lnTo>
                          <a:pt x="80" y="137"/>
                        </a:lnTo>
                        <a:lnTo>
                          <a:pt x="78" y="138"/>
                        </a:lnTo>
                        <a:lnTo>
                          <a:pt x="77" y="138"/>
                        </a:lnTo>
                        <a:lnTo>
                          <a:pt x="77" y="138"/>
                        </a:lnTo>
                        <a:lnTo>
                          <a:pt x="75" y="138"/>
                        </a:lnTo>
                        <a:lnTo>
                          <a:pt x="75" y="138"/>
                        </a:lnTo>
                        <a:lnTo>
                          <a:pt x="75" y="142"/>
                        </a:lnTo>
                        <a:lnTo>
                          <a:pt x="71" y="142"/>
                        </a:lnTo>
                        <a:lnTo>
                          <a:pt x="71" y="142"/>
                        </a:lnTo>
                        <a:lnTo>
                          <a:pt x="64" y="138"/>
                        </a:lnTo>
                        <a:lnTo>
                          <a:pt x="58" y="132"/>
                        </a:lnTo>
                        <a:lnTo>
                          <a:pt x="58" y="132"/>
                        </a:lnTo>
                        <a:lnTo>
                          <a:pt x="55" y="131"/>
                        </a:lnTo>
                        <a:lnTo>
                          <a:pt x="55" y="131"/>
                        </a:lnTo>
                        <a:lnTo>
                          <a:pt x="54" y="131"/>
                        </a:lnTo>
                        <a:lnTo>
                          <a:pt x="54" y="131"/>
                        </a:lnTo>
                        <a:lnTo>
                          <a:pt x="52" y="129"/>
                        </a:lnTo>
                        <a:lnTo>
                          <a:pt x="0" y="146"/>
                        </a:lnTo>
                        <a:lnTo>
                          <a:pt x="0" y="146"/>
                        </a:lnTo>
                        <a:lnTo>
                          <a:pt x="0" y="155"/>
                        </a:lnTo>
                        <a:lnTo>
                          <a:pt x="0" y="155"/>
                        </a:lnTo>
                        <a:lnTo>
                          <a:pt x="0" y="157"/>
                        </a:lnTo>
                        <a:lnTo>
                          <a:pt x="6" y="158"/>
                        </a:lnTo>
                        <a:lnTo>
                          <a:pt x="6" y="158"/>
                        </a:lnTo>
                        <a:lnTo>
                          <a:pt x="114" y="166"/>
                        </a:lnTo>
                        <a:lnTo>
                          <a:pt x="114" y="166"/>
                        </a:lnTo>
                        <a:lnTo>
                          <a:pt x="115" y="166"/>
                        </a:lnTo>
                        <a:lnTo>
                          <a:pt x="115" y="166"/>
                        </a:lnTo>
                        <a:lnTo>
                          <a:pt x="118" y="166"/>
                        </a:lnTo>
                        <a:lnTo>
                          <a:pt x="118" y="166"/>
                        </a:lnTo>
                        <a:lnTo>
                          <a:pt x="129" y="166"/>
                        </a:lnTo>
                        <a:lnTo>
                          <a:pt x="129" y="166"/>
                        </a:lnTo>
                        <a:lnTo>
                          <a:pt x="134" y="166"/>
                        </a:lnTo>
                        <a:lnTo>
                          <a:pt x="146" y="168"/>
                        </a:lnTo>
                        <a:lnTo>
                          <a:pt x="163" y="162"/>
                        </a:lnTo>
                        <a:lnTo>
                          <a:pt x="163" y="162"/>
                        </a:lnTo>
                        <a:lnTo>
                          <a:pt x="166" y="148"/>
                        </a:lnTo>
                        <a:lnTo>
                          <a:pt x="166" y="148"/>
                        </a:lnTo>
                        <a:lnTo>
                          <a:pt x="168" y="143"/>
                        </a:lnTo>
                        <a:lnTo>
                          <a:pt x="168" y="143"/>
                        </a:lnTo>
                        <a:lnTo>
                          <a:pt x="171" y="142"/>
                        </a:lnTo>
                        <a:lnTo>
                          <a:pt x="174" y="143"/>
                        </a:lnTo>
                        <a:lnTo>
                          <a:pt x="174" y="143"/>
                        </a:lnTo>
                        <a:lnTo>
                          <a:pt x="172" y="131"/>
                        </a:lnTo>
                        <a:lnTo>
                          <a:pt x="174" y="123"/>
                        </a:lnTo>
                        <a:lnTo>
                          <a:pt x="175" y="120"/>
                        </a:lnTo>
                        <a:lnTo>
                          <a:pt x="179" y="118"/>
                        </a:lnTo>
                        <a:lnTo>
                          <a:pt x="179" y="118"/>
                        </a:lnTo>
                        <a:lnTo>
                          <a:pt x="179" y="115"/>
                        </a:lnTo>
                        <a:lnTo>
                          <a:pt x="180" y="112"/>
                        </a:lnTo>
                        <a:lnTo>
                          <a:pt x="183" y="111"/>
                        </a:lnTo>
                        <a:lnTo>
                          <a:pt x="183" y="111"/>
                        </a:lnTo>
                        <a:lnTo>
                          <a:pt x="185" y="112"/>
                        </a:lnTo>
                        <a:lnTo>
                          <a:pt x="188" y="115"/>
                        </a:lnTo>
                        <a:lnTo>
                          <a:pt x="188" y="120"/>
                        </a:lnTo>
                        <a:lnTo>
                          <a:pt x="188" y="120"/>
                        </a:lnTo>
                        <a:lnTo>
                          <a:pt x="189" y="120"/>
                        </a:lnTo>
                        <a:lnTo>
                          <a:pt x="191" y="121"/>
                        </a:lnTo>
                        <a:lnTo>
                          <a:pt x="192" y="126"/>
                        </a:lnTo>
                        <a:lnTo>
                          <a:pt x="192" y="126"/>
                        </a:lnTo>
                        <a:lnTo>
                          <a:pt x="194" y="134"/>
                        </a:lnTo>
                        <a:lnTo>
                          <a:pt x="195" y="137"/>
                        </a:lnTo>
                        <a:lnTo>
                          <a:pt x="195" y="137"/>
                        </a:lnTo>
                        <a:lnTo>
                          <a:pt x="197" y="140"/>
                        </a:lnTo>
                        <a:lnTo>
                          <a:pt x="197" y="143"/>
                        </a:lnTo>
                        <a:lnTo>
                          <a:pt x="197" y="143"/>
                        </a:lnTo>
                        <a:lnTo>
                          <a:pt x="197" y="143"/>
                        </a:lnTo>
                        <a:lnTo>
                          <a:pt x="197" y="143"/>
                        </a:lnTo>
                        <a:lnTo>
                          <a:pt x="197" y="145"/>
                        </a:lnTo>
                        <a:lnTo>
                          <a:pt x="197" y="145"/>
                        </a:lnTo>
                        <a:lnTo>
                          <a:pt x="206" y="140"/>
                        </a:lnTo>
                        <a:lnTo>
                          <a:pt x="206" y="140"/>
                        </a:lnTo>
                        <a:lnTo>
                          <a:pt x="208" y="138"/>
                        </a:lnTo>
                        <a:lnTo>
                          <a:pt x="209" y="134"/>
                        </a:lnTo>
                        <a:lnTo>
                          <a:pt x="209" y="134"/>
                        </a:lnTo>
                        <a:lnTo>
                          <a:pt x="231" y="7"/>
                        </a:lnTo>
                        <a:lnTo>
                          <a:pt x="231" y="7"/>
                        </a:lnTo>
                        <a:lnTo>
                          <a:pt x="231" y="4"/>
                        </a:lnTo>
                        <a:lnTo>
                          <a:pt x="231" y="3"/>
                        </a:lnTo>
                        <a:lnTo>
                          <a:pt x="228" y="1"/>
                        </a:lnTo>
                        <a:lnTo>
                          <a:pt x="228" y="1"/>
                        </a:lnTo>
                        <a:close/>
                      </a:path>
                    </a:pathLst>
                  </a:custGeom>
                  <a:solidFill>
                    <a:srgbClr val="66635A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341" name="Freeform 78"/>
                  <p:cNvSpPr>
                    <a:spLocks noEditPoints="1"/>
                  </p:cNvSpPr>
                  <p:nvPr/>
                </p:nvSpPr>
                <p:spPr bwMode="auto">
                  <a:xfrm>
                    <a:off x="3882257" y="5192539"/>
                    <a:ext cx="155846" cy="273782"/>
                  </a:xfrm>
                  <a:custGeom>
                    <a:avLst/>
                    <a:gdLst>
                      <a:gd name="T0" fmla="*/ 111 w 111"/>
                      <a:gd name="T1" fmla="*/ 178 h 195"/>
                      <a:gd name="T2" fmla="*/ 107 w 111"/>
                      <a:gd name="T3" fmla="*/ 165 h 195"/>
                      <a:gd name="T4" fmla="*/ 105 w 111"/>
                      <a:gd name="T5" fmla="*/ 193 h 195"/>
                      <a:gd name="T6" fmla="*/ 107 w 111"/>
                      <a:gd name="T7" fmla="*/ 195 h 195"/>
                      <a:gd name="T8" fmla="*/ 108 w 111"/>
                      <a:gd name="T9" fmla="*/ 193 h 195"/>
                      <a:gd name="T10" fmla="*/ 110 w 111"/>
                      <a:gd name="T11" fmla="*/ 190 h 195"/>
                      <a:gd name="T12" fmla="*/ 111 w 111"/>
                      <a:gd name="T13" fmla="*/ 178 h 195"/>
                      <a:gd name="T14" fmla="*/ 61 w 111"/>
                      <a:gd name="T15" fmla="*/ 36 h 195"/>
                      <a:gd name="T16" fmla="*/ 57 w 111"/>
                      <a:gd name="T17" fmla="*/ 37 h 195"/>
                      <a:gd name="T18" fmla="*/ 50 w 111"/>
                      <a:gd name="T19" fmla="*/ 37 h 195"/>
                      <a:gd name="T20" fmla="*/ 37 w 111"/>
                      <a:gd name="T21" fmla="*/ 31 h 195"/>
                      <a:gd name="T22" fmla="*/ 27 w 111"/>
                      <a:gd name="T23" fmla="*/ 24 h 195"/>
                      <a:gd name="T24" fmla="*/ 11 w 111"/>
                      <a:gd name="T25" fmla="*/ 13 h 195"/>
                      <a:gd name="T26" fmla="*/ 8 w 111"/>
                      <a:gd name="T27" fmla="*/ 8 h 195"/>
                      <a:gd name="T28" fmla="*/ 11 w 111"/>
                      <a:gd name="T29" fmla="*/ 5 h 195"/>
                      <a:gd name="T30" fmla="*/ 11 w 111"/>
                      <a:gd name="T31" fmla="*/ 0 h 195"/>
                      <a:gd name="T32" fmla="*/ 8 w 111"/>
                      <a:gd name="T33" fmla="*/ 0 h 195"/>
                      <a:gd name="T34" fmla="*/ 5 w 111"/>
                      <a:gd name="T35" fmla="*/ 2 h 195"/>
                      <a:gd name="T36" fmla="*/ 4 w 111"/>
                      <a:gd name="T37" fmla="*/ 4 h 195"/>
                      <a:gd name="T38" fmla="*/ 0 w 111"/>
                      <a:gd name="T39" fmla="*/ 8 h 195"/>
                      <a:gd name="T40" fmla="*/ 8 w 111"/>
                      <a:gd name="T41" fmla="*/ 17 h 195"/>
                      <a:gd name="T42" fmla="*/ 16 w 111"/>
                      <a:gd name="T43" fmla="*/ 27 h 195"/>
                      <a:gd name="T44" fmla="*/ 31 w 111"/>
                      <a:gd name="T45" fmla="*/ 47 h 195"/>
                      <a:gd name="T46" fmla="*/ 50 w 111"/>
                      <a:gd name="T47" fmla="*/ 74 h 195"/>
                      <a:gd name="T48" fmla="*/ 48 w 111"/>
                      <a:gd name="T49" fmla="*/ 59 h 195"/>
                      <a:gd name="T50" fmla="*/ 44 w 111"/>
                      <a:gd name="T51" fmla="*/ 54 h 195"/>
                      <a:gd name="T52" fmla="*/ 41 w 111"/>
                      <a:gd name="T53" fmla="*/ 53 h 195"/>
                      <a:gd name="T54" fmla="*/ 45 w 111"/>
                      <a:gd name="T55" fmla="*/ 44 h 195"/>
                      <a:gd name="T56" fmla="*/ 50 w 111"/>
                      <a:gd name="T57" fmla="*/ 44 h 195"/>
                      <a:gd name="T58" fmla="*/ 53 w 111"/>
                      <a:gd name="T59" fmla="*/ 44 h 195"/>
                      <a:gd name="T60" fmla="*/ 57 w 111"/>
                      <a:gd name="T61" fmla="*/ 50 h 195"/>
                      <a:gd name="T62" fmla="*/ 62 w 111"/>
                      <a:gd name="T63" fmla="*/ 64 h 195"/>
                      <a:gd name="T64" fmla="*/ 70 w 111"/>
                      <a:gd name="T65" fmla="*/ 78 h 195"/>
                      <a:gd name="T66" fmla="*/ 73 w 111"/>
                      <a:gd name="T67" fmla="*/ 87 h 195"/>
                      <a:gd name="T68" fmla="*/ 71 w 111"/>
                      <a:gd name="T69" fmla="*/ 48 h 195"/>
                      <a:gd name="T70" fmla="*/ 70 w 111"/>
                      <a:gd name="T71" fmla="*/ 41 h 195"/>
                      <a:gd name="T72" fmla="*/ 62 w 111"/>
                      <a:gd name="T73" fmla="*/ 36 h 195"/>
                      <a:gd name="T74" fmla="*/ 61 w 111"/>
                      <a:gd name="T75" fmla="*/ 36 h 1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111" h="195">
                        <a:moveTo>
                          <a:pt x="111" y="178"/>
                        </a:moveTo>
                        <a:lnTo>
                          <a:pt x="111" y="178"/>
                        </a:lnTo>
                        <a:lnTo>
                          <a:pt x="108" y="170"/>
                        </a:lnTo>
                        <a:lnTo>
                          <a:pt x="107" y="165"/>
                        </a:lnTo>
                        <a:lnTo>
                          <a:pt x="105" y="193"/>
                        </a:lnTo>
                        <a:lnTo>
                          <a:pt x="105" y="193"/>
                        </a:lnTo>
                        <a:lnTo>
                          <a:pt x="107" y="195"/>
                        </a:lnTo>
                        <a:lnTo>
                          <a:pt x="107" y="195"/>
                        </a:lnTo>
                        <a:lnTo>
                          <a:pt x="108" y="193"/>
                        </a:lnTo>
                        <a:lnTo>
                          <a:pt x="108" y="193"/>
                        </a:lnTo>
                        <a:lnTo>
                          <a:pt x="110" y="190"/>
                        </a:lnTo>
                        <a:lnTo>
                          <a:pt x="110" y="190"/>
                        </a:lnTo>
                        <a:lnTo>
                          <a:pt x="111" y="185"/>
                        </a:lnTo>
                        <a:lnTo>
                          <a:pt x="111" y="178"/>
                        </a:lnTo>
                        <a:lnTo>
                          <a:pt x="111" y="178"/>
                        </a:lnTo>
                        <a:close/>
                        <a:moveTo>
                          <a:pt x="61" y="36"/>
                        </a:moveTo>
                        <a:lnTo>
                          <a:pt x="61" y="36"/>
                        </a:lnTo>
                        <a:lnTo>
                          <a:pt x="57" y="37"/>
                        </a:lnTo>
                        <a:lnTo>
                          <a:pt x="53" y="39"/>
                        </a:lnTo>
                        <a:lnTo>
                          <a:pt x="50" y="37"/>
                        </a:lnTo>
                        <a:lnTo>
                          <a:pt x="45" y="36"/>
                        </a:lnTo>
                        <a:lnTo>
                          <a:pt x="37" y="31"/>
                        </a:lnTo>
                        <a:lnTo>
                          <a:pt x="27" y="24"/>
                        </a:lnTo>
                        <a:lnTo>
                          <a:pt x="27" y="24"/>
                        </a:lnTo>
                        <a:lnTo>
                          <a:pt x="17" y="17"/>
                        </a:lnTo>
                        <a:lnTo>
                          <a:pt x="11" y="13"/>
                        </a:lnTo>
                        <a:lnTo>
                          <a:pt x="8" y="8"/>
                        </a:lnTo>
                        <a:lnTo>
                          <a:pt x="8" y="8"/>
                        </a:lnTo>
                        <a:lnTo>
                          <a:pt x="11" y="5"/>
                        </a:lnTo>
                        <a:lnTo>
                          <a:pt x="11" y="5"/>
                        </a:lnTo>
                        <a:lnTo>
                          <a:pt x="11" y="0"/>
                        </a:lnTo>
                        <a:lnTo>
                          <a:pt x="11" y="0"/>
                        </a:lnTo>
                        <a:lnTo>
                          <a:pt x="11" y="0"/>
                        </a:lnTo>
                        <a:lnTo>
                          <a:pt x="8" y="0"/>
                        </a:lnTo>
                        <a:lnTo>
                          <a:pt x="7" y="2"/>
                        </a:lnTo>
                        <a:lnTo>
                          <a:pt x="5" y="2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lnTo>
                          <a:pt x="2" y="4"/>
                        </a:lnTo>
                        <a:lnTo>
                          <a:pt x="0" y="8"/>
                        </a:lnTo>
                        <a:lnTo>
                          <a:pt x="0" y="8"/>
                        </a:lnTo>
                        <a:lnTo>
                          <a:pt x="8" y="17"/>
                        </a:lnTo>
                        <a:lnTo>
                          <a:pt x="8" y="17"/>
                        </a:lnTo>
                        <a:lnTo>
                          <a:pt x="16" y="27"/>
                        </a:lnTo>
                        <a:lnTo>
                          <a:pt x="31" y="47"/>
                        </a:lnTo>
                        <a:lnTo>
                          <a:pt x="31" y="47"/>
                        </a:lnTo>
                        <a:lnTo>
                          <a:pt x="50" y="74"/>
                        </a:lnTo>
                        <a:lnTo>
                          <a:pt x="50" y="74"/>
                        </a:lnTo>
                        <a:lnTo>
                          <a:pt x="50" y="68"/>
                        </a:lnTo>
                        <a:lnTo>
                          <a:pt x="48" y="59"/>
                        </a:lnTo>
                        <a:lnTo>
                          <a:pt x="48" y="59"/>
                        </a:lnTo>
                        <a:lnTo>
                          <a:pt x="44" y="54"/>
                        </a:lnTo>
                        <a:lnTo>
                          <a:pt x="41" y="53"/>
                        </a:lnTo>
                        <a:lnTo>
                          <a:pt x="41" y="53"/>
                        </a:lnTo>
                        <a:lnTo>
                          <a:pt x="42" y="47"/>
                        </a:lnTo>
                        <a:lnTo>
                          <a:pt x="45" y="44"/>
                        </a:lnTo>
                        <a:lnTo>
                          <a:pt x="47" y="44"/>
                        </a:lnTo>
                        <a:lnTo>
                          <a:pt x="50" y="44"/>
                        </a:lnTo>
                        <a:lnTo>
                          <a:pt x="50" y="44"/>
                        </a:lnTo>
                        <a:lnTo>
                          <a:pt x="53" y="44"/>
                        </a:lnTo>
                        <a:lnTo>
                          <a:pt x="54" y="45"/>
                        </a:lnTo>
                        <a:lnTo>
                          <a:pt x="57" y="50"/>
                        </a:lnTo>
                        <a:lnTo>
                          <a:pt x="59" y="56"/>
                        </a:lnTo>
                        <a:lnTo>
                          <a:pt x="62" y="64"/>
                        </a:lnTo>
                        <a:lnTo>
                          <a:pt x="62" y="64"/>
                        </a:lnTo>
                        <a:lnTo>
                          <a:pt x="70" y="78"/>
                        </a:lnTo>
                        <a:lnTo>
                          <a:pt x="73" y="87"/>
                        </a:lnTo>
                        <a:lnTo>
                          <a:pt x="73" y="87"/>
                        </a:lnTo>
                        <a:lnTo>
                          <a:pt x="71" y="48"/>
                        </a:lnTo>
                        <a:lnTo>
                          <a:pt x="71" y="48"/>
                        </a:lnTo>
                        <a:lnTo>
                          <a:pt x="71" y="44"/>
                        </a:lnTo>
                        <a:lnTo>
                          <a:pt x="70" y="41"/>
                        </a:lnTo>
                        <a:lnTo>
                          <a:pt x="67" y="37"/>
                        </a:lnTo>
                        <a:lnTo>
                          <a:pt x="62" y="36"/>
                        </a:lnTo>
                        <a:lnTo>
                          <a:pt x="61" y="36"/>
                        </a:lnTo>
                        <a:lnTo>
                          <a:pt x="61" y="3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</p:grpSp>
            <p:grpSp>
              <p:nvGrpSpPr>
                <p:cNvPr id="317" name="Group 316"/>
                <p:cNvGrpSpPr/>
                <p:nvPr/>
              </p:nvGrpSpPr>
              <p:grpSpPr>
                <a:xfrm>
                  <a:off x="4213180" y="1204189"/>
                  <a:ext cx="442777" cy="949226"/>
                  <a:chOff x="3761512" y="5031077"/>
                  <a:chExt cx="614957" cy="1318366"/>
                </a:xfrm>
              </p:grpSpPr>
              <p:sp>
                <p:nvSpPr>
                  <p:cNvPr id="325" name="Freeform 73"/>
                  <p:cNvSpPr>
                    <a:spLocks/>
                  </p:cNvSpPr>
                  <p:nvPr/>
                </p:nvSpPr>
                <p:spPr bwMode="auto">
                  <a:xfrm>
                    <a:off x="3981941" y="6027925"/>
                    <a:ext cx="2808" cy="9828"/>
                  </a:xfrm>
                  <a:custGeom>
                    <a:avLst/>
                    <a:gdLst>
                      <a:gd name="T0" fmla="*/ 0 w 2"/>
                      <a:gd name="T1" fmla="*/ 7 h 7"/>
                      <a:gd name="T2" fmla="*/ 0 w 2"/>
                      <a:gd name="T3" fmla="*/ 7 h 7"/>
                      <a:gd name="T4" fmla="*/ 2 w 2"/>
                      <a:gd name="T5" fmla="*/ 0 h 7"/>
                      <a:gd name="T6" fmla="*/ 2 w 2"/>
                      <a:gd name="T7" fmla="*/ 0 h 7"/>
                      <a:gd name="T8" fmla="*/ 0 w 2"/>
                      <a:gd name="T9" fmla="*/ 7 h 7"/>
                      <a:gd name="T10" fmla="*/ 0 w 2"/>
                      <a:gd name="T11" fmla="*/ 7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" h="7">
                        <a:moveTo>
                          <a:pt x="0" y="7"/>
                        </a:moveTo>
                        <a:lnTo>
                          <a:pt x="0" y="7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0" y="7"/>
                        </a:lnTo>
                        <a:lnTo>
                          <a:pt x="0" y="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326" name="Freeform 74"/>
                  <p:cNvSpPr>
                    <a:spLocks/>
                  </p:cNvSpPr>
                  <p:nvPr/>
                </p:nvSpPr>
                <p:spPr bwMode="auto">
                  <a:xfrm>
                    <a:off x="4325925" y="5487381"/>
                    <a:ext cx="2808" cy="2808"/>
                  </a:xfrm>
                  <a:custGeom>
                    <a:avLst/>
                    <a:gdLst>
                      <a:gd name="T0" fmla="*/ 2 w 2"/>
                      <a:gd name="T1" fmla="*/ 0 h 2"/>
                      <a:gd name="T2" fmla="*/ 2 w 2"/>
                      <a:gd name="T3" fmla="*/ 0 h 2"/>
                      <a:gd name="T4" fmla="*/ 2 w 2"/>
                      <a:gd name="T5" fmla="*/ 0 h 2"/>
                      <a:gd name="T6" fmla="*/ 2 w 2"/>
                      <a:gd name="T7" fmla="*/ 0 h 2"/>
                      <a:gd name="T8" fmla="*/ 0 w 2"/>
                      <a:gd name="T9" fmla="*/ 2 h 2"/>
                      <a:gd name="T10" fmla="*/ 0 w 2"/>
                      <a:gd name="T11" fmla="*/ 2 h 2"/>
                      <a:gd name="T12" fmla="*/ 2 w 2"/>
                      <a:gd name="T13" fmla="*/ 2 h 2"/>
                      <a:gd name="T14" fmla="*/ 2 w 2"/>
                      <a:gd name="T15" fmla="*/ 2 h 2"/>
                      <a:gd name="T16" fmla="*/ 2 w 2"/>
                      <a:gd name="T17" fmla="*/ 0 h 2"/>
                      <a:gd name="T18" fmla="*/ 2 w 2"/>
                      <a:gd name="T19" fmla="*/ 0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" h="2">
                        <a:moveTo>
                          <a:pt x="2" y="0"/>
                        </a:move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327" name="Freeform 75"/>
                  <p:cNvSpPr>
                    <a:spLocks/>
                  </p:cNvSpPr>
                  <p:nvPr/>
                </p:nvSpPr>
                <p:spPr bwMode="auto">
                  <a:xfrm>
                    <a:off x="4203775" y="5519673"/>
                    <a:ext cx="32293" cy="32292"/>
                  </a:xfrm>
                  <a:custGeom>
                    <a:avLst/>
                    <a:gdLst>
                      <a:gd name="T0" fmla="*/ 10 w 23"/>
                      <a:gd name="T1" fmla="*/ 19 h 23"/>
                      <a:gd name="T2" fmla="*/ 10 w 23"/>
                      <a:gd name="T3" fmla="*/ 19 h 23"/>
                      <a:gd name="T4" fmla="*/ 9 w 23"/>
                      <a:gd name="T5" fmla="*/ 17 h 23"/>
                      <a:gd name="T6" fmla="*/ 7 w 23"/>
                      <a:gd name="T7" fmla="*/ 14 h 23"/>
                      <a:gd name="T8" fmla="*/ 7 w 23"/>
                      <a:gd name="T9" fmla="*/ 6 h 23"/>
                      <a:gd name="T10" fmla="*/ 7 w 23"/>
                      <a:gd name="T11" fmla="*/ 6 h 23"/>
                      <a:gd name="T12" fmla="*/ 7 w 23"/>
                      <a:gd name="T13" fmla="*/ 5 h 23"/>
                      <a:gd name="T14" fmla="*/ 7 w 23"/>
                      <a:gd name="T15" fmla="*/ 5 h 23"/>
                      <a:gd name="T16" fmla="*/ 7 w 23"/>
                      <a:gd name="T17" fmla="*/ 0 h 23"/>
                      <a:gd name="T18" fmla="*/ 7 w 23"/>
                      <a:gd name="T19" fmla="*/ 0 h 23"/>
                      <a:gd name="T20" fmla="*/ 6 w 23"/>
                      <a:gd name="T21" fmla="*/ 0 h 23"/>
                      <a:gd name="T22" fmla="*/ 6 w 23"/>
                      <a:gd name="T23" fmla="*/ 0 h 23"/>
                      <a:gd name="T24" fmla="*/ 3 w 23"/>
                      <a:gd name="T25" fmla="*/ 3 h 23"/>
                      <a:gd name="T26" fmla="*/ 1 w 23"/>
                      <a:gd name="T27" fmla="*/ 11 h 23"/>
                      <a:gd name="T28" fmla="*/ 0 w 23"/>
                      <a:gd name="T29" fmla="*/ 20 h 23"/>
                      <a:gd name="T30" fmla="*/ 0 w 23"/>
                      <a:gd name="T31" fmla="*/ 20 h 23"/>
                      <a:gd name="T32" fmla="*/ 0 w 23"/>
                      <a:gd name="T33" fmla="*/ 22 h 23"/>
                      <a:gd name="T34" fmla="*/ 1 w 23"/>
                      <a:gd name="T35" fmla="*/ 23 h 23"/>
                      <a:gd name="T36" fmla="*/ 10 w 23"/>
                      <a:gd name="T37" fmla="*/ 23 h 23"/>
                      <a:gd name="T38" fmla="*/ 10 w 23"/>
                      <a:gd name="T39" fmla="*/ 23 h 23"/>
                      <a:gd name="T40" fmla="*/ 18 w 23"/>
                      <a:gd name="T41" fmla="*/ 22 h 23"/>
                      <a:gd name="T42" fmla="*/ 23 w 23"/>
                      <a:gd name="T43" fmla="*/ 20 h 23"/>
                      <a:gd name="T44" fmla="*/ 23 w 23"/>
                      <a:gd name="T45" fmla="*/ 20 h 23"/>
                      <a:gd name="T46" fmla="*/ 23 w 23"/>
                      <a:gd name="T47" fmla="*/ 20 h 23"/>
                      <a:gd name="T48" fmla="*/ 23 w 23"/>
                      <a:gd name="T49" fmla="*/ 20 h 23"/>
                      <a:gd name="T50" fmla="*/ 23 w 23"/>
                      <a:gd name="T51" fmla="*/ 20 h 23"/>
                      <a:gd name="T52" fmla="*/ 17 w 23"/>
                      <a:gd name="T53" fmla="*/ 20 h 23"/>
                      <a:gd name="T54" fmla="*/ 10 w 23"/>
                      <a:gd name="T55" fmla="*/ 19 h 23"/>
                      <a:gd name="T56" fmla="*/ 10 w 23"/>
                      <a:gd name="T57" fmla="*/ 19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23" h="23">
                        <a:moveTo>
                          <a:pt x="10" y="19"/>
                        </a:moveTo>
                        <a:lnTo>
                          <a:pt x="10" y="19"/>
                        </a:lnTo>
                        <a:lnTo>
                          <a:pt x="9" y="17"/>
                        </a:lnTo>
                        <a:lnTo>
                          <a:pt x="7" y="14"/>
                        </a:lnTo>
                        <a:lnTo>
                          <a:pt x="7" y="6"/>
                        </a:lnTo>
                        <a:lnTo>
                          <a:pt x="7" y="6"/>
                        </a:lnTo>
                        <a:lnTo>
                          <a:pt x="7" y="5"/>
                        </a:lnTo>
                        <a:lnTo>
                          <a:pt x="7" y="5"/>
                        </a:lnTo>
                        <a:lnTo>
                          <a:pt x="7" y="0"/>
                        </a:lnTo>
                        <a:lnTo>
                          <a:pt x="7" y="0"/>
                        </a:lnTo>
                        <a:lnTo>
                          <a:pt x="6" y="0"/>
                        </a:lnTo>
                        <a:lnTo>
                          <a:pt x="6" y="0"/>
                        </a:lnTo>
                        <a:lnTo>
                          <a:pt x="3" y="3"/>
                        </a:lnTo>
                        <a:lnTo>
                          <a:pt x="1" y="11"/>
                        </a:lnTo>
                        <a:lnTo>
                          <a:pt x="0" y="20"/>
                        </a:lnTo>
                        <a:lnTo>
                          <a:pt x="0" y="20"/>
                        </a:lnTo>
                        <a:lnTo>
                          <a:pt x="0" y="22"/>
                        </a:lnTo>
                        <a:lnTo>
                          <a:pt x="1" y="23"/>
                        </a:lnTo>
                        <a:lnTo>
                          <a:pt x="10" y="23"/>
                        </a:lnTo>
                        <a:lnTo>
                          <a:pt x="10" y="23"/>
                        </a:lnTo>
                        <a:lnTo>
                          <a:pt x="18" y="22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17" y="20"/>
                        </a:lnTo>
                        <a:lnTo>
                          <a:pt x="10" y="19"/>
                        </a:lnTo>
                        <a:lnTo>
                          <a:pt x="10" y="1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328" name="Freeform 76"/>
                  <p:cNvSpPr>
                    <a:spLocks noEditPoints="1"/>
                  </p:cNvSpPr>
                  <p:nvPr/>
                </p:nvSpPr>
                <p:spPr bwMode="auto">
                  <a:xfrm>
                    <a:off x="3761512" y="5031077"/>
                    <a:ext cx="567221" cy="1318366"/>
                  </a:xfrm>
                  <a:custGeom>
                    <a:avLst/>
                    <a:gdLst>
                      <a:gd name="T0" fmla="*/ 318 w 404"/>
                      <a:gd name="T1" fmla="*/ 351 h 939"/>
                      <a:gd name="T2" fmla="*/ 207 w 404"/>
                      <a:gd name="T3" fmla="*/ 328 h 939"/>
                      <a:gd name="T4" fmla="*/ 265 w 404"/>
                      <a:gd name="T5" fmla="*/ 314 h 939"/>
                      <a:gd name="T6" fmla="*/ 284 w 404"/>
                      <a:gd name="T7" fmla="*/ 320 h 939"/>
                      <a:gd name="T8" fmla="*/ 296 w 404"/>
                      <a:gd name="T9" fmla="*/ 317 h 939"/>
                      <a:gd name="T10" fmla="*/ 291 w 404"/>
                      <a:gd name="T11" fmla="*/ 303 h 939"/>
                      <a:gd name="T12" fmla="*/ 271 w 404"/>
                      <a:gd name="T13" fmla="*/ 285 h 939"/>
                      <a:gd name="T14" fmla="*/ 225 w 404"/>
                      <a:gd name="T15" fmla="*/ 200 h 939"/>
                      <a:gd name="T16" fmla="*/ 177 w 404"/>
                      <a:gd name="T17" fmla="*/ 163 h 939"/>
                      <a:gd name="T18" fmla="*/ 176 w 404"/>
                      <a:gd name="T19" fmla="*/ 143 h 939"/>
                      <a:gd name="T20" fmla="*/ 187 w 404"/>
                      <a:gd name="T21" fmla="*/ 132 h 939"/>
                      <a:gd name="T22" fmla="*/ 197 w 404"/>
                      <a:gd name="T23" fmla="*/ 120 h 939"/>
                      <a:gd name="T24" fmla="*/ 196 w 404"/>
                      <a:gd name="T25" fmla="*/ 97 h 939"/>
                      <a:gd name="T26" fmla="*/ 208 w 404"/>
                      <a:gd name="T27" fmla="*/ 68 h 939"/>
                      <a:gd name="T28" fmla="*/ 205 w 404"/>
                      <a:gd name="T29" fmla="*/ 35 h 939"/>
                      <a:gd name="T30" fmla="*/ 145 w 404"/>
                      <a:gd name="T31" fmla="*/ 0 h 939"/>
                      <a:gd name="T32" fmla="*/ 100 w 404"/>
                      <a:gd name="T33" fmla="*/ 45 h 939"/>
                      <a:gd name="T34" fmla="*/ 102 w 404"/>
                      <a:gd name="T35" fmla="*/ 105 h 939"/>
                      <a:gd name="T36" fmla="*/ 85 w 404"/>
                      <a:gd name="T37" fmla="*/ 120 h 939"/>
                      <a:gd name="T38" fmla="*/ 49 w 404"/>
                      <a:gd name="T39" fmla="*/ 142 h 939"/>
                      <a:gd name="T40" fmla="*/ 19 w 404"/>
                      <a:gd name="T41" fmla="*/ 152 h 939"/>
                      <a:gd name="T42" fmla="*/ 0 w 404"/>
                      <a:gd name="T43" fmla="*/ 185 h 939"/>
                      <a:gd name="T44" fmla="*/ 8 w 404"/>
                      <a:gd name="T45" fmla="*/ 242 h 939"/>
                      <a:gd name="T46" fmla="*/ 53 w 404"/>
                      <a:gd name="T47" fmla="*/ 356 h 939"/>
                      <a:gd name="T48" fmla="*/ 45 w 404"/>
                      <a:gd name="T49" fmla="*/ 458 h 939"/>
                      <a:gd name="T50" fmla="*/ 65 w 404"/>
                      <a:gd name="T51" fmla="*/ 559 h 939"/>
                      <a:gd name="T52" fmla="*/ 88 w 404"/>
                      <a:gd name="T53" fmla="*/ 743 h 939"/>
                      <a:gd name="T54" fmla="*/ 99 w 404"/>
                      <a:gd name="T55" fmla="*/ 848 h 939"/>
                      <a:gd name="T56" fmla="*/ 94 w 404"/>
                      <a:gd name="T57" fmla="*/ 869 h 939"/>
                      <a:gd name="T58" fmla="*/ 93 w 404"/>
                      <a:gd name="T59" fmla="*/ 909 h 939"/>
                      <a:gd name="T60" fmla="*/ 128 w 404"/>
                      <a:gd name="T61" fmla="*/ 939 h 939"/>
                      <a:gd name="T62" fmla="*/ 162 w 404"/>
                      <a:gd name="T63" fmla="*/ 914 h 939"/>
                      <a:gd name="T64" fmla="*/ 164 w 404"/>
                      <a:gd name="T65" fmla="*/ 882 h 939"/>
                      <a:gd name="T66" fmla="*/ 156 w 404"/>
                      <a:gd name="T67" fmla="*/ 758 h 939"/>
                      <a:gd name="T68" fmla="*/ 160 w 404"/>
                      <a:gd name="T69" fmla="*/ 751 h 939"/>
                      <a:gd name="T70" fmla="*/ 171 w 404"/>
                      <a:gd name="T71" fmla="*/ 883 h 939"/>
                      <a:gd name="T72" fmla="*/ 211 w 404"/>
                      <a:gd name="T73" fmla="*/ 905 h 939"/>
                      <a:gd name="T74" fmla="*/ 288 w 404"/>
                      <a:gd name="T75" fmla="*/ 914 h 939"/>
                      <a:gd name="T76" fmla="*/ 302 w 404"/>
                      <a:gd name="T77" fmla="*/ 886 h 939"/>
                      <a:gd name="T78" fmla="*/ 251 w 404"/>
                      <a:gd name="T79" fmla="*/ 860 h 939"/>
                      <a:gd name="T80" fmla="*/ 236 w 404"/>
                      <a:gd name="T81" fmla="*/ 841 h 939"/>
                      <a:gd name="T82" fmla="*/ 236 w 404"/>
                      <a:gd name="T83" fmla="*/ 817 h 939"/>
                      <a:gd name="T84" fmla="*/ 238 w 404"/>
                      <a:gd name="T85" fmla="*/ 706 h 939"/>
                      <a:gd name="T86" fmla="*/ 236 w 404"/>
                      <a:gd name="T87" fmla="*/ 599 h 939"/>
                      <a:gd name="T88" fmla="*/ 242 w 404"/>
                      <a:gd name="T89" fmla="*/ 504 h 939"/>
                      <a:gd name="T90" fmla="*/ 224 w 404"/>
                      <a:gd name="T91" fmla="*/ 401 h 939"/>
                      <a:gd name="T92" fmla="*/ 216 w 404"/>
                      <a:gd name="T93" fmla="*/ 345 h 939"/>
                      <a:gd name="T94" fmla="*/ 299 w 404"/>
                      <a:gd name="T95" fmla="*/ 388 h 939"/>
                      <a:gd name="T96" fmla="*/ 338 w 404"/>
                      <a:gd name="T97" fmla="*/ 368 h 939"/>
                      <a:gd name="T98" fmla="*/ 270 w 404"/>
                      <a:gd name="T99" fmla="*/ 308 h 939"/>
                      <a:gd name="T100" fmla="*/ 402 w 404"/>
                      <a:gd name="T101" fmla="*/ 327 h 939"/>
                      <a:gd name="T102" fmla="*/ 399 w 404"/>
                      <a:gd name="T103" fmla="*/ 308 h 939"/>
                      <a:gd name="T104" fmla="*/ 390 w 404"/>
                      <a:gd name="T105" fmla="*/ 293 h 939"/>
                      <a:gd name="T106" fmla="*/ 379 w 404"/>
                      <a:gd name="T107" fmla="*/ 313 h 939"/>
                      <a:gd name="T108" fmla="*/ 370 w 404"/>
                      <a:gd name="T109" fmla="*/ 344 h 939"/>
                      <a:gd name="T110" fmla="*/ 322 w 404"/>
                      <a:gd name="T111" fmla="*/ 348 h 939"/>
                      <a:gd name="T112" fmla="*/ 325 w 404"/>
                      <a:gd name="T113" fmla="*/ 367 h 939"/>
                      <a:gd name="T114" fmla="*/ 362 w 404"/>
                      <a:gd name="T115" fmla="*/ 361 h 939"/>
                      <a:gd name="T116" fmla="*/ 396 w 404"/>
                      <a:gd name="T117" fmla="*/ 351 h 939"/>
                      <a:gd name="T118" fmla="*/ 404 w 404"/>
                      <a:gd name="T119" fmla="*/ 327 h 9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</a:cxnLst>
                    <a:rect l="0" t="0" r="r" b="b"/>
                    <a:pathLst>
                      <a:path w="404" h="939">
                        <a:moveTo>
                          <a:pt x="325" y="371"/>
                        </a:moveTo>
                        <a:lnTo>
                          <a:pt x="325" y="371"/>
                        </a:lnTo>
                        <a:lnTo>
                          <a:pt x="316" y="371"/>
                        </a:lnTo>
                        <a:lnTo>
                          <a:pt x="315" y="370"/>
                        </a:lnTo>
                        <a:lnTo>
                          <a:pt x="315" y="368"/>
                        </a:lnTo>
                        <a:lnTo>
                          <a:pt x="315" y="368"/>
                        </a:lnTo>
                        <a:lnTo>
                          <a:pt x="316" y="359"/>
                        </a:lnTo>
                        <a:lnTo>
                          <a:pt x="318" y="351"/>
                        </a:lnTo>
                        <a:lnTo>
                          <a:pt x="321" y="348"/>
                        </a:lnTo>
                        <a:lnTo>
                          <a:pt x="321" y="348"/>
                        </a:lnTo>
                        <a:lnTo>
                          <a:pt x="213" y="340"/>
                        </a:lnTo>
                        <a:lnTo>
                          <a:pt x="213" y="340"/>
                        </a:lnTo>
                        <a:lnTo>
                          <a:pt x="207" y="339"/>
                        </a:lnTo>
                        <a:lnTo>
                          <a:pt x="207" y="337"/>
                        </a:lnTo>
                        <a:lnTo>
                          <a:pt x="207" y="337"/>
                        </a:lnTo>
                        <a:lnTo>
                          <a:pt x="207" y="328"/>
                        </a:lnTo>
                        <a:lnTo>
                          <a:pt x="259" y="311"/>
                        </a:lnTo>
                        <a:lnTo>
                          <a:pt x="259" y="311"/>
                        </a:lnTo>
                        <a:lnTo>
                          <a:pt x="261" y="313"/>
                        </a:lnTo>
                        <a:lnTo>
                          <a:pt x="261" y="313"/>
                        </a:lnTo>
                        <a:lnTo>
                          <a:pt x="262" y="313"/>
                        </a:lnTo>
                        <a:lnTo>
                          <a:pt x="262" y="313"/>
                        </a:lnTo>
                        <a:lnTo>
                          <a:pt x="265" y="314"/>
                        </a:lnTo>
                        <a:lnTo>
                          <a:pt x="265" y="314"/>
                        </a:lnTo>
                        <a:lnTo>
                          <a:pt x="271" y="320"/>
                        </a:lnTo>
                        <a:lnTo>
                          <a:pt x="278" y="324"/>
                        </a:lnTo>
                        <a:lnTo>
                          <a:pt x="278" y="324"/>
                        </a:lnTo>
                        <a:lnTo>
                          <a:pt x="282" y="324"/>
                        </a:lnTo>
                        <a:lnTo>
                          <a:pt x="282" y="320"/>
                        </a:lnTo>
                        <a:lnTo>
                          <a:pt x="282" y="320"/>
                        </a:lnTo>
                        <a:lnTo>
                          <a:pt x="284" y="320"/>
                        </a:lnTo>
                        <a:lnTo>
                          <a:pt x="284" y="320"/>
                        </a:lnTo>
                        <a:lnTo>
                          <a:pt x="285" y="320"/>
                        </a:lnTo>
                        <a:lnTo>
                          <a:pt x="287" y="319"/>
                        </a:lnTo>
                        <a:lnTo>
                          <a:pt x="287" y="319"/>
                        </a:lnTo>
                        <a:lnTo>
                          <a:pt x="288" y="313"/>
                        </a:lnTo>
                        <a:lnTo>
                          <a:pt x="288" y="313"/>
                        </a:lnTo>
                        <a:lnTo>
                          <a:pt x="293" y="316"/>
                        </a:lnTo>
                        <a:lnTo>
                          <a:pt x="293" y="316"/>
                        </a:lnTo>
                        <a:lnTo>
                          <a:pt x="296" y="317"/>
                        </a:lnTo>
                        <a:lnTo>
                          <a:pt x="301" y="317"/>
                        </a:lnTo>
                        <a:lnTo>
                          <a:pt x="301" y="317"/>
                        </a:lnTo>
                        <a:lnTo>
                          <a:pt x="301" y="316"/>
                        </a:lnTo>
                        <a:lnTo>
                          <a:pt x="299" y="313"/>
                        </a:lnTo>
                        <a:lnTo>
                          <a:pt x="299" y="313"/>
                        </a:lnTo>
                        <a:lnTo>
                          <a:pt x="293" y="305"/>
                        </a:lnTo>
                        <a:lnTo>
                          <a:pt x="293" y="305"/>
                        </a:lnTo>
                        <a:lnTo>
                          <a:pt x="291" y="303"/>
                        </a:lnTo>
                        <a:lnTo>
                          <a:pt x="291" y="303"/>
                        </a:lnTo>
                        <a:lnTo>
                          <a:pt x="291" y="300"/>
                        </a:lnTo>
                        <a:lnTo>
                          <a:pt x="290" y="293"/>
                        </a:lnTo>
                        <a:lnTo>
                          <a:pt x="290" y="293"/>
                        </a:lnTo>
                        <a:lnTo>
                          <a:pt x="287" y="288"/>
                        </a:lnTo>
                        <a:lnTo>
                          <a:pt x="285" y="287"/>
                        </a:lnTo>
                        <a:lnTo>
                          <a:pt x="285" y="287"/>
                        </a:lnTo>
                        <a:lnTo>
                          <a:pt x="271" y="285"/>
                        </a:lnTo>
                        <a:lnTo>
                          <a:pt x="261" y="285"/>
                        </a:lnTo>
                        <a:lnTo>
                          <a:pt x="248" y="282"/>
                        </a:lnTo>
                        <a:lnTo>
                          <a:pt x="248" y="282"/>
                        </a:lnTo>
                        <a:lnTo>
                          <a:pt x="242" y="270"/>
                        </a:lnTo>
                        <a:lnTo>
                          <a:pt x="238" y="260"/>
                        </a:lnTo>
                        <a:lnTo>
                          <a:pt x="236" y="254"/>
                        </a:lnTo>
                        <a:lnTo>
                          <a:pt x="236" y="254"/>
                        </a:lnTo>
                        <a:lnTo>
                          <a:pt x="225" y="200"/>
                        </a:lnTo>
                        <a:lnTo>
                          <a:pt x="225" y="200"/>
                        </a:lnTo>
                        <a:lnTo>
                          <a:pt x="221" y="188"/>
                        </a:lnTo>
                        <a:lnTo>
                          <a:pt x="219" y="185"/>
                        </a:lnTo>
                        <a:lnTo>
                          <a:pt x="216" y="182"/>
                        </a:lnTo>
                        <a:lnTo>
                          <a:pt x="208" y="177"/>
                        </a:lnTo>
                        <a:lnTo>
                          <a:pt x="201" y="174"/>
                        </a:lnTo>
                        <a:lnTo>
                          <a:pt x="201" y="174"/>
                        </a:lnTo>
                        <a:lnTo>
                          <a:pt x="177" y="163"/>
                        </a:lnTo>
                        <a:lnTo>
                          <a:pt x="165" y="156"/>
                        </a:lnTo>
                        <a:lnTo>
                          <a:pt x="165" y="156"/>
                        </a:lnTo>
                        <a:lnTo>
                          <a:pt x="170" y="154"/>
                        </a:lnTo>
                        <a:lnTo>
                          <a:pt x="173" y="151"/>
                        </a:lnTo>
                        <a:lnTo>
                          <a:pt x="176" y="148"/>
                        </a:lnTo>
                        <a:lnTo>
                          <a:pt x="176" y="145"/>
                        </a:lnTo>
                        <a:lnTo>
                          <a:pt x="176" y="145"/>
                        </a:lnTo>
                        <a:lnTo>
                          <a:pt x="176" y="143"/>
                        </a:lnTo>
                        <a:lnTo>
                          <a:pt x="177" y="142"/>
                        </a:lnTo>
                        <a:lnTo>
                          <a:pt x="182" y="140"/>
                        </a:lnTo>
                        <a:lnTo>
                          <a:pt x="182" y="140"/>
                        </a:lnTo>
                        <a:lnTo>
                          <a:pt x="184" y="139"/>
                        </a:lnTo>
                        <a:lnTo>
                          <a:pt x="184" y="137"/>
                        </a:lnTo>
                        <a:lnTo>
                          <a:pt x="184" y="134"/>
                        </a:lnTo>
                        <a:lnTo>
                          <a:pt x="184" y="134"/>
                        </a:lnTo>
                        <a:lnTo>
                          <a:pt x="187" y="132"/>
                        </a:lnTo>
                        <a:lnTo>
                          <a:pt x="188" y="131"/>
                        </a:lnTo>
                        <a:lnTo>
                          <a:pt x="190" y="126"/>
                        </a:lnTo>
                        <a:lnTo>
                          <a:pt x="190" y="126"/>
                        </a:lnTo>
                        <a:lnTo>
                          <a:pt x="190" y="123"/>
                        </a:lnTo>
                        <a:lnTo>
                          <a:pt x="191" y="122"/>
                        </a:lnTo>
                        <a:lnTo>
                          <a:pt x="191" y="122"/>
                        </a:lnTo>
                        <a:lnTo>
                          <a:pt x="194" y="122"/>
                        </a:lnTo>
                        <a:lnTo>
                          <a:pt x="197" y="120"/>
                        </a:lnTo>
                        <a:lnTo>
                          <a:pt x="197" y="120"/>
                        </a:lnTo>
                        <a:lnTo>
                          <a:pt x="199" y="119"/>
                        </a:lnTo>
                        <a:lnTo>
                          <a:pt x="199" y="115"/>
                        </a:lnTo>
                        <a:lnTo>
                          <a:pt x="197" y="108"/>
                        </a:lnTo>
                        <a:lnTo>
                          <a:pt x="197" y="108"/>
                        </a:lnTo>
                        <a:lnTo>
                          <a:pt x="196" y="102"/>
                        </a:lnTo>
                        <a:lnTo>
                          <a:pt x="196" y="97"/>
                        </a:lnTo>
                        <a:lnTo>
                          <a:pt x="196" y="97"/>
                        </a:lnTo>
                        <a:lnTo>
                          <a:pt x="199" y="94"/>
                        </a:lnTo>
                        <a:lnTo>
                          <a:pt x="202" y="89"/>
                        </a:lnTo>
                        <a:lnTo>
                          <a:pt x="202" y="89"/>
                        </a:lnTo>
                        <a:lnTo>
                          <a:pt x="204" y="89"/>
                        </a:lnTo>
                        <a:lnTo>
                          <a:pt x="205" y="85"/>
                        </a:lnTo>
                        <a:lnTo>
                          <a:pt x="205" y="85"/>
                        </a:lnTo>
                        <a:lnTo>
                          <a:pt x="207" y="77"/>
                        </a:lnTo>
                        <a:lnTo>
                          <a:pt x="208" y="68"/>
                        </a:lnTo>
                        <a:lnTo>
                          <a:pt x="208" y="68"/>
                        </a:lnTo>
                        <a:lnTo>
                          <a:pt x="208" y="65"/>
                        </a:lnTo>
                        <a:lnTo>
                          <a:pt x="207" y="60"/>
                        </a:lnTo>
                        <a:lnTo>
                          <a:pt x="205" y="55"/>
                        </a:lnTo>
                        <a:lnTo>
                          <a:pt x="205" y="55"/>
                        </a:lnTo>
                        <a:lnTo>
                          <a:pt x="208" y="49"/>
                        </a:lnTo>
                        <a:lnTo>
                          <a:pt x="208" y="41"/>
                        </a:lnTo>
                        <a:lnTo>
                          <a:pt x="205" y="35"/>
                        </a:lnTo>
                        <a:lnTo>
                          <a:pt x="201" y="28"/>
                        </a:lnTo>
                        <a:lnTo>
                          <a:pt x="193" y="20"/>
                        </a:lnTo>
                        <a:lnTo>
                          <a:pt x="185" y="14"/>
                        </a:lnTo>
                        <a:lnTo>
                          <a:pt x="176" y="8"/>
                        </a:lnTo>
                        <a:lnTo>
                          <a:pt x="165" y="1"/>
                        </a:lnTo>
                        <a:lnTo>
                          <a:pt x="165" y="1"/>
                        </a:lnTo>
                        <a:lnTo>
                          <a:pt x="154" y="0"/>
                        </a:lnTo>
                        <a:lnTo>
                          <a:pt x="145" y="0"/>
                        </a:lnTo>
                        <a:lnTo>
                          <a:pt x="136" y="1"/>
                        </a:lnTo>
                        <a:lnTo>
                          <a:pt x="127" y="6"/>
                        </a:lnTo>
                        <a:lnTo>
                          <a:pt x="119" y="12"/>
                        </a:lnTo>
                        <a:lnTo>
                          <a:pt x="113" y="20"/>
                        </a:lnTo>
                        <a:lnTo>
                          <a:pt x="106" y="28"/>
                        </a:lnTo>
                        <a:lnTo>
                          <a:pt x="102" y="35"/>
                        </a:lnTo>
                        <a:lnTo>
                          <a:pt x="102" y="35"/>
                        </a:lnTo>
                        <a:lnTo>
                          <a:pt x="100" y="45"/>
                        </a:lnTo>
                        <a:lnTo>
                          <a:pt x="99" y="52"/>
                        </a:lnTo>
                        <a:lnTo>
                          <a:pt x="99" y="60"/>
                        </a:lnTo>
                        <a:lnTo>
                          <a:pt x="100" y="66"/>
                        </a:lnTo>
                        <a:lnTo>
                          <a:pt x="103" y="78"/>
                        </a:lnTo>
                        <a:lnTo>
                          <a:pt x="105" y="89"/>
                        </a:lnTo>
                        <a:lnTo>
                          <a:pt x="105" y="89"/>
                        </a:lnTo>
                        <a:lnTo>
                          <a:pt x="103" y="102"/>
                        </a:lnTo>
                        <a:lnTo>
                          <a:pt x="102" y="105"/>
                        </a:lnTo>
                        <a:lnTo>
                          <a:pt x="97" y="115"/>
                        </a:lnTo>
                        <a:lnTo>
                          <a:pt x="97" y="115"/>
                        </a:lnTo>
                        <a:lnTo>
                          <a:pt x="94" y="115"/>
                        </a:lnTo>
                        <a:lnTo>
                          <a:pt x="93" y="117"/>
                        </a:lnTo>
                        <a:lnTo>
                          <a:pt x="91" y="117"/>
                        </a:lnTo>
                        <a:lnTo>
                          <a:pt x="90" y="119"/>
                        </a:lnTo>
                        <a:lnTo>
                          <a:pt x="90" y="119"/>
                        </a:lnTo>
                        <a:lnTo>
                          <a:pt x="85" y="120"/>
                        </a:lnTo>
                        <a:lnTo>
                          <a:pt x="80" y="125"/>
                        </a:lnTo>
                        <a:lnTo>
                          <a:pt x="71" y="134"/>
                        </a:lnTo>
                        <a:lnTo>
                          <a:pt x="71" y="134"/>
                        </a:lnTo>
                        <a:lnTo>
                          <a:pt x="63" y="139"/>
                        </a:lnTo>
                        <a:lnTo>
                          <a:pt x="59" y="140"/>
                        </a:lnTo>
                        <a:lnTo>
                          <a:pt x="54" y="140"/>
                        </a:lnTo>
                        <a:lnTo>
                          <a:pt x="54" y="140"/>
                        </a:lnTo>
                        <a:lnTo>
                          <a:pt x="49" y="142"/>
                        </a:lnTo>
                        <a:lnTo>
                          <a:pt x="45" y="142"/>
                        </a:lnTo>
                        <a:lnTo>
                          <a:pt x="37" y="146"/>
                        </a:lnTo>
                        <a:lnTo>
                          <a:pt x="37" y="146"/>
                        </a:lnTo>
                        <a:lnTo>
                          <a:pt x="32" y="149"/>
                        </a:lnTo>
                        <a:lnTo>
                          <a:pt x="28" y="149"/>
                        </a:lnTo>
                        <a:lnTo>
                          <a:pt x="28" y="149"/>
                        </a:lnTo>
                        <a:lnTo>
                          <a:pt x="23" y="149"/>
                        </a:lnTo>
                        <a:lnTo>
                          <a:pt x="19" y="152"/>
                        </a:lnTo>
                        <a:lnTo>
                          <a:pt x="8" y="159"/>
                        </a:lnTo>
                        <a:lnTo>
                          <a:pt x="8" y="159"/>
                        </a:lnTo>
                        <a:lnTo>
                          <a:pt x="5" y="162"/>
                        </a:lnTo>
                        <a:lnTo>
                          <a:pt x="2" y="163"/>
                        </a:lnTo>
                        <a:lnTo>
                          <a:pt x="2" y="174"/>
                        </a:lnTo>
                        <a:lnTo>
                          <a:pt x="2" y="174"/>
                        </a:lnTo>
                        <a:lnTo>
                          <a:pt x="0" y="185"/>
                        </a:lnTo>
                        <a:lnTo>
                          <a:pt x="0" y="185"/>
                        </a:lnTo>
                        <a:lnTo>
                          <a:pt x="0" y="200"/>
                        </a:lnTo>
                        <a:lnTo>
                          <a:pt x="0" y="200"/>
                        </a:lnTo>
                        <a:lnTo>
                          <a:pt x="0" y="206"/>
                        </a:lnTo>
                        <a:lnTo>
                          <a:pt x="2" y="216"/>
                        </a:lnTo>
                        <a:lnTo>
                          <a:pt x="2" y="216"/>
                        </a:lnTo>
                        <a:lnTo>
                          <a:pt x="5" y="234"/>
                        </a:lnTo>
                        <a:lnTo>
                          <a:pt x="5" y="234"/>
                        </a:lnTo>
                        <a:lnTo>
                          <a:pt x="8" y="242"/>
                        </a:lnTo>
                        <a:lnTo>
                          <a:pt x="11" y="251"/>
                        </a:lnTo>
                        <a:lnTo>
                          <a:pt x="22" y="274"/>
                        </a:lnTo>
                        <a:lnTo>
                          <a:pt x="34" y="300"/>
                        </a:lnTo>
                        <a:lnTo>
                          <a:pt x="46" y="327"/>
                        </a:lnTo>
                        <a:lnTo>
                          <a:pt x="46" y="327"/>
                        </a:lnTo>
                        <a:lnTo>
                          <a:pt x="49" y="339"/>
                        </a:lnTo>
                        <a:lnTo>
                          <a:pt x="51" y="348"/>
                        </a:lnTo>
                        <a:lnTo>
                          <a:pt x="53" y="356"/>
                        </a:lnTo>
                        <a:lnTo>
                          <a:pt x="53" y="364"/>
                        </a:lnTo>
                        <a:lnTo>
                          <a:pt x="49" y="377"/>
                        </a:lnTo>
                        <a:lnTo>
                          <a:pt x="46" y="390"/>
                        </a:lnTo>
                        <a:lnTo>
                          <a:pt x="46" y="390"/>
                        </a:lnTo>
                        <a:lnTo>
                          <a:pt x="45" y="405"/>
                        </a:lnTo>
                        <a:lnTo>
                          <a:pt x="43" y="419"/>
                        </a:lnTo>
                        <a:lnTo>
                          <a:pt x="45" y="458"/>
                        </a:lnTo>
                        <a:lnTo>
                          <a:pt x="45" y="458"/>
                        </a:lnTo>
                        <a:lnTo>
                          <a:pt x="46" y="481"/>
                        </a:lnTo>
                        <a:lnTo>
                          <a:pt x="45" y="498"/>
                        </a:lnTo>
                        <a:lnTo>
                          <a:pt x="43" y="515"/>
                        </a:lnTo>
                        <a:lnTo>
                          <a:pt x="54" y="513"/>
                        </a:lnTo>
                        <a:lnTo>
                          <a:pt x="54" y="513"/>
                        </a:lnTo>
                        <a:lnTo>
                          <a:pt x="54" y="522"/>
                        </a:lnTo>
                        <a:lnTo>
                          <a:pt x="57" y="533"/>
                        </a:lnTo>
                        <a:lnTo>
                          <a:pt x="65" y="559"/>
                        </a:lnTo>
                        <a:lnTo>
                          <a:pt x="73" y="586"/>
                        </a:lnTo>
                        <a:lnTo>
                          <a:pt x="76" y="598"/>
                        </a:lnTo>
                        <a:lnTo>
                          <a:pt x="77" y="609"/>
                        </a:lnTo>
                        <a:lnTo>
                          <a:pt x="77" y="609"/>
                        </a:lnTo>
                        <a:lnTo>
                          <a:pt x="83" y="675"/>
                        </a:lnTo>
                        <a:lnTo>
                          <a:pt x="86" y="714"/>
                        </a:lnTo>
                        <a:lnTo>
                          <a:pt x="88" y="743"/>
                        </a:lnTo>
                        <a:lnTo>
                          <a:pt x="88" y="743"/>
                        </a:lnTo>
                        <a:lnTo>
                          <a:pt x="88" y="766"/>
                        </a:lnTo>
                        <a:lnTo>
                          <a:pt x="91" y="783"/>
                        </a:lnTo>
                        <a:lnTo>
                          <a:pt x="93" y="798"/>
                        </a:lnTo>
                        <a:lnTo>
                          <a:pt x="94" y="812"/>
                        </a:lnTo>
                        <a:lnTo>
                          <a:pt x="94" y="812"/>
                        </a:lnTo>
                        <a:lnTo>
                          <a:pt x="96" y="834"/>
                        </a:lnTo>
                        <a:lnTo>
                          <a:pt x="99" y="848"/>
                        </a:lnTo>
                        <a:lnTo>
                          <a:pt x="99" y="848"/>
                        </a:lnTo>
                        <a:lnTo>
                          <a:pt x="100" y="854"/>
                        </a:lnTo>
                        <a:lnTo>
                          <a:pt x="99" y="854"/>
                        </a:lnTo>
                        <a:lnTo>
                          <a:pt x="96" y="855"/>
                        </a:lnTo>
                        <a:lnTo>
                          <a:pt x="93" y="857"/>
                        </a:lnTo>
                        <a:lnTo>
                          <a:pt x="93" y="857"/>
                        </a:lnTo>
                        <a:lnTo>
                          <a:pt x="91" y="860"/>
                        </a:lnTo>
                        <a:lnTo>
                          <a:pt x="91" y="865"/>
                        </a:lnTo>
                        <a:lnTo>
                          <a:pt x="94" y="869"/>
                        </a:lnTo>
                        <a:lnTo>
                          <a:pt x="96" y="875"/>
                        </a:lnTo>
                        <a:lnTo>
                          <a:pt x="96" y="875"/>
                        </a:lnTo>
                        <a:lnTo>
                          <a:pt x="97" y="888"/>
                        </a:lnTo>
                        <a:lnTo>
                          <a:pt x="97" y="892"/>
                        </a:lnTo>
                        <a:lnTo>
                          <a:pt x="97" y="892"/>
                        </a:lnTo>
                        <a:lnTo>
                          <a:pt x="96" y="895"/>
                        </a:lnTo>
                        <a:lnTo>
                          <a:pt x="94" y="902"/>
                        </a:lnTo>
                        <a:lnTo>
                          <a:pt x="93" y="909"/>
                        </a:lnTo>
                        <a:lnTo>
                          <a:pt x="93" y="917"/>
                        </a:lnTo>
                        <a:lnTo>
                          <a:pt x="96" y="925"/>
                        </a:lnTo>
                        <a:lnTo>
                          <a:pt x="99" y="929"/>
                        </a:lnTo>
                        <a:lnTo>
                          <a:pt x="102" y="932"/>
                        </a:lnTo>
                        <a:lnTo>
                          <a:pt x="106" y="934"/>
                        </a:lnTo>
                        <a:lnTo>
                          <a:pt x="113" y="937"/>
                        </a:lnTo>
                        <a:lnTo>
                          <a:pt x="119" y="939"/>
                        </a:lnTo>
                        <a:lnTo>
                          <a:pt x="128" y="939"/>
                        </a:lnTo>
                        <a:lnTo>
                          <a:pt x="128" y="939"/>
                        </a:lnTo>
                        <a:lnTo>
                          <a:pt x="136" y="937"/>
                        </a:lnTo>
                        <a:lnTo>
                          <a:pt x="143" y="936"/>
                        </a:lnTo>
                        <a:lnTo>
                          <a:pt x="148" y="934"/>
                        </a:lnTo>
                        <a:lnTo>
                          <a:pt x="153" y="931"/>
                        </a:lnTo>
                        <a:lnTo>
                          <a:pt x="157" y="928"/>
                        </a:lnTo>
                        <a:lnTo>
                          <a:pt x="159" y="923"/>
                        </a:lnTo>
                        <a:lnTo>
                          <a:pt x="162" y="914"/>
                        </a:lnTo>
                        <a:lnTo>
                          <a:pt x="164" y="905"/>
                        </a:lnTo>
                        <a:lnTo>
                          <a:pt x="162" y="897"/>
                        </a:lnTo>
                        <a:lnTo>
                          <a:pt x="160" y="891"/>
                        </a:lnTo>
                        <a:lnTo>
                          <a:pt x="160" y="891"/>
                        </a:lnTo>
                        <a:lnTo>
                          <a:pt x="164" y="888"/>
                        </a:lnTo>
                        <a:lnTo>
                          <a:pt x="164" y="885"/>
                        </a:lnTo>
                        <a:lnTo>
                          <a:pt x="164" y="882"/>
                        </a:lnTo>
                        <a:lnTo>
                          <a:pt x="164" y="882"/>
                        </a:lnTo>
                        <a:lnTo>
                          <a:pt x="164" y="868"/>
                        </a:lnTo>
                        <a:lnTo>
                          <a:pt x="162" y="854"/>
                        </a:lnTo>
                        <a:lnTo>
                          <a:pt x="162" y="854"/>
                        </a:lnTo>
                        <a:lnTo>
                          <a:pt x="159" y="826"/>
                        </a:lnTo>
                        <a:lnTo>
                          <a:pt x="156" y="795"/>
                        </a:lnTo>
                        <a:lnTo>
                          <a:pt x="156" y="795"/>
                        </a:lnTo>
                        <a:lnTo>
                          <a:pt x="156" y="781"/>
                        </a:lnTo>
                        <a:lnTo>
                          <a:pt x="156" y="758"/>
                        </a:lnTo>
                        <a:lnTo>
                          <a:pt x="157" y="717"/>
                        </a:lnTo>
                        <a:lnTo>
                          <a:pt x="157" y="717"/>
                        </a:lnTo>
                        <a:lnTo>
                          <a:pt x="159" y="710"/>
                        </a:lnTo>
                        <a:lnTo>
                          <a:pt x="159" y="710"/>
                        </a:lnTo>
                        <a:lnTo>
                          <a:pt x="157" y="717"/>
                        </a:lnTo>
                        <a:lnTo>
                          <a:pt x="157" y="717"/>
                        </a:lnTo>
                        <a:lnTo>
                          <a:pt x="159" y="732"/>
                        </a:lnTo>
                        <a:lnTo>
                          <a:pt x="160" y="751"/>
                        </a:lnTo>
                        <a:lnTo>
                          <a:pt x="167" y="795"/>
                        </a:lnTo>
                        <a:lnTo>
                          <a:pt x="173" y="835"/>
                        </a:lnTo>
                        <a:lnTo>
                          <a:pt x="176" y="857"/>
                        </a:lnTo>
                        <a:lnTo>
                          <a:pt x="176" y="857"/>
                        </a:lnTo>
                        <a:lnTo>
                          <a:pt x="176" y="863"/>
                        </a:lnTo>
                        <a:lnTo>
                          <a:pt x="174" y="866"/>
                        </a:lnTo>
                        <a:lnTo>
                          <a:pt x="173" y="872"/>
                        </a:lnTo>
                        <a:lnTo>
                          <a:pt x="171" y="883"/>
                        </a:lnTo>
                        <a:lnTo>
                          <a:pt x="171" y="883"/>
                        </a:lnTo>
                        <a:lnTo>
                          <a:pt x="174" y="891"/>
                        </a:lnTo>
                        <a:lnTo>
                          <a:pt x="177" y="895"/>
                        </a:lnTo>
                        <a:lnTo>
                          <a:pt x="185" y="899"/>
                        </a:lnTo>
                        <a:lnTo>
                          <a:pt x="191" y="902"/>
                        </a:lnTo>
                        <a:lnTo>
                          <a:pt x="205" y="903"/>
                        </a:lnTo>
                        <a:lnTo>
                          <a:pt x="211" y="905"/>
                        </a:lnTo>
                        <a:lnTo>
                          <a:pt x="211" y="905"/>
                        </a:lnTo>
                        <a:lnTo>
                          <a:pt x="219" y="909"/>
                        </a:lnTo>
                        <a:lnTo>
                          <a:pt x="228" y="912"/>
                        </a:lnTo>
                        <a:lnTo>
                          <a:pt x="239" y="915"/>
                        </a:lnTo>
                        <a:lnTo>
                          <a:pt x="239" y="915"/>
                        </a:lnTo>
                        <a:lnTo>
                          <a:pt x="258" y="917"/>
                        </a:lnTo>
                        <a:lnTo>
                          <a:pt x="268" y="917"/>
                        </a:lnTo>
                        <a:lnTo>
                          <a:pt x="279" y="915"/>
                        </a:lnTo>
                        <a:lnTo>
                          <a:pt x="288" y="914"/>
                        </a:lnTo>
                        <a:lnTo>
                          <a:pt x="298" y="909"/>
                        </a:lnTo>
                        <a:lnTo>
                          <a:pt x="301" y="906"/>
                        </a:lnTo>
                        <a:lnTo>
                          <a:pt x="302" y="903"/>
                        </a:lnTo>
                        <a:lnTo>
                          <a:pt x="304" y="900"/>
                        </a:lnTo>
                        <a:lnTo>
                          <a:pt x="305" y="895"/>
                        </a:lnTo>
                        <a:lnTo>
                          <a:pt x="305" y="895"/>
                        </a:lnTo>
                        <a:lnTo>
                          <a:pt x="304" y="891"/>
                        </a:lnTo>
                        <a:lnTo>
                          <a:pt x="302" y="886"/>
                        </a:lnTo>
                        <a:lnTo>
                          <a:pt x="298" y="878"/>
                        </a:lnTo>
                        <a:lnTo>
                          <a:pt x="290" y="874"/>
                        </a:lnTo>
                        <a:lnTo>
                          <a:pt x="281" y="871"/>
                        </a:lnTo>
                        <a:lnTo>
                          <a:pt x="262" y="865"/>
                        </a:lnTo>
                        <a:lnTo>
                          <a:pt x="256" y="863"/>
                        </a:lnTo>
                        <a:lnTo>
                          <a:pt x="254" y="862"/>
                        </a:lnTo>
                        <a:lnTo>
                          <a:pt x="254" y="862"/>
                        </a:lnTo>
                        <a:lnTo>
                          <a:pt x="251" y="860"/>
                        </a:lnTo>
                        <a:lnTo>
                          <a:pt x="248" y="858"/>
                        </a:lnTo>
                        <a:lnTo>
                          <a:pt x="245" y="858"/>
                        </a:lnTo>
                        <a:lnTo>
                          <a:pt x="245" y="858"/>
                        </a:lnTo>
                        <a:lnTo>
                          <a:pt x="244" y="852"/>
                        </a:lnTo>
                        <a:lnTo>
                          <a:pt x="241" y="843"/>
                        </a:lnTo>
                        <a:lnTo>
                          <a:pt x="241" y="843"/>
                        </a:lnTo>
                        <a:lnTo>
                          <a:pt x="239" y="841"/>
                        </a:lnTo>
                        <a:lnTo>
                          <a:pt x="236" y="841"/>
                        </a:lnTo>
                        <a:lnTo>
                          <a:pt x="231" y="841"/>
                        </a:lnTo>
                        <a:lnTo>
                          <a:pt x="231" y="841"/>
                        </a:lnTo>
                        <a:lnTo>
                          <a:pt x="230" y="840"/>
                        </a:lnTo>
                        <a:lnTo>
                          <a:pt x="230" y="838"/>
                        </a:lnTo>
                        <a:lnTo>
                          <a:pt x="230" y="832"/>
                        </a:lnTo>
                        <a:lnTo>
                          <a:pt x="230" y="832"/>
                        </a:lnTo>
                        <a:lnTo>
                          <a:pt x="234" y="825"/>
                        </a:lnTo>
                        <a:lnTo>
                          <a:pt x="236" y="817"/>
                        </a:lnTo>
                        <a:lnTo>
                          <a:pt x="236" y="809"/>
                        </a:lnTo>
                        <a:lnTo>
                          <a:pt x="236" y="809"/>
                        </a:lnTo>
                        <a:lnTo>
                          <a:pt x="234" y="784"/>
                        </a:lnTo>
                        <a:lnTo>
                          <a:pt x="234" y="767"/>
                        </a:lnTo>
                        <a:lnTo>
                          <a:pt x="236" y="749"/>
                        </a:lnTo>
                        <a:lnTo>
                          <a:pt x="236" y="749"/>
                        </a:lnTo>
                        <a:lnTo>
                          <a:pt x="236" y="724"/>
                        </a:lnTo>
                        <a:lnTo>
                          <a:pt x="238" y="706"/>
                        </a:lnTo>
                        <a:lnTo>
                          <a:pt x="238" y="706"/>
                        </a:lnTo>
                        <a:lnTo>
                          <a:pt x="238" y="695"/>
                        </a:lnTo>
                        <a:lnTo>
                          <a:pt x="236" y="686"/>
                        </a:lnTo>
                        <a:lnTo>
                          <a:pt x="234" y="673"/>
                        </a:lnTo>
                        <a:lnTo>
                          <a:pt x="233" y="656"/>
                        </a:lnTo>
                        <a:lnTo>
                          <a:pt x="233" y="656"/>
                        </a:lnTo>
                        <a:lnTo>
                          <a:pt x="233" y="630"/>
                        </a:lnTo>
                        <a:lnTo>
                          <a:pt x="236" y="599"/>
                        </a:lnTo>
                        <a:lnTo>
                          <a:pt x="238" y="570"/>
                        </a:lnTo>
                        <a:lnTo>
                          <a:pt x="239" y="547"/>
                        </a:lnTo>
                        <a:lnTo>
                          <a:pt x="239" y="547"/>
                        </a:lnTo>
                        <a:lnTo>
                          <a:pt x="239" y="530"/>
                        </a:lnTo>
                        <a:lnTo>
                          <a:pt x="238" y="518"/>
                        </a:lnTo>
                        <a:lnTo>
                          <a:pt x="234" y="507"/>
                        </a:lnTo>
                        <a:lnTo>
                          <a:pt x="242" y="504"/>
                        </a:lnTo>
                        <a:lnTo>
                          <a:pt x="242" y="504"/>
                        </a:lnTo>
                        <a:lnTo>
                          <a:pt x="241" y="482"/>
                        </a:lnTo>
                        <a:lnTo>
                          <a:pt x="236" y="462"/>
                        </a:lnTo>
                        <a:lnTo>
                          <a:pt x="233" y="451"/>
                        </a:lnTo>
                        <a:lnTo>
                          <a:pt x="230" y="442"/>
                        </a:lnTo>
                        <a:lnTo>
                          <a:pt x="230" y="442"/>
                        </a:lnTo>
                        <a:lnTo>
                          <a:pt x="225" y="428"/>
                        </a:lnTo>
                        <a:lnTo>
                          <a:pt x="222" y="421"/>
                        </a:lnTo>
                        <a:lnTo>
                          <a:pt x="224" y="401"/>
                        </a:lnTo>
                        <a:lnTo>
                          <a:pt x="224" y="401"/>
                        </a:lnTo>
                        <a:lnTo>
                          <a:pt x="224" y="387"/>
                        </a:lnTo>
                        <a:lnTo>
                          <a:pt x="222" y="379"/>
                        </a:lnTo>
                        <a:lnTo>
                          <a:pt x="217" y="368"/>
                        </a:lnTo>
                        <a:lnTo>
                          <a:pt x="217" y="368"/>
                        </a:lnTo>
                        <a:lnTo>
                          <a:pt x="211" y="345"/>
                        </a:lnTo>
                        <a:lnTo>
                          <a:pt x="216" y="345"/>
                        </a:lnTo>
                        <a:lnTo>
                          <a:pt x="216" y="345"/>
                        </a:lnTo>
                        <a:lnTo>
                          <a:pt x="216" y="348"/>
                        </a:lnTo>
                        <a:lnTo>
                          <a:pt x="219" y="351"/>
                        </a:lnTo>
                        <a:lnTo>
                          <a:pt x="222" y="354"/>
                        </a:lnTo>
                        <a:lnTo>
                          <a:pt x="222" y="354"/>
                        </a:lnTo>
                        <a:lnTo>
                          <a:pt x="236" y="361"/>
                        </a:lnTo>
                        <a:lnTo>
                          <a:pt x="264" y="371"/>
                        </a:lnTo>
                        <a:lnTo>
                          <a:pt x="264" y="371"/>
                        </a:lnTo>
                        <a:lnTo>
                          <a:pt x="299" y="388"/>
                        </a:lnTo>
                        <a:lnTo>
                          <a:pt x="316" y="398"/>
                        </a:lnTo>
                        <a:lnTo>
                          <a:pt x="316" y="398"/>
                        </a:lnTo>
                        <a:lnTo>
                          <a:pt x="318" y="396"/>
                        </a:lnTo>
                        <a:lnTo>
                          <a:pt x="318" y="396"/>
                        </a:lnTo>
                        <a:lnTo>
                          <a:pt x="322" y="390"/>
                        </a:lnTo>
                        <a:lnTo>
                          <a:pt x="330" y="381"/>
                        </a:lnTo>
                        <a:lnTo>
                          <a:pt x="330" y="381"/>
                        </a:lnTo>
                        <a:lnTo>
                          <a:pt x="338" y="368"/>
                        </a:lnTo>
                        <a:lnTo>
                          <a:pt x="338" y="368"/>
                        </a:lnTo>
                        <a:lnTo>
                          <a:pt x="333" y="370"/>
                        </a:lnTo>
                        <a:lnTo>
                          <a:pt x="325" y="371"/>
                        </a:lnTo>
                        <a:lnTo>
                          <a:pt x="325" y="371"/>
                        </a:lnTo>
                        <a:close/>
                        <a:moveTo>
                          <a:pt x="273" y="305"/>
                        </a:moveTo>
                        <a:lnTo>
                          <a:pt x="273" y="305"/>
                        </a:lnTo>
                        <a:lnTo>
                          <a:pt x="276" y="305"/>
                        </a:lnTo>
                        <a:lnTo>
                          <a:pt x="270" y="308"/>
                        </a:lnTo>
                        <a:lnTo>
                          <a:pt x="270" y="308"/>
                        </a:lnTo>
                        <a:lnTo>
                          <a:pt x="267" y="303"/>
                        </a:lnTo>
                        <a:lnTo>
                          <a:pt x="267" y="303"/>
                        </a:lnTo>
                        <a:lnTo>
                          <a:pt x="273" y="305"/>
                        </a:lnTo>
                        <a:lnTo>
                          <a:pt x="273" y="305"/>
                        </a:lnTo>
                        <a:close/>
                        <a:moveTo>
                          <a:pt x="404" y="327"/>
                        </a:moveTo>
                        <a:lnTo>
                          <a:pt x="404" y="327"/>
                        </a:lnTo>
                        <a:lnTo>
                          <a:pt x="402" y="327"/>
                        </a:lnTo>
                        <a:lnTo>
                          <a:pt x="402" y="327"/>
                        </a:lnTo>
                        <a:lnTo>
                          <a:pt x="404" y="325"/>
                        </a:lnTo>
                        <a:lnTo>
                          <a:pt x="404" y="325"/>
                        </a:lnTo>
                        <a:lnTo>
                          <a:pt x="404" y="322"/>
                        </a:lnTo>
                        <a:lnTo>
                          <a:pt x="402" y="319"/>
                        </a:lnTo>
                        <a:lnTo>
                          <a:pt x="402" y="319"/>
                        </a:lnTo>
                        <a:lnTo>
                          <a:pt x="401" y="316"/>
                        </a:lnTo>
                        <a:lnTo>
                          <a:pt x="399" y="308"/>
                        </a:lnTo>
                        <a:lnTo>
                          <a:pt x="399" y="308"/>
                        </a:lnTo>
                        <a:lnTo>
                          <a:pt x="398" y="303"/>
                        </a:lnTo>
                        <a:lnTo>
                          <a:pt x="396" y="302"/>
                        </a:lnTo>
                        <a:lnTo>
                          <a:pt x="395" y="302"/>
                        </a:lnTo>
                        <a:lnTo>
                          <a:pt x="395" y="302"/>
                        </a:lnTo>
                        <a:lnTo>
                          <a:pt x="395" y="297"/>
                        </a:lnTo>
                        <a:lnTo>
                          <a:pt x="392" y="294"/>
                        </a:lnTo>
                        <a:lnTo>
                          <a:pt x="390" y="293"/>
                        </a:lnTo>
                        <a:lnTo>
                          <a:pt x="390" y="293"/>
                        </a:lnTo>
                        <a:lnTo>
                          <a:pt x="387" y="294"/>
                        </a:lnTo>
                        <a:lnTo>
                          <a:pt x="386" y="297"/>
                        </a:lnTo>
                        <a:lnTo>
                          <a:pt x="386" y="300"/>
                        </a:lnTo>
                        <a:lnTo>
                          <a:pt x="386" y="300"/>
                        </a:lnTo>
                        <a:lnTo>
                          <a:pt x="382" y="302"/>
                        </a:lnTo>
                        <a:lnTo>
                          <a:pt x="381" y="305"/>
                        </a:lnTo>
                        <a:lnTo>
                          <a:pt x="379" y="313"/>
                        </a:lnTo>
                        <a:lnTo>
                          <a:pt x="381" y="325"/>
                        </a:lnTo>
                        <a:lnTo>
                          <a:pt x="381" y="325"/>
                        </a:lnTo>
                        <a:lnTo>
                          <a:pt x="378" y="324"/>
                        </a:lnTo>
                        <a:lnTo>
                          <a:pt x="375" y="325"/>
                        </a:lnTo>
                        <a:lnTo>
                          <a:pt x="375" y="325"/>
                        </a:lnTo>
                        <a:lnTo>
                          <a:pt x="373" y="330"/>
                        </a:lnTo>
                        <a:lnTo>
                          <a:pt x="373" y="330"/>
                        </a:lnTo>
                        <a:lnTo>
                          <a:pt x="370" y="344"/>
                        </a:lnTo>
                        <a:lnTo>
                          <a:pt x="353" y="350"/>
                        </a:lnTo>
                        <a:lnTo>
                          <a:pt x="341" y="348"/>
                        </a:lnTo>
                        <a:lnTo>
                          <a:pt x="341" y="348"/>
                        </a:lnTo>
                        <a:lnTo>
                          <a:pt x="336" y="348"/>
                        </a:lnTo>
                        <a:lnTo>
                          <a:pt x="336" y="348"/>
                        </a:lnTo>
                        <a:lnTo>
                          <a:pt x="325" y="348"/>
                        </a:lnTo>
                        <a:lnTo>
                          <a:pt x="325" y="348"/>
                        </a:lnTo>
                        <a:lnTo>
                          <a:pt x="322" y="348"/>
                        </a:lnTo>
                        <a:lnTo>
                          <a:pt x="322" y="348"/>
                        </a:lnTo>
                        <a:lnTo>
                          <a:pt x="322" y="353"/>
                        </a:lnTo>
                        <a:lnTo>
                          <a:pt x="322" y="353"/>
                        </a:lnTo>
                        <a:lnTo>
                          <a:pt x="322" y="354"/>
                        </a:lnTo>
                        <a:lnTo>
                          <a:pt x="322" y="354"/>
                        </a:lnTo>
                        <a:lnTo>
                          <a:pt x="322" y="362"/>
                        </a:lnTo>
                        <a:lnTo>
                          <a:pt x="324" y="365"/>
                        </a:lnTo>
                        <a:lnTo>
                          <a:pt x="325" y="367"/>
                        </a:lnTo>
                        <a:lnTo>
                          <a:pt x="325" y="367"/>
                        </a:lnTo>
                        <a:lnTo>
                          <a:pt x="332" y="368"/>
                        </a:lnTo>
                        <a:lnTo>
                          <a:pt x="338" y="368"/>
                        </a:lnTo>
                        <a:lnTo>
                          <a:pt x="338" y="367"/>
                        </a:lnTo>
                        <a:lnTo>
                          <a:pt x="338" y="367"/>
                        </a:lnTo>
                        <a:lnTo>
                          <a:pt x="353" y="364"/>
                        </a:lnTo>
                        <a:lnTo>
                          <a:pt x="362" y="361"/>
                        </a:lnTo>
                        <a:lnTo>
                          <a:pt x="362" y="361"/>
                        </a:lnTo>
                        <a:lnTo>
                          <a:pt x="378" y="359"/>
                        </a:lnTo>
                        <a:lnTo>
                          <a:pt x="378" y="359"/>
                        </a:lnTo>
                        <a:lnTo>
                          <a:pt x="387" y="359"/>
                        </a:lnTo>
                        <a:lnTo>
                          <a:pt x="387" y="359"/>
                        </a:lnTo>
                        <a:lnTo>
                          <a:pt x="390" y="357"/>
                        </a:lnTo>
                        <a:lnTo>
                          <a:pt x="392" y="356"/>
                        </a:lnTo>
                        <a:lnTo>
                          <a:pt x="396" y="351"/>
                        </a:lnTo>
                        <a:lnTo>
                          <a:pt x="396" y="351"/>
                        </a:lnTo>
                        <a:lnTo>
                          <a:pt x="398" y="348"/>
                        </a:lnTo>
                        <a:lnTo>
                          <a:pt x="399" y="345"/>
                        </a:lnTo>
                        <a:lnTo>
                          <a:pt x="399" y="345"/>
                        </a:lnTo>
                        <a:lnTo>
                          <a:pt x="402" y="337"/>
                        </a:lnTo>
                        <a:lnTo>
                          <a:pt x="404" y="330"/>
                        </a:lnTo>
                        <a:lnTo>
                          <a:pt x="404" y="330"/>
                        </a:lnTo>
                        <a:lnTo>
                          <a:pt x="404" y="327"/>
                        </a:lnTo>
                        <a:lnTo>
                          <a:pt x="404" y="327"/>
                        </a:lnTo>
                        <a:close/>
                      </a:path>
                    </a:pathLst>
                  </a:custGeom>
                  <a:solidFill>
                    <a:srgbClr val="8E8A81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329" name="Freeform 77"/>
                  <p:cNvSpPr>
                    <a:spLocks/>
                  </p:cNvSpPr>
                  <p:nvPr/>
                </p:nvSpPr>
                <p:spPr bwMode="auto">
                  <a:xfrm>
                    <a:off x="4052142" y="5286607"/>
                    <a:ext cx="324327" cy="235874"/>
                  </a:xfrm>
                  <a:custGeom>
                    <a:avLst/>
                    <a:gdLst>
                      <a:gd name="T0" fmla="*/ 228 w 231"/>
                      <a:gd name="T1" fmla="*/ 1 h 168"/>
                      <a:gd name="T2" fmla="*/ 222 w 231"/>
                      <a:gd name="T3" fmla="*/ 0 h 168"/>
                      <a:gd name="T4" fmla="*/ 166 w 231"/>
                      <a:gd name="T5" fmla="*/ 6 h 168"/>
                      <a:gd name="T6" fmla="*/ 163 w 231"/>
                      <a:gd name="T7" fmla="*/ 6 h 168"/>
                      <a:gd name="T8" fmla="*/ 158 w 231"/>
                      <a:gd name="T9" fmla="*/ 18 h 168"/>
                      <a:gd name="T10" fmla="*/ 140 w 231"/>
                      <a:gd name="T11" fmla="*/ 121 h 168"/>
                      <a:gd name="T12" fmla="*/ 86 w 231"/>
                      <a:gd name="T13" fmla="*/ 123 h 168"/>
                      <a:gd name="T14" fmla="*/ 92 w 231"/>
                      <a:gd name="T15" fmla="*/ 131 h 168"/>
                      <a:gd name="T16" fmla="*/ 94 w 231"/>
                      <a:gd name="T17" fmla="*/ 135 h 168"/>
                      <a:gd name="T18" fmla="*/ 89 w 231"/>
                      <a:gd name="T19" fmla="*/ 135 h 168"/>
                      <a:gd name="T20" fmla="*/ 86 w 231"/>
                      <a:gd name="T21" fmla="*/ 134 h 168"/>
                      <a:gd name="T22" fmla="*/ 81 w 231"/>
                      <a:gd name="T23" fmla="*/ 131 h 168"/>
                      <a:gd name="T24" fmla="*/ 80 w 231"/>
                      <a:gd name="T25" fmla="*/ 132 h 168"/>
                      <a:gd name="T26" fmla="*/ 80 w 231"/>
                      <a:gd name="T27" fmla="*/ 137 h 168"/>
                      <a:gd name="T28" fmla="*/ 77 w 231"/>
                      <a:gd name="T29" fmla="*/ 138 h 168"/>
                      <a:gd name="T30" fmla="*/ 75 w 231"/>
                      <a:gd name="T31" fmla="*/ 138 h 168"/>
                      <a:gd name="T32" fmla="*/ 75 w 231"/>
                      <a:gd name="T33" fmla="*/ 142 h 168"/>
                      <a:gd name="T34" fmla="*/ 71 w 231"/>
                      <a:gd name="T35" fmla="*/ 142 h 168"/>
                      <a:gd name="T36" fmla="*/ 58 w 231"/>
                      <a:gd name="T37" fmla="*/ 132 h 168"/>
                      <a:gd name="T38" fmla="*/ 55 w 231"/>
                      <a:gd name="T39" fmla="*/ 131 h 168"/>
                      <a:gd name="T40" fmla="*/ 54 w 231"/>
                      <a:gd name="T41" fmla="*/ 131 h 168"/>
                      <a:gd name="T42" fmla="*/ 52 w 231"/>
                      <a:gd name="T43" fmla="*/ 129 h 168"/>
                      <a:gd name="T44" fmla="*/ 0 w 231"/>
                      <a:gd name="T45" fmla="*/ 146 h 168"/>
                      <a:gd name="T46" fmla="*/ 0 w 231"/>
                      <a:gd name="T47" fmla="*/ 155 h 168"/>
                      <a:gd name="T48" fmla="*/ 6 w 231"/>
                      <a:gd name="T49" fmla="*/ 158 h 168"/>
                      <a:gd name="T50" fmla="*/ 114 w 231"/>
                      <a:gd name="T51" fmla="*/ 166 h 168"/>
                      <a:gd name="T52" fmla="*/ 115 w 231"/>
                      <a:gd name="T53" fmla="*/ 166 h 168"/>
                      <a:gd name="T54" fmla="*/ 118 w 231"/>
                      <a:gd name="T55" fmla="*/ 166 h 168"/>
                      <a:gd name="T56" fmla="*/ 129 w 231"/>
                      <a:gd name="T57" fmla="*/ 166 h 168"/>
                      <a:gd name="T58" fmla="*/ 134 w 231"/>
                      <a:gd name="T59" fmla="*/ 166 h 168"/>
                      <a:gd name="T60" fmla="*/ 163 w 231"/>
                      <a:gd name="T61" fmla="*/ 162 h 168"/>
                      <a:gd name="T62" fmla="*/ 166 w 231"/>
                      <a:gd name="T63" fmla="*/ 148 h 168"/>
                      <a:gd name="T64" fmla="*/ 168 w 231"/>
                      <a:gd name="T65" fmla="*/ 143 h 168"/>
                      <a:gd name="T66" fmla="*/ 171 w 231"/>
                      <a:gd name="T67" fmla="*/ 142 h 168"/>
                      <a:gd name="T68" fmla="*/ 174 w 231"/>
                      <a:gd name="T69" fmla="*/ 143 h 168"/>
                      <a:gd name="T70" fmla="*/ 174 w 231"/>
                      <a:gd name="T71" fmla="*/ 123 h 168"/>
                      <a:gd name="T72" fmla="*/ 179 w 231"/>
                      <a:gd name="T73" fmla="*/ 118 h 168"/>
                      <a:gd name="T74" fmla="*/ 179 w 231"/>
                      <a:gd name="T75" fmla="*/ 115 h 168"/>
                      <a:gd name="T76" fmla="*/ 183 w 231"/>
                      <a:gd name="T77" fmla="*/ 111 h 168"/>
                      <a:gd name="T78" fmla="*/ 185 w 231"/>
                      <a:gd name="T79" fmla="*/ 112 h 168"/>
                      <a:gd name="T80" fmla="*/ 188 w 231"/>
                      <a:gd name="T81" fmla="*/ 120 h 168"/>
                      <a:gd name="T82" fmla="*/ 189 w 231"/>
                      <a:gd name="T83" fmla="*/ 120 h 168"/>
                      <a:gd name="T84" fmla="*/ 192 w 231"/>
                      <a:gd name="T85" fmla="*/ 126 h 168"/>
                      <a:gd name="T86" fmla="*/ 194 w 231"/>
                      <a:gd name="T87" fmla="*/ 134 h 168"/>
                      <a:gd name="T88" fmla="*/ 195 w 231"/>
                      <a:gd name="T89" fmla="*/ 137 h 168"/>
                      <a:gd name="T90" fmla="*/ 197 w 231"/>
                      <a:gd name="T91" fmla="*/ 143 h 168"/>
                      <a:gd name="T92" fmla="*/ 197 w 231"/>
                      <a:gd name="T93" fmla="*/ 143 h 168"/>
                      <a:gd name="T94" fmla="*/ 197 w 231"/>
                      <a:gd name="T95" fmla="*/ 145 h 168"/>
                      <a:gd name="T96" fmla="*/ 206 w 231"/>
                      <a:gd name="T97" fmla="*/ 140 h 168"/>
                      <a:gd name="T98" fmla="*/ 208 w 231"/>
                      <a:gd name="T99" fmla="*/ 138 h 168"/>
                      <a:gd name="T100" fmla="*/ 209 w 231"/>
                      <a:gd name="T101" fmla="*/ 134 h 168"/>
                      <a:gd name="T102" fmla="*/ 231 w 231"/>
                      <a:gd name="T103" fmla="*/ 7 h 168"/>
                      <a:gd name="T104" fmla="*/ 231 w 231"/>
                      <a:gd name="T105" fmla="*/ 3 h 168"/>
                      <a:gd name="T106" fmla="*/ 228 w 231"/>
                      <a:gd name="T107" fmla="*/ 1 h 1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231" h="168">
                        <a:moveTo>
                          <a:pt x="228" y="1"/>
                        </a:moveTo>
                        <a:lnTo>
                          <a:pt x="228" y="1"/>
                        </a:lnTo>
                        <a:lnTo>
                          <a:pt x="222" y="0"/>
                        </a:lnTo>
                        <a:lnTo>
                          <a:pt x="222" y="0"/>
                        </a:lnTo>
                        <a:lnTo>
                          <a:pt x="166" y="6"/>
                        </a:lnTo>
                        <a:lnTo>
                          <a:pt x="166" y="6"/>
                        </a:lnTo>
                        <a:lnTo>
                          <a:pt x="165" y="6"/>
                        </a:lnTo>
                        <a:lnTo>
                          <a:pt x="163" y="6"/>
                        </a:lnTo>
                        <a:lnTo>
                          <a:pt x="160" y="11"/>
                        </a:lnTo>
                        <a:lnTo>
                          <a:pt x="158" y="18"/>
                        </a:lnTo>
                        <a:lnTo>
                          <a:pt x="158" y="18"/>
                        </a:lnTo>
                        <a:lnTo>
                          <a:pt x="140" y="121"/>
                        </a:lnTo>
                        <a:lnTo>
                          <a:pt x="86" y="123"/>
                        </a:lnTo>
                        <a:lnTo>
                          <a:pt x="86" y="123"/>
                        </a:lnTo>
                        <a:lnTo>
                          <a:pt x="92" y="131"/>
                        </a:lnTo>
                        <a:lnTo>
                          <a:pt x="92" y="131"/>
                        </a:lnTo>
                        <a:lnTo>
                          <a:pt x="94" y="134"/>
                        </a:lnTo>
                        <a:lnTo>
                          <a:pt x="94" y="135"/>
                        </a:lnTo>
                        <a:lnTo>
                          <a:pt x="94" y="135"/>
                        </a:lnTo>
                        <a:lnTo>
                          <a:pt x="89" y="135"/>
                        </a:lnTo>
                        <a:lnTo>
                          <a:pt x="86" y="134"/>
                        </a:lnTo>
                        <a:lnTo>
                          <a:pt x="86" y="134"/>
                        </a:lnTo>
                        <a:lnTo>
                          <a:pt x="83" y="131"/>
                        </a:lnTo>
                        <a:lnTo>
                          <a:pt x="81" y="131"/>
                        </a:lnTo>
                        <a:lnTo>
                          <a:pt x="81" y="131"/>
                        </a:lnTo>
                        <a:lnTo>
                          <a:pt x="80" y="132"/>
                        </a:lnTo>
                        <a:lnTo>
                          <a:pt x="80" y="137"/>
                        </a:lnTo>
                        <a:lnTo>
                          <a:pt x="80" y="137"/>
                        </a:lnTo>
                        <a:lnTo>
                          <a:pt x="78" y="138"/>
                        </a:lnTo>
                        <a:lnTo>
                          <a:pt x="77" y="138"/>
                        </a:lnTo>
                        <a:lnTo>
                          <a:pt x="77" y="138"/>
                        </a:lnTo>
                        <a:lnTo>
                          <a:pt x="75" y="138"/>
                        </a:lnTo>
                        <a:lnTo>
                          <a:pt x="75" y="138"/>
                        </a:lnTo>
                        <a:lnTo>
                          <a:pt x="75" y="142"/>
                        </a:lnTo>
                        <a:lnTo>
                          <a:pt x="71" y="142"/>
                        </a:lnTo>
                        <a:lnTo>
                          <a:pt x="71" y="142"/>
                        </a:lnTo>
                        <a:lnTo>
                          <a:pt x="64" y="138"/>
                        </a:lnTo>
                        <a:lnTo>
                          <a:pt x="58" y="132"/>
                        </a:lnTo>
                        <a:lnTo>
                          <a:pt x="58" y="132"/>
                        </a:lnTo>
                        <a:lnTo>
                          <a:pt x="55" y="131"/>
                        </a:lnTo>
                        <a:lnTo>
                          <a:pt x="55" y="131"/>
                        </a:lnTo>
                        <a:lnTo>
                          <a:pt x="54" y="131"/>
                        </a:lnTo>
                        <a:lnTo>
                          <a:pt x="54" y="131"/>
                        </a:lnTo>
                        <a:lnTo>
                          <a:pt x="52" y="129"/>
                        </a:lnTo>
                        <a:lnTo>
                          <a:pt x="0" y="146"/>
                        </a:lnTo>
                        <a:lnTo>
                          <a:pt x="0" y="146"/>
                        </a:lnTo>
                        <a:lnTo>
                          <a:pt x="0" y="155"/>
                        </a:lnTo>
                        <a:lnTo>
                          <a:pt x="0" y="155"/>
                        </a:lnTo>
                        <a:lnTo>
                          <a:pt x="0" y="157"/>
                        </a:lnTo>
                        <a:lnTo>
                          <a:pt x="6" y="158"/>
                        </a:lnTo>
                        <a:lnTo>
                          <a:pt x="6" y="158"/>
                        </a:lnTo>
                        <a:lnTo>
                          <a:pt x="114" y="166"/>
                        </a:lnTo>
                        <a:lnTo>
                          <a:pt x="114" y="166"/>
                        </a:lnTo>
                        <a:lnTo>
                          <a:pt x="115" y="166"/>
                        </a:lnTo>
                        <a:lnTo>
                          <a:pt x="115" y="166"/>
                        </a:lnTo>
                        <a:lnTo>
                          <a:pt x="118" y="166"/>
                        </a:lnTo>
                        <a:lnTo>
                          <a:pt x="118" y="166"/>
                        </a:lnTo>
                        <a:lnTo>
                          <a:pt x="129" y="166"/>
                        </a:lnTo>
                        <a:lnTo>
                          <a:pt x="129" y="166"/>
                        </a:lnTo>
                        <a:lnTo>
                          <a:pt x="134" y="166"/>
                        </a:lnTo>
                        <a:lnTo>
                          <a:pt x="146" y="168"/>
                        </a:lnTo>
                        <a:lnTo>
                          <a:pt x="163" y="162"/>
                        </a:lnTo>
                        <a:lnTo>
                          <a:pt x="163" y="162"/>
                        </a:lnTo>
                        <a:lnTo>
                          <a:pt x="166" y="148"/>
                        </a:lnTo>
                        <a:lnTo>
                          <a:pt x="166" y="148"/>
                        </a:lnTo>
                        <a:lnTo>
                          <a:pt x="168" y="143"/>
                        </a:lnTo>
                        <a:lnTo>
                          <a:pt x="168" y="143"/>
                        </a:lnTo>
                        <a:lnTo>
                          <a:pt x="171" y="142"/>
                        </a:lnTo>
                        <a:lnTo>
                          <a:pt x="174" y="143"/>
                        </a:lnTo>
                        <a:lnTo>
                          <a:pt x="174" y="143"/>
                        </a:lnTo>
                        <a:lnTo>
                          <a:pt x="172" y="131"/>
                        </a:lnTo>
                        <a:lnTo>
                          <a:pt x="174" y="123"/>
                        </a:lnTo>
                        <a:lnTo>
                          <a:pt x="175" y="120"/>
                        </a:lnTo>
                        <a:lnTo>
                          <a:pt x="179" y="118"/>
                        </a:lnTo>
                        <a:lnTo>
                          <a:pt x="179" y="118"/>
                        </a:lnTo>
                        <a:lnTo>
                          <a:pt x="179" y="115"/>
                        </a:lnTo>
                        <a:lnTo>
                          <a:pt x="180" y="112"/>
                        </a:lnTo>
                        <a:lnTo>
                          <a:pt x="183" y="111"/>
                        </a:lnTo>
                        <a:lnTo>
                          <a:pt x="183" y="111"/>
                        </a:lnTo>
                        <a:lnTo>
                          <a:pt x="185" y="112"/>
                        </a:lnTo>
                        <a:lnTo>
                          <a:pt x="188" y="115"/>
                        </a:lnTo>
                        <a:lnTo>
                          <a:pt x="188" y="120"/>
                        </a:lnTo>
                        <a:lnTo>
                          <a:pt x="188" y="120"/>
                        </a:lnTo>
                        <a:lnTo>
                          <a:pt x="189" y="120"/>
                        </a:lnTo>
                        <a:lnTo>
                          <a:pt x="191" y="121"/>
                        </a:lnTo>
                        <a:lnTo>
                          <a:pt x="192" y="126"/>
                        </a:lnTo>
                        <a:lnTo>
                          <a:pt x="192" y="126"/>
                        </a:lnTo>
                        <a:lnTo>
                          <a:pt x="194" y="134"/>
                        </a:lnTo>
                        <a:lnTo>
                          <a:pt x="195" y="137"/>
                        </a:lnTo>
                        <a:lnTo>
                          <a:pt x="195" y="137"/>
                        </a:lnTo>
                        <a:lnTo>
                          <a:pt x="197" y="140"/>
                        </a:lnTo>
                        <a:lnTo>
                          <a:pt x="197" y="143"/>
                        </a:lnTo>
                        <a:lnTo>
                          <a:pt x="197" y="143"/>
                        </a:lnTo>
                        <a:lnTo>
                          <a:pt x="197" y="143"/>
                        </a:lnTo>
                        <a:lnTo>
                          <a:pt x="197" y="143"/>
                        </a:lnTo>
                        <a:lnTo>
                          <a:pt x="197" y="145"/>
                        </a:lnTo>
                        <a:lnTo>
                          <a:pt x="197" y="145"/>
                        </a:lnTo>
                        <a:lnTo>
                          <a:pt x="206" y="140"/>
                        </a:lnTo>
                        <a:lnTo>
                          <a:pt x="206" y="140"/>
                        </a:lnTo>
                        <a:lnTo>
                          <a:pt x="208" y="138"/>
                        </a:lnTo>
                        <a:lnTo>
                          <a:pt x="209" y="134"/>
                        </a:lnTo>
                        <a:lnTo>
                          <a:pt x="209" y="134"/>
                        </a:lnTo>
                        <a:lnTo>
                          <a:pt x="231" y="7"/>
                        </a:lnTo>
                        <a:lnTo>
                          <a:pt x="231" y="7"/>
                        </a:lnTo>
                        <a:lnTo>
                          <a:pt x="231" y="4"/>
                        </a:lnTo>
                        <a:lnTo>
                          <a:pt x="231" y="3"/>
                        </a:lnTo>
                        <a:lnTo>
                          <a:pt x="228" y="1"/>
                        </a:lnTo>
                        <a:lnTo>
                          <a:pt x="228" y="1"/>
                        </a:lnTo>
                        <a:close/>
                      </a:path>
                    </a:pathLst>
                  </a:custGeom>
                  <a:solidFill>
                    <a:srgbClr val="66635A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330" name="Freeform 78"/>
                  <p:cNvSpPr>
                    <a:spLocks noEditPoints="1"/>
                  </p:cNvSpPr>
                  <p:nvPr/>
                </p:nvSpPr>
                <p:spPr bwMode="auto">
                  <a:xfrm>
                    <a:off x="3882257" y="5192539"/>
                    <a:ext cx="155846" cy="273782"/>
                  </a:xfrm>
                  <a:custGeom>
                    <a:avLst/>
                    <a:gdLst>
                      <a:gd name="T0" fmla="*/ 111 w 111"/>
                      <a:gd name="T1" fmla="*/ 178 h 195"/>
                      <a:gd name="T2" fmla="*/ 107 w 111"/>
                      <a:gd name="T3" fmla="*/ 165 h 195"/>
                      <a:gd name="T4" fmla="*/ 105 w 111"/>
                      <a:gd name="T5" fmla="*/ 193 h 195"/>
                      <a:gd name="T6" fmla="*/ 107 w 111"/>
                      <a:gd name="T7" fmla="*/ 195 h 195"/>
                      <a:gd name="T8" fmla="*/ 108 w 111"/>
                      <a:gd name="T9" fmla="*/ 193 h 195"/>
                      <a:gd name="T10" fmla="*/ 110 w 111"/>
                      <a:gd name="T11" fmla="*/ 190 h 195"/>
                      <a:gd name="T12" fmla="*/ 111 w 111"/>
                      <a:gd name="T13" fmla="*/ 178 h 195"/>
                      <a:gd name="T14" fmla="*/ 61 w 111"/>
                      <a:gd name="T15" fmla="*/ 36 h 195"/>
                      <a:gd name="T16" fmla="*/ 57 w 111"/>
                      <a:gd name="T17" fmla="*/ 37 h 195"/>
                      <a:gd name="T18" fmla="*/ 50 w 111"/>
                      <a:gd name="T19" fmla="*/ 37 h 195"/>
                      <a:gd name="T20" fmla="*/ 37 w 111"/>
                      <a:gd name="T21" fmla="*/ 31 h 195"/>
                      <a:gd name="T22" fmla="*/ 27 w 111"/>
                      <a:gd name="T23" fmla="*/ 24 h 195"/>
                      <a:gd name="T24" fmla="*/ 11 w 111"/>
                      <a:gd name="T25" fmla="*/ 13 h 195"/>
                      <a:gd name="T26" fmla="*/ 8 w 111"/>
                      <a:gd name="T27" fmla="*/ 8 h 195"/>
                      <a:gd name="T28" fmla="*/ 11 w 111"/>
                      <a:gd name="T29" fmla="*/ 5 h 195"/>
                      <a:gd name="T30" fmla="*/ 11 w 111"/>
                      <a:gd name="T31" fmla="*/ 0 h 195"/>
                      <a:gd name="T32" fmla="*/ 8 w 111"/>
                      <a:gd name="T33" fmla="*/ 0 h 195"/>
                      <a:gd name="T34" fmla="*/ 5 w 111"/>
                      <a:gd name="T35" fmla="*/ 2 h 195"/>
                      <a:gd name="T36" fmla="*/ 4 w 111"/>
                      <a:gd name="T37" fmla="*/ 4 h 195"/>
                      <a:gd name="T38" fmla="*/ 0 w 111"/>
                      <a:gd name="T39" fmla="*/ 8 h 195"/>
                      <a:gd name="T40" fmla="*/ 8 w 111"/>
                      <a:gd name="T41" fmla="*/ 17 h 195"/>
                      <a:gd name="T42" fmla="*/ 16 w 111"/>
                      <a:gd name="T43" fmla="*/ 27 h 195"/>
                      <a:gd name="T44" fmla="*/ 31 w 111"/>
                      <a:gd name="T45" fmla="*/ 47 h 195"/>
                      <a:gd name="T46" fmla="*/ 50 w 111"/>
                      <a:gd name="T47" fmla="*/ 74 h 195"/>
                      <a:gd name="T48" fmla="*/ 48 w 111"/>
                      <a:gd name="T49" fmla="*/ 59 h 195"/>
                      <a:gd name="T50" fmla="*/ 44 w 111"/>
                      <a:gd name="T51" fmla="*/ 54 h 195"/>
                      <a:gd name="T52" fmla="*/ 41 w 111"/>
                      <a:gd name="T53" fmla="*/ 53 h 195"/>
                      <a:gd name="T54" fmla="*/ 45 w 111"/>
                      <a:gd name="T55" fmla="*/ 44 h 195"/>
                      <a:gd name="T56" fmla="*/ 50 w 111"/>
                      <a:gd name="T57" fmla="*/ 44 h 195"/>
                      <a:gd name="T58" fmla="*/ 53 w 111"/>
                      <a:gd name="T59" fmla="*/ 44 h 195"/>
                      <a:gd name="T60" fmla="*/ 57 w 111"/>
                      <a:gd name="T61" fmla="*/ 50 h 195"/>
                      <a:gd name="T62" fmla="*/ 62 w 111"/>
                      <a:gd name="T63" fmla="*/ 64 h 195"/>
                      <a:gd name="T64" fmla="*/ 70 w 111"/>
                      <a:gd name="T65" fmla="*/ 78 h 195"/>
                      <a:gd name="T66" fmla="*/ 73 w 111"/>
                      <a:gd name="T67" fmla="*/ 87 h 195"/>
                      <a:gd name="T68" fmla="*/ 71 w 111"/>
                      <a:gd name="T69" fmla="*/ 48 h 195"/>
                      <a:gd name="T70" fmla="*/ 70 w 111"/>
                      <a:gd name="T71" fmla="*/ 41 h 195"/>
                      <a:gd name="T72" fmla="*/ 62 w 111"/>
                      <a:gd name="T73" fmla="*/ 36 h 195"/>
                      <a:gd name="T74" fmla="*/ 61 w 111"/>
                      <a:gd name="T75" fmla="*/ 36 h 1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111" h="195">
                        <a:moveTo>
                          <a:pt x="111" y="178"/>
                        </a:moveTo>
                        <a:lnTo>
                          <a:pt x="111" y="178"/>
                        </a:lnTo>
                        <a:lnTo>
                          <a:pt x="108" y="170"/>
                        </a:lnTo>
                        <a:lnTo>
                          <a:pt x="107" y="165"/>
                        </a:lnTo>
                        <a:lnTo>
                          <a:pt x="105" y="193"/>
                        </a:lnTo>
                        <a:lnTo>
                          <a:pt x="105" y="193"/>
                        </a:lnTo>
                        <a:lnTo>
                          <a:pt x="107" y="195"/>
                        </a:lnTo>
                        <a:lnTo>
                          <a:pt x="107" y="195"/>
                        </a:lnTo>
                        <a:lnTo>
                          <a:pt x="108" y="193"/>
                        </a:lnTo>
                        <a:lnTo>
                          <a:pt x="108" y="193"/>
                        </a:lnTo>
                        <a:lnTo>
                          <a:pt x="110" y="190"/>
                        </a:lnTo>
                        <a:lnTo>
                          <a:pt x="110" y="190"/>
                        </a:lnTo>
                        <a:lnTo>
                          <a:pt x="111" y="185"/>
                        </a:lnTo>
                        <a:lnTo>
                          <a:pt x="111" y="178"/>
                        </a:lnTo>
                        <a:lnTo>
                          <a:pt x="111" y="178"/>
                        </a:lnTo>
                        <a:close/>
                        <a:moveTo>
                          <a:pt x="61" y="36"/>
                        </a:moveTo>
                        <a:lnTo>
                          <a:pt x="61" y="36"/>
                        </a:lnTo>
                        <a:lnTo>
                          <a:pt x="57" y="37"/>
                        </a:lnTo>
                        <a:lnTo>
                          <a:pt x="53" y="39"/>
                        </a:lnTo>
                        <a:lnTo>
                          <a:pt x="50" y="37"/>
                        </a:lnTo>
                        <a:lnTo>
                          <a:pt x="45" y="36"/>
                        </a:lnTo>
                        <a:lnTo>
                          <a:pt x="37" y="31"/>
                        </a:lnTo>
                        <a:lnTo>
                          <a:pt x="27" y="24"/>
                        </a:lnTo>
                        <a:lnTo>
                          <a:pt x="27" y="24"/>
                        </a:lnTo>
                        <a:lnTo>
                          <a:pt x="17" y="17"/>
                        </a:lnTo>
                        <a:lnTo>
                          <a:pt x="11" y="13"/>
                        </a:lnTo>
                        <a:lnTo>
                          <a:pt x="8" y="8"/>
                        </a:lnTo>
                        <a:lnTo>
                          <a:pt x="8" y="8"/>
                        </a:lnTo>
                        <a:lnTo>
                          <a:pt x="11" y="5"/>
                        </a:lnTo>
                        <a:lnTo>
                          <a:pt x="11" y="5"/>
                        </a:lnTo>
                        <a:lnTo>
                          <a:pt x="11" y="0"/>
                        </a:lnTo>
                        <a:lnTo>
                          <a:pt x="11" y="0"/>
                        </a:lnTo>
                        <a:lnTo>
                          <a:pt x="11" y="0"/>
                        </a:lnTo>
                        <a:lnTo>
                          <a:pt x="8" y="0"/>
                        </a:lnTo>
                        <a:lnTo>
                          <a:pt x="7" y="2"/>
                        </a:lnTo>
                        <a:lnTo>
                          <a:pt x="5" y="2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lnTo>
                          <a:pt x="2" y="4"/>
                        </a:lnTo>
                        <a:lnTo>
                          <a:pt x="0" y="8"/>
                        </a:lnTo>
                        <a:lnTo>
                          <a:pt x="0" y="8"/>
                        </a:lnTo>
                        <a:lnTo>
                          <a:pt x="8" y="17"/>
                        </a:lnTo>
                        <a:lnTo>
                          <a:pt x="8" y="17"/>
                        </a:lnTo>
                        <a:lnTo>
                          <a:pt x="16" y="27"/>
                        </a:lnTo>
                        <a:lnTo>
                          <a:pt x="31" y="47"/>
                        </a:lnTo>
                        <a:lnTo>
                          <a:pt x="31" y="47"/>
                        </a:lnTo>
                        <a:lnTo>
                          <a:pt x="50" y="74"/>
                        </a:lnTo>
                        <a:lnTo>
                          <a:pt x="50" y="74"/>
                        </a:lnTo>
                        <a:lnTo>
                          <a:pt x="50" y="68"/>
                        </a:lnTo>
                        <a:lnTo>
                          <a:pt x="48" y="59"/>
                        </a:lnTo>
                        <a:lnTo>
                          <a:pt x="48" y="59"/>
                        </a:lnTo>
                        <a:lnTo>
                          <a:pt x="44" y="54"/>
                        </a:lnTo>
                        <a:lnTo>
                          <a:pt x="41" y="53"/>
                        </a:lnTo>
                        <a:lnTo>
                          <a:pt x="41" y="53"/>
                        </a:lnTo>
                        <a:lnTo>
                          <a:pt x="42" y="47"/>
                        </a:lnTo>
                        <a:lnTo>
                          <a:pt x="45" y="44"/>
                        </a:lnTo>
                        <a:lnTo>
                          <a:pt x="47" y="44"/>
                        </a:lnTo>
                        <a:lnTo>
                          <a:pt x="50" y="44"/>
                        </a:lnTo>
                        <a:lnTo>
                          <a:pt x="50" y="44"/>
                        </a:lnTo>
                        <a:lnTo>
                          <a:pt x="53" y="44"/>
                        </a:lnTo>
                        <a:lnTo>
                          <a:pt x="54" y="45"/>
                        </a:lnTo>
                        <a:lnTo>
                          <a:pt x="57" y="50"/>
                        </a:lnTo>
                        <a:lnTo>
                          <a:pt x="59" y="56"/>
                        </a:lnTo>
                        <a:lnTo>
                          <a:pt x="62" y="64"/>
                        </a:lnTo>
                        <a:lnTo>
                          <a:pt x="62" y="64"/>
                        </a:lnTo>
                        <a:lnTo>
                          <a:pt x="70" y="78"/>
                        </a:lnTo>
                        <a:lnTo>
                          <a:pt x="73" y="87"/>
                        </a:lnTo>
                        <a:lnTo>
                          <a:pt x="73" y="87"/>
                        </a:lnTo>
                        <a:lnTo>
                          <a:pt x="71" y="48"/>
                        </a:lnTo>
                        <a:lnTo>
                          <a:pt x="71" y="48"/>
                        </a:lnTo>
                        <a:lnTo>
                          <a:pt x="71" y="44"/>
                        </a:lnTo>
                        <a:lnTo>
                          <a:pt x="70" y="41"/>
                        </a:lnTo>
                        <a:lnTo>
                          <a:pt x="67" y="37"/>
                        </a:lnTo>
                        <a:lnTo>
                          <a:pt x="62" y="36"/>
                        </a:lnTo>
                        <a:lnTo>
                          <a:pt x="61" y="36"/>
                        </a:lnTo>
                        <a:lnTo>
                          <a:pt x="61" y="3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</p:grpSp>
            <p:grpSp>
              <p:nvGrpSpPr>
                <p:cNvPr id="318" name="Group 317"/>
                <p:cNvGrpSpPr/>
                <p:nvPr/>
              </p:nvGrpSpPr>
              <p:grpSpPr>
                <a:xfrm>
                  <a:off x="3952441" y="1204189"/>
                  <a:ext cx="442777" cy="949226"/>
                  <a:chOff x="3761512" y="5031077"/>
                  <a:chExt cx="614957" cy="1318366"/>
                </a:xfrm>
              </p:grpSpPr>
              <p:sp>
                <p:nvSpPr>
                  <p:cNvPr id="319" name="Freeform 73"/>
                  <p:cNvSpPr>
                    <a:spLocks/>
                  </p:cNvSpPr>
                  <p:nvPr/>
                </p:nvSpPr>
                <p:spPr bwMode="auto">
                  <a:xfrm>
                    <a:off x="3981941" y="6027925"/>
                    <a:ext cx="2808" cy="9828"/>
                  </a:xfrm>
                  <a:custGeom>
                    <a:avLst/>
                    <a:gdLst>
                      <a:gd name="T0" fmla="*/ 0 w 2"/>
                      <a:gd name="T1" fmla="*/ 7 h 7"/>
                      <a:gd name="T2" fmla="*/ 0 w 2"/>
                      <a:gd name="T3" fmla="*/ 7 h 7"/>
                      <a:gd name="T4" fmla="*/ 2 w 2"/>
                      <a:gd name="T5" fmla="*/ 0 h 7"/>
                      <a:gd name="T6" fmla="*/ 2 w 2"/>
                      <a:gd name="T7" fmla="*/ 0 h 7"/>
                      <a:gd name="T8" fmla="*/ 0 w 2"/>
                      <a:gd name="T9" fmla="*/ 7 h 7"/>
                      <a:gd name="T10" fmla="*/ 0 w 2"/>
                      <a:gd name="T11" fmla="*/ 7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" h="7">
                        <a:moveTo>
                          <a:pt x="0" y="7"/>
                        </a:moveTo>
                        <a:lnTo>
                          <a:pt x="0" y="7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0" y="7"/>
                        </a:lnTo>
                        <a:lnTo>
                          <a:pt x="0" y="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320" name="Freeform 74"/>
                  <p:cNvSpPr>
                    <a:spLocks/>
                  </p:cNvSpPr>
                  <p:nvPr/>
                </p:nvSpPr>
                <p:spPr bwMode="auto">
                  <a:xfrm>
                    <a:off x="4325925" y="5487381"/>
                    <a:ext cx="2808" cy="2808"/>
                  </a:xfrm>
                  <a:custGeom>
                    <a:avLst/>
                    <a:gdLst>
                      <a:gd name="T0" fmla="*/ 2 w 2"/>
                      <a:gd name="T1" fmla="*/ 0 h 2"/>
                      <a:gd name="T2" fmla="*/ 2 w 2"/>
                      <a:gd name="T3" fmla="*/ 0 h 2"/>
                      <a:gd name="T4" fmla="*/ 2 w 2"/>
                      <a:gd name="T5" fmla="*/ 0 h 2"/>
                      <a:gd name="T6" fmla="*/ 2 w 2"/>
                      <a:gd name="T7" fmla="*/ 0 h 2"/>
                      <a:gd name="T8" fmla="*/ 0 w 2"/>
                      <a:gd name="T9" fmla="*/ 2 h 2"/>
                      <a:gd name="T10" fmla="*/ 0 w 2"/>
                      <a:gd name="T11" fmla="*/ 2 h 2"/>
                      <a:gd name="T12" fmla="*/ 2 w 2"/>
                      <a:gd name="T13" fmla="*/ 2 h 2"/>
                      <a:gd name="T14" fmla="*/ 2 w 2"/>
                      <a:gd name="T15" fmla="*/ 2 h 2"/>
                      <a:gd name="T16" fmla="*/ 2 w 2"/>
                      <a:gd name="T17" fmla="*/ 0 h 2"/>
                      <a:gd name="T18" fmla="*/ 2 w 2"/>
                      <a:gd name="T19" fmla="*/ 0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" h="2">
                        <a:moveTo>
                          <a:pt x="2" y="0"/>
                        </a:move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321" name="Freeform 75"/>
                  <p:cNvSpPr>
                    <a:spLocks/>
                  </p:cNvSpPr>
                  <p:nvPr/>
                </p:nvSpPr>
                <p:spPr bwMode="auto">
                  <a:xfrm>
                    <a:off x="4203775" y="5519673"/>
                    <a:ext cx="32293" cy="32292"/>
                  </a:xfrm>
                  <a:custGeom>
                    <a:avLst/>
                    <a:gdLst>
                      <a:gd name="T0" fmla="*/ 10 w 23"/>
                      <a:gd name="T1" fmla="*/ 19 h 23"/>
                      <a:gd name="T2" fmla="*/ 10 w 23"/>
                      <a:gd name="T3" fmla="*/ 19 h 23"/>
                      <a:gd name="T4" fmla="*/ 9 w 23"/>
                      <a:gd name="T5" fmla="*/ 17 h 23"/>
                      <a:gd name="T6" fmla="*/ 7 w 23"/>
                      <a:gd name="T7" fmla="*/ 14 h 23"/>
                      <a:gd name="T8" fmla="*/ 7 w 23"/>
                      <a:gd name="T9" fmla="*/ 6 h 23"/>
                      <a:gd name="T10" fmla="*/ 7 w 23"/>
                      <a:gd name="T11" fmla="*/ 6 h 23"/>
                      <a:gd name="T12" fmla="*/ 7 w 23"/>
                      <a:gd name="T13" fmla="*/ 5 h 23"/>
                      <a:gd name="T14" fmla="*/ 7 w 23"/>
                      <a:gd name="T15" fmla="*/ 5 h 23"/>
                      <a:gd name="T16" fmla="*/ 7 w 23"/>
                      <a:gd name="T17" fmla="*/ 0 h 23"/>
                      <a:gd name="T18" fmla="*/ 7 w 23"/>
                      <a:gd name="T19" fmla="*/ 0 h 23"/>
                      <a:gd name="T20" fmla="*/ 6 w 23"/>
                      <a:gd name="T21" fmla="*/ 0 h 23"/>
                      <a:gd name="T22" fmla="*/ 6 w 23"/>
                      <a:gd name="T23" fmla="*/ 0 h 23"/>
                      <a:gd name="T24" fmla="*/ 3 w 23"/>
                      <a:gd name="T25" fmla="*/ 3 h 23"/>
                      <a:gd name="T26" fmla="*/ 1 w 23"/>
                      <a:gd name="T27" fmla="*/ 11 h 23"/>
                      <a:gd name="T28" fmla="*/ 0 w 23"/>
                      <a:gd name="T29" fmla="*/ 20 h 23"/>
                      <a:gd name="T30" fmla="*/ 0 w 23"/>
                      <a:gd name="T31" fmla="*/ 20 h 23"/>
                      <a:gd name="T32" fmla="*/ 0 w 23"/>
                      <a:gd name="T33" fmla="*/ 22 h 23"/>
                      <a:gd name="T34" fmla="*/ 1 w 23"/>
                      <a:gd name="T35" fmla="*/ 23 h 23"/>
                      <a:gd name="T36" fmla="*/ 10 w 23"/>
                      <a:gd name="T37" fmla="*/ 23 h 23"/>
                      <a:gd name="T38" fmla="*/ 10 w 23"/>
                      <a:gd name="T39" fmla="*/ 23 h 23"/>
                      <a:gd name="T40" fmla="*/ 18 w 23"/>
                      <a:gd name="T41" fmla="*/ 22 h 23"/>
                      <a:gd name="T42" fmla="*/ 23 w 23"/>
                      <a:gd name="T43" fmla="*/ 20 h 23"/>
                      <a:gd name="T44" fmla="*/ 23 w 23"/>
                      <a:gd name="T45" fmla="*/ 20 h 23"/>
                      <a:gd name="T46" fmla="*/ 23 w 23"/>
                      <a:gd name="T47" fmla="*/ 20 h 23"/>
                      <a:gd name="T48" fmla="*/ 23 w 23"/>
                      <a:gd name="T49" fmla="*/ 20 h 23"/>
                      <a:gd name="T50" fmla="*/ 23 w 23"/>
                      <a:gd name="T51" fmla="*/ 20 h 23"/>
                      <a:gd name="T52" fmla="*/ 17 w 23"/>
                      <a:gd name="T53" fmla="*/ 20 h 23"/>
                      <a:gd name="T54" fmla="*/ 10 w 23"/>
                      <a:gd name="T55" fmla="*/ 19 h 23"/>
                      <a:gd name="T56" fmla="*/ 10 w 23"/>
                      <a:gd name="T57" fmla="*/ 19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23" h="23">
                        <a:moveTo>
                          <a:pt x="10" y="19"/>
                        </a:moveTo>
                        <a:lnTo>
                          <a:pt x="10" y="19"/>
                        </a:lnTo>
                        <a:lnTo>
                          <a:pt x="9" y="17"/>
                        </a:lnTo>
                        <a:lnTo>
                          <a:pt x="7" y="14"/>
                        </a:lnTo>
                        <a:lnTo>
                          <a:pt x="7" y="6"/>
                        </a:lnTo>
                        <a:lnTo>
                          <a:pt x="7" y="6"/>
                        </a:lnTo>
                        <a:lnTo>
                          <a:pt x="7" y="5"/>
                        </a:lnTo>
                        <a:lnTo>
                          <a:pt x="7" y="5"/>
                        </a:lnTo>
                        <a:lnTo>
                          <a:pt x="7" y="0"/>
                        </a:lnTo>
                        <a:lnTo>
                          <a:pt x="7" y="0"/>
                        </a:lnTo>
                        <a:lnTo>
                          <a:pt x="6" y="0"/>
                        </a:lnTo>
                        <a:lnTo>
                          <a:pt x="6" y="0"/>
                        </a:lnTo>
                        <a:lnTo>
                          <a:pt x="3" y="3"/>
                        </a:lnTo>
                        <a:lnTo>
                          <a:pt x="1" y="11"/>
                        </a:lnTo>
                        <a:lnTo>
                          <a:pt x="0" y="20"/>
                        </a:lnTo>
                        <a:lnTo>
                          <a:pt x="0" y="20"/>
                        </a:lnTo>
                        <a:lnTo>
                          <a:pt x="0" y="22"/>
                        </a:lnTo>
                        <a:lnTo>
                          <a:pt x="1" y="23"/>
                        </a:lnTo>
                        <a:lnTo>
                          <a:pt x="10" y="23"/>
                        </a:lnTo>
                        <a:lnTo>
                          <a:pt x="10" y="23"/>
                        </a:lnTo>
                        <a:lnTo>
                          <a:pt x="18" y="22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17" y="20"/>
                        </a:lnTo>
                        <a:lnTo>
                          <a:pt x="10" y="19"/>
                        </a:lnTo>
                        <a:lnTo>
                          <a:pt x="10" y="1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322" name="Freeform 76"/>
                  <p:cNvSpPr>
                    <a:spLocks noEditPoints="1"/>
                  </p:cNvSpPr>
                  <p:nvPr/>
                </p:nvSpPr>
                <p:spPr bwMode="auto">
                  <a:xfrm>
                    <a:off x="3761512" y="5031077"/>
                    <a:ext cx="567221" cy="1318366"/>
                  </a:xfrm>
                  <a:custGeom>
                    <a:avLst/>
                    <a:gdLst>
                      <a:gd name="T0" fmla="*/ 318 w 404"/>
                      <a:gd name="T1" fmla="*/ 351 h 939"/>
                      <a:gd name="T2" fmla="*/ 207 w 404"/>
                      <a:gd name="T3" fmla="*/ 328 h 939"/>
                      <a:gd name="T4" fmla="*/ 265 w 404"/>
                      <a:gd name="T5" fmla="*/ 314 h 939"/>
                      <a:gd name="T6" fmla="*/ 284 w 404"/>
                      <a:gd name="T7" fmla="*/ 320 h 939"/>
                      <a:gd name="T8" fmla="*/ 296 w 404"/>
                      <a:gd name="T9" fmla="*/ 317 h 939"/>
                      <a:gd name="T10" fmla="*/ 291 w 404"/>
                      <a:gd name="T11" fmla="*/ 303 h 939"/>
                      <a:gd name="T12" fmla="*/ 271 w 404"/>
                      <a:gd name="T13" fmla="*/ 285 h 939"/>
                      <a:gd name="T14" fmla="*/ 225 w 404"/>
                      <a:gd name="T15" fmla="*/ 200 h 939"/>
                      <a:gd name="T16" fmla="*/ 177 w 404"/>
                      <a:gd name="T17" fmla="*/ 163 h 939"/>
                      <a:gd name="T18" fmla="*/ 176 w 404"/>
                      <a:gd name="T19" fmla="*/ 143 h 939"/>
                      <a:gd name="T20" fmla="*/ 187 w 404"/>
                      <a:gd name="T21" fmla="*/ 132 h 939"/>
                      <a:gd name="T22" fmla="*/ 197 w 404"/>
                      <a:gd name="T23" fmla="*/ 120 h 939"/>
                      <a:gd name="T24" fmla="*/ 196 w 404"/>
                      <a:gd name="T25" fmla="*/ 97 h 939"/>
                      <a:gd name="T26" fmla="*/ 208 w 404"/>
                      <a:gd name="T27" fmla="*/ 68 h 939"/>
                      <a:gd name="T28" fmla="*/ 205 w 404"/>
                      <a:gd name="T29" fmla="*/ 35 h 939"/>
                      <a:gd name="T30" fmla="*/ 145 w 404"/>
                      <a:gd name="T31" fmla="*/ 0 h 939"/>
                      <a:gd name="T32" fmla="*/ 100 w 404"/>
                      <a:gd name="T33" fmla="*/ 45 h 939"/>
                      <a:gd name="T34" fmla="*/ 102 w 404"/>
                      <a:gd name="T35" fmla="*/ 105 h 939"/>
                      <a:gd name="T36" fmla="*/ 85 w 404"/>
                      <a:gd name="T37" fmla="*/ 120 h 939"/>
                      <a:gd name="T38" fmla="*/ 49 w 404"/>
                      <a:gd name="T39" fmla="*/ 142 h 939"/>
                      <a:gd name="T40" fmla="*/ 19 w 404"/>
                      <a:gd name="T41" fmla="*/ 152 h 939"/>
                      <a:gd name="T42" fmla="*/ 0 w 404"/>
                      <a:gd name="T43" fmla="*/ 185 h 939"/>
                      <a:gd name="T44" fmla="*/ 8 w 404"/>
                      <a:gd name="T45" fmla="*/ 242 h 939"/>
                      <a:gd name="T46" fmla="*/ 53 w 404"/>
                      <a:gd name="T47" fmla="*/ 356 h 939"/>
                      <a:gd name="T48" fmla="*/ 45 w 404"/>
                      <a:gd name="T49" fmla="*/ 458 h 939"/>
                      <a:gd name="T50" fmla="*/ 65 w 404"/>
                      <a:gd name="T51" fmla="*/ 559 h 939"/>
                      <a:gd name="T52" fmla="*/ 88 w 404"/>
                      <a:gd name="T53" fmla="*/ 743 h 939"/>
                      <a:gd name="T54" fmla="*/ 99 w 404"/>
                      <a:gd name="T55" fmla="*/ 848 h 939"/>
                      <a:gd name="T56" fmla="*/ 94 w 404"/>
                      <a:gd name="T57" fmla="*/ 869 h 939"/>
                      <a:gd name="T58" fmla="*/ 93 w 404"/>
                      <a:gd name="T59" fmla="*/ 909 h 939"/>
                      <a:gd name="T60" fmla="*/ 128 w 404"/>
                      <a:gd name="T61" fmla="*/ 939 h 939"/>
                      <a:gd name="T62" fmla="*/ 162 w 404"/>
                      <a:gd name="T63" fmla="*/ 914 h 939"/>
                      <a:gd name="T64" fmla="*/ 164 w 404"/>
                      <a:gd name="T65" fmla="*/ 882 h 939"/>
                      <a:gd name="T66" fmla="*/ 156 w 404"/>
                      <a:gd name="T67" fmla="*/ 758 h 939"/>
                      <a:gd name="T68" fmla="*/ 160 w 404"/>
                      <a:gd name="T69" fmla="*/ 751 h 939"/>
                      <a:gd name="T70" fmla="*/ 171 w 404"/>
                      <a:gd name="T71" fmla="*/ 883 h 939"/>
                      <a:gd name="T72" fmla="*/ 211 w 404"/>
                      <a:gd name="T73" fmla="*/ 905 h 939"/>
                      <a:gd name="T74" fmla="*/ 288 w 404"/>
                      <a:gd name="T75" fmla="*/ 914 h 939"/>
                      <a:gd name="T76" fmla="*/ 302 w 404"/>
                      <a:gd name="T77" fmla="*/ 886 h 939"/>
                      <a:gd name="T78" fmla="*/ 251 w 404"/>
                      <a:gd name="T79" fmla="*/ 860 h 939"/>
                      <a:gd name="T80" fmla="*/ 236 w 404"/>
                      <a:gd name="T81" fmla="*/ 841 h 939"/>
                      <a:gd name="T82" fmla="*/ 236 w 404"/>
                      <a:gd name="T83" fmla="*/ 817 h 939"/>
                      <a:gd name="T84" fmla="*/ 238 w 404"/>
                      <a:gd name="T85" fmla="*/ 706 h 939"/>
                      <a:gd name="T86" fmla="*/ 236 w 404"/>
                      <a:gd name="T87" fmla="*/ 599 h 939"/>
                      <a:gd name="T88" fmla="*/ 242 w 404"/>
                      <a:gd name="T89" fmla="*/ 504 h 939"/>
                      <a:gd name="T90" fmla="*/ 224 w 404"/>
                      <a:gd name="T91" fmla="*/ 401 h 939"/>
                      <a:gd name="T92" fmla="*/ 216 w 404"/>
                      <a:gd name="T93" fmla="*/ 345 h 939"/>
                      <a:gd name="T94" fmla="*/ 299 w 404"/>
                      <a:gd name="T95" fmla="*/ 388 h 939"/>
                      <a:gd name="T96" fmla="*/ 338 w 404"/>
                      <a:gd name="T97" fmla="*/ 368 h 939"/>
                      <a:gd name="T98" fmla="*/ 270 w 404"/>
                      <a:gd name="T99" fmla="*/ 308 h 939"/>
                      <a:gd name="T100" fmla="*/ 402 w 404"/>
                      <a:gd name="T101" fmla="*/ 327 h 939"/>
                      <a:gd name="T102" fmla="*/ 399 w 404"/>
                      <a:gd name="T103" fmla="*/ 308 h 939"/>
                      <a:gd name="T104" fmla="*/ 390 w 404"/>
                      <a:gd name="T105" fmla="*/ 293 h 939"/>
                      <a:gd name="T106" fmla="*/ 379 w 404"/>
                      <a:gd name="T107" fmla="*/ 313 h 939"/>
                      <a:gd name="T108" fmla="*/ 370 w 404"/>
                      <a:gd name="T109" fmla="*/ 344 h 939"/>
                      <a:gd name="T110" fmla="*/ 322 w 404"/>
                      <a:gd name="T111" fmla="*/ 348 h 939"/>
                      <a:gd name="T112" fmla="*/ 325 w 404"/>
                      <a:gd name="T113" fmla="*/ 367 h 939"/>
                      <a:gd name="T114" fmla="*/ 362 w 404"/>
                      <a:gd name="T115" fmla="*/ 361 h 939"/>
                      <a:gd name="T116" fmla="*/ 396 w 404"/>
                      <a:gd name="T117" fmla="*/ 351 h 939"/>
                      <a:gd name="T118" fmla="*/ 404 w 404"/>
                      <a:gd name="T119" fmla="*/ 327 h 9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</a:cxnLst>
                    <a:rect l="0" t="0" r="r" b="b"/>
                    <a:pathLst>
                      <a:path w="404" h="939">
                        <a:moveTo>
                          <a:pt x="325" y="371"/>
                        </a:moveTo>
                        <a:lnTo>
                          <a:pt x="325" y="371"/>
                        </a:lnTo>
                        <a:lnTo>
                          <a:pt x="316" y="371"/>
                        </a:lnTo>
                        <a:lnTo>
                          <a:pt x="315" y="370"/>
                        </a:lnTo>
                        <a:lnTo>
                          <a:pt x="315" y="368"/>
                        </a:lnTo>
                        <a:lnTo>
                          <a:pt x="315" y="368"/>
                        </a:lnTo>
                        <a:lnTo>
                          <a:pt x="316" y="359"/>
                        </a:lnTo>
                        <a:lnTo>
                          <a:pt x="318" y="351"/>
                        </a:lnTo>
                        <a:lnTo>
                          <a:pt x="321" y="348"/>
                        </a:lnTo>
                        <a:lnTo>
                          <a:pt x="321" y="348"/>
                        </a:lnTo>
                        <a:lnTo>
                          <a:pt x="213" y="340"/>
                        </a:lnTo>
                        <a:lnTo>
                          <a:pt x="213" y="340"/>
                        </a:lnTo>
                        <a:lnTo>
                          <a:pt x="207" y="339"/>
                        </a:lnTo>
                        <a:lnTo>
                          <a:pt x="207" y="337"/>
                        </a:lnTo>
                        <a:lnTo>
                          <a:pt x="207" y="337"/>
                        </a:lnTo>
                        <a:lnTo>
                          <a:pt x="207" y="328"/>
                        </a:lnTo>
                        <a:lnTo>
                          <a:pt x="259" y="311"/>
                        </a:lnTo>
                        <a:lnTo>
                          <a:pt x="259" y="311"/>
                        </a:lnTo>
                        <a:lnTo>
                          <a:pt x="261" y="313"/>
                        </a:lnTo>
                        <a:lnTo>
                          <a:pt x="261" y="313"/>
                        </a:lnTo>
                        <a:lnTo>
                          <a:pt x="262" y="313"/>
                        </a:lnTo>
                        <a:lnTo>
                          <a:pt x="262" y="313"/>
                        </a:lnTo>
                        <a:lnTo>
                          <a:pt x="265" y="314"/>
                        </a:lnTo>
                        <a:lnTo>
                          <a:pt x="265" y="314"/>
                        </a:lnTo>
                        <a:lnTo>
                          <a:pt x="271" y="320"/>
                        </a:lnTo>
                        <a:lnTo>
                          <a:pt x="278" y="324"/>
                        </a:lnTo>
                        <a:lnTo>
                          <a:pt x="278" y="324"/>
                        </a:lnTo>
                        <a:lnTo>
                          <a:pt x="282" y="324"/>
                        </a:lnTo>
                        <a:lnTo>
                          <a:pt x="282" y="320"/>
                        </a:lnTo>
                        <a:lnTo>
                          <a:pt x="282" y="320"/>
                        </a:lnTo>
                        <a:lnTo>
                          <a:pt x="284" y="320"/>
                        </a:lnTo>
                        <a:lnTo>
                          <a:pt x="284" y="320"/>
                        </a:lnTo>
                        <a:lnTo>
                          <a:pt x="285" y="320"/>
                        </a:lnTo>
                        <a:lnTo>
                          <a:pt x="287" y="319"/>
                        </a:lnTo>
                        <a:lnTo>
                          <a:pt x="287" y="319"/>
                        </a:lnTo>
                        <a:lnTo>
                          <a:pt x="288" y="313"/>
                        </a:lnTo>
                        <a:lnTo>
                          <a:pt x="288" y="313"/>
                        </a:lnTo>
                        <a:lnTo>
                          <a:pt x="293" y="316"/>
                        </a:lnTo>
                        <a:lnTo>
                          <a:pt x="293" y="316"/>
                        </a:lnTo>
                        <a:lnTo>
                          <a:pt x="296" y="317"/>
                        </a:lnTo>
                        <a:lnTo>
                          <a:pt x="301" y="317"/>
                        </a:lnTo>
                        <a:lnTo>
                          <a:pt x="301" y="317"/>
                        </a:lnTo>
                        <a:lnTo>
                          <a:pt x="301" y="316"/>
                        </a:lnTo>
                        <a:lnTo>
                          <a:pt x="299" y="313"/>
                        </a:lnTo>
                        <a:lnTo>
                          <a:pt x="299" y="313"/>
                        </a:lnTo>
                        <a:lnTo>
                          <a:pt x="293" y="305"/>
                        </a:lnTo>
                        <a:lnTo>
                          <a:pt x="293" y="305"/>
                        </a:lnTo>
                        <a:lnTo>
                          <a:pt x="291" y="303"/>
                        </a:lnTo>
                        <a:lnTo>
                          <a:pt x="291" y="303"/>
                        </a:lnTo>
                        <a:lnTo>
                          <a:pt x="291" y="300"/>
                        </a:lnTo>
                        <a:lnTo>
                          <a:pt x="290" y="293"/>
                        </a:lnTo>
                        <a:lnTo>
                          <a:pt x="290" y="293"/>
                        </a:lnTo>
                        <a:lnTo>
                          <a:pt x="287" y="288"/>
                        </a:lnTo>
                        <a:lnTo>
                          <a:pt x="285" y="287"/>
                        </a:lnTo>
                        <a:lnTo>
                          <a:pt x="285" y="287"/>
                        </a:lnTo>
                        <a:lnTo>
                          <a:pt x="271" y="285"/>
                        </a:lnTo>
                        <a:lnTo>
                          <a:pt x="261" y="285"/>
                        </a:lnTo>
                        <a:lnTo>
                          <a:pt x="248" y="282"/>
                        </a:lnTo>
                        <a:lnTo>
                          <a:pt x="248" y="282"/>
                        </a:lnTo>
                        <a:lnTo>
                          <a:pt x="242" y="270"/>
                        </a:lnTo>
                        <a:lnTo>
                          <a:pt x="238" y="260"/>
                        </a:lnTo>
                        <a:lnTo>
                          <a:pt x="236" y="254"/>
                        </a:lnTo>
                        <a:lnTo>
                          <a:pt x="236" y="254"/>
                        </a:lnTo>
                        <a:lnTo>
                          <a:pt x="225" y="200"/>
                        </a:lnTo>
                        <a:lnTo>
                          <a:pt x="225" y="200"/>
                        </a:lnTo>
                        <a:lnTo>
                          <a:pt x="221" y="188"/>
                        </a:lnTo>
                        <a:lnTo>
                          <a:pt x="219" y="185"/>
                        </a:lnTo>
                        <a:lnTo>
                          <a:pt x="216" y="182"/>
                        </a:lnTo>
                        <a:lnTo>
                          <a:pt x="208" y="177"/>
                        </a:lnTo>
                        <a:lnTo>
                          <a:pt x="201" y="174"/>
                        </a:lnTo>
                        <a:lnTo>
                          <a:pt x="201" y="174"/>
                        </a:lnTo>
                        <a:lnTo>
                          <a:pt x="177" y="163"/>
                        </a:lnTo>
                        <a:lnTo>
                          <a:pt x="165" y="156"/>
                        </a:lnTo>
                        <a:lnTo>
                          <a:pt x="165" y="156"/>
                        </a:lnTo>
                        <a:lnTo>
                          <a:pt x="170" y="154"/>
                        </a:lnTo>
                        <a:lnTo>
                          <a:pt x="173" y="151"/>
                        </a:lnTo>
                        <a:lnTo>
                          <a:pt x="176" y="148"/>
                        </a:lnTo>
                        <a:lnTo>
                          <a:pt x="176" y="145"/>
                        </a:lnTo>
                        <a:lnTo>
                          <a:pt x="176" y="145"/>
                        </a:lnTo>
                        <a:lnTo>
                          <a:pt x="176" y="143"/>
                        </a:lnTo>
                        <a:lnTo>
                          <a:pt x="177" y="142"/>
                        </a:lnTo>
                        <a:lnTo>
                          <a:pt x="182" y="140"/>
                        </a:lnTo>
                        <a:lnTo>
                          <a:pt x="182" y="140"/>
                        </a:lnTo>
                        <a:lnTo>
                          <a:pt x="184" y="139"/>
                        </a:lnTo>
                        <a:lnTo>
                          <a:pt x="184" y="137"/>
                        </a:lnTo>
                        <a:lnTo>
                          <a:pt x="184" y="134"/>
                        </a:lnTo>
                        <a:lnTo>
                          <a:pt x="184" y="134"/>
                        </a:lnTo>
                        <a:lnTo>
                          <a:pt x="187" y="132"/>
                        </a:lnTo>
                        <a:lnTo>
                          <a:pt x="188" y="131"/>
                        </a:lnTo>
                        <a:lnTo>
                          <a:pt x="190" y="126"/>
                        </a:lnTo>
                        <a:lnTo>
                          <a:pt x="190" y="126"/>
                        </a:lnTo>
                        <a:lnTo>
                          <a:pt x="190" y="123"/>
                        </a:lnTo>
                        <a:lnTo>
                          <a:pt x="191" y="122"/>
                        </a:lnTo>
                        <a:lnTo>
                          <a:pt x="191" y="122"/>
                        </a:lnTo>
                        <a:lnTo>
                          <a:pt x="194" y="122"/>
                        </a:lnTo>
                        <a:lnTo>
                          <a:pt x="197" y="120"/>
                        </a:lnTo>
                        <a:lnTo>
                          <a:pt x="197" y="120"/>
                        </a:lnTo>
                        <a:lnTo>
                          <a:pt x="199" y="119"/>
                        </a:lnTo>
                        <a:lnTo>
                          <a:pt x="199" y="115"/>
                        </a:lnTo>
                        <a:lnTo>
                          <a:pt x="197" y="108"/>
                        </a:lnTo>
                        <a:lnTo>
                          <a:pt x="197" y="108"/>
                        </a:lnTo>
                        <a:lnTo>
                          <a:pt x="196" y="102"/>
                        </a:lnTo>
                        <a:lnTo>
                          <a:pt x="196" y="97"/>
                        </a:lnTo>
                        <a:lnTo>
                          <a:pt x="196" y="97"/>
                        </a:lnTo>
                        <a:lnTo>
                          <a:pt x="199" y="94"/>
                        </a:lnTo>
                        <a:lnTo>
                          <a:pt x="202" y="89"/>
                        </a:lnTo>
                        <a:lnTo>
                          <a:pt x="202" y="89"/>
                        </a:lnTo>
                        <a:lnTo>
                          <a:pt x="204" y="89"/>
                        </a:lnTo>
                        <a:lnTo>
                          <a:pt x="205" y="85"/>
                        </a:lnTo>
                        <a:lnTo>
                          <a:pt x="205" y="85"/>
                        </a:lnTo>
                        <a:lnTo>
                          <a:pt x="207" y="77"/>
                        </a:lnTo>
                        <a:lnTo>
                          <a:pt x="208" y="68"/>
                        </a:lnTo>
                        <a:lnTo>
                          <a:pt x="208" y="68"/>
                        </a:lnTo>
                        <a:lnTo>
                          <a:pt x="208" y="65"/>
                        </a:lnTo>
                        <a:lnTo>
                          <a:pt x="207" y="60"/>
                        </a:lnTo>
                        <a:lnTo>
                          <a:pt x="205" y="55"/>
                        </a:lnTo>
                        <a:lnTo>
                          <a:pt x="205" y="55"/>
                        </a:lnTo>
                        <a:lnTo>
                          <a:pt x="208" y="49"/>
                        </a:lnTo>
                        <a:lnTo>
                          <a:pt x="208" y="41"/>
                        </a:lnTo>
                        <a:lnTo>
                          <a:pt x="205" y="35"/>
                        </a:lnTo>
                        <a:lnTo>
                          <a:pt x="201" y="28"/>
                        </a:lnTo>
                        <a:lnTo>
                          <a:pt x="193" y="20"/>
                        </a:lnTo>
                        <a:lnTo>
                          <a:pt x="185" y="14"/>
                        </a:lnTo>
                        <a:lnTo>
                          <a:pt x="176" y="8"/>
                        </a:lnTo>
                        <a:lnTo>
                          <a:pt x="165" y="1"/>
                        </a:lnTo>
                        <a:lnTo>
                          <a:pt x="165" y="1"/>
                        </a:lnTo>
                        <a:lnTo>
                          <a:pt x="154" y="0"/>
                        </a:lnTo>
                        <a:lnTo>
                          <a:pt x="145" y="0"/>
                        </a:lnTo>
                        <a:lnTo>
                          <a:pt x="136" y="1"/>
                        </a:lnTo>
                        <a:lnTo>
                          <a:pt x="127" y="6"/>
                        </a:lnTo>
                        <a:lnTo>
                          <a:pt x="119" y="12"/>
                        </a:lnTo>
                        <a:lnTo>
                          <a:pt x="113" y="20"/>
                        </a:lnTo>
                        <a:lnTo>
                          <a:pt x="106" y="28"/>
                        </a:lnTo>
                        <a:lnTo>
                          <a:pt x="102" y="35"/>
                        </a:lnTo>
                        <a:lnTo>
                          <a:pt x="102" y="35"/>
                        </a:lnTo>
                        <a:lnTo>
                          <a:pt x="100" y="45"/>
                        </a:lnTo>
                        <a:lnTo>
                          <a:pt x="99" y="52"/>
                        </a:lnTo>
                        <a:lnTo>
                          <a:pt x="99" y="60"/>
                        </a:lnTo>
                        <a:lnTo>
                          <a:pt x="100" y="66"/>
                        </a:lnTo>
                        <a:lnTo>
                          <a:pt x="103" y="78"/>
                        </a:lnTo>
                        <a:lnTo>
                          <a:pt x="105" y="89"/>
                        </a:lnTo>
                        <a:lnTo>
                          <a:pt x="105" y="89"/>
                        </a:lnTo>
                        <a:lnTo>
                          <a:pt x="103" y="102"/>
                        </a:lnTo>
                        <a:lnTo>
                          <a:pt x="102" y="105"/>
                        </a:lnTo>
                        <a:lnTo>
                          <a:pt x="97" y="115"/>
                        </a:lnTo>
                        <a:lnTo>
                          <a:pt x="97" y="115"/>
                        </a:lnTo>
                        <a:lnTo>
                          <a:pt x="94" y="115"/>
                        </a:lnTo>
                        <a:lnTo>
                          <a:pt x="93" y="117"/>
                        </a:lnTo>
                        <a:lnTo>
                          <a:pt x="91" y="117"/>
                        </a:lnTo>
                        <a:lnTo>
                          <a:pt x="90" y="119"/>
                        </a:lnTo>
                        <a:lnTo>
                          <a:pt x="90" y="119"/>
                        </a:lnTo>
                        <a:lnTo>
                          <a:pt x="85" y="120"/>
                        </a:lnTo>
                        <a:lnTo>
                          <a:pt x="80" y="125"/>
                        </a:lnTo>
                        <a:lnTo>
                          <a:pt x="71" y="134"/>
                        </a:lnTo>
                        <a:lnTo>
                          <a:pt x="71" y="134"/>
                        </a:lnTo>
                        <a:lnTo>
                          <a:pt x="63" y="139"/>
                        </a:lnTo>
                        <a:lnTo>
                          <a:pt x="59" y="140"/>
                        </a:lnTo>
                        <a:lnTo>
                          <a:pt x="54" y="140"/>
                        </a:lnTo>
                        <a:lnTo>
                          <a:pt x="54" y="140"/>
                        </a:lnTo>
                        <a:lnTo>
                          <a:pt x="49" y="142"/>
                        </a:lnTo>
                        <a:lnTo>
                          <a:pt x="45" y="142"/>
                        </a:lnTo>
                        <a:lnTo>
                          <a:pt x="37" y="146"/>
                        </a:lnTo>
                        <a:lnTo>
                          <a:pt x="37" y="146"/>
                        </a:lnTo>
                        <a:lnTo>
                          <a:pt x="32" y="149"/>
                        </a:lnTo>
                        <a:lnTo>
                          <a:pt x="28" y="149"/>
                        </a:lnTo>
                        <a:lnTo>
                          <a:pt x="28" y="149"/>
                        </a:lnTo>
                        <a:lnTo>
                          <a:pt x="23" y="149"/>
                        </a:lnTo>
                        <a:lnTo>
                          <a:pt x="19" y="152"/>
                        </a:lnTo>
                        <a:lnTo>
                          <a:pt x="8" y="159"/>
                        </a:lnTo>
                        <a:lnTo>
                          <a:pt x="8" y="159"/>
                        </a:lnTo>
                        <a:lnTo>
                          <a:pt x="5" y="162"/>
                        </a:lnTo>
                        <a:lnTo>
                          <a:pt x="2" y="163"/>
                        </a:lnTo>
                        <a:lnTo>
                          <a:pt x="2" y="174"/>
                        </a:lnTo>
                        <a:lnTo>
                          <a:pt x="2" y="174"/>
                        </a:lnTo>
                        <a:lnTo>
                          <a:pt x="0" y="185"/>
                        </a:lnTo>
                        <a:lnTo>
                          <a:pt x="0" y="185"/>
                        </a:lnTo>
                        <a:lnTo>
                          <a:pt x="0" y="200"/>
                        </a:lnTo>
                        <a:lnTo>
                          <a:pt x="0" y="200"/>
                        </a:lnTo>
                        <a:lnTo>
                          <a:pt x="0" y="206"/>
                        </a:lnTo>
                        <a:lnTo>
                          <a:pt x="2" y="216"/>
                        </a:lnTo>
                        <a:lnTo>
                          <a:pt x="2" y="216"/>
                        </a:lnTo>
                        <a:lnTo>
                          <a:pt x="5" y="234"/>
                        </a:lnTo>
                        <a:lnTo>
                          <a:pt x="5" y="234"/>
                        </a:lnTo>
                        <a:lnTo>
                          <a:pt x="8" y="242"/>
                        </a:lnTo>
                        <a:lnTo>
                          <a:pt x="11" y="251"/>
                        </a:lnTo>
                        <a:lnTo>
                          <a:pt x="22" y="274"/>
                        </a:lnTo>
                        <a:lnTo>
                          <a:pt x="34" y="300"/>
                        </a:lnTo>
                        <a:lnTo>
                          <a:pt x="46" y="327"/>
                        </a:lnTo>
                        <a:lnTo>
                          <a:pt x="46" y="327"/>
                        </a:lnTo>
                        <a:lnTo>
                          <a:pt x="49" y="339"/>
                        </a:lnTo>
                        <a:lnTo>
                          <a:pt x="51" y="348"/>
                        </a:lnTo>
                        <a:lnTo>
                          <a:pt x="53" y="356"/>
                        </a:lnTo>
                        <a:lnTo>
                          <a:pt x="53" y="364"/>
                        </a:lnTo>
                        <a:lnTo>
                          <a:pt x="49" y="377"/>
                        </a:lnTo>
                        <a:lnTo>
                          <a:pt x="46" y="390"/>
                        </a:lnTo>
                        <a:lnTo>
                          <a:pt x="46" y="390"/>
                        </a:lnTo>
                        <a:lnTo>
                          <a:pt x="45" y="405"/>
                        </a:lnTo>
                        <a:lnTo>
                          <a:pt x="43" y="419"/>
                        </a:lnTo>
                        <a:lnTo>
                          <a:pt x="45" y="458"/>
                        </a:lnTo>
                        <a:lnTo>
                          <a:pt x="45" y="458"/>
                        </a:lnTo>
                        <a:lnTo>
                          <a:pt x="46" y="481"/>
                        </a:lnTo>
                        <a:lnTo>
                          <a:pt x="45" y="498"/>
                        </a:lnTo>
                        <a:lnTo>
                          <a:pt x="43" y="515"/>
                        </a:lnTo>
                        <a:lnTo>
                          <a:pt x="54" y="513"/>
                        </a:lnTo>
                        <a:lnTo>
                          <a:pt x="54" y="513"/>
                        </a:lnTo>
                        <a:lnTo>
                          <a:pt x="54" y="522"/>
                        </a:lnTo>
                        <a:lnTo>
                          <a:pt x="57" y="533"/>
                        </a:lnTo>
                        <a:lnTo>
                          <a:pt x="65" y="559"/>
                        </a:lnTo>
                        <a:lnTo>
                          <a:pt x="73" y="586"/>
                        </a:lnTo>
                        <a:lnTo>
                          <a:pt x="76" y="598"/>
                        </a:lnTo>
                        <a:lnTo>
                          <a:pt x="77" y="609"/>
                        </a:lnTo>
                        <a:lnTo>
                          <a:pt x="77" y="609"/>
                        </a:lnTo>
                        <a:lnTo>
                          <a:pt x="83" y="675"/>
                        </a:lnTo>
                        <a:lnTo>
                          <a:pt x="86" y="714"/>
                        </a:lnTo>
                        <a:lnTo>
                          <a:pt x="88" y="743"/>
                        </a:lnTo>
                        <a:lnTo>
                          <a:pt x="88" y="743"/>
                        </a:lnTo>
                        <a:lnTo>
                          <a:pt x="88" y="766"/>
                        </a:lnTo>
                        <a:lnTo>
                          <a:pt x="91" y="783"/>
                        </a:lnTo>
                        <a:lnTo>
                          <a:pt x="93" y="798"/>
                        </a:lnTo>
                        <a:lnTo>
                          <a:pt x="94" y="812"/>
                        </a:lnTo>
                        <a:lnTo>
                          <a:pt x="94" y="812"/>
                        </a:lnTo>
                        <a:lnTo>
                          <a:pt x="96" y="834"/>
                        </a:lnTo>
                        <a:lnTo>
                          <a:pt x="99" y="848"/>
                        </a:lnTo>
                        <a:lnTo>
                          <a:pt x="99" y="848"/>
                        </a:lnTo>
                        <a:lnTo>
                          <a:pt x="100" y="854"/>
                        </a:lnTo>
                        <a:lnTo>
                          <a:pt x="99" y="854"/>
                        </a:lnTo>
                        <a:lnTo>
                          <a:pt x="96" y="855"/>
                        </a:lnTo>
                        <a:lnTo>
                          <a:pt x="93" y="857"/>
                        </a:lnTo>
                        <a:lnTo>
                          <a:pt x="93" y="857"/>
                        </a:lnTo>
                        <a:lnTo>
                          <a:pt x="91" y="860"/>
                        </a:lnTo>
                        <a:lnTo>
                          <a:pt x="91" y="865"/>
                        </a:lnTo>
                        <a:lnTo>
                          <a:pt x="94" y="869"/>
                        </a:lnTo>
                        <a:lnTo>
                          <a:pt x="96" y="875"/>
                        </a:lnTo>
                        <a:lnTo>
                          <a:pt x="96" y="875"/>
                        </a:lnTo>
                        <a:lnTo>
                          <a:pt x="97" y="888"/>
                        </a:lnTo>
                        <a:lnTo>
                          <a:pt x="97" y="892"/>
                        </a:lnTo>
                        <a:lnTo>
                          <a:pt x="97" y="892"/>
                        </a:lnTo>
                        <a:lnTo>
                          <a:pt x="96" y="895"/>
                        </a:lnTo>
                        <a:lnTo>
                          <a:pt x="94" y="902"/>
                        </a:lnTo>
                        <a:lnTo>
                          <a:pt x="93" y="909"/>
                        </a:lnTo>
                        <a:lnTo>
                          <a:pt x="93" y="917"/>
                        </a:lnTo>
                        <a:lnTo>
                          <a:pt x="96" y="925"/>
                        </a:lnTo>
                        <a:lnTo>
                          <a:pt x="99" y="929"/>
                        </a:lnTo>
                        <a:lnTo>
                          <a:pt x="102" y="932"/>
                        </a:lnTo>
                        <a:lnTo>
                          <a:pt x="106" y="934"/>
                        </a:lnTo>
                        <a:lnTo>
                          <a:pt x="113" y="937"/>
                        </a:lnTo>
                        <a:lnTo>
                          <a:pt x="119" y="939"/>
                        </a:lnTo>
                        <a:lnTo>
                          <a:pt x="128" y="939"/>
                        </a:lnTo>
                        <a:lnTo>
                          <a:pt x="128" y="939"/>
                        </a:lnTo>
                        <a:lnTo>
                          <a:pt x="136" y="937"/>
                        </a:lnTo>
                        <a:lnTo>
                          <a:pt x="143" y="936"/>
                        </a:lnTo>
                        <a:lnTo>
                          <a:pt x="148" y="934"/>
                        </a:lnTo>
                        <a:lnTo>
                          <a:pt x="153" y="931"/>
                        </a:lnTo>
                        <a:lnTo>
                          <a:pt x="157" y="928"/>
                        </a:lnTo>
                        <a:lnTo>
                          <a:pt x="159" y="923"/>
                        </a:lnTo>
                        <a:lnTo>
                          <a:pt x="162" y="914"/>
                        </a:lnTo>
                        <a:lnTo>
                          <a:pt x="164" y="905"/>
                        </a:lnTo>
                        <a:lnTo>
                          <a:pt x="162" y="897"/>
                        </a:lnTo>
                        <a:lnTo>
                          <a:pt x="160" y="891"/>
                        </a:lnTo>
                        <a:lnTo>
                          <a:pt x="160" y="891"/>
                        </a:lnTo>
                        <a:lnTo>
                          <a:pt x="164" y="888"/>
                        </a:lnTo>
                        <a:lnTo>
                          <a:pt x="164" y="885"/>
                        </a:lnTo>
                        <a:lnTo>
                          <a:pt x="164" y="882"/>
                        </a:lnTo>
                        <a:lnTo>
                          <a:pt x="164" y="882"/>
                        </a:lnTo>
                        <a:lnTo>
                          <a:pt x="164" y="868"/>
                        </a:lnTo>
                        <a:lnTo>
                          <a:pt x="162" y="854"/>
                        </a:lnTo>
                        <a:lnTo>
                          <a:pt x="162" y="854"/>
                        </a:lnTo>
                        <a:lnTo>
                          <a:pt x="159" y="826"/>
                        </a:lnTo>
                        <a:lnTo>
                          <a:pt x="156" y="795"/>
                        </a:lnTo>
                        <a:lnTo>
                          <a:pt x="156" y="795"/>
                        </a:lnTo>
                        <a:lnTo>
                          <a:pt x="156" y="781"/>
                        </a:lnTo>
                        <a:lnTo>
                          <a:pt x="156" y="758"/>
                        </a:lnTo>
                        <a:lnTo>
                          <a:pt x="157" y="717"/>
                        </a:lnTo>
                        <a:lnTo>
                          <a:pt x="157" y="717"/>
                        </a:lnTo>
                        <a:lnTo>
                          <a:pt x="159" y="710"/>
                        </a:lnTo>
                        <a:lnTo>
                          <a:pt x="159" y="710"/>
                        </a:lnTo>
                        <a:lnTo>
                          <a:pt x="157" y="717"/>
                        </a:lnTo>
                        <a:lnTo>
                          <a:pt x="157" y="717"/>
                        </a:lnTo>
                        <a:lnTo>
                          <a:pt x="159" y="732"/>
                        </a:lnTo>
                        <a:lnTo>
                          <a:pt x="160" y="751"/>
                        </a:lnTo>
                        <a:lnTo>
                          <a:pt x="167" y="795"/>
                        </a:lnTo>
                        <a:lnTo>
                          <a:pt x="173" y="835"/>
                        </a:lnTo>
                        <a:lnTo>
                          <a:pt x="176" y="857"/>
                        </a:lnTo>
                        <a:lnTo>
                          <a:pt x="176" y="857"/>
                        </a:lnTo>
                        <a:lnTo>
                          <a:pt x="176" y="863"/>
                        </a:lnTo>
                        <a:lnTo>
                          <a:pt x="174" y="866"/>
                        </a:lnTo>
                        <a:lnTo>
                          <a:pt x="173" y="872"/>
                        </a:lnTo>
                        <a:lnTo>
                          <a:pt x="171" y="883"/>
                        </a:lnTo>
                        <a:lnTo>
                          <a:pt x="171" y="883"/>
                        </a:lnTo>
                        <a:lnTo>
                          <a:pt x="174" y="891"/>
                        </a:lnTo>
                        <a:lnTo>
                          <a:pt x="177" y="895"/>
                        </a:lnTo>
                        <a:lnTo>
                          <a:pt x="185" y="899"/>
                        </a:lnTo>
                        <a:lnTo>
                          <a:pt x="191" y="902"/>
                        </a:lnTo>
                        <a:lnTo>
                          <a:pt x="205" y="903"/>
                        </a:lnTo>
                        <a:lnTo>
                          <a:pt x="211" y="905"/>
                        </a:lnTo>
                        <a:lnTo>
                          <a:pt x="211" y="905"/>
                        </a:lnTo>
                        <a:lnTo>
                          <a:pt x="219" y="909"/>
                        </a:lnTo>
                        <a:lnTo>
                          <a:pt x="228" y="912"/>
                        </a:lnTo>
                        <a:lnTo>
                          <a:pt x="239" y="915"/>
                        </a:lnTo>
                        <a:lnTo>
                          <a:pt x="239" y="915"/>
                        </a:lnTo>
                        <a:lnTo>
                          <a:pt x="258" y="917"/>
                        </a:lnTo>
                        <a:lnTo>
                          <a:pt x="268" y="917"/>
                        </a:lnTo>
                        <a:lnTo>
                          <a:pt x="279" y="915"/>
                        </a:lnTo>
                        <a:lnTo>
                          <a:pt x="288" y="914"/>
                        </a:lnTo>
                        <a:lnTo>
                          <a:pt x="298" y="909"/>
                        </a:lnTo>
                        <a:lnTo>
                          <a:pt x="301" y="906"/>
                        </a:lnTo>
                        <a:lnTo>
                          <a:pt x="302" y="903"/>
                        </a:lnTo>
                        <a:lnTo>
                          <a:pt x="304" y="900"/>
                        </a:lnTo>
                        <a:lnTo>
                          <a:pt x="305" y="895"/>
                        </a:lnTo>
                        <a:lnTo>
                          <a:pt x="305" y="895"/>
                        </a:lnTo>
                        <a:lnTo>
                          <a:pt x="304" y="891"/>
                        </a:lnTo>
                        <a:lnTo>
                          <a:pt x="302" y="886"/>
                        </a:lnTo>
                        <a:lnTo>
                          <a:pt x="298" y="878"/>
                        </a:lnTo>
                        <a:lnTo>
                          <a:pt x="290" y="874"/>
                        </a:lnTo>
                        <a:lnTo>
                          <a:pt x="281" y="871"/>
                        </a:lnTo>
                        <a:lnTo>
                          <a:pt x="262" y="865"/>
                        </a:lnTo>
                        <a:lnTo>
                          <a:pt x="256" y="863"/>
                        </a:lnTo>
                        <a:lnTo>
                          <a:pt x="254" y="862"/>
                        </a:lnTo>
                        <a:lnTo>
                          <a:pt x="254" y="862"/>
                        </a:lnTo>
                        <a:lnTo>
                          <a:pt x="251" y="860"/>
                        </a:lnTo>
                        <a:lnTo>
                          <a:pt x="248" y="858"/>
                        </a:lnTo>
                        <a:lnTo>
                          <a:pt x="245" y="858"/>
                        </a:lnTo>
                        <a:lnTo>
                          <a:pt x="245" y="858"/>
                        </a:lnTo>
                        <a:lnTo>
                          <a:pt x="244" y="852"/>
                        </a:lnTo>
                        <a:lnTo>
                          <a:pt x="241" y="843"/>
                        </a:lnTo>
                        <a:lnTo>
                          <a:pt x="241" y="843"/>
                        </a:lnTo>
                        <a:lnTo>
                          <a:pt x="239" y="841"/>
                        </a:lnTo>
                        <a:lnTo>
                          <a:pt x="236" y="841"/>
                        </a:lnTo>
                        <a:lnTo>
                          <a:pt x="231" y="841"/>
                        </a:lnTo>
                        <a:lnTo>
                          <a:pt x="231" y="841"/>
                        </a:lnTo>
                        <a:lnTo>
                          <a:pt x="230" y="840"/>
                        </a:lnTo>
                        <a:lnTo>
                          <a:pt x="230" y="838"/>
                        </a:lnTo>
                        <a:lnTo>
                          <a:pt x="230" y="832"/>
                        </a:lnTo>
                        <a:lnTo>
                          <a:pt x="230" y="832"/>
                        </a:lnTo>
                        <a:lnTo>
                          <a:pt x="234" y="825"/>
                        </a:lnTo>
                        <a:lnTo>
                          <a:pt x="236" y="817"/>
                        </a:lnTo>
                        <a:lnTo>
                          <a:pt x="236" y="809"/>
                        </a:lnTo>
                        <a:lnTo>
                          <a:pt x="236" y="809"/>
                        </a:lnTo>
                        <a:lnTo>
                          <a:pt x="234" y="784"/>
                        </a:lnTo>
                        <a:lnTo>
                          <a:pt x="234" y="767"/>
                        </a:lnTo>
                        <a:lnTo>
                          <a:pt x="236" y="749"/>
                        </a:lnTo>
                        <a:lnTo>
                          <a:pt x="236" y="749"/>
                        </a:lnTo>
                        <a:lnTo>
                          <a:pt x="236" y="724"/>
                        </a:lnTo>
                        <a:lnTo>
                          <a:pt x="238" y="706"/>
                        </a:lnTo>
                        <a:lnTo>
                          <a:pt x="238" y="706"/>
                        </a:lnTo>
                        <a:lnTo>
                          <a:pt x="238" y="695"/>
                        </a:lnTo>
                        <a:lnTo>
                          <a:pt x="236" y="686"/>
                        </a:lnTo>
                        <a:lnTo>
                          <a:pt x="234" y="673"/>
                        </a:lnTo>
                        <a:lnTo>
                          <a:pt x="233" y="656"/>
                        </a:lnTo>
                        <a:lnTo>
                          <a:pt x="233" y="656"/>
                        </a:lnTo>
                        <a:lnTo>
                          <a:pt x="233" y="630"/>
                        </a:lnTo>
                        <a:lnTo>
                          <a:pt x="236" y="599"/>
                        </a:lnTo>
                        <a:lnTo>
                          <a:pt x="238" y="570"/>
                        </a:lnTo>
                        <a:lnTo>
                          <a:pt x="239" y="547"/>
                        </a:lnTo>
                        <a:lnTo>
                          <a:pt x="239" y="547"/>
                        </a:lnTo>
                        <a:lnTo>
                          <a:pt x="239" y="530"/>
                        </a:lnTo>
                        <a:lnTo>
                          <a:pt x="238" y="518"/>
                        </a:lnTo>
                        <a:lnTo>
                          <a:pt x="234" y="507"/>
                        </a:lnTo>
                        <a:lnTo>
                          <a:pt x="242" y="504"/>
                        </a:lnTo>
                        <a:lnTo>
                          <a:pt x="242" y="504"/>
                        </a:lnTo>
                        <a:lnTo>
                          <a:pt x="241" y="482"/>
                        </a:lnTo>
                        <a:lnTo>
                          <a:pt x="236" y="462"/>
                        </a:lnTo>
                        <a:lnTo>
                          <a:pt x="233" y="451"/>
                        </a:lnTo>
                        <a:lnTo>
                          <a:pt x="230" y="442"/>
                        </a:lnTo>
                        <a:lnTo>
                          <a:pt x="230" y="442"/>
                        </a:lnTo>
                        <a:lnTo>
                          <a:pt x="225" y="428"/>
                        </a:lnTo>
                        <a:lnTo>
                          <a:pt x="222" y="421"/>
                        </a:lnTo>
                        <a:lnTo>
                          <a:pt x="224" y="401"/>
                        </a:lnTo>
                        <a:lnTo>
                          <a:pt x="224" y="401"/>
                        </a:lnTo>
                        <a:lnTo>
                          <a:pt x="224" y="387"/>
                        </a:lnTo>
                        <a:lnTo>
                          <a:pt x="222" y="379"/>
                        </a:lnTo>
                        <a:lnTo>
                          <a:pt x="217" y="368"/>
                        </a:lnTo>
                        <a:lnTo>
                          <a:pt x="217" y="368"/>
                        </a:lnTo>
                        <a:lnTo>
                          <a:pt x="211" y="345"/>
                        </a:lnTo>
                        <a:lnTo>
                          <a:pt x="216" y="345"/>
                        </a:lnTo>
                        <a:lnTo>
                          <a:pt x="216" y="345"/>
                        </a:lnTo>
                        <a:lnTo>
                          <a:pt x="216" y="348"/>
                        </a:lnTo>
                        <a:lnTo>
                          <a:pt x="219" y="351"/>
                        </a:lnTo>
                        <a:lnTo>
                          <a:pt x="222" y="354"/>
                        </a:lnTo>
                        <a:lnTo>
                          <a:pt x="222" y="354"/>
                        </a:lnTo>
                        <a:lnTo>
                          <a:pt x="236" y="361"/>
                        </a:lnTo>
                        <a:lnTo>
                          <a:pt x="264" y="371"/>
                        </a:lnTo>
                        <a:lnTo>
                          <a:pt x="264" y="371"/>
                        </a:lnTo>
                        <a:lnTo>
                          <a:pt x="299" y="388"/>
                        </a:lnTo>
                        <a:lnTo>
                          <a:pt x="316" y="398"/>
                        </a:lnTo>
                        <a:lnTo>
                          <a:pt x="316" y="398"/>
                        </a:lnTo>
                        <a:lnTo>
                          <a:pt x="318" y="396"/>
                        </a:lnTo>
                        <a:lnTo>
                          <a:pt x="318" y="396"/>
                        </a:lnTo>
                        <a:lnTo>
                          <a:pt x="322" y="390"/>
                        </a:lnTo>
                        <a:lnTo>
                          <a:pt x="330" y="381"/>
                        </a:lnTo>
                        <a:lnTo>
                          <a:pt x="330" y="381"/>
                        </a:lnTo>
                        <a:lnTo>
                          <a:pt x="338" y="368"/>
                        </a:lnTo>
                        <a:lnTo>
                          <a:pt x="338" y="368"/>
                        </a:lnTo>
                        <a:lnTo>
                          <a:pt x="333" y="370"/>
                        </a:lnTo>
                        <a:lnTo>
                          <a:pt x="325" y="371"/>
                        </a:lnTo>
                        <a:lnTo>
                          <a:pt x="325" y="371"/>
                        </a:lnTo>
                        <a:close/>
                        <a:moveTo>
                          <a:pt x="273" y="305"/>
                        </a:moveTo>
                        <a:lnTo>
                          <a:pt x="273" y="305"/>
                        </a:lnTo>
                        <a:lnTo>
                          <a:pt x="276" y="305"/>
                        </a:lnTo>
                        <a:lnTo>
                          <a:pt x="270" y="308"/>
                        </a:lnTo>
                        <a:lnTo>
                          <a:pt x="270" y="308"/>
                        </a:lnTo>
                        <a:lnTo>
                          <a:pt x="267" y="303"/>
                        </a:lnTo>
                        <a:lnTo>
                          <a:pt x="267" y="303"/>
                        </a:lnTo>
                        <a:lnTo>
                          <a:pt x="273" y="305"/>
                        </a:lnTo>
                        <a:lnTo>
                          <a:pt x="273" y="305"/>
                        </a:lnTo>
                        <a:close/>
                        <a:moveTo>
                          <a:pt x="404" y="327"/>
                        </a:moveTo>
                        <a:lnTo>
                          <a:pt x="404" y="327"/>
                        </a:lnTo>
                        <a:lnTo>
                          <a:pt x="402" y="327"/>
                        </a:lnTo>
                        <a:lnTo>
                          <a:pt x="402" y="327"/>
                        </a:lnTo>
                        <a:lnTo>
                          <a:pt x="404" y="325"/>
                        </a:lnTo>
                        <a:lnTo>
                          <a:pt x="404" y="325"/>
                        </a:lnTo>
                        <a:lnTo>
                          <a:pt x="404" y="322"/>
                        </a:lnTo>
                        <a:lnTo>
                          <a:pt x="402" y="319"/>
                        </a:lnTo>
                        <a:lnTo>
                          <a:pt x="402" y="319"/>
                        </a:lnTo>
                        <a:lnTo>
                          <a:pt x="401" y="316"/>
                        </a:lnTo>
                        <a:lnTo>
                          <a:pt x="399" y="308"/>
                        </a:lnTo>
                        <a:lnTo>
                          <a:pt x="399" y="308"/>
                        </a:lnTo>
                        <a:lnTo>
                          <a:pt x="398" y="303"/>
                        </a:lnTo>
                        <a:lnTo>
                          <a:pt x="396" y="302"/>
                        </a:lnTo>
                        <a:lnTo>
                          <a:pt x="395" y="302"/>
                        </a:lnTo>
                        <a:lnTo>
                          <a:pt x="395" y="302"/>
                        </a:lnTo>
                        <a:lnTo>
                          <a:pt x="395" y="297"/>
                        </a:lnTo>
                        <a:lnTo>
                          <a:pt x="392" y="294"/>
                        </a:lnTo>
                        <a:lnTo>
                          <a:pt x="390" y="293"/>
                        </a:lnTo>
                        <a:lnTo>
                          <a:pt x="390" y="293"/>
                        </a:lnTo>
                        <a:lnTo>
                          <a:pt x="387" y="294"/>
                        </a:lnTo>
                        <a:lnTo>
                          <a:pt x="386" y="297"/>
                        </a:lnTo>
                        <a:lnTo>
                          <a:pt x="386" y="300"/>
                        </a:lnTo>
                        <a:lnTo>
                          <a:pt x="386" y="300"/>
                        </a:lnTo>
                        <a:lnTo>
                          <a:pt x="382" y="302"/>
                        </a:lnTo>
                        <a:lnTo>
                          <a:pt x="381" y="305"/>
                        </a:lnTo>
                        <a:lnTo>
                          <a:pt x="379" y="313"/>
                        </a:lnTo>
                        <a:lnTo>
                          <a:pt x="381" y="325"/>
                        </a:lnTo>
                        <a:lnTo>
                          <a:pt x="381" y="325"/>
                        </a:lnTo>
                        <a:lnTo>
                          <a:pt x="378" y="324"/>
                        </a:lnTo>
                        <a:lnTo>
                          <a:pt x="375" y="325"/>
                        </a:lnTo>
                        <a:lnTo>
                          <a:pt x="375" y="325"/>
                        </a:lnTo>
                        <a:lnTo>
                          <a:pt x="373" y="330"/>
                        </a:lnTo>
                        <a:lnTo>
                          <a:pt x="373" y="330"/>
                        </a:lnTo>
                        <a:lnTo>
                          <a:pt x="370" y="344"/>
                        </a:lnTo>
                        <a:lnTo>
                          <a:pt x="353" y="350"/>
                        </a:lnTo>
                        <a:lnTo>
                          <a:pt x="341" y="348"/>
                        </a:lnTo>
                        <a:lnTo>
                          <a:pt x="341" y="348"/>
                        </a:lnTo>
                        <a:lnTo>
                          <a:pt x="336" y="348"/>
                        </a:lnTo>
                        <a:lnTo>
                          <a:pt x="336" y="348"/>
                        </a:lnTo>
                        <a:lnTo>
                          <a:pt x="325" y="348"/>
                        </a:lnTo>
                        <a:lnTo>
                          <a:pt x="325" y="348"/>
                        </a:lnTo>
                        <a:lnTo>
                          <a:pt x="322" y="348"/>
                        </a:lnTo>
                        <a:lnTo>
                          <a:pt x="322" y="348"/>
                        </a:lnTo>
                        <a:lnTo>
                          <a:pt x="322" y="353"/>
                        </a:lnTo>
                        <a:lnTo>
                          <a:pt x="322" y="353"/>
                        </a:lnTo>
                        <a:lnTo>
                          <a:pt x="322" y="354"/>
                        </a:lnTo>
                        <a:lnTo>
                          <a:pt x="322" y="354"/>
                        </a:lnTo>
                        <a:lnTo>
                          <a:pt x="322" y="362"/>
                        </a:lnTo>
                        <a:lnTo>
                          <a:pt x="324" y="365"/>
                        </a:lnTo>
                        <a:lnTo>
                          <a:pt x="325" y="367"/>
                        </a:lnTo>
                        <a:lnTo>
                          <a:pt x="325" y="367"/>
                        </a:lnTo>
                        <a:lnTo>
                          <a:pt x="332" y="368"/>
                        </a:lnTo>
                        <a:lnTo>
                          <a:pt x="338" y="368"/>
                        </a:lnTo>
                        <a:lnTo>
                          <a:pt x="338" y="367"/>
                        </a:lnTo>
                        <a:lnTo>
                          <a:pt x="338" y="367"/>
                        </a:lnTo>
                        <a:lnTo>
                          <a:pt x="353" y="364"/>
                        </a:lnTo>
                        <a:lnTo>
                          <a:pt x="362" y="361"/>
                        </a:lnTo>
                        <a:lnTo>
                          <a:pt x="362" y="361"/>
                        </a:lnTo>
                        <a:lnTo>
                          <a:pt x="378" y="359"/>
                        </a:lnTo>
                        <a:lnTo>
                          <a:pt x="378" y="359"/>
                        </a:lnTo>
                        <a:lnTo>
                          <a:pt x="387" y="359"/>
                        </a:lnTo>
                        <a:lnTo>
                          <a:pt x="387" y="359"/>
                        </a:lnTo>
                        <a:lnTo>
                          <a:pt x="390" y="357"/>
                        </a:lnTo>
                        <a:lnTo>
                          <a:pt x="392" y="356"/>
                        </a:lnTo>
                        <a:lnTo>
                          <a:pt x="396" y="351"/>
                        </a:lnTo>
                        <a:lnTo>
                          <a:pt x="396" y="351"/>
                        </a:lnTo>
                        <a:lnTo>
                          <a:pt x="398" y="348"/>
                        </a:lnTo>
                        <a:lnTo>
                          <a:pt x="399" y="345"/>
                        </a:lnTo>
                        <a:lnTo>
                          <a:pt x="399" y="345"/>
                        </a:lnTo>
                        <a:lnTo>
                          <a:pt x="402" y="337"/>
                        </a:lnTo>
                        <a:lnTo>
                          <a:pt x="404" y="330"/>
                        </a:lnTo>
                        <a:lnTo>
                          <a:pt x="404" y="330"/>
                        </a:lnTo>
                        <a:lnTo>
                          <a:pt x="404" y="327"/>
                        </a:lnTo>
                        <a:lnTo>
                          <a:pt x="404" y="327"/>
                        </a:lnTo>
                        <a:close/>
                      </a:path>
                    </a:pathLst>
                  </a:custGeom>
                  <a:solidFill>
                    <a:srgbClr val="8E8A81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323" name="Freeform 77"/>
                  <p:cNvSpPr>
                    <a:spLocks/>
                  </p:cNvSpPr>
                  <p:nvPr/>
                </p:nvSpPr>
                <p:spPr bwMode="auto">
                  <a:xfrm>
                    <a:off x="4052142" y="5286607"/>
                    <a:ext cx="324327" cy="235874"/>
                  </a:xfrm>
                  <a:custGeom>
                    <a:avLst/>
                    <a:gdLst>
                      <a:gd name="T0" fmla="*/ 228 w 231"/>
                      <a:gd name="T1" fmla="*/ 1 h 168"/>
                      <a:gd name="T2" fmla="*/ 222 w 231"/>
                      <a:gd name="T3" fmla="*/ 0 h 168"/>
                      <a:gd name="T4" fmla="*/ 166 w 231"/>
                      <a:gd name="T5" fmla="*/ 6 h 168"/>
                      <a:gd name="T6" fmla="*/ 163 w 231"/>
                      <a:gd name="T7" fmla="*/ 6 h 168"/>
                      <a:gd name="T8" fmla="*/ 158 w 231"/>
                      <a:gd name="T9" fmla="*/ 18 h 168"/>
                      <a:gd name="T10" fmla="*/ 140 w 231"/>
                      <a:gd name="T11" fmla="*/ 121 h 168"/>
                      <a:gd name="T12" fmla="*/ 86 w 231"/>
                      <a:gd name="T13" fmla="*/ 123 h 168"/>
                      <a:gd name="T14" fmla="*/ 92 w 231"/>
                      <a:gd name="T15" fmla="*/ 131 h 168"/>
                      <a:gd name="T16" fmla="*/ 94 w 231"/>
                      <a:gd name="T17" fmla="*/ 135 h 168"/>
                      <a:gd name="T18" fmla="*/ 89 w 231"/>
                      <a:gd name="T19" fmla="*/ 135 h 168"/>
                      <a:gd name="T20" fmla="*/ 86 w 231"/>
                      <a:gd name="T21" fmla="*/ 134 h 168"/>
                      <a:gd name="T22" fmla="*/ 81 w 231"/>
                      <a:gd name="T23" fmla="*/ 131 h 168"/>
                      <a:gd name="T24" fmla="*/ 80 w 231"/>
                      <a:gd name="T25" fmla="*/ 132 h 168"/>
                      <a:gd name="T26" fmla="*/ 80 w 231"/>
                      <a:gd name="T27" fmla="*/ 137 h 168"/>
                      <a:gd name="T28" fmla="*/ 77 w 231"/>
                      <a:gd name="T29" fmla="*/ 138 h 168"/>
                      <a:gd name="T30" fmla="*/ 75 w 231"/>
                      <a:gd name="T31" fmla="*/ 138 h 168"/>
                      <a:gd name="T32" fmla="*/ 75 w 231"/>
                      <a:gd name="T33" fmla="*/ 142 h 168"/>
                      <a:gd name="T34" fmla="*/ 71 w 231"/>
                      <a:gd name="T35" fmla="*/ 142 h 168"/>
                      <a:gd name="T36" fmla="*/ 58 w 231"/>
                      <a:gd name="T37" fmla="*/ 132 h 168"/>
                      <a:gd name="T38" fmla="*/ 55 w 231"/>
                      <a:gd name="T39" fmla="*/ 131 h 168"/>
                      <a:gd name="T40" fmla="*/ 54 w 231"/>
                      <a:gd name="T41" fmla="*/ 131 h 168"/>
                      <a:gd name="T42" fmla="*/ 52 w 231"/>
                      <a:gd name="T43" fmla="*/ 129 h 168"/>
                      <a:gd name="T44" fmla="*/ 0 w 231"/>
                      <a:gd name="T45" fmla="*/ 146 h 168"/>
                      <a:gd name="T46" fmla="*/ 0 w 231"/>
                      <a:gd name="T47" fmla="*/ 155 h 168"/>
                      <a:gd name="T48" fmla="*/ 6 w 231"/>
                      <a:gd name="T49" fmla="*/ 158 h 168"/>
                      <a:gd name="T50" fmla="*/ 114 w 231"/>
                      <a:gd name="T51" fmla="*/ 166 h 168"/>
                      <a:gd name="T52" fmla="*/ 115 w 231"/>
                      <a:gd name="T53" fmla="*/ 166 h 168"/>
                      <a:gd name="T54" fmla="*/ 118 w 231"/>
                      <a:gd name="T55" fmla="*/ 166 h 168"/>
                      <a:gd name="T56" fmla="*/ 129 w 231"/>
                      <a:gd name="T57" fmla="*/ 166 h 168"/>
                      <a:gd name="T58" fmla="*/ 134 w 231"/>
                      <a:gd name="T59" fmla="*/ 166 h 168"/>
                      <a:gd name="T60" fmla="*/ 163 w 231"/>
                      <a:gd name="T61" fmla="*/ 162 h 168"/>
                      <a:gd name="T62" fmla="*/ 166 w 231"/>
                      <a:gd name="T63" fmla="*/ 148 h 168"/>
                      <a:gd name="T64" fmla="*/ 168 w 231"/>
                      <a:gd name="T65" fmla="*/ 143 h 168"/>
                      <a:gd name="T66" fmla="*/ 171 w 231"/>
                      <a:gd name="T67" fmla="*/ 142 h 168"/>
                      <a:gd name="T68" fmla="*/ 174 w 231"/>
                      <a:gd name="T69" fmla="*/ 143 h 168"/>
                      <a:gd name="T70" fmla="*/ 174 w 231"/>
                      <a:gd name="T71" fmla="*/ 123 h 168"/>
                      <a:gd name="T72" fmla="*/ 179 w 231"/>
                      <a:gd name="T73" fmla="*/ 118 h 168"/>
                      <a:gd name="T74" fmla="*/ 179 w 231"/>
                      <a:gd name="T75" fmla="*/ 115 h 168"/>
                      <a:gd name="T76" fmla="*/ 183 w 231"/>
                      <a:gd name="T77" fmla="*/ 111 h 168"/>
                      <a:gd name="T78" fmla="*/ 185 w 231"/>
                      <a:gd name="T79" fmla="*/ 112 h 168"/>
                      <a:gd name="T80" fmla="*/ 188 w 231"/>
                      <a:gd name="T81" fmla="*/ 120 h 168"/>
                      <a:gd name="T82" fmla="*/ 189 w 231"/>
                      <a:gd name="T83" fmla="*/ 120 h 168"/>
                      <a:gd name="T84" fmla="*/ 192 w 231"/>
                      <a:gd name="T85" fmla="*/ 126 h 168"/>
                      <a:gd name="T86" fmla="*/ 194 w 231"/>
                      <a:gd name="T87" fmla="*/ 134 h 168"/>
                      <a:gd name="T88" fmla="*/ 195 w 231"/>
                      <a:gd name="T89" fmla="*/ 137 h 168"/>
                      <a:gd name="T90" fmla="*/ 197 w 231"/>
                      <a:gd name="T91" fmla="*/ 143 h 168"/>
                      <a:gd name="T92" fmla="*/ 197 w 231"/>
                      <a:gd name="T93" fmla="*/ 143 h 168"/>
                      <a:gd name="T94" fmla="*/ 197 w 231"/>
                      <a:gd name="T95" fmla="*/ 145 h 168"/>
                      <a:gd name="T96" fmla="*/ 206 w 231"/>
                      <a:gd name="T97" fmla="*/ 140 h 168"/>
                      <a:gd name="T98" fmla="*/ 208 w 231"/>
                      <a:gd name="T99" fmla="*/ 138 h 168"/>
                      <a:gd name="T100" fmla="*/ 209 w 231"/>
                      <a:gd name="T101" fmla="*/ 134 h 168"/>
                      <a:gd name="T102" fmla="*/ 231 w 231"/>
                      <a:gd name="T103" fmla="*/ 7 h 168"/>
                      <a:gd name="T104" fmla="*/ 231 w 231"/>
                      <a:gd name="T105" fmla="*/ 3 h 168"/>
                      <a:gd name="T106" fmla="*/ 228 w 231"/>
                      <a:gd name="T107" fmla="*/ 1 h 1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231" h="168">
                        <a:moveTo>
                          <a:pt x="228" y="1"/>
                        </a:moveTo>
                        <a:lnTo>
                          <a:pt x="228" y="1"/>
                        </a:lnTo>
                        <a:lnTo>
                          <a:pt x="222" y="0"/>
                        </a:lnTo>
                        <a:lnTo>
                          <a:pt x="222" y="0"/>
                        </a:lnTo>
                        <a:lnTo>
                          <a:pt x="166" y="6"/>
                        </a:lnTo>
                        <a:lnTo>
                          <a:pt x="166" y="6"/>
                        </a:lnTo>
                        <a:lnTo>
                          <a:pt x="165" y="6"/>
                        </a:lnTo>
                        <a:lnTo>
                          <a:pt x="163" y="6"/>
                        </a:lnTo>
                        <a:lnTo>
                          <a:pt x="160" y="11"/>
                        </a:lnTo>
                        <a:lnTo>
                          <a:pt x="158" y="18"/>
                        </a:lnTo>
                        <a:lnTo>
                          <a:pt x="158" y="18"/>
                        </a:lnTo>
                        <a:lnTo>
                          <a:pt x="140" y="121"/>
                        </a:lnTo>
                        <a:lnTo>
                          <a:pt x="86" y="123"/>
                        </a:lnTo>
                        <a:lnTo>
                          <a:pt x="86" y="123"/>
                        </a:lnTo>
                        <a:lnTo>
                          <a:pt x="92" y="131"/>
                        </a:lnTo>
                        <a:lnTo>
                          <a:pt x="92" y="131"/>
                        </a:lnTo>
                        <a:lnTo>
                          <a:pt x="94" y="134"/>
                        </a:lnTo>
                        <a:lnTo>
                          <a:pt x="94" y="135"/>
                        </a:lnTo>
                        <a:lnTo>
                          <a:pt x="94" y="135"/>
                        </a:lnTo>
                        <a:lnTo>
                          <a:pt x="89" y="135"/>
                        </a:lnTo>
                        <a:lnTo>
                          <a:pt x="86" y="134"/>
                        </a:lnTo>
                        <a:lnTo>
                          <a:pt x="86" y="134"/>
                        </a:lnTo>
                        <a:lnTo>
                          <a:pt x="83" y="131"/>
                        </a:lnTo>
                        <a:lnTo>
                          <a:pt x="81" y="131"/>
                        </a:lnTo>
                        <a:lnTo>
                          <a:pt x="81" y="131"/>
                        </a:lnTo>
                        <a:lnTo>
                          <a:pt x="80" y="132"/>
                        </a:lnTo>
                        <a:lnTo>
                          <a:pt x="80" y="137"/>
                        </a:lnTo>
                        <a:lnTo>
                          <a:pt x="80" y="137"/>
                        </a:lnTo>
                        <a:lnTo>
                          <a:pt x="78" y="138"/>
                        </a:lnTo>
                        <a:lnTo>
                          <a:pt x="77" y="138"/>
                        </a:lnTo>
                        <a:lnTo>
                          <a:pt x="77" y="138"/>
                        </a:lnTo>
                        <a:lnTo>
                          <a:pt x="75" y="138"/>
                        </a:lnTo>
                        <a:lnTo>
                          <a:pt x="75" y="138"/>
                        </a:lnTo>
                        <a:lnTo>
                          <a:pt x="75" y="142"/>
                        </a:lnTo>
                        <a:lnTo>
                          <a:pt x="71" y="142"/>
                        </a:lnTo>
                        <a:lnTo>
                          <a:pt x="71" y="142"/>
                        </a:lnTo>
                        <a:lnTo>
                          <a:pt x="64" y="138"/>
                        </a:lnTo>
                        <a:lnTo>
                          <a:pt x="58" y="132"/>
                        </a:lnTo>
                        <a:lnTo>
                          <a:pt x="58" y="132"/>
                        </a:lnTo>
                        <a:lnTo>
                          <a:pt x="55" y="131"/>
                        </a:lnTo>
                        <a:lnTo>
                          <a:pt x="55" y="131"/>
                        </a:lnTo>
                        <a:lnTo>
                          <a:pt x="54" y="131"/>
                        </a:lnTo>
                        <a:lnTo>
                          <a:pt x="54" y="131"/>
                        </a:lnTo>
                        <a:lnTo>
                          <a:pt x="52" y="129"/>
                        </a:lnTo>
                        <a:lnTo>
                          <a:pt x="0" y="146"/>
                        </a:lnTo>
                        <a:lnTo>
                          <a:pt x="0" y="146"/>
                        </a:lnTo>
                        <a:lnTo>
                          <a:pt x="0" y="155"/>
                        </a:lnTo>
                        <a:lnTo>
                          <a:pt x="0" y="155"/>
                        </a:lnTo>
                        <a:lnTo>
                          <a:pt x="0" y="157"/>
                        </a:lnTo>
                        <a:lnTo>
                          <a:pt x="6" y="158"/>
                        </a:lnTo>
                        <a:lnTo>
                          <a:pt x="6" y="158"/>
                        </a:lnTo>
                        <a:lnTo>
                          <a:pt x="114" y="166"/>
                        </a:lnTo>
                        <a:lnTo>
                          <a:pt x="114" y="166"/>
                        </a:lnTo>
                        <a:lnTo>
                          <a:pt x="115" y="166"/>
                        </a:lnTo>
                        <a:lnTo>
                          <a:pt x="115" y="166"/>
                        </a:lnTo>
                        <a:lnTo>
                          <a:pt x="118" y="166"/>
                        </a:lnTo>
                        <a:lnTo>
                          <a:pt x="118" y="166"/>
                        </a:lnTo>
                        <a:lnTo>
                          <a:pt x="129" y="166"/>
                        </a:lnTo>
                        <a:lnTo>
                          <a:pt x="129" y="166"/>
                        </a:lnTo>
                        <a:lnTo>
                          <a:pt x="134" y="166"/>
                        </a:lnTo>
                        <a:lnTo>
                          <a:pt x="146" y="168"/>
                        </a:lnTo>
                        <a:lnTo>
                          <a:pt x="163" y="162"/>
                        </a:lnTo>
                        <a:lnTo>
                          <a:pt x="163" y="162"/>
                        </a:lnTo>
                        <a:lnTo>
                          <a:pt x="166" y="148"/>
                        </a:lnTo>
                        <a:lnTo>
                          <a:pt x="166" y="148"/>
                        </a:lnTo>
                        <a:lnTo>
                          <a:pt x="168" y="143"/>
                        </a:lnTo>
                        <a:lnTo>
                          <a:pt x="168" y="143"/>
                        </a:lnTo>
                        <a:lnTo>
                          <a:pt x="171" y="142"/>
                        </a:lnTo>
                        <a:lnTo>
                          <a:pt x="174" y="143"/>
                        </a:lnTo>
                        <a:lnTo>
                          <a:pt x="174" y="143"/>
                        </a:lnTo>
                        <a:lnTo>
                          <a:pt x="172" y="131"/>
                        </a:lnTo>
                        <a:lnTo>
                          <a:pt x="174" y="123"/>
                        </a:lnTo>
                        <a:lnTo>
                          <a:pt x="175" y="120"/>
                        </a:lnTo>
                        <a:lnTo>
                          <a:pt x="179" y="118"/>
                        </a:lnTo>
                        <a:lnTo>
                          <a:pt x="179" y="118"/>
                        </a:lnTo>
                        <a:lnTo>
                          <a:pt x="179" y="115"/>
                        </a:lnTo>
                        <a:lnTo>
                          <a:pt x="180" y="112"/>
                        </a:lnTo>
                        <a:lnTo>
                          <a:pt x="183" y="111"/>
                        </a:lnTo>
                        <a:lnTo>
                          <a:pt x="183" y="111"/>
                        </a:lnTo>
                        <a:lnTo>
                          <a:pt x="185" y="112"/>
                        </a:lnTo>
                        <a:lnTo>
                          <a:pt x="188" y="115"/>
                        </a:lnTo>
                        <a:lnTo>
                          <a:pt x="188" y="120"/>
                        </a:lnTo>
                        <a:lnTo>
                          <a:pt x="188" y="120"/>
                        </a:lnTo>
                        <a:lnTo>
                          <a:pt x="189" y="120"/>
                        </a:lnTo>
                        <a:lnTo>
                          <a:pt x="191" y="121"/>
                        </a:lnTo>
                        <a:lnTo>
                          <a:pt x="192" y="126"/>
                        </a:lnTo>
                        <a:lnTo>
                          <a:pt x="192" y="126"/>
                        </a:lnTo>
                        <a:lnTo>
                          <a:pt x="194" y="134"/>
                        </a:lnTo>
                        <a:lnTo>
                          <a:pt x="195" y="137"/>
                        </a:lnTo>
                        <a:lnTo>
                          <a:pt x="195" y="137"/>
                        </a:lnTo>
                        <a:lnTo>
                          <a:pt x="197" y="140"/>
                        </a:lnTo>
                        <a:lnTo>
                          <a:pt x="197" y="143"/>
                        </a:lnTo>
                        <a:lnTo>
                          <a:pt x="197" y="143"/>
                        </a:lnTo>
                        <a:lnTo>
                          <a:pt x="197" y="143"/>
                        </a:lnTo>
                        <a:lnTo>
                          <a:pt x="197" y="143"/>
                        </a:lnTo>
                        <a:lnTo>
                          <a:pt x="197" y="145"/>
                        </a:lnTo>
                        <a:lnTo>
                          <a:pt x="197" y="145"/>
                        </a:lnTo>
                        <a:lnTo>
                          <a:pt x="206" y="140"/>
                        </a:lnTo>
                        <a:lnTo>
                          <a:pt x="206" y="140"/>
                        </a:lnTo>
                        <a:lnTo>
                          <a:pt x="208" y="138"/>
                        </a:lnTo>
                        <a:lnTo>
                          <a:pt x="209" y="134"/>
                        </a:lnTo>
                        <a:lnTo>
                          <a:pt x="209" y="134"/>
                        </a:lnTo>
                        <a:lnTo>
                          <a:pt x="231" y="7"/>
                        </a:lnTo>
                        <a:lnTo>
                          <a:pt x="231" y="7"/>
                        </a:lnTo>
                        <a:lnTo>
                          <a:pt x="231" y="4"/>
                        </a:lnTo>
                        <a:lnTo>
                          <a:pt x="231" y="3"/>
                        </a:lnTo>
                        <a:lnTo>
                          <a:pt x="228" y="1"/>
                        </a:lnTo>
                        <a:lnTo>
                          <a:pt x="228" y="1"/>
                        </a:lnTo>
                        <a:close/>
                      </a:path>
                    </a:pathLst>
                  </a:custGeom>
                  <a:solidFill>
                    <a:srgbClr val="66635A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324" name="Freeform 78"/>
                  <p:cNvSpPr>
                    <a:spLocks noEditPoints="1"/>
                  </p:cNvSpPr>
                  <p:nvPr/>
                </p:nvSpPr>
                <p:spPr bwMode="auto">
                  <a:xfrm>
                    <a:off x="3882257" y="5192539"/>
                    <a:ext cx="155846" cy="273782"/>
                  </a:xfrm>
                  <a:custGeom>
                    <a:avLst/>
                    <a:gdLst>
                      <a:gd name="T0" fmla="*/ 111 w 111"/>
                      <a:gd name="T1" fmla="*/ 178 h 195"/>
                      <a:gd name="T2" fmla="*/ 107 w 111"/>
                      <a:gd name="T3" fmla="*/ 165 h 195"/>
                      <a:gd name="T4" fmla="*/ 105 w 111"/>
                      <a:gd name="T5" fmla="*/ 193 h 195"/>
                      <a:gd name="T6" fmla="*/ 107 w 111"/>
                      <a:gd name="T7" fmla="*/ 195 h 195"/>
                      <a:gd name="T8" fmla="*/ 108 w 111"/>
                      <a:gd name="T9" fmla="*/ 193 h 195"/>
                      <a:gd name="T10" fmla="*/ 110 w 111"/>
                      <a:gd name="T11" fmla="*/ 190 h 195"/>
                      <a:gd name="T12" fmla="*/ 111 w 111"/>
                      <a:gd name="T13" fmla="*/ 178 h 195"/>
                      <a:gd name="T14" fmla="*/ 61 w 111"/>
                      <a:gd name="T15" fmla="*/ 36 h 195"/>
                      <a:gd name="T16" fmla="*/ 57 w 111"/>
                      <a:gd name="T17" fmla="*/ 37 h 195"/>
                      <a:gd name="T18" fmla="*/ 50 w 111"/>
                      <a:gd name="T19" fmla="*/ 37 h 195"/>
                      <a:gd name="T20" fmla="*/ 37 w 111"/>
                      <a:gd name="T21" fmla="*/ 31 h 195"/>
                      <a:gd name="T22" fmla="*/ 27 w 111"/>
                      <a:gd name="T23" fmla="*/ 24 h 195"/>
                      <a:gd name="T24" fmla="*/ 11 w 111"/>
                      <a:gd name="T25" fmla="*/ 13 h 195"/>
                      <a:gd name="T26" fmla="*/ 8 w 111"/>
                      <a:gd name="T27" fmla="*/ 8 h 195"/>
                      <a:gd name="T28" fmla="*/ 11 w 111"/>
                      <a:gd name="T29" fmla="*/ 5 h 195"/>
                      <a:gd name="T30" fmla="*/ 11 w 111"/>
                      <a:gd name="T31" fmla="*/ 0 h 195"/>
                      <a:gd name="T32" fmla="*/ 8 w 111"/>
                      <a:gd name="T33" fmla="*/ 0 h 195"/>
                      <a:gd name="T34" fmla="*/ 5 w 111"/>
                      <a:gd name="T35" fmla="*/ 2 h 195"/>
                      <a:gd name="T36" fmla="*/ 4 w 111"/>
                      <a:gd name="T37" fmla="*/ 4 h 195"/>
                      <a:gd name="T38" fmla="*/ 0 w 111"/>
                      <a:gd name="T39" fmla="*/ 8 h 195"/>
                      <a:gd name="T40" fmla="*/ 8 w 111"/>
                      <a:gd name="T41" fmla="*/ 17 h 195"/>
                      <a:gd name="T42" fmla="*/ 16 w 111"/>
                      <a:gd name="T43" fmla="*/ 27 h 195"/>
                      <a:gd name="T44" fmla="*/ 31 w 111"/>
                      <a:gd name="T45" fmla="*/ 47 h 195"/>
                      <a:gd name="T46" fmla="*/ 50 w 111"/>
                      <a:gd name="T47" fmla="*/ 74 h 195"/>
                      <a:gd name="T48" fmla="*/ 48 w 111"/>
                      <a:gd name="T49" fmla="*/ 59 h 195"/>
                      <a:gd name="T50" fmla="*/ 44 w 111"/>
                      <a:gd name="T51" fmla="*/ 54 h 195"/>
                      <a:gd name="T52" fmla="*/ 41 w 111"/>
                      <a:gd name="T53" fmla="*/ 53 h 195"/>
                      <a:gd name="T54" fmla="*/ 45 w 111"/>
                      <a:gd name="T55" fmla="*/ 44 h 195"/>
                      <a:gd name="T56" fmla="*/ 50 w 111"/>
                      <a:gd name="T57" fmla="*/ 44 h 195"/>
                      <a:gd name="T58" fmla="*/ 53 w 111"/>
                      <a:gd name="T59" fmla="*/ 44 h 195"/>
                      <a:gd name="T60" fmla="*/ 57 w 111"/>
                      <a:gd name="T61" fmla="*/ 50 h 195"/>
                      <a:gd name="T62" fmla="*/ 62 w 111"/>
                      <a:gd name="T63" fmla="*/ 64 h 195"/>
                      <a:gd name="T64" fmla="*/ 70 w 111"/>
                      <a:gd name="T65" fmla="*/ 78 h 195"/>
                      <a:gd name="T66" fmla="*/ 73 w 111"/>
                      <a:gd name="T67" fmla="*/ 87 h 195"/>
                      <a:gd name="T68" fmla="*/ 71 w 111"/>
                      <a:gd name="T69" fmla="*/ 48 h 195"/>
                      <a:gd name="T70" fmla="*/ 70 w 111"/>
                      <a:gd name="T71" fmla="*/ 41 h 195"/>
                      <a:gd name="T72" fmla="*/ 62 w 111"/>
                      <a:gd name="T73" fmla="*/ 36 h 195"/>
                      <a:gd name="T74" fmla="*/ 61 w 111"/>
                      <a:gd name="T75" fmla="*/ 36 h 1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111" h="195">
                        <a:moveTo>
                          <a:pt x="111" y="178"/>
                        </a:moveTo>
                        <a:lnTo>
                          <a:pt x="111" y="178"/>
                        </a:lnTo>
                        <a:lnTo>
                          <a:pt x="108" y="170"/>
                        </a:lnTo>
                        <a:lnTo>
                          <a:pt x="107" y="165"/>
                        </a:lnTo>
                        <a:lnTo>
                          <a:pt x="105" y="193"/>
                        </a:lnTo>
                        <a:lnTo>
                          <a:pt x="105" y="193"/>
                        </a:lnTo>
                        <a:lnTo>
                          <a:pt x="107" y="195"/>
                        </a:lnTo>
                        <a:lnTo>
                          <a:pt x="107" y="195"/>
                        </a:lnTo>
                        <a:lnTo>
                          <a:pt x="108" y="193"/>
                        </a:lnTo>
                        <a:lnTo>
                          <a:pt x="108" y="193"/>
                        </a:lnTo>
                        <a:lnTo>
                          <a:pt x="110" y="190"/>
                        </a:lnTo>
                        <a:lnTo>
                          <a:pt x="110" y="190"/>
                        </a:lnTo>
                        <a:lnTo>
                          <a:pt x="111" y="185"/>
                        </a:lnTo>
                        <a:lnTo>
                          <a:pt x="111" y="178"/>
                        </a:lnTo>
                        <a:lnTo>
                          <a:pt x="111" y="178"/>
                        </a:lnTo>
                        <a:close/>
                        <a:moveTo>
                          <a:pt x="61" y="36"/>
                        </a:moveTo>
                        <a:lnTo>
                          <a:pt x="61" y="36"/>
                        </a:lnTo>
                        <a:lnTo>
                          <a:pt x="57" y="37"/>
                        </a:lnTo>
                        <a:lnTo>
                          <a:pt x="53" y="39"/>
                        </a:lnTo>
                        <a:lnTo>
                          <a:pt x="50" y="37"/>
                        </a:lnTo>
                        <a:lnTo>
                          <a:pt x="45" y="36"/>
                        </a:lnTo>
                        <a:lnTo>
                          <a:pt x="37" y="31"/>
                        </a:lnTo>
                        <a:lnTo>
                          <a:pt x="27" y="24"/>
                        </a:lnTo>
                        <a:lnTo>
                          <a:pt x="27" y="24"/>
                        </a:lnTo>
                        <a:lnTo>
                          <a:pt x="17" y="17"/>
                        </a:lnTo>
                        <a:lnTo>
                          <a:pt x="11" y="13"/>
                        </a:lnTo>
                        <a:lnTo>
                          <a:pt x="8" y="8"/>
                        </a:lnTo>
                        <a:lnTo>
                          <a:pt x="8" y="8"/>
                        </a:lnTo>
                        <a:lnTo>
                          <a:pt x="11" y="5"/>
                        </a:lnTo>
                        <a:lnTo>
                          <a:pt x="11" y="5"/>
                        </a:lnTo>
                        <a:lnTo>
                          <a:pt x="11" y="0"/>
                        </a:lnTo>
                        <a:lnTo>
                          <a:pt x="11" y="0"/>
                        </a:lnTo>
                        <a:lnTo>
                          <a:pt x="11" y="0"/>
                        </a:lnTo>
                        <a:lnTo>
                          <a:pt x="8" y="0"/>
                        </a:lnTo>
                        <a:lnTo>
                          <a:pt x="7" y="2"/>
                        </a:lnTo>
                        <a:lnTo>
                          <a:pt x="5" y="2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lnTo>
                          <a:pt x="2" y="4"/>
                        </a:lnTo>
                        <a:lnTo>
                          <a:pt x="0" y="8"/>
                        </a:lnTo>
                        <a:lnTo>
                          <a:pt x="0" y="8"/>
                        </a:lnTo>
                        <a:lnTo>
                          <a:pt x="8" y="17"/>
                        </a:lnTo>
                        <a:lnTo>
                          <a:pt x="8" y="17"/>
                        </a:lnTo>
                        <a:lnTo>
                          <a:pt x="16" y="27"/>
                        </a:lnTo>
                        <a:lnTo>
                          <a:pt x="31" y="47"/>
                        </a:lnTo>
                        <a:lnTo>
                          <a:pt x="31" y="47"/>
                        </a:lnTo>
                        <a:lnTo>
                          <a:pt x="50" y="74"/>
                        </a:lnTo>
                        <a:lnTo>
                          <a:pt x="50" y="74"/>
                        </a:lnTo>
                        <a:lnTo>
                          <a:pt x="50" y="68"/>
                        </a:lnTo>
                        <a:lnTo>
                          <a:pt x="48" y="59"/>
                        </a:lnTo>
                        <a:lnTo>
                          <a:pt x="48" y="59"/>
                        </a:lnTo>
                        <a:lnTo>
                          <a:pt x="44" y="54"/>
                        </a:lnTo>
                        <a:lnTo>
                          <a:pt x="41" y="53"/>
                        </a:lnTo>
                        <a:lnTo>
                          <a:pt x="41" y="53"/>
                        </a:lnTo>
                        <a:lnTo>
                          <a:pt x="42" y="47"/>
                        </a:lnTo>
                        <a:lnTo>
                          <a:pt x="45" y="44"/>
                        </a:lnTo>
                        <a:lnTo>
                          <a:pt x="47" y="44"/>
                        </a:lnTo>
                        <a:lnTo>
                          <a:pt x="50" y="44"/>
                        </a:lnTo>
                        <a:lnTo>
                          <a:pt x="50" y="44"/>
                        </a:lnTo>
                        <a:lnTo>
                          <a:pt x="53" y="44"/>
                        </a:lnTo>
                        <a:lnTo>
                          <a:pt x="54" y="45"/>
                        </a:lnTo>
                        <a:lnTo>
                          <a:pt x="57" y="50"/>
                        </a:lnTo>
                        <a:lnTo>
                          <a:pt x="59" y="56"/>
                        </a:lnTo>
                        <a:lnTo>
                          <a:pt x="62" y="64"/>
                        </a:lnTo>
                        <a:lnTo>
                          <a:pt x="62" y="64"/>
                        </a:lnTo>
                        <a:lnTo>
                          <a:pt x="70" y="78"/>
                        </a:lnTo>
                        <a:lnTo>
                          <a:pt x="73" y="87"/>
                        </a:lnTo>
                        <a:lnTo>
                          <a:pt x="73" y="87"/>
                        </a:lnTo>
                        <a:lnTo>
                          <a:pt x="71" y="48"/>
                        </a:lnTo>
                        <a:lnTo>
                          <a:pt x="71" y="48"/>
                        </a:lnTo>
                        <a:lnTo>
                          <a:pt x="71" y="44"/>
                        </a:lnTo>
                        <a:lnTo>
                          <a:pt x="70" y="41"/>
                        </a:lnTo>
                        <a:lnTo>
                          <a:pt x="67" y="37"/>
                        </a:lnTo>
                        <a:lnTo>
                          <a:pt x="62" y="36"/>
                        </a:lnTo>
                        <a:lnTo>
                          <a:pt x="61" y="36"/>
                        </a:lnTo>
                        <a:lnTo>
                          <a:pt x="61" y="3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100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</p:grpSp>
          </p:grpSp>
        </p:grpSp>
        <p:grpSp>
          <p:nvGrpSpPr>
            <p:cNvPr id="272" name="Group 271"/>
            <p:cNvGrpSpPr/>
            <p:nvPr/>
          </p:nvGrpSpPr>
          <p:grpSpPr>
            <a:xfrm>
              <a:off x="5293469" y="1843182"/>
              <a:ext cx="1059671" cy="1582577"/>
              <a:chOff x="4998499" y="2453374"/>
              <a:chExt cx="557508" cy="849110"/>
            </a:xfrm>
          </p:grpSpPr>
          <p:sp>
            <p:nvSpPr>
              <p:cNvPr id="298" name="TextBox 297"/>
              <p:cNvSpPr txBox="1"/>
              <p:nvPr/>
            </p:nvSpPr>
            <p:spPr>
              <a:xfrm>
                <a:off x="4998499" y="2921928"/>
                <a:ext cx="557508" cy="38055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ru-RU" sz="1050" i="1" dirty="0">
                    <a:solidFill>
                      <a:schemeClr val="bg1"/>
                    </a:solidFill>
                    <a:latin typeface="+mj-lt"/>
                  </a:rPr>
                  <a:t>Главный специалист по обработке и анализу данных</a:t>
                </a:r>
              </a:p>
            </p:txBody>
          </p:sp>
          <p:sp>
            <p:nvSpPr>
              <p:cNvPr id="299" name="Freeform 49"/>
              <p:cNvSpPr>
                <a:spLocks noEditPoints="1"/>
              </p:cNvSpPr>
              <p:nvPr/>
            </p:nvSpPr>
            <p:spPr bwMode="auto">
              <a:xfrm flipH="1">
                <a:off x="5209211" y="2453374"/>
                <a:ext cx="136084" cy="448301"/>
              </a:xfrm>
              <a:custGeom>
                <a:avLst/>
                <a:gdLst>
                  <a:gd name="T0" fmla="*/ 251 w 282"/>
                  <a:gd name="T1" fmla="*/ 841 h 929"/>
                  <a:gd name="T2" fmla="*/ 234 w 282"/>
                  <a:gd name="T3" fmla="*/ 744 h 929"/>
                  <a:gd name="T4" fmla="*/ 222 w 282"/>
                  <a:gd name="T5" fmla="*/ 658 h 929"/>
                  <a:gd name="T6" fmla="*/ 219 w 282"/>
                  <a:gd name="T7" fmla="*/ 505 h 929"/>
                  <a:gd name="T8" fmla="*/ 211 w 282"/>
                  <a:gd name="T9" fmla="*/ 387 h 929"/>
                  <a:gd name="T10" fmla="*/ 205 w 282"/>
                  <a:gd name="T11" fmla="*/ 334 h 929"/>
                  <a:gd name="T12" fmla="*/ 207 w 282"/>
                  <a:gd name="T13" fmla="*/ 322 h 929"/>
                  <a:gd name="T14" fmla="*/ 222 w 282"/>
                  <a:gd name="T15" fmla="*/ 310 h 929"/>
                  <a:gd name="T16" fmla="*/ 254 w 282"/>
                  <a:gd name="T17" fmla="*/ 297 h 929"/>
                  <a:gd name="T18" fmla="*/ 245 w 282"/>
                  <a:gd name="T19" fmla="*/ 239 h 929"/>
                  <a:gd name="T20" fmla="*/ 214 w 282"/>
                  <a:gd name="T21" fmla="*/ 169 h 929"/>
                  <a:gd name="T22" fmla="*/ 151 w 282"/>
                  <a:gd name="T23" fmla="*/ 140 h 929"/>
                  <a:gd name="T24" fmla="*/ 140 w 282"/>
                  <a:gd name="T25" fmla="*/ 125 h 929"/>
                  <a:gd name="T26" fmla="*/ 154 w 282"/>
                  <a:gd name="T27" fmla="*/ 92 h 929"/>
                  <a:gd name="T28" fmla="*/ 153 w 282"/>
                  <a:gd name="T29" fmla="*/ 34 h 929"/>
                  <a:gd name="T30" fmla="*/ 106 w 282"/>
                  <a:gd name="T31" fmla="*/ 0 h 929"/>
                  <a:gd name="T32" fmla="*/ 69 w 282"/>
                  <a:gd name="T33" fmla="*/ 44 h 929"/>
                  <a:gd name="T34" fmla="*/ 66 w 282"/>
                  <a:gd name="T35" fmla="*/ 77 h 929"/>
                  <a:gd name="T36" fmla="*/ 83 w 282"/>
                  <a:gd name="T37" fmla="*/ 123 h 929"/>
                  <a:gd name="T38" fmla="*/ 15 w 282"/>
                  <a:gd name="T39" fmla="*/ 158 h 929"/>
                  <a:gd name="T40" fmla="*/ 0 w 282"/>
                  <a:gd name="T41" fmla="*/ 223 h 929"/>
                  <a:gd name="T42" fmla="*/ 12 w 282"/>
                  <a:gd name="T43" fmla="*/ 326 h 929"/>
                  <a:gd name="T44" fmla="*/ 9 w 282"/>
                  <a:gd name="T45" fmla="*/ 447 h 929"/>
                  <a:gd name="T46" fmla="*/ 35 w 282"/>
                  <a:gd name="T47" fmla="*/ 667 h 929"/>
                  <a:gd name="T48" fmla="*/ 31 w 282"/>
                  <a:gd name="T49" fmla="*/ 815 h 929"/>
                  <a:gd name="T50" fmla="*/ 20 w 282"/>
                  <a:gd name="T51" fmla="*/ 900 h 929"/>
                  <a:gd name="T52" fmla="*/ 38 w 282"/>
                  <a:gd name="T53" fmla="*/ 929 h 929"/>
                  <a:gd name="T54" fmla="*/ 79 w 282"/>
                  <a:gd name="T55" fmla="*/ 905 h 929"/>
                  <a:gd name="T56" fmla="*/ 97 w 282"/>
                  <a:gd name="T57" fmla="*/ 851 h 929"/>
                  <a:gd name="T58" fmla="*/ 106 w 282"/>
                  <a:gd name="T59" fmla="*/ 720 h 929"/>
                  <a:gd name="T60" fmla="*/ 123 w 282"/>
                  <a:gd name="T61" fmla="*/ 607 h 929"/>
                  <a:gd name="T62" fmla="*/ 137 w 282"/>
                  <a:gd name="T63" fmla="*/ 581 h 929"/>
                  <a:gd name="T64" fmla="*/ 151 w 282"/>
                  <a:gd name="T65" fmla="*/ 642 h 929"/>
                  <a:gd name="T66" fmla="*/ 160 w 282"/>
                  <a:gd name="T67" fmla="*/ 703 h 929"/>
                  <a:gd name="T68" fmla="*/ 185 w 282"/>
                  <a:gd name="T69" fmla="*/ 857 h 929"/>
                  <a:gd name="T70" fmla="*/ 217 w 282"/>
                  <a:gd name="T71" fmla="*/ 891 h 929"/>
                  <a:gd name="T72" fmla="*/ 270 w 282"/>
                  <a:gd name="T73" fmla="*/ 911 h 929"/>
                  <a:gd name="T74" fmla="*/ 274 w 282"/>
                  <a:gd name="T75" fmla="*/ 875 h 929"/>
                  <a:gd name="T76" fmla="*/ 71 w 282"/>
                  <a:gd name="T77" fmla="*/ 368 h 929"/>
                  <a:gd name="T78" fmla="*/ 123 w 282"/>
                  <a:gd name="T79" fmla="*/ 333 h 929"/>
                  <a:gd name="T80" fmla="*/ 129 w 282"/>
                  <a:gd name="T81" fmla="*/ 303 h 929"/>
                  <a:gd name="T82" fmla="*/ 122 w 282"/>
                  <a:gd name="T83" fmla="*/ 293 h 929"/>
                  <a:gd name="T84" fmla="*/ 92 w 282"/>
                  <a:gd name="T85" fmla="*/ 288 h 929"/>
                  <a:gd name="T86" fmla="*/ 111 w 282"/>
                  <a:gd name="T87" fmla="*/ 280 h 929"/>
                  <a:gd name="T88" fmla="*/ 125 w 282"/>
                  <a:gd name="T89" fmla="*/ 256 h 929"/>
                  <a:gd name="T90" fmla="*/ 105 w 282"/>
                  <a:gd name="T91" fmla="*/ 249 h 929"/>
                  <a:gd name="T92" fmla="*/ 79 w 282"/>
                  <a:gd name="T93" fmla="*/ 231 h 929"/>
                  <a:gd name="T94" fmla="*/ 65 w 282"/>
                  <a:gd name="T95" fmla="*/ 191 h 929"/>
                  <a:gd name="T96" fmla="*/ 199 w 282"/>
                  <a:gd name="T97" fmla="*/ 199 h 929"/>
                  <a:gd name="T98" fmla="*/ 151 w 282"/>
                  <a:gd name="T99" fmla="*/ 252 h 929"/>
                  <a:gd name="T100" fmla="*/ 143 w 282"/>
                  <a:gd name="T101" fmla="*/ 293 h 929"/>
                  <a:gd name="T102" fmla="*/ 140 w 282"/>
                  <a:gd name="T103" fmla="*/ 297 h 929"/>
                  <a:gd name="T104" fmla="*/ 146 w 282"/>
                  <a:gd name="T105" fmla="*/ 313 h 929"/>
                  <a:gd name="T106" fmla="*/ 146 w 282"/>
                  <a:gd name="T107" fmla="*/ 322 h 929"/>
                  <a:gd name="T108" fmla="*/ 170 w 282"/>
                  <a:gd name="T109" fmla="*/ 331 h 929"/>
                  <a:gd name="T110" fmla="*/ 75 w 282"/>
                  <a:gd name="T111" fmla="*/ 283 h 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2" h="929">
                    <a:moveTo>
                      <a:pt x="274" y="875"/>
                    </a:moveTo>
                    <a:lnTo>
                      <a:pt x="274" y="875"/>
                    </a:lnTo>
                    <a:lnTo>
                      <a:pt x="264" y="866"/>
                    </a:lnTo>
                    <a:lnTo>
                      <a:pt x="253" y="858"/>
                    </a:lnTo>
                    <a:lnTo>
                      <a:pt x="242" y="852"/>
                    </a:lnTo>
                    <a:lnTo>
                      <a:pt x="242" y="848"/>
                    </a:lnTo>
                    <a:lnTo>
                      <a:pt x="251" y="841"/>
                    </a:lnTo>
                    <a:lnTo>
                      <a:pt x="251" y="841"/>
                    </a:lnTo>
                    <a:lnTo>
                      <a:pt x="253" y="829"/>
                    </a:lnTo>
                    <a:lnTo>
                      <a:pt x="251" y="818"/>
                    </a:lnTo>
                    <a:lnTo>
                      <a:pt x="250" y="807"/>
                    </a:lnTo>
                    <a:lnTo>
                      <a:pt x="250" y="807"/>
                    </a:lnTo>
                    <a:lnTo>
                      <a:pt x="240" y="780"/>
                    </a:lnTo>
                    <a:lnTo>
                      <a:pt x="236" y="761"/>
                    </a:lnTo>
                    <a:lnTo>
                      <a:pt x="234" y="744"/>
                    </a:lnTo>
                    <a:lnTo>
                      <a:pt x="234" y="744"/>
                    </a:lnTo>
                    <a:lnTo>
                      <a:pt x="236" y="715"/>
                    </a:lnTo>
                    <a:lnTo>
                      <a:pt x="234" y="703"/>
                    </a:lnTo>
                    <a:lnTo>
                      <a:pt x="231" y="698"/>
                    </a:lnTo>
                    <a:lnTo>
                      <a:pt x="228" y="693"/>
                    </a:lnTo>
                    <a:lnTo>
                      <a:pt x="228" y="693"/>
                    </a:lnTo>
                    <a:lnTo>
                      <a:pt x="225" y="687"/>
                    </a:lnTo>
                    <a:lnTo>
                      <a:pt x="223" y="679"/>
                    </a:lnTo>
                    <a:lnTo>
                      <a:pt x="222" y="658"/>
                    </a:lnTo>
                    <a:lnTo>
                      <a:pt x="220" y="627"/>
                    </a:lnTo>
                    <a:lnTo>
                      <a:pt x="220" y="627"/>
                    </a:lnTo>
                    <a:lnTo>
                      <a:pt x="222" y="615"/>
                    </a:lnTo>
                    <a:lnTo>
                      <a:pt x="222" y="595"/>
                    </a:lnTo>
                    <a:lnTo>
                      <a:pt x="223" y="570"/>
                    </a:lnTo>
                    <a:lnTo>
                      <a:pt x="223" y="548"/>
                    </a:lnTo>
                    <a:lnTo>
                      <a:pt x="223" y="548"/>
                    </a:lnTo>
                    <a:lnTo>
                      <a:pt x="219" y="505"/>
                    </a:lnTo>
                    <a:lnTo>
                      <a:pt x="216" y="481"/>
                    </a:lnTo>
                    <a:lnTo>
                      <a:pt x="234" y="478"/>
                    </a:lnTo>
                    <a:lnTo>
                      <a:pt x="234" y="478"/>
                    </a:lnTo>
                    <a:lnTo>
                      <a:pt x="228" y="448"/>
                    </a:lnTo>
                    <a:lnTo>
                      <a:pt x="222" y="424"/>
                    </a:lnTo>
                    <a:lnTo>
                      <a:pt x="217" y="404"/>
                    </a:lnTo>
                    <a:lnTo>
                      <a:pt x="217" y="404"/>
                    </a:lnTo>
                    <a:lnTo>
                      <a:pt x="211" y="387"/>
                    </a:lnTo>
                    <a:lnTo>
                      <a:pt x="207" y="365"/>
                    </a:lnTo>
                    <a:lnTo>
                      <a:pt x="202" y="347"/>
                    </a:lnTo>
                    <a:lnTo>
                      <a:pt x="202" y="336"/>
                    </a:lnTo>
                    <a:lnTo>
                      <a:pt x="202" y="336"/>
                    </a:lnTo>
                    <a:lnTo>
                      <a:pt x="202" y="334"/>
                    </a:lnTo>
                    <a:lnTo>
                      <a:pt x="202" y="334"/>
                    </a:lnTo>
                    <a:lnTo>
                      <a:pt x="205" y="334"/>
                    </a:lnTo>
                    <a:lnTo>
                      <a:pt x="205" y="334"/>
                    </a:lnTo>
                    <a:lnTo>
                      <a:pt x="207" y="334"/>
                    </a:lnTo>
                    <a:lnTo>
                      <a:pt x="208" y="333"/>
                    </a:lnTo>
                    <a:lnTo>
                      <a:pt x="207" y="328"/>
                    </a:lnTo>
                    <a:lnTo>
                      <a:pt x="207" y="328"/>
                    </a:lnTo>
                    <a:lnTo>
                      <a:pt x="208" y="326"/>
                    </a:lnTo>
                    <a:lnTo>
                      <a:pt x="208" y="323"/>
                    </a:lnTo>
                    <a:lnTo>
                      <a:pt x="207" y="322"/>
                    </a:lnTo>
                    <a:lnTo>
                      <a:pt x="207" y="322"/>
                    </a:lnTo>
                    <a:lnTo>
                      <a:pt x="208" y="320"/>
                    </a:lnTo>
                    <a:lnTo>
                      <a:pt x="210" y="319"/>
                    </a:lnTo>
                    <a:lnTo>
                      <a:pt x="210" y="316"/>
                    </a:lnTo>
                    <a:lnTo>
                      <a:pt x="210" y="316"/>
                    </a:lnTo>
                    <a:lnTo>
                      <a:pt x="210" y="314"/>
                    </a:lnTo>
                    <a:lnTo>
                      <a:pt x="208" y="313"/>
                    </a:lnTo>
                    <a:lnTo>
                      <a:pt x="208" y="313"/>
                    </a:lnTo>
                    <a:lnTo>
                      <a:pt x="222" y="310"/>
                    </a:lnTo>
                    <a:lnTo>
                      <a:pt x="231" y="308"/>
                    </a:lnTo>
                    <a:lnTo>
                      <a:pt x="237" y="308"/>
                    </a:lnTo>
                    <a:lnTo>
                      <a:pt x="237" y="308"/>
                    </a:lnTo>
                    <a:lnTo>
                      <a:pt x="244" y="308"/>
                    </a:lnTo>
                    <a:lnTo>
                      <a:pt x="248" y="305"/>
                    </a:lnTo>
                    <a:lnTo>
                      <a:pt x="253" y="302"/>
                    </a:lnTo>
                    <a:lnTo>
                      <a:pt x="254" y="297"/>
                    </a:lnTo>
                    <a:lnTo>
                      <a:pt x="254" y="297"/>
                    </a:lnTo>
                    <a:lnTo>
                      <a:pt x="256" y="289"/>
                    </a:lnTo>
                    <a:lnTo>
                      <a:pt x="256" y="280"/>
                    </a:lnTo>
                    <a:lnTo>
                      <a:pt x="256" y="269"/>
                    </a:lnTo>
                    <a:lnTo>
                      <a:pt x="254" y="260"/>
                    </a:lnTo>
                    <a:lnTo>
                      <a:pt x="254" y="260"/>
                    </a:lnTo>
                    <a:lnTo>
                      <a:pt x="251" y="249"/>
                    </a:lnTo>
                    <a:lnTo>
                      <a:pt x="248" y="243"/>
                    </a:lnTo>
                    <a:lnTo>
                      <a:pt x="245" y="239"/>
                    </a:lnTo>
                    <a:lnTo>
                      <a:pt x="245" y="239"/>
                    </a:lnTo>
                    <a:lnTo>
                      <a:pt x="237" y="229"/>
                    </a:lnTo>
                    <a:lnTo>
                      <a:pt x="234" y="223"/>
                    </a:lnTo>
                    <a:lnTo>
                      <a:pt x="234" y="223"/>
                    </a:lnTo>
                    <a:lnTo>
                      <a:pt x="223" y="195"/>
                    </a:lnTo>
                    <a:lnTo>
                      <a:pt x="223" y="195"/>
                    </a:lnTo>
                    <a:lnTo>
                      <a:pt x="214" y="169"/>
                    </a:lnTo>
                    <a:lnTo>
                      <a:pt x="214" y="169"/>
                    </a:lnTo>
                    <a:lnTo>
                      <a:pt x="214" y="165"/>
                    </a:lnTo>
                    <a:lnTo>
                      <a:pt x="213" y="160"/>
                    </a:lnTo>
                    <a:lnTo>
                      <a:pt x="208" y="155"/>
                    </a:lnTo>
                    <a:lnTo>
                      <a:pt x="200" y="152"/>
                    </a:lnTo>
                    <a:lnTo>
                      <a:pt x="200" y="152"/>
                    </a:lnTo>
                    <a:lnTo>
                      <a:pt x="171" y="146"/>
                    </a:lnTo>
                    <a:lnTo>
                      <a:pt x="159" y="143"/>
                    </a:lnTo>
                    <a:lnTo>
                      <a:pt x="151" y="140"/>
                    </a:lnTo>
                    <a:lnTo>
                      <a:pt x="151" y="140"/>
                    </a:lnTo>
                    <a:lnTo>
                      <a:pt x="151" y="138"/>
                    </a:lnTo>
                    <a:lnTo>
                      <a:pt x="149" y="135"/>
                    </a:lnTo>
                    <a:lnTo>
                      <a:pt x="148" y="131"/>
                    </a:lnTo>
                    <a:lnTo>
                      <a:pt x="145" y="129"/>
                    </a:lnTo>
                    <a:lnTo>
                      <a:pt x="140" y="128"/>
                    </a:lnTo>
                    <a:lnTo>
                      <a:pt x="140" y="125"/>
                    </a:lnTo>
                    <a:lnTo>
                      <a:pt x="140" y="125"/>
                    </a:lnTo>
                    <a:lnTo>
                      <a:pt x="142" y="115"/>
                    </a:lnTo>
                    <a:lnTo>
                      <a:pt x="145" y="106"/>
                    </a:lnTo>
                    <a:lnTo>
                      <a:pt x="145" y="98"/>
                    </a:lnTo>
                    <a:lnTo>
                      <a:pt x="145" y="98"/>
                    </a:lnTo>
                    <a:lnTo>
                      <a:pt x="149" y="98"/>
                    </a:lnTo>
                    <a:lnTo>
                      <a:pt x="153" y="97"/>
                    </a:lnTo>
                    <a:lnTo>
                      <a:pt x="154" y="92"/>
                    </a:lnTo>
                    <a:lnTo>
                      <a:pt x="154" y="92"/>
                    </a:lnTo>
                    <a:lnTo>
                      <a:pt x="159" y="71"/>
                    </a:lnTo>
                    <a:lnTo>
                      <a:pt x="159" y="71"/>
                    </a:lnTo>
                    <a:lnTo>
                      <a:pt x="157" y="69"/>
                    </a:lnTo>
                    <a:lnTo>
                      <a:pt x="153" y="68"/>
                    </a:lnTo>
                    <a:lnTo>
                      <a:pt x="153" y="68"/>
                    </a:lnTo>
                    <a:lnTo>
                      <a:pt x="154" y="38"/>
                    </a:lnTo>
                    <a:lnTo>
                      <a:pt x="154" y="38"/>
                    </a:lnTo>
                    <a:lnTo>
                      <a:pt x="153" y="34"/>
                    </a:lnTo>
                    <a:lnTo>
                      <a:pt x="151" y="27"/>
                    </a:lnTo>
                    <a:lnTo>
                      <a:pt x="148" y="21"/>
                    </a:lnTo>
                    <a:lnTo>
                      <a:pt x="143" y="15"/>
                    </a:lnTo>
                    <a:lnTo>
                      <a:pt x="137" y="9"/>
                    </a:lnTo>
                    <a:lnTo>
                      <a:pt x="129" y="4"/>
                    </a:lnTo>
                    <a:lnTo>
                      <a:pt x="119" y="1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00" y="0"/>
                    </a:lnTo>
                    <a:lnTo>
                      <a:pt x="96" y="1"/>
                    </a:lnTo>
                    <a:lnTo>
                      <a:pt x="86" y="6"/>
                    </a:lnTo>
                    <a:lnTo>
                      <a:pt x="80" y="12"/>
                    </a:lnTo>
                    <a:lnTo>
                      <a:pt x="74" y="20"/>
                    </a:lnTo>
                    <a:lnTo>
                      <a:pt x="71" y="27"/>
                    </a:lnTo>
                    <a:lnTo>
                      <a:pt x="69" y="35"/>
                    </a:lnTo>
                    <a:lnTo>
                      <a:pt x="69" y="44"/>
                    </a:lnTo>
                    <a:lnTo>
                      <a:pt x="69" y="44"/>
                    </a:lnTo>
                    <a:lnTo>
                      <a:pt x="72" y="68"/>
                    </a:lnTo>
                    <a:lnTo>
                      <a:pt x="72" y="68"/>
                    </a:lnTo>
                    <a:lnTo>
                      <a:pt x="71" y="68"/>
                    </a:lnTo>
                    <a:lnTo>
                      <a:pt x="68" y="69"/>
                    </a:lnTo>
                    <a:lnTo>
                      <a:pt x="66" y="72"/>
                    </a:lnTo>
                    <a:lnTo>
                      <a:pt x="65" y="74"/>
                    </a:lnTo>
                    <a:lnTo>
                      <a:pt x="66" y="77"/>
                    </a:lnTo>
                    <a:lnTo>
                      <a:pt x="66" y="77"/>
                    </a:lnTo>
                    <a:lnTo>
                      <a:pt x="68" y="86"/>
                    </a:lnTo>
                    <a:lnTo>
                      <a:pt x="71" y="92"/>
                    </a:lnTo>
                    <a:lnTo>
                      <a:pt x="74" y="97"/>
                    </a:lnTo>
                    <a:lnTo>
                      <a:pt x="75" y="98"/>
                    </a:lnTo>
                    <a:lnTo>
                      <a:pt x="79" y="98"/>
                    </a:lnTo>
                    <a:lnTo>
                      <a:pt x="83" y="123"/>
                    </a:lnTo>
                    <a:lnTo>
                      <a:pt x="83" y="123"/>
                    </a:lnTo>
                    <a:lnTo>
                      <a:pt x="79" y="128"/>
                    </a:lnTo>
                    <a:lnTo>
                      <a:pt x="75" y="132"/>
                    </a:lnTo>
                    <a:lnTo>
                      <a:pt x="69" y="137"/>
                    </a:lnTo>
                    <a:lnTo>
                      <a:pt x="69" y="137"/>
                    </a:lnTo>
                    <a:lnTo>
                      <a:pt x="46" y="146"/>
                    </a:lnTo>
                    <a:lnTo>
                      <a:pt x="23" y="155"/>
                    </a:lnTo>
                    <a:lnTo>
                      <a:pt x="23" y="155"/>
                    </a:lnTo>
                    <a:lnTo>
                      <a:pt x="15" y="158"/>
                    </a:lnTo>
                    <a:lnTo>
                      <a:pt x="9" y="163"/>
                    </a:lnTo>
                    <a:lnTo>
                      <a:pt x="6" y="171"/>
                    </a:lnTo>
                    <a:lnTo>
                      <a:pt x="5" y="183"/>
                    </a:lnTo>
                    <a:lnTo>
                      <a:pt x="5" y="183"/>
                    </a:lnTo>
                    <a:lnTo>
                      <a:pt x="2" y="206"/>
                    </a:lnTo>
                    <a:lnTo>
                      <a:pt x="0" y="214"/>
                    </a:lnTo>
                    <a:lnTo>
                      <a:pt x="0" y="223"/>
                    </a:lnTo>
                    <a:lnTo>
                      <a:pt x="0" y="223"/>
                    </a:lnTo>
                    <a:lnTo>
                      <a:pt x="0" y="249"/>
                    </a:lnTo>
                    <a:lnTo>
                      <a:pt x="0" y="283"/>
                    </a:lnTo>
                    <a:lnTo>
                      <a:pt x="0" y="283"/>
                    </a:lnTo>
                    <a:lnTo>
                      <a:pt x="0" y="299"/>
                    </a:lnTo>
                    <a:lnTo>
                      <a:pt x="2" y="306"/>
                    </a:lnTo>
                    <a:lnTo>
                      <a:pt x="3" y="314"/>
                    </a:lnTo>
                    <a:lnTo>
                      <a:pt x="8" y="320"/>
                    </a:lnTo>
                    <a:lnTo>
                      <a:pt x="12" y="326"/>
                    </a:lnTo>
                    <a:lnTo>
                      <a:pt x="18" y="333"/>
                    </a:lnTo>
                    <a:lnTo>
                      <a:pt x="28" y="337"/>
                    </a:lnTo>
                    <a:lnTo>
                      <a:pt x="28" y="337"/>
                    </a:lnTo>
                    <a:lnTo>
                      <a:pt x="22" y="359"/>
                    </a:lnTo>
                    <a:lnTo>
                      <a:pt x="17" y="384"/>
                    </a:lnTo>
                    <a:lnTo>
                      <a:pt x="12" y="416"/>
                    </a:lnTo>
                    <a:lnTo>
                      <a:pt x="12" y="416"/>
                    </a:lnTo>
                    <a:lnTo>
                      <a:pt x="9" y="447"/>
                    </a:lnTo>
                    <a:lnTo>
                      <a:pt x="9" y="470"/>
                    </a:lnTo>
                    <a:lnTo>
                      <a:pt x="9" y="490"/>
                    </a:lnTo>
                    <a:lnTo>
                      <a:pt x="28" y="493"/>
                    </a:lnTo>
                    <a:lnTo>
                      <a:pt x="28" y="493"/>
                    </a:lnTo>
                    <a:lnTo>
                      <a:pt x="32" y="562"/>
                    </a:lnTo>
                    <a:lnTo>
                      <a:pt x="32" y="562"/>
                    </a:lnTo>
                    <a:lnTo>
                      <a:pt x="35" y="632"/>
                    </a:lnTo>
                    <a:lnTo>
                      <a:pt x="35" y="667"/>
                    </a:lnTo>
                    <a:lnTo>
                      <a:pt x="34" y="704"/>
                    </a:lnTo>
                    <a:lnTo>
                      <a:pt x="34" y="704"/>
                    </a:lnTo>
                    <a:lnTo>
                      <a:pt x="34" y="740"/>
                    </a:lnTo>
                    <a:lnTo>
                      <a:pt x="34" y="767"/>
                    </a:lnTo>
                    <a:lnTo>
                      <a:pt x="34" y="792"/>
                    </a:lnTo>
                    <a:lnTo>
                      <a:pt x="34" y="803"/>
                    </a:lnTo>
                    <a:lnTo>
                      <a:pt x="31" y="815"/>
                    </a:lnTo>
                    <a:lnTo>
                      <a:pt x="31" y="815"/>
                    </a:lnTo>
                    <a:lnTo>
                      <a:pt x="29" y="827"/>
                    </a:lnTo>
                    <a:lnTo>
                      <a:pt x="28" y="840"/>
                    </a:lnTo>
                    <a:lnTo>
                      <a:pt x="29" y="863"/>
                    </a:lnTo>
                    <a:lnTo>
                      <a:pt x="31" y="880"/>
                    </a:lnTo>
                    <a:lnTo>
                      <a:pt x="32" y="889"/>
                    </a:lnTo>
                    <a:lnTo>
                      <a:pt x="32" y="889"/>
                    </a:lnTo>
                    <a:lnTo>
                      <a:pt x="28" y="892"/>
                    </a:lnTo>
                    <a:lnTo>
                      <a:pt x="20" y="900"/>
                    </a:lnTo>
                    <a:lnTo>
                      <a:pt x="17" y="905"/>
                    </a:lnTo>
                    <a:lnTo>
                      <a:pt x="15" y="911"/>
                    </a:lnTo>
                    <a:lnTo>
                      <a:pt x="15" y="917"/>
                    </a:lnTo>
                    <a:lnTo>
                      <a:pt x="18" y="921"/>
                    </a:lnTo>
                    <a:lnTo>
                      <a:pt x="18" y="921"/>
                    </a:lnTo>
                    <a:lnTo>
                      <a:pt x="25" y="928"/>
                    </a:lnTo>
                    <a:lnTo>
                      <a:pt x="31" y="929"/>
                    </a:lnTo>
                    <a:lnTo>
                      <a:pt x="38" y="929"/>
                    </a:lnTo>
                    <a:lnTo>
                      <a:pt x="46" y="928"/>
                    </a:lnTo>
                    <a:lnTo>
                      <a:pt x="52" y="925"/>
                    </a:lnTo>
                    <a:lnTo>
                      <a:pt x="60" y="921"/>
                    </a:lnTo>
                    <a:lnTo>
                      <a:pt x="65" y="917"/>
                    </a:lnTo>
                    <a:lnTo>
                      <a:pt x="69" y="911"/>
                    </a:lnTo>
                    <a:lnTo>
                      <a:pt x="69" y="911"/>
                    </a:lnTo>
                    <a:lnTo>
                      <a:pt x="74" y="908"/>
                    </a:lnTo>
                    <a:lnTo>
                      <a:pt x="79" y="905"/>
                    </a:lnTo>
                    <a:lnTo>
                      <a:pt x="89" y="900"/>
                    </a:lnTo>
                    <a:lnTo>
                      <a:pt x="94" y="897"/>
                    </a:lnTo>
                    <a:lnTo>
                      <a:pt x="97" y="892"/>
                    </a:lnTo>
                    <a:lnTo>
                      <a:pt x="97" y="886"/>
                    </a:lnTo>
                    <a:lnTo>
                      <a:pt x="96" y="877"/>
                    </a:lnTo>
                    <a:lnTo>
                      <a:pt x="102" y="874"/>
                    </a:lnTo>
                    <a:lnTo>
                      <a:pt x="102" y="874"/>
                    </a:lnTo>
                    <a:lnTo>
                      <a:pt x="97" y="851"/>
                    </a:lnTo>
                    <a:lnTo>
                      <a:pt x="94" y="831"/>
                    </a:lnTo>
                    <a:lnTo>
                      <a:pt x="92" y="812"/>
                    </a:lnTo>
                    <a:lnTo>
                      <a:pt x="92" y="812"/>
                    </a:lnTo>
                    <a:lnTo>
                      <a:pt x="96" y="797"/>
                    </a:lnTo>
                    <a:lnTo>
                      <a:pt x="100" y="774"/>
                    </a:lnTo>
                    <a:lnTo>
                      <a:pt x="105" y="749"/>
                    </a:lnTo>
                    <a:lnTo>
                      <a:pt x="106" y="735"/>
                    </a:lnTo>
                    <a:lnTo>
                      <a:pt x="106" y="720"/>
                    </a:lnTo>
                    <a:lnTo>
                      <a:pt x="106" y="720"/>
                    </a:lnTo>
                    <a:lnTo>
                      <a:pt x="106" y="707"/>
                    </a:lnTo>
                    <a:lnTo>
                      <a:pt x="106" y="696"/>
                    </a:lnTo>
                    <a:lnTo>
                      <a:pt x="109" y="679"/>
                    </a:lnTo>
                    <a:lnTo>
                      <a:pt x="112" y="669"/>
                    </a:lnTo>
                    <a:lnTo>
                      <a:pt x="116" y="656"/>
                    </a:lnTo>
                    <a:lnTo>
                      <a:pt x="116" y="656"/>
                    </a:lnTo>
                    <a:lnTo>
                      <a:pt x="123" y="607"/>
                    </a:lnTo>
                    <a:lnTo>
                      <a:pt x="126" y="579"/>
                    </a:lnTo>
                    <a:lnTo>
                      <a:pt x="126" y="567"/>
                    </a:lnTo>
                    <a:lnTo>
                      <a:pt x="125" y="558"/>
                    </a:lnTo>
                    <a:lnTo>
                      <a:pt x="125" y="558"/>
                    </a:lnTo>
                    <a:lnTo>
                      <a:pt x="129" y="565"/>
                    </a:lnTo>
                    <a:lnTo>
                      <a:pt x="134" y="573"/>
                    </a:lnTo>
                    <a:lnTo>
                      <a:pt x="137" y="581"/>
                    </a:lnTo>
                    <a:lnTo>
                      <a:pt x="137" y="581"/>
                    </a:lnTo>
                    <a:lnTo>
                      <a:pt x="139" y="589"/>
                    </a:lnTo>
                    <a:lnTo>
                      <a:pt x="139" y="595"/>
                    </a:lnTo>
                    <a:lnTo>
                      <a:pt x="139" y="602"/>
                    </a:lnTo>
                    <a:lnTo>
                      <a:pt x="142" y="613"/>
                    </a:lnTo>
                    <a:lnTo>
                      <a:pt x="142" y="613"/>
                    </a:lnTo>
                    <a:lnTo>
                      <a:pt x="149" y="630"/>
                    </a:lnTo>
                    <a:lnTo>
                      <a:pt x="151" y="636"/>
                    </a:lnTo>
                    <a:lnTo>
                      <a:pt x="151" y="642"/>
                    </a:lnTo>
                    <a:lnTo>
                      <a:pt x="151" y="642"/>
                    </a:lnTo>
                    <a:lnTo>
                      <a:pt x="153" y="661"/>
                    </a:lnTo>
                    <a:lnTo>
                      <a:pt x="157" y="676"/>
                    </a:lnTo>
                    <a:lnTo>
                      <a:pt x="157" y="676"/>
                    </a:lnTo>
                    <a:lnTo>
                      <a:pt x="159" y="683"/>
                    </a:lnTo>
                    <a:lnTo>
                      <a:pt x="159" y="689"/>
                    </a:lnTo>
                    <a:lnTo>
                      <a:pt x="160" y="703"/>
                    </a:lnTo>
                    <a:lnTo>
                      <a:pt x="160" y="703"/>
                    </a:lnTo>
                    <a:lnTo>
                      <a:pt x="176" y="801"/>
                    </a:lnTo>
                    <a:lnTo>
                      <a:pt x="176" y="801"/>
                    </a:lnTo>
                    <a:lnTo>
                      <a:pt x="177" y="814"/>
                    </a:lnTo>
                    <a:lnTo>
                      <a:pt x="182" y="829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6" y="852"/>
                    </a:lnTo>
                    <a:lnTo>
                      <a:pt x="185" y="857"/>
                    </a:lnTo>
                    <a:lnTo>
                      <a:pt x="183" y="861"/>
                    </a:lnTo>
                    <a:lnTo>
                      <a:pt x="183" y="861"/>
                    </a:lnTo>
                    <a:lnTo>
                      <a:pt x="185" y="868"/>
                    </a:lnTo>
                    <a:lnTo>
                      <a:pt x="186" y="872"/>
                    </a:lnTo>
                    <a:lnTo>
                      <a:pt x="193" y="877"/>
                    </a:lnTo>
                    <a:lnTo>
                      <a:pt x="200" y="881"/>
                    </a:lnTo>
                    <a:lnTo>
                      <a:pt x="200" y="881"/>
                    </a:lnTo>
                    <a:lnTo>
                      <a:pt x="217" y="891"/>
                    </a:lnTo>
                    <a:lnTo>
                      <a:pt x="227" y="895"/>
                    </a:lnTo>
                    <a:lnTo>
                      <a:pt x="236" y="901"/>
                    </a:lnTo>
                    <a:lnTo>
                      <a:pt x="236" y="901"/>
                    </a:lnTo>
                    <a:lnTo>
                      <a:pt x="244" y="908"/>
                    </a:lnTo>
                    <a:lnTo>
                      <a:pt x="253" y="912"/>
                    </a:lnTo>
                    <a:lnTo>
                      <a:pt x="262" y="914"/>
                    </a:lnTo>
                    <a:lnTo>
                      <a:pt x="270" y="911"/>
                    </a:lnTo>
                    <a:lnTo>
                      <a:pt x="270" y="911"/>
                    </a:lnTo>
                    <a:lnTo>
                      <a:pt x="274" y="909"/>
                    </a:lnTo>
                    <a:lnTo>
                      <a:pt x="277" y="906"/>
                    </a:lnTo>
                    <a:lnTo>
                      <a:pt x="281" y="901"/>
                    </a:lnTo>
                    <a:lnTo>
                      <a:pt x="282" y="897"/>
                    </a:lnTo>
                    <a:lnTo>
                      <a:pt x="282" y="892"/>
                    </a:lnTo>
                    <a:lnTo>
                      <a:pt x="281" y="886"/>
                    </a:lnTo>
                    <a:lnTo>
                      <a:pt x="279" y="881"/>
                    </a:lnTo>
                    <a:lnTo>
                      <a:pt x="274" y="875"/>
                    </a:lnTo>
                    <a:lnTo>
                      <a:pt x="274" y="875"/>
                    </a:lnTo>
                    <a:close/>
                    <a:moveTo>
                      <a:pt x="197" y="359"/>
                    </a:moveTo>
                    <a:lnTo>
                      <a:pt x="197" y="359"/>
                    </a:lnTo>
                    <a:lnTo>
                      <a:pt x="197" y="363"/>
                    </a:lnTo>
                    <a:lnTo>
                      <a:pt x="194" y="367"/>
                    </a:lnTo>
                    <a:lnTo>
                      <a:pt x="191" y="368"/>
                    </a:lnTo>
                    <a:lnTo>
                      <a:pt x="186" y="370"/>
                    </a:lnTo>
                    <a:lnTo>
                      <a:pt x="71" y="368"/>
                    </a:lnTo>
                    <a:lnTo>
                      <a:pt x="71" y="368"/>
                    </a:lnTo>
                    <a:lnTo>
                      <a:pt x="66" y="368"/>
                    </a:lnTo>
                    <a:lnTo>
                      <a:pt x="63" y="365"/>
                    </a:lnTo>
                    <a:lnTo>
                      <a:pt x="62" y="362"/>
                    </a:lnTo>
                    <a:lnTo>
                      <a:pt x="60" y="359"/>
                    </a:lnTo>
                    <a:lnTo>
                      <a:pt x="60" y="331"/>
                    </a:lnTo>
                    <a:lnTo>
                      <a:pt x="120" y="343"/>
                    </a:lnTo>
                    <a:lnTo>
                      <a:pt x="123" y="333"/>
                    </a:lnTo>
                    <a:lnTo>
                      <a:pt x="123" y="333"/>
                    </a:lnTo>
                    <a:lnTo>
                      <a:pt x="123" y="333"/>
                    </a:lnTo>
                    <a:lnTo>
                      <a:pt x="123" y="333"/>
                    </a:lnTo>
                    <a:lnTo>
                      <a:pt x="123" y="333"/>
                    </a:lnTo>
                    <a:lnTo>
                      <a:pt x="123" y="331"/>
                    </a:lnTo>
                    <a:lnTo>
                      <a:pt x="123" y="331"/>
                    </a:lnTo>
                    <a:lnTo>
                      <a:pt x="126" y="320"/>
                    </a:lnTo>
                    <a:lnTo>
                      <a:pt x="129" y="303"/>
                    </a:lnTo>
                    <a:lnTo>
                      <a:pt x="129" y="303"/>
                    </a:lnTo>
                    <a:lnTo>
                      <a:pt x="131" y="297"/>
                    </a:lnTo>
                    <a:lnTo>
                      <a:pt x="131" y="297"/>
                    </a:lnTo>
                    <a:lnTo>
                      <a:pt x="131" y="294"/>
                    </a:lnTo>
                    <a:lnTo>
                      <a:pt x="131" y="294"/>
                    </a:lnTo>
                    <a:lnTo>
                      <a:pt x="125" y="293"/>
                    </a:lnTo>
                    <a:lnTo>
                      <a:pt x="125" y="293"/>
                    </a:lnTo>
                    <a:lnTo>
                      <a:pt x="122" y="293"/>
                    </a:lnTo>
                    <a:lnTo>
                      <a:pt x="122" y="293"/>
                    </a:lnTo>
                    <a:lnTo>
                      <a:pt x="120" y="293"/>
                    </a:lnTo>
                    <a:lnTo>
                      <a:pt x="120" y="293"/>
                    </a:lnTo>
                    <a:lnTo>
                      <a:pt x="109" y="291"/>
                    </a:lnTo>
                    <a:lnTo>
                      <a:pt x="103" y="289"/>
                    </a:lnTo>
                    <a:lnTo>
                      <a:pt x="103" y="289"/>
                    </a:lnTo>
                    <a:lnTo>
                      <a:pt x="97" y="288"/>
                    </a:lnTo>
                    <a:lnTo>
                      <a:pt x="92" y="288"/>
                    </a:lnTo>
                    <a:lnTo>
                      <a:pt x="92" y="288"/>
                    </a:lnTo>
                    <a:lnTo>
                      <a:pt x="89" y="286"/>
                    </a:lnTo>
                    <a:lnTo>
                      <a:pt x="86" y="286"/>
                    </a:lnTo>
                    <a:lnTo>
                      <a:pt x="86" y="286"/>
                    </a:lnTo>
                    <a:lnTo>
                      <a:pt x="86" y="286"/>
                    </a:lnTo>
                    <a:lnTo>
                      <a:pt x="100" y="282"/>
                    </a:lnTo>
                    <a:lnTo>
                      <a:pt x="105" y="280"/>
                    </a:lnTo>
                    <a:lnTo>
                      <a:pt x="111" y="280"/>
                    </a:lnTo>
                    <a:lnTo>
                      <a:pt x="117" y="282"/>
                    </a:lnTo>
                    <a:lnTo>
                      <a:pt x="123" y="283"/>
                    </a:lnTo>
                    <a:lnTo>
                      <a:pt x="123" y="283"/>
                    </a:lnTo>
                    <a:lnTo>
                      <a:pt x="125" y="282"/>
                    </a:lnTo>
                    <a:lnTo>
                      <a:pt x="125" y="282"/>
                    </a:lnTo>
                    <a:lnTo>
                      <a:pt x="125" y="268"/>
                    </a:lnTo>
                    <a:lnTo>
                      <a:pt x="125" y="256"/>
                    </a:lnTo>
                    <a:lnTo>
                      <a:pt x="125" y="256"/>
                    </a:lnTo>
                    <a:lnTo>
                      <a:pt x="125" y="252"/>
                    </a:lnTo>
                    <a:lnTo>
                      <a:pt x="125" y="252"/>
                    </a:lnTo>
                    <a:lnTo>
                      <a:pt x="125" y="252"/>
                    </a:lnTo>
                    <a:lnTo>
                      <a:pt x="122" y="251"/>
                    </a:lnTo>
                    <a:lnTo>
                      <a:pt x="116" y="251"/>
                    </a:lnTo>
                    <a:lnTo>
                      <a:pt x="116" y="251"/>
                    </a:lnTo>
                    <a:lnTo>
                      <a:pt x="108" y="249"/>
                    </a:lnTo>
                    <a:lnTo>
                      <a:pt x="105" y="249"/>
                    </a:lnTo>
                    <a:lnTo>
                      <a:pt x="102" y="248"/>
                    </a:lnTo>
                    <a:lnTo>
                      <a:pt x="102" y="248"/>
                    </a:lnTo>
                    <a:lnTo>
                      <a:pt x="94" y="242"/>
                    </a:lnTo>
                    <a:lnTo>
                      <a:pt x="86" y="236"/>
                    </a:lnTo>
                    <a:lnTo>
                      <a:pt x="86" y="236"/>
                    </a:lnTo>
                    <a:lnTo>
                      <a:pt x="85" y="232"/>
                    </a:lnTo>
                    <a:lnTo>
                      <a:pt x="79" y="231"/>
                    </a:lnTo>
                    <a:lnTo>
                      <a:pt x="79" y="231"/>
                    </a:lnTo>
                    <a:lnTo>
                      <a:pt x="68" y="228"/>
                    </a:lnTo>
                    <a:lnTo>
                      <a:pt x="63" y="226"/>
                    </a:lnTo>
                    <a:lnTo>
                      <a:pt x="63" y="226"/>
                    </a:lnTo>
                    <a:lnTo>
                      <a:pt x="62" y="226"/>
                    </a:lnTo>
                    <a:lnTo>
                      <a:pt x="62" y="197"/>
                    </a:lnTo>
                    <a:lnTo>
                      <a:pt x="62" y="197"/>
                    </a:lnTo>
                    <a:lnTo>
                      <a:pt x="63" y="194"/>
                    </a:lnTo>
                    <a:lnTo>
                      <a:pt x="65" y="191"/>
                    </a:lnTo>
                    <a:lnTo>
                      <a:pt x="68" y="188"/>
                    </a:lnTo>
                    <a:lnTo>
                      <a:pt x="72" y="188"/>
                    </a:lnTo>
                    <a:lnTo>
                      <a:pt x="188" y="188"/>
                    </a:lnTo>
                    <a:lnTo>
                      <a:pt x="188" y="188"/>
                    </a:lnTo>
                    <a:lnTo>
                      <a:pt x="193" y="189"/>
                    </a:lnTo>
                    <a:lnTo>
                      <a:pt x="196" y="191"/>
                    </a:lnTo>
                    <a:lnTo>
                      <a:pt x="199" y="194"/>
                    </a:lnTo>
                    <a:lnTo>
                      <a:pt x="199" y="199"/>
                    </a:lnTo>
                    <a:lnTo>
                      <a:pt x="199" y="252"/>
                    </a:lnTo>
                    <a:lnTo>
                      <a:pt x="199" y="252"/>
                    </a:lnTo>
                    <a:lnTo>
                      <a:pt x="188" y="254"/>
                    </a:lnTo>
                    <a:lnTo>
                      <a:pt x="188" y="254"/>
                    </a:lnTo>
                    <a:lnTo>
                      <a:pt x="177" y="254"/>
                    </a:lnTo>
                    <a:lnTo>
                      <a:pt x="168" y="252"/>
                    </a:lnTo>
                    <a:lnTo>
                      <a:pt x="168" y="252"/>
                    </a:lnTo>
                    <a:lnTo>
                      <a:pt x="151" y="252"/>
                    </a:lnTo>
                    <a:lnTo>
                      <a:pt x="134" y="251"/>
                    </a:lnTo>
                    <a:lnTo>
                      <a:pt x="134" y="251"/>
                    </a:lnTo>
                    <a:lnTo>
                      <a:pt x="139" y="265"/>
                    </a:lnTo>
                    <a:lnTo>
                      <a:pt x="139" y="265"/>
                    </a:lnTo>
                    <a:lnTo>
                      <a:pt x="143" y="286"/>
                    </a:lnTo>
                    <a:lnTo>
                      <a:pt x="143" y="286"/>
                    </a:lnTo>
                    <a:lnTo>
                      <a:pt x="143" y="293"/>
                    </a:lnTo>
                    <a:lnTo>
                      <a:pt x="143" y="293"/>
                    </a:lnTo>
                    <a:lnTo>
                      <a:pt x="143" y="293"/>
                    </a:lnTo>
                    <a:lnTo>
                      <a:pt x="143" y="293"/>
                    </a:lnTo>
                    <a:lnTo>
                      <a:pt x="142" y="293"/>
                    </a:lnTo>
                    <a:lnTo>
                      <a:pt x="140" y="291"/>
                    </a:lnTo>
                    <a:lnTo>
                      <a:pt x="140" y="291"/>
                    </a:lnTo>
                    <a:lnTo>
                      <a:pt x="140" y="294"/>
                    </a:lnTo>
                    <a:lnTo>
                      <a:pt x="140" y="294"/>
                    </a:lnTo>
                    <a:lnTo>
                      <a:pt x="140" y="297"/>
                    </a:lnTo>
                    <a:lnTo>
                      <a:pt x="140" y="297"/>
                    </a:lnTo>
                    <a:lnTo>
                      <a:pt x="142" y="302"/>
                    </a:lnTo>
                    <a:lnTo>
                      <a:pt x="142" y="302"/>
                    </a:lnTo>
                    <a:lnTo>
                      <a:pt x="143" y="308"/>
                    </a:lnTo>
                    <a:lnTo>
                      <a:pt x="145" y="311"/>
                    </a:lnTo>
                    <a:lnTo>
                      <a:pt x="146" y="313"/>
                    </a:lnTo>
                    <a:lnTo>
                      <a:pt x="146" y="313"/>
                    </a:lnTo>
                    <a:lnTo>
                      <a:pt x="146" y="313"/>
                    </a:lnTo>
                    <a:lnTo>
                      <a:pt x="146" y="313"/>
                    </a:lnTo>
                    <a:lnTo>
                      <a:pt x="146" y="313"/>
                    </a:lnTo>
                    <a:lnTo>
                      <a:pt x="146" y="313"/>
                    </a:lnTo>
                    <a:lnTo>
                      <a:pt x="146" y="317"/>
                    </a:lnTo>
                    <a:lnTo>
                      <a:pt x="146" y="317"/>
                    </a:lnTo>
                    <a:lnTo>
                      <a:pt x="146" y="320"/>
                    </a:lnTo>
                    <a:lnTo>
                      <a:pt x="146" y="322"/>
                    </a:lnTo>
                    <a:lnTo>
                      <a:pt x="146" y="322"/>
                    </a:lnTo>
                    <a:lnTo>
                      <a:pt x="145" y="326"/>
                    </a:lnTo>
                    <a:lnTo>
                      <a:pt x="145" y="326"/>
                    </a:lnTo>
                    <a:lnTo>
                      <a:pt x="153" y="326"/>
                    </a:lnTo>
                    <a:lnTo>
                      <a:pt x="153" y="326"/>
                    </a:lnTo>
                    <a:lnTo>
                      <a:pt x="160" y="326"/>
                    </a:lnTo>
                    <a:lnTo>
                      <a:pt x="166" y="330"/>
                    </a:lnTo>
                    <a:lnTo>
                      <a:pt x="166" y="330"/>
                    </a:lnTo>
                    <a:lnTo>
                      <a:pt x="170" y="331"/>
                    </a:lnTo>
                    <a:lnTo>
                      <a:pt x="173" y="333"/>
                    </a:lnTo>
                    <a:lnTo>
                      <a:pt x="183" y="333"/>
                    </a:lnTo>
                    <a:lnTo>
                      <a:pt x="183" y="333"/>
                    </a:lnTo>
                    <a:lnTo>
                      <a:pt x="197" y="334"/>
                    </a:lnTo>
                    <a:lnTo>
                      <a:pt x="197" y="359"/>
                    </a:lnTo>
                    <a:close/>
                    <a:moveTo>
                      <a:pt x="63" y="280"/>
                    </a:moveTo>
                    <a:lnTo>
                      <a:pt x="63" y="280"/>
                    </a:lnTo>
                    <a:lnTo>
                      <a:pt x="75" y="283"/>
                    </a:lnTo>
                    <a:lnTo>
                      <a:pt x="85" y="286"/>
                    </a:lnTo>
                    <a:lnTo>
                      <a:pt x="85" y="286"/>
                    </a:lnTo>
                    <a:lnTo>
                      <a:pt x="75" y="283"/>
                    </a:lnTo>
                    <a:lnTo>
                      <a:pt x="63" y="280"/>
                    </a:lnTo>
                    <a:lnTo>
                      <a:pt x="63" y="280"/>
                    </a:lnTo>
                    <a:close/>
                  </a:path>
                </a:pathLst>
              </a:custGeom>
              <a:solidFill>
                <a:srgbClr val="8E8A8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00" name="Freeform 50"/>
              <p:cNvSpPr>
                <a:spLocks/>
              </p:cNvSpPr>
              <p:nvPr/>
            </p:nvSpPr>
            <p:spPr bwMode="auto">
              <a:xfrm flipH="1">
                <a:off x="5275323" y="2515586"/>
                <a:ext cx="30402" cy="40052"/>
              </a:xfrm>
              <a:custGeom>
                <a:avLst/>
                <a:gdLst>
                  <a:gd name="T0" fmla="*/ 61 w 63"/>
                  <a:gd name="T1" fmla="*/ 7 h 83"/>
                  <a:gd name="T2" fmla="*/ 61 w 63"/>
                  <a:gd name="T3" fmla="*/ 7 h 83"/>
                  <a:gd name="T4" fmla="*/ 60 w 63"/>
                  <a:gd name="T5" fmla="*/ 10 h 83"/>
                  <a:gd name="T6" fmla="*/ 57 w 63"/>
                  <a:gd name="T7" fmla="*/ 17 h 83"/>
                  <a:gd name="T8" fmla="*/ 51 w 63"/>
                  <a:gd name="T9" fmla="*/ 21 h 83"/>
                  <a:gd name="T10" fmla="*/ 46 w 63"/>
                  <a:gd name="T11" fmla="*/ 23 h 83"/>
                  <a:gd name="T12" fmla="*/ 41 w 63"/>
                  <a:gd name="T13" fmla="*/ 24 h 83"/>
                  <a:gd name="T14" fmla="*/ 41 w 63"/>
                  <a:gd name="T15" fmla="*/ 24 h 83"/>
                  <a:gd name="T16" fmla="*/ 35 w 63"/>
                  <a:gd name="T17" fmla="*/ 23 h 83"/>
                  <a:gd name="T18" fmla="*/ 29 w 63"/>
                  <a:gd name="T19" fmla="*/ 21 h 83"/>
                  <a:gd name="T20" fmla="*/ 17 w 63"/>
                  <a:gd name="T21" fmla="*/ 15 h 83"/>
                  <a:gd name="T22" fmla="*/ 6 w 63"/>
                  <a:gd name="T23" fmla="*/ 7 h 83"/>
                  <a:gd name="T24" fmla="*/ 4 w 63"/>
                  <a:gd name="T25" fmla="*/ 3 h 83"/>
                  <a:gd name="T26" fmla="*/ 3 w 63"/>
                  <a:gd name="T27" fmla="*/ 0 h 83"/>
                  <a:gd name="T28" fmla="*/ 3 w 63"/>
                  <a:gd name="T29" fmla="*/ 0 h 83"/>
                  <a:gd name="T30" fmla="*/ 0 w 63"/>
                  <a:gd name="T31" fmla="*/ 1 h 83"/>
                  <a:gd name="T32" fmla="*/ 0 w 63"/>
                  <a:gd name="T33" fmla="*/ 4 h 83"/>
                  <a:gd name="T34" fmla="*/ 1 w 63"/>
                  <a:gd name="T35" fmla="*/ 10 h 83"/>
                  <a:gd name="T36" fmla="*/ 1 w 63"/>
                  <a:gd name="T37" fmla="*/ 10 h 83"/>
                  <a:gd name="T38" fmla="*/ 4 w 63"/>
                  <a:gd name="T39" fmla="*/ 15 h 83"/>
                  <a:gd name="T40" fmla="*/ 7 w 63"/>
                  <a:gd name="T41" fmla="*/ 20 h 83"/>
                  <a:gd name="T42" fmla="*/ 10 w 63"/>
                  <a:gd name="T43" fmla="*/ 24 h 83"/>
                  <a:gd name="T44" fmla="*/ 14 w 63"/>
                  <a:gd name="T45" fmla="*/ 32 h 83"/>
                  <a:gd name="T46" fmla="*/ 14 w 63"/>
                  <a:gd name="T47" fmla="*/ 32 h 83"/>
                  <a:gd name="T48" fmla="*/ 27 w 63"/>
                  <a:gd name="T49" fmla="*/ 83 h 83"/>
                  <a:gd name="T50" fmla="*/ 27 w 63"/>
                  <a:gd name="T51" fmla="*/ 83 h 83"/>
                  <a:gd name="T52" fmla="*/ 37 w 63"/>
                  <a:gd name="T53" fmla="*/ 64 h 83"/>
                  <a:gd name="T54" fmla="*/ 49 w 63"/>
                  <a:gd name="T55" fmla="*/ 41 h 83"/>
                  <a:gd name="T56" fmla="*/ 49 w 63"/>
                  <a:gd name="T57" fmla="*/ 41 h 83"/>
                  <a:gd name="T58" fmla="*/ 58 w 63"/>
                  <a:gd name="T59" fmla="*/ 23 h 83"/>
                  <a:gd name="T60" fmla="*/ 61 w 63"/>
                  <a:gd name="T61" fmla="*/ 13 h 83"/>
                  <a:gd name="T62" fmla="*/ 63 w 63"/>
                  <a:gd name="T63" fmla="*/ 10 h 83"/>
                  <a:gd name="T64" fmla="*/ 61 w 63"/>
                  <a:gd name="T65" fmla="*/ 7 h 83"/>
                  <a:gd name="T66" fmla="*/ 61 w 63"/>
                  <a:gd name="T67" fmla="*/ 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3" h="83">
                    <a:moveTo>
                      <a:pt x="61" y="7"/>
                    </a:moveTo>
                    <a:lnTo>
                      <a:pt x="61" y="7"/>
                    </a:lnTo>
                    <a:lnTo>
                      <a:pt x="60" y="10"/>
                    </a:lnTo>
                    <a:lnTo>
                      <a:pt x="57" y="17"/>
                    </a:lnTo>
                    <a:lnTo>
                      <a:pt x="51" y="21"/>
                    </a:lnTo>
                    <a:lnTo>
                      <a:pt x="46" y="23"/>
                    </a:lnTo>
                    <a:lnTo>
                      <a:pt x="41" y="24"/>
                    </a:lnTo>
                    <a:lnTo>
                      <a:pt x="41" y="24"/>
                    </a:lnTo>
                    <a:lnTo>
                      <a:pt x="35" y="23"/>
                    </a:lnTo>
                    <a:lnTo>
                      <a:pt x="29" y="21"/>
                    </a:lnTo>
                    <a:lnTo>
                      <a:pt x="17" y="15"/>
                    </a:lnTo>
                    <a:lnTo>
                      <a:pt x="6" y="7"/>
                    </a:lnTo>
                    <a:lnTo>
                      <a:pt x="4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0" y="4"/>
                    </a:lnTo>
                    <a:lnTo>
                      <a:pt x="1" y="10"/>
                    </a:lnTo>
                    <a:lnTo>
                      <a:pt x="1" y="10"/>
                    </a:lnTo>
                    <a:lnTo>
                      <a:pt x="4" y="15"/>
                    </a:lnTo>
                    <a:lnTo>
                      <a:pt x="7" y="20"/>
                    </a:lnTo>
                    <a:lnTo>
                      <a:pt x="10" y="24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27" y="83"/>
                    </a:lnTo>
                    <a:lnTo>
                      <a:pt x="27" y="83"/>
                    </a:lnTo>
                    <a:lnTo>
                      <a:pt x="37" y="64"/>
                    </a:lnTo>
                    <a:lnTo>
                      <a:pt x="49" y="41"/>
                    </a:lnTo>
                    <a:lnTo>
                      <a:pt x="49" y="41"/>
                    </a:lnTo>
                    <a:lnTo>
                      <a:pt x="58" y="23"/>
                    </a:lnTo>
                    <a:lnTo>
                      <a:pt x="61" y="13"/>
                    </a:lnTo>
                    <a:lnTo>
                      <a:pt x="63" y="10"/>
                    </a:lnTo>
                    <a:lnTo>
                      <a:pt x="61" y="7"/>
                    </a:lnTo>
                    <a:lnTo>
                      <a:pt x="61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01" name="Freeform 51"/>
              <p:cNvSpPr>
                <a:spLocks/>
              </p:cNvSpPr>
              <p:nvPr/>
            </p:nvSpPr>
            <p:spPr bwMode="auto">
              <a:xfrm flipH="1">
                <a:off x="5284974" y="2528132"/>
                <a:ext cx="7721" cy="18337"/>
              </a:xfrm>
              <a:custGeom>
                <a:avLst/>
                <a:gdLst>
                  <a:gd name="T0" fmla="*/ 10 w 16"/>
                  <a:gd name="T1" fmla="*/ 1 h 38"/>
                  <a:gd name="T2" fmla="*/ 10 w 16"/>
                  <a:gd name="T3" fmla="*/ 1 h 38"/>
                  <a:gd name="T4" fmla="*/ 7 w 16"/>
                  <a:gd name="T5" fmla="*/ 0 h 38"/>
                  <a:gd name="T6" fmla="*/ 5 w 16"/>
                  <a:gd name="T7" fmla="*/ 0 h 38"/>
                  <a:gd name="T8" fmla="*/ 2 w 16"/>
                  <a:gd name="T9" fmla="*/ 3 h 38"/>
                  <a:gd name="T10" fmla="*/ 0 w 16"/>
                  <a:gd name="T11" fmla="*/ 8 h 38"/>
                  <a:gd name="T12" fmla="*/ 2 w 16"/>
                  <a:gd name="T13" fmla="*/ 11 h 38"/>
                  <a:gd name="T14" fmla="*/ 2 w 16"/>
                  <a:gd name="T15" fmla="*/ 11 h 38"/>
                  <a:gd name="T16" fmla="*/ 5 w 16"/>
                  <a:gd name="T17" fmla="*/ 14 h 38"/>
                  <a:gd name="T18" fmla="*/ 5 w 16"/>
                  <a:gd name="T19" fmla="*/ 14 h 38"/>
                  <a:gd name="T20" fmla="*/ 3 w 16"/>
                  <a:gd name="T21" fmla="*/ 21 h 38"/>
                  <a:gd name="T22" fmla="*/ 3 w 16"/>
                  <a:gd name="T23" fmla="*/ 29 h 38"/>
                  <a:gd name="T24" fmla="*/ 3 w 16"/>
                  <a:gd name="T25" fmla="*/ 38 h 38"/>
                  <a:gd name="T26" fmla="*/ 13 w 16"/>
                  <a:gd name="T27" fmla="*/ 38 h 38"/>
                  <a:gd name="T28" fmla="*/ 13 w 16"/>
                  <a:gd name="T29" fmla="*/ 38 h 38"/>
                  <a:gd name="T30" fmla="*/ 14 w 16"/>
                  <a:gd name="T31" fmla="*/ 21 h 38"/>
                  <a:gd name="T32" fmla="*/ 13 w 16"/>
                  <a:gd name="T33" fmla="*/ 12 h 38"/>
                  <a:gd name="T34" fmla="*/ 13 w 16"/>
                  <a:gd name="T35" fmla="*/ 12 h 38"/>
                  <a:gd name="T36" fmla="*/ 14 w 16"/>
                  <a:gd name="T37" fmla="*/ 11 h 38"/>
                  <a:gd name="T38" fmla="*/ 14 w 16"/>
                  <a:gd name="T39" fmla="*/ 11 h 38"/>
                  <a:gd name="T40" fmla="*/ 16 w 16"/>
                  <a:gd name="T41" fmla="*/ 6 h 38"/>
                  <a:gd name="T42" fmla="*/ 14 w 16"/>
                  <a:gd name="T43" fmla="*/ 4 h 38"/>
                  <a:gd name="T44" fmla="*/ 10 w 16"/>
                  <a:gd name="T45" fmla="*/ 1 h 38"/>
                  <a:gd name="T46" fmla="*/ 10 w 16"/>
                  <a:gd name="T47" fmla="*/ 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" h="38">
                    <a:moveTo>
                      <a:pt x="10" y="1"/>
                    </a:moveTo>
                    <a:lnTo>
                      <a:pt x="10" y="1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8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3" y="21"/>
                    </a:lnTo>
                    <a:lnTo>
                      <a:pt x="3" y="29"/>
                    </a:lnTo>
                    <a:lnTo>
                      <a:pt x="3" y="38"/>
                    </a:lnTo>
                    <a:lnTo>
                      <a:pt x="13" y="38"/>
                    </a:lnTo>
                    <a:lnTo>
                      <a:pt x="13" y="38"/>
                    </a:lnTo>
                    <a:lnTo>
                      <a:pt x="14" y="21"/>
                    </a:lnTo>
                    <a:lnTo>
                      <a:pt x="13" y="12"/>
                    </a:lnTo>
                    <a:lnTo>
                      <a:pt x="13" y="12"/>
                    </a:lnTo>
                    <a:lnTo>
                      <a:pt x="14" y="11"/>
                    </a:lnTo>
                    <a:lnTo>
                      <a:pt x="14" y="11"/>
                    </a:lnTo>
                    <a:lnTo>
                      <a:pt x="16" y="6"/>
                    </a:lnTo>
                    <a:lnTo>
                      <a:pt x="14" y="4"/>
                    </a:lnTo>
                    <a:lnTo>
                      <a:pt x="10" y="1"/>
                    </a:lnTo>
                    <a:lnTo>
                      <a:pt x="10" y="1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02" name="Freeform 52"/>
              <p:cNvSpPr>
                <a:spLocks/>
              </p:cNvSpPr>
              <p:nvPr/>
            </p:nvSpPr>
            <p:spPr bwMode="auto">
              <a:xfrm flipH="1">
                <a:off x="5285939" y="261451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03" name="Freeform 53"/>
              <p:cNvSpPr>
                <a:spLocks noEditPoints="1"/>
              </p:cNvSpPr>
              <p:nvPr/>
            </p:nvSpPr>
            <p:spPr bwMode="auto">
              <a:xfrm flipH="1">
                <a:off x="5249264" y="2544539"/>
                <a:ext cx="67077" cy="87827"/>
              </a:xfrm>
              <a:custGeom>
                <a:avLst/>
                <a:gdLst>
                  <a:gd name="T0" fmla="*/ 43 w 139"/>
                  <a:gd name="T1" fmla="*/ 101 h 182"/>
                  <a:gd name="T2" fmla="*/ 60 w 139"/>
                  <a:gd name="T3" fmla="*/ 105 h 182"/>
                  <a:gd name="T4" fmla="*/ 62 w 139"/>
                  <a:gd name="T5" fmla="*/ 105 h 182"/>
                  <a:gd name="T6" fmla="*/ 65 w 139"/>
                  <a:gd name="T7" fmla="*/ 105 h 182"/>
                  <a:gd name="T8" fmla="*/ 71 w 139"/>
                  <a:gd name="T9" fmla="*/ 106 h 182"/>
                  <a:gd name="T10" fmla="*/ 71 w 139"/>
                  <a:gd name="T11" fmla="*/ 106 h 182"/>
                  <a:gd name="T12" fmla="*/ 77 w 139"/>
                  <a:gd name="T13" fmla="*/ 106 h 182"/>
                  <a:gd name="T14" fmla="*/ 80 w 139"/>
                  <a:gd name="T15" fmla="*/ 106 h 182"/>
                  <a:gd name="T16" fmla="*/ 83 w 139"/>
                  <a:gd name="T17" fmla="*/ 105 h 182"/>
                  <a:gd name="T18" fmla="*/ 83 w 139"/>
                  <a:gd name="T19" fmla="*/ 105 h 182"/>
                  <a:gd name="T20" fmla="*/ 65 w 139"/>
                  <a:gd name="T21" fmla="*/ 98 h 182"/>
                  <a:gd name="T22" fmla="*/ 65 w 139"/>
                  <a:gd name="T23" fmla="*/ 95 h 182"/>
                  <a:gd name="T24" fmla="*/ 63 w 139"/>
                  <a:gd name="T25" fmla="*/ 95 h 182"/>
                  <a:gd name="T26" fmla="*/ 51 w 139"/>
                  <a:gd name="T27" fmla="*/ 92 h 182"/>
                  <a:gd name="T28" fmla="*/ 40 w 139"/>
                  <a:gd name="T29" fmla="*/ 94 h 182"/>
                  <a:gd name="T30" fmla="*/ 26 w 139"/>
                  <a:gd name="T31" fmla="*/ 98 h 182"/>
                  <a:gd name="T32" fmla="*/ 32 w 139"/>
                  <a:gd name="T33" fmla="*/ 100 h 182"/>
                  <a:gd name="T34" fmla="*/ 37 w 139"/>
                  <a:gd name="T35" fmla="*/ 100 h 182"/>
                  <a:gd name="T36" fmla="*/ 43 w 139"/>
                  <a:gd name="T37" fmla="*/ 101 h 182"/>
                  <a:gd name="T38" fmla="*/ 106 w 139"/>
                  <a:gd name="T39" fmla="*/ 142 h 182"/>
                  <a:gd name="T40" fmla="*/ 93 w 139"/>
                  <a:gd name="T41" fmla="*/ 138 h 182"/>
                  <a:gd name="T42" fmla="*/ 85 w 139"/>
                  <a:gd name="T43" fmla="*/ 138 h 182"/>
                  <a:gd name="T44" fmla="*/ 85 w 139"/>
                  <a:gd name="T45" fmla="*/ 138 h 182"/>
                  <a:gd name="T46" fmla="*/ 83 w 139"/>
                  <a:gd name="T47" fmla="*/ 138 h 182"/>
                  <a:gd name="T48" fmla="*/ 76 w 139"/>
                  <a:gd name="T49" fmla="*/ 143 h 182"/>
                  <a:gd name="T50" fmla="*/ 63 w 139"/>
                  <a:gd name="T51" fmla="*/ 145 h 182"/>
                  <a:gd name="T52" fmla="*/ 63 w 139"/>
                  <a:gd name="T53" fmla="*/ 145 h 182"/>
                  <a:gd name="T54" fmla="*/ 60 w 139"/>
                  <a:gd name="T55" fmla="*/ 155 h 182"/>
                  <a:gd name="T56" fmla="*/ 0 w 139"/>
                  <a:gd name="T57" fmla="*/ 171 h 182"/>
                  <a:gd name="T58" fmla="*/ 2 w 139"/>
                  <a:gd name="T59" fmla="*/ 174 h 182"/>
                  <a:gd name="T60" fmla="*/ 6 w 139"/>
                  <a:gd name="T61" fmla="*/ 180 h 182"/>
                  <a:gd name="T62" fmla="*/ 126 w 139"/>
                  <a:gd name="T63" fmla="*/ 182 h 182"/>
                  <a:gd name="T64" fmla="*/ 131 w 139"/>
                  <a:gd name="T65" fmla="*/ 180 h 182"/>
                  <a:gd name="T66" fmla="*/ 137 w 139"/>
                  <a:gd name="T67" fmla="*/ 175 h 182"/>
                  <a:gd name="T68" fmla="*/ 137 w 139"/>
                  <a:gd name="T69" fmla="*/ 146 h 182"/>
                  <a:gd name="T70" fmla="*/ 123 w 139"/>
                  <a:gd name="T71" fmla="*/ 145 h 182"/>
                  <a:gd name="T72" fmla="*/ 113 w 139"/>
                  <a:gd name="T73" fmla="*/ 145 h 182"/>
                  <a:gd name="T74" fmla="*/ 106 w 139"/>
                  <a:gd name="T75" fmla="*/ 142 h 182"/>
                  <a:gd name="T76" fmla="*/ 128 w 139"/>
                  <a:gd name="T77" fmla="*/ 0 h 182"/>
                  <a:gd name="T78" fmla="*/ 12 w 139"/>
                  <a:gd name="T79" fmla="*/ 0 h 182"/>
                  <a:gd name="T80" fmla="*/ 5 w 139"/>
                  <a:gd name="T81" fmla="*/ 3 h 182"/>
                  <a:gd name="T82" fmla="*/ 2 w 139"/>
                  <a:gd name="T83" fmla="*/ 9 h 182"/>
                  <a:gd name="T84" fmla="*/ 2 w 139"/>
                  <a:gd name="T85" fmla="*/ 38 h 182"/>
                  <a:gd name="T86" fmla="*/ 3 w 139"/>
                  <a:gd name="T87" fmla="*/ 38 h 182"/>
                  <a:gd name="T88" fmla="*/ 19 w 139"/>
                  <a:gd name="T89" fmla="*/ 43 h 182"/>
                  <a:gd name="T90" fmla="*/ 25 w 139"/>
                  <a:gd name="T91" fmla="*/ 44 h 182"/>
                  <a:gd name="T92" fmla="*/ 26 w 139"/>
                  <a:gd name="T93" fmla="*/ 48 h 182"/>
                  <a:gd name="T94" fmla="*/ 42 w 139"/>
                  <a:gd name="T95" fmla="*/ 60 h 182"/>
                  <a:gd name="T96" fmla="*/ 45 w 139"/>
                  <a:gd name="T97" fmla="*/ 61 h 182"/>
                  <a:gd name="T98" fmla="*/ 56 w 139"/>
                  <a:gd name="T99" fmla="*/ 63 h 182"/>
                  <a:gd name="T100" fmla="*/ 62 w 139"/>
                  <a:gd name="T101" fmla="*/ 63 h 182"/>
                  <a:gd name="T102" fmla="*/ 65 w 139"/>
                  <a:gd name="T103" fmla="*/ 64 h 182"/>
                  <a:gd name="T104" fmla="*/ 69 w 139"/>
                  <a:gd name="T105" fmla="*/ 63 h 182"/>
                  <a:gd name="T106" fmla="*/ 74 w 139"/>
                  <a:gd name="T107" fmla="*/ 63 h 182"/>
                  <a:gd name="T108" fmla="*/ 91 w 139"/>
                  <a:gd name="T109" fmla="*/ 64 h 182"/>
                  <a:gd name="T110" fmla="*/ 108 w 139"/>
                  <a:gd name="T111" fmla="*/ 64 h 182"/>
                  <a:gd name="T112" fmla="*/ 128 w 139"/>
                  <a:gd name="T113" fmla="*/ 66 h 182"/>
                  <a:gd name="T114" fmla="*/ 139 w 139"/>
                  <a:gd name="T115" fmla="*/ 64 h 182"/>
                  <a:gd name="T116" fmla="*/ 139 w 139"/>
                  <a:gd name="T117" fmla="*/ 11 h 182"/>
                  <a:gd name="T118" fmla="*/ 136 w 139"/>
                  <a:gd name="T119" fmla="*/ 3 h 182"/>
                  <a:gd name="T120" fmla="*/ 128 w 139"/>
                  <a:gd name="T121" fmla="*/ 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9" h="182">
                    <a:moveTo>
                      <a:pt x="43" y="101"/>
                    </a:moveTo>
                    <a:lnTo>
                      <a:pt x="43" y="101"/>
                    </a:lnTo>
                    <a:lnTo>
                      <a:pt x="49" y="103"/>
                    </a:lnTo>
                    <a:lnTo>
                      <a:pt x="60" y="105"/>
                    </a:lnTo>
                    <a:lnTo>
                      <a:pt x="60" y="105"/>
                    </a:lnTo>
                    <a:lnTo>
                      <a:pt x="62" y="105"/>
                    </a:lnTo>
                    <a:lnTo>
                      <a:pt x="62" y="105"/>
                    </a:lnTo>
                    <a:lnTo>
                      <a:pt x="65" y="105"/>
                    </a:lnTo>
                    <a:lnTo>
                      <a:pt x="65" y="105"/>
                    </a:lnTo>
                    <a:lnTo>
                      <a:pt x="71" y="106"/>
                    </a:lnTo>
                    <a:lnTo>
                      <a:pt x="71" y="106"/>
                    </a:lnTo>
                    <a:lnTo>
                      <a:pt x="71" y="106"/>
                    </a:lnTo>
                    <a:lnTo>
                      <a:pt x="71" y="106"/>
                    </a:lnTo>
                    <a:lnTo>
                      <a:pt x="77" y="106"/>
                    </a:lnTo>
                    <a:lnTo>
                      <a:pt x="77" y="106"/>
                    </a:lnTo>
                    <a:lnTo>
                      <a:pt x="80" y="106"/>
                    </a:lnTo>
                    <a:lnTo>
                      <a:pt x="80" y="106"/>
                    </a:lnTo>
                    <a:lnTo>
                      <a:pt x="83" y="105"/>
                    </a:lnTo>
                    <a:lnTo>
                      <a:pt x="83" y="105"/>
                    </a:lnTo>
                    <a:lnTo>
                      <a:pt x="83" y="105"/>
                    </a:lnTo>
                    <a:lnTo>
                      <a:pt x="77" y="103"/>
                    </a:lnTo>
                    <a:lnTo>
                      <a:pt x="65" y="98"/>
                    </a:lnTo>
                    <a:lnTo>
                      <a:pt x="65" y="95"/>
                    </a:lnTo>
                    <a:lnTo>
                      <a:pt x="65" y="95"/>
                    </a:lnTo>
                    <a:lnTo>
                      <a:pt x="63" y="95"/>
                    </a:lnTo>
                    <a:lnTo>
                      <a:pt x="63" y="95"/>
                    </a:lnTo>
                    <a:lnTo>
                      <a:pt x="57" y="94"/>
                    </a:lnTo>
                    <a:lnTo>
                      <a:pt x="51" y="92"/>
                    </a:lnTo>
                    <a:lnTo>
                      <a:pt x="45" y="92"/>
                    </a:lnTo>
                    <a:lnTo>
                      <a:pt x="40" y="94"/>
                    </a:lnTo>
                    <a:lnTo>
                      <a:pt x="26" y="98"/>
                    </a:lnTo>
                    <a:lnTo>
                      <a:pt x="26" y="98"/>
                    </a:lnTo>
                    <a:lnTo>
                      <a:pt x="29" y="98"/>
                    </a:lnTo>
                    <a:lnTo>
                      <a:pt x="32" y="100"/>
                    </a:lnTo>
                    <a:lnTo>
                      <a:pt x="32" y="100"/>
                    </a:lnTo>
                    <a:lnTo>
                      <a:pt x="37" y="100"/>
                    </a:lnTo>
                    <a:lnTo>
                      <a:pt x="43" y="101"/>
                    </a:lnTo>
                    <a:lnTo>
                      <a:pt x="43" y="101"/>
                    </a:lnTo>
                    <a:close/>
                    <a:moveTo>
                      <a:pt x="106" y="142"/>
                    </a:moveTo>
                    <a:lnTo>
                      <a:pt x="106" y="142"/>
                    </a:lnTo>
                    <a:lnTo>
                      <a:pt x="100" y="138"/>
                    </a:lnTo>
                    <a:lnTo>
                      <a:pt x="93" y="138"/>
                    </a:lnTo>
                    <a:lnTo>
                      <a:pt x="93" y="138"/>
                    </a:lnTo>
                    <a:lnTo>
                      <a:pt x="85" y="138"/>
                    </a:lnTo>
                    <a:lnTo>
                      <a:pt x="85" y="138"/>
                    </a:lnTo>
                    <a:lnTo>
                      <a:pt x="85" y="138"/>
                    </a:lnTo>
                    <a:lnTo>
                      <a:pt x="85" y="138"/>
                    </a:lnTo>
                    <a:lnTo>
                      <a:pt x="83" y="138"/>
                    </a:lnTo>
                    <a:lnTo>
                      <a:pt x="82" y="142"/>
                    </a:lnTo>
                    <a:lnTo>
                      <a:pt x="76" y="143"/>
                    </a:lnTo>
                    <a:lnTo>
                      <a:pt x="63" y="145"/>
                    </a:lnTo>
                    <a:lnTo>
                      <a:pt x="63" y="145"/>
                    </a:lnTo>
                    <a:lnTo>
                      <a:pt x="63" y="145"/>
                    </a:lnTo>
                    <a:lnTo>
                      <a:pt x="63" y="145"/>
                    </a:lnTo>
                    <a:lnTo>
                      <a:pt x="63" y="145"/>
                    </a:lnTo>
                    <a:lnTo>
                      <a:pt x="60" y="155"/>
                    </a:lnTo>
                    <a:lnTo>
                      <a:pt x="0" y="143"/>
                    </a:lnTo>
                    <a:lnTo>
                      <a:pt x="0" y="171"/>
                    </a:lnTo>
                    <a:lnTo>
                      <a:pt x="0" y="171"/>
                    </a:lnTo>
                    <a:lnTo>
                      <a:pt x="2" y="174"/>
                    </a:lnTo>
                    <a:lnTo>
                      <a:pt x="3" y="177"/>
                    </a:lnTo>
                    <a:lnTo>
                      <a:pt x="6" y="180"/>
                    </a:lnTo>
                    <a:lnTo>
                      <a:pt x="11" y="180"/>
                    </a:lnTo>
                    <a:lnTo>
                      <a:pt x="126" y="182"/>
                    </a:lnTo>
                    <a:lnTo>
                      <a:pt x="126" y="182"/>
                    </a:lnTo>
                    <a:lnTo>
                      <a:pt x="131" y="180"/>
                    </a:lnTo>
                    <a:lnTo>
                      <a:pt x="134" y="179"/>
                    </a:lnTo>
                    <a:lnTo>
                      <a:pt x="137" y="175"/>
                    </a:lnTo>
                    <a:lnTo>
                      <a:pt x="137" y="171"/>
                    </a:lnTo>
                    <a:lnTo>
                      <a:pt x="137" y="146"/>
                    </a:lnTo>
                    <a:lnTo>
                      <a:pt x="137" y="146"/>
                    </a:lnTo>
                    <a:lnTo>
                      <a:pt x="123" y="145"/>
                    </a:lnTo>
                    <a:lnTo>
                      <a:pt x="123" y="145"/>
                    </a:lnTo>
                    <a:lnTo>
                      <a:pt x="113" y="145"/>
                    </a:lnTo>
                    <a:lnTo>
                      <a:pt x="110" y="143"/>
                    </a:lnTo>
                    <a:lnTo>
                      <a:pt x="106" y="142"/>
                    </a:lnTo>
                    <a:lnTo>
                      <a:pt x="106" y="142"/>
                    </a:lnTo>
                    <a:close/>
                    <a:moveTo>
                      <a:pt x="128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3" y="6"/>
                    </a:lnTo>
                    <a:lnTo>
                      <a:pt x="2" y="9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3" y="38"/>
                    </a:lnTo>
                    <a:lnTo>
                      <a:pt x="3" y="38"/>
                    </a:lnTo>
                    <a:lnTo>
                      <a:pt x="8" y="40"/>
                    </a:lnTo>
                    <a:lnTo>
                      <a:pt x="19" y="43"/>
                    </a:lnTo>
                    <a:lnTo>
                      <a:pt x="19" y="43"/>
                    </a:lnTo>
                    <a:lnTo>
                      <a:pt x="25" y="44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34" y="54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5" y="61"/>
                    </a:lnTo>
                    <a:lnTo>
                      <a:pt x="48" y="61"/>
                    </a:lnTo>
                    <a:lnTo>
                      <a:pt x="56" y="63"/>
                    </a:lnTo>
                    <a:lnTo>
                      <a:pt x="56" y="63"/>
                    </a:lnTo>
                    <a:lnTo>
                      <a:pt x="62" y="63"/>
                    </a:lnTo>
                    <a:lnTo>
                      <a:pt x="65" y="64"/>
                    </a:lnTo>
                    <a:lnTo>
                      <a:pt x="65" y="64"/>
                    </a:lnTo>
                    <a:lnTo>
                      <a:pt x="66" y="63"/>
                    </a:lnTo>
                    <a:lnTo>
                      <a:pt x="69" y="63"/>
                    </a:lnTo>
                    <a:lnTo>
                      <a:pt x="69" y="63"/>
                    </a:lnTo>
                    <a:lnTo>
                      <a:pt x="74" y="63"/>
                    </a:lnTo>
                    <a:lnTo>
                      <a:pt x="74" y="63"/>
                    </a:lnTo>
                    <a:lnTo>
                      <a:pt x="91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17" y="66"/>
                    </a:lnTo>
                    <a:lnTo>
                      <a:pt x="128" y="66"/>
                    </a:lnTo>
                    <a:lnTo>
                      <a:pt x="128" y="66"/>
                    </a:lnTo>
                    <a:lnTo>
                      <a:pt x="139" y="64"/>
                    </a:lnTo>
                    <a:lnTo>
                      <a:pt x="139" y="11"/>
                    </a:lnTo>
                    <a:lnTo>
                      <a:pt x="139" y="11"/>
                    </a:lnTo>
                    <a:lnTo>
                      <a:pt x="139" y="6"/>
                    </a:lnTo>
                    <a:lnTo>
                      <a:pt x="136" y="3"/>
                    </a:lnTo>
                    <a:lnTo>
                      <a:pt x="133" y="1"/>
                    </a:lnTo>
                    <a:lnTo>
                      <a:pt x="128" y="0"/>
                    </a:lnTo>
                    <a:lnTo>
                      <a:pt x="128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04" name="Freeform 54"/>
              <p:cNvSpPr>
                <a:spLocks/>
              </p:cNvSpPr>
              <p:nvPr/>
            </p:nvSpPr>
            <p:spPr bwMode="auto">
              <a:xfrm flipH="1">
                <a:off x="5274840" y="2595691"/>
                <a:ext cx="11099" cy="18820"/>
              </a:xfrm>
              <a:custGeom>
                <a:avLst/>
                <a:gdLst>
                  <a:gd name="T0" fmla="*/ 23 w 23"/>
                  <a:gd name="T1" fmla="*/ 23 h 39"/>
                  <a:gd name="T2" fmla="*/ 23 w 23"/>
                  <a:gd name="T3" fmla="*/ 23 h 39"/>
                  <a:gd name="T4" fmla="*/ 23 w 23"/>
                  <a:gd name="T5" fmla="*/ 19 h 39"/>
                  <a:gd name="T6" fmla="*/ 23 w 23"/>
                  <a:gd name="T7" fmla="*/ 19 h 39"/>
                  <a:gd name="T8" fmla="*/ 23 w 23"/>
                  <a:gd name="T9" fmla="*/ 19 h 39"/>
                  <a:gd name="T10" fmla="*/ 23 w 23"/>
                  <a:gd name="T11" fmla="*/ 12 h 39"/>
                  <a:gd name="T12" fmla="*/ 23 w 23"/>
                  <a:gd name="T13" fmla="*/ 12 h 39"/>
                  <a:gd name="T14" fmla="*/ 20 w 23"/>
                  <a:gd name="T15" fmla="*/ 12 h 39"/>
                  <a:gd name="T16" fmla="*/ 19 w 23"/>
                  <a:gd name="T17" fmla="*/ 8 h 39"/>
                  <a:gd name="T18" fmla="*/ 19 w 23"/>
                  <a:gd name="T19" fmla="*/ 8 h 39"/>
                  <a:gd name="T20" fmla="*/ 17 w 23"/>
                  <a:gd name="T21" fmla="*/ 3 h 39"/>
                  <a:gd name="T22" fmla="*/ 17 w 23"/>
                  <a:gd name="T23" fmla="*/ 3 h 39"/>
                  <a:gd name="T24" fmla="*/ 17 w 23"/>
                  <a:gd name="T25" fmla="*/ 0 h 39"/>
                  <a:gd name="T26" fmla="*/ 17 w 23"/>
                  <a:gd name="T27" fmla="*/ 0 h 39"/>
                  <a:gd name="T28" fmla="*/ 17 w 23"/>
                  <a:gd name="T29" fmla="*/ 0 h 39"/>
                  <a:gd name="T30" fmla="*/ 17 w 23"/>
                  <a:gd name="T31" fmla="*/ 0 h 39"/>
                  <a:gd name="T32" fmla="*/ 16 w 23"/>
                  <a:gd name="T33" fmla="*/ 0 h 39"/>
                  <a:gd name="T34" fmla="*/ 16 w 23"/>
                  <a:gd name="T35" fmla="*/ 0 h 39"/>
                  <a:gd name="T36" fmla="*/ 14 w 23"/>
                  <a:gd name="T37" fmla="*/ 0 h 39"/>
                  <a:gd name="T38" fmla="*/ 14 w 23"/>
                  <a:gd name="T39" fmla="*/ 0 h 39"/>
                  <a:gd name="T40" fmla="*/ 8 w 23"/>
                  <a:gd name="T41" fmla="*/ 0 h 39"/>
                  <a:gd name="T42" fmla="*/ 8 w 23"/>
                  <a:gd name="T43" fmla="*/ 0 h 39"/>
                  <a:gd name="T44" fmla="*/ 8 w 23"/>
                  <a:gd name="T45" fmla="*/ 0 h 39"/>
                  <a:gd name="T46" fmla="*/ 8 w 23"/>
                  <a:gd name="T47" fmla="*/ 0 h 39"/>
                  <a:gd name="T48" fmla="*/ 8 w 23"/>
                  <a:gd name="T49" fmla="*/ 3 h 39"/>
                  <a:gd name="T50" fmla="*/ 8 w 23"/>
                  <a:gd name="T51" fmla="*/ 3 h 39"/>
                  <a:gd name="T52" fmla="*/ 6 w 23"/>
                  <a:gd name="T53" fmla="*/ 9 h 39"/>
                  <a:gd name="T54" fmla="*/ 6 w 23"/>
                  <a:gd name="T55" fmla="*/ 9 h 39"/>
                  <a:gd name="T56" fmla="*/ 3 w 23"/>
                  <a:gd name="T57" fmla="*/ 26 h 39"/>
                  <a:gd name="T58" fmla="*/ 0 w 23"/>
                  <a:gd name="T59" fmla="*/ 37 h 39"/>
                  <a:gd name="T60" fmla="*/ 0 w 23"/>
                  <a:gd name="T61" fmla="*/ 37 h 39"/>
                  <a:gd name="T62" fmla="*/ 0 w 23"/>
                  <a:gd name="T63" fmla="*/ 39 h 39"/>
                  <a:gd name="T64" fmla="*/ 0 w 23"/>
                  <a:gd name="T65" fmla="*/ 39 h 39"/>
                  <a:gd name="T66" fmla="*/ 13 w 23"/>
                  <a:gd name="T67" fmla="*/ 37 h 39"/>
                  <a:gd name="T68" fmla="*/ 19 w 23"/>
                  <a:gd name="T69" fmla="*/ 36 h 39"/>
                  <a:gd name="T70" fmla="*/ 20 w 23"/>
                  <a:gd name="T71" fmla="*/ 32 h 39"/>
                  <a:gd name="T72" fmla="*/ 22 w 23"/>
                  <a:gd name="T73" fmla="*/ 32 h 39"/>
                  <a:gd name="T74" fmla="*/ 22 w 23"/>
                  <a:gd name="T75" fmla="*/ 32 h 39"/>
                  <a:gd name="T76" fmla="*/ 22 w 23"/>
                  <a:gd name="T77" fmla="*/ 32 h 39"/>
                  <a:gd name="T78" fmla="*/ 22 w 23"/>
                  <a:gd name="T79" fmla="*/ 32 h 39"/>
                  <a:gd name="T80" fmla="*/ 23 w 23"/>
                  <a:gd name="T81" fmla="*/ 28 h 39"/>
                  <a:gd name="T82" fmla="*/ 23 w 23"/>
                  <a:gd name="T83" fmla="*/ 28 h 39"/>
                  <a:gd name="T84" fmla="*/ 23 w 23"/>
                  <a:gd name="T85" fmla="*/ 26 h 39"/>
                  <a:gd name="T86" fmla="*/ 23 w 23"/>
                  <a:gd name="T87" fmla="*/ 23 h 39"/>
                  <a:gd name="T88" fmla="*/ 23 w 23"/>
                  <a:gd name="T89" fmla="*/ 2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3" h="39">
                    <a:moveTo>
                      <a:pt x="23" y="23"/>
                    </a:moveTo>
                    <a:lnTo>
                      <a:pt x="23" y="23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0" y="12"/>
                    </a:lnTo>
                    <a:lnTo>
                      <a:pt x="19" y="8"/>
                    </a:lnTo>
                    <a:lnTo>
                      <a:pt x="19" y="8"/>
                    </a:lnTo>
                    <a:lnTo>
                      <a:pt x="17" y="3"/>
                    </a:lnTo>
                    <a:lnTo>
                      <a:pt x="17" y="3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3" y="26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13" y="37"/>
                    </a:lnTo>
                    <a:lnTo>
                      <a:pt x="19" y="36"/>
                    </a:lnTo>
                    <a:lnTo>
                      <a:pt x="20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3" y="26"/>
                    </a:lnTo>
                    <a:lnTo>
                      <a:pt x="23" y="23"/>
                    </a:lnTo>
                    <a:lnTo>
                      <a:pt x="23" y="2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05" name="Freeform 55"/>
              <p:cNvSpPr>
                <a:spLocks/>
              </p:cNvSpPr>
              <p:nvPr/>
            </p:nvSpPr>
            <p:spPr bwMode="auto">
              <a:xfrm flipH="1">
                <a:off x="5276287" y="2574941"/>
                <a:ext cx="9652" cy="20268"/>
              </a:xfrm>
              <a:custGeom>
                <a:avLst/>
                <a:gdLst>
                  <a:gd name="T0" fmla="*/ 20 w 20"/>
                  <a:gd name="T1" fmla="*/ 35 h 42"/>
                  <a:gd name="T2" fmla="*/ 20 w 20"/>
                  <a:gd name="T3" fmla="*/ 35 h 42"/>
                  <a:gd name="T4" fmla="*/ 16 w 20"/>
                  <a:gd name="T5" fmla="*/ 14 h 42"/>
                  <a:gd name="T6" fmla="*/ 16 w 20"/>
                  <a:gd name="T7" fmla="*/ 14 h 42"/>
                  <a:gd name="T8" fmla="*/ 11 w 20"/>
                  <a:gd name="T9" fmla="*/ 0 h 42"/>
                  <a:gd name="T10" fmla="*/ 11 w 20"/>
                  <a:gd name="T11" fmla="*/ 0 h 42"/>
                  <a:gd name="T12" fmla="*/ 6 w 20"/>
                  <a:gd name="T13" fmla="*/ 0 h 42"/>
                  <a:gd name="T14" fmla="*/ 3 w 20"/>
                  <a:gd name="T15" fmla="*/ 0 h 42"/>
                  <a:gd name="T16" fmla="*/ 2 w 20"/>
                  <a:gd name="T17" fmla="*/ 1 h 42"/>
                  <a:gd name="T18" fmla="*/ 2 w 20"/>
                  <a:gd name="T19" fmla="*/ 1 h 42"/>
                  <a:gd name="T20" fmla="*/ 2 w 20"/>
                  <a:gd name="T21" fmla="*/ 5 h 42"/>
                  <a:gd name="T22" fmla="*/ 2 w 20"/>
                  <a:gd name="T23" fmla="*/ 5 h 42"/>
                  <a:gd name="T24" fmla="*/ 2 w 20"/>
                  <a:gd name="T25" fmla="*/ 17 h 42"/>
                  <a:gd name="T26" fmla="*/ 2 w 20"/>
                  <a:gd name="T27" fmla="*/ 31 h 42"/>
                  <a:gd name="T28" fmla="*/ 2 w 20"/>
                  <a:gd name="T29" fmla="*/ 31 h 42"/>
                  <a:gd name="T30" fmla="*/ 0 w 20"/>
                  <a:gd name="T31" fmla="*/ 32 h 42"/>
                  <a:gd name="T32" fmla="*/ 0 w 20"/>
                  <a:gd name="T33" fmla="*/ 32 h 42"/>
                  <a:gd name="T34" fmla="*/ 2 w 20"/>
                  <a:gd name="T35" fmla="*/ 32 h 42"/>
                  <a:gd name="T36" fmla="*/ 2 w 20"/>
                  <a:gd name="T37" fmla="*/ 35 h 42"/>
                  <a:gd name="T38" fmla="*/ 14 w 20"/>
                  <a:gd name="T39" fmla="*/ 40 h 42"/>
                  <a:gd name="T40" fmla="*/ 20 w 20"/>
                  <a:gd name="T41" fmla="*/ 42 h 42"/>
                  <a:gd name="T42" fmla="*/ 20 w 20"/>
                  <a:gd name="T43" fmla="*/ 42 h 42"/>
                  <a:gd name="T44" fmla="*/ 20 w 20"/>
                  <a:gd name="T45" fmla="*/ 35 h 42"/>
                  <a:gd name="T46" fmla="*/ 20 w 20"/>
                  <a:gd name="T47" fmla="*/ 3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0" h="42">
                    <a:moveTo>
                      <a:pt x="20" y="35"/>
                    </a:moveTo>
                    <a:lnTo>
                      <a:pt x="20" y="35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17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2"/>
                    </a:lnTo>
                    <a:lnTo>
                      <a:pt x="2" y="35"/>
                    </a:lnTo>
                    <a:lnTo>
                      <a:pt x="14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35"/>
                    </a:lnTo>
                    <a:lnTo>
                      <a:pt x="20" y="3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285" name="Group 284"/>
            <p:cNvGrpSpPr/>
            <p:nvPr/>
          </p:nvGrpSpPr>
          <p:grpSpPr>
            <a:xfrm>
              <a:off x="7849979" y="1798319"/>
              <a:ext cx="1085142" cy="1270907"/>
              <a:chOff x="6401541" y="2453359"/>
              <a:chExt cx="570909" cy="681887"/>
            </a:xfrm>
          </p:grpSpPr>
          <p:sp>
            <p:nvSpPr>
              <p:cNvPr id="286" name="TextBox 285"/>
              <p:cNvSpPr txBox="1"/>
              <p:nvPr/>
            </p:nvSpPr>
            <p:spPr>
              <a:xfrm>
                <a:off x="6401541" y="2944968"/>
                <a:ext cx="570909" cy="1902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ru-RU" sz="1050" i="1" dirty="0">
                    <a:solidFill>
                      <a:schemeClr val="bg1"/>
                    </a:solidFill>
                    <a:latin typeface="+mj-lt"/>
                  </a:rPr>
                  <a:t>Руководители подразделений</a:t>
                </a:r>
              </a:p>
            </p:txBody>
          </p:sp>
          <p:sp>
            <p:nvSpPr>
              <p:cNvPr id="287" name="Freeform 181"/>
              <p:cNvSpPr>
                <a:spLocks/>
              </p:cNvSpPr>
              <p:nvPr/>
            </p:nvSpPr>
            <p:spPr bwMode="auto">
              <a:xfrm>
                <a:off x="6759791" y="2573413"/>
                <a:ext cx="104232" cy="307426"/>
              </a:xfrm>
              <a:custGeom>
                <a:avLst/>
                <a:gdLst>
                  <a:gd name="T0" fmla="*/ 318 w 358"/>
                  <a:gd name="T1" fmla="*/ 130 h 976"/>
                  <a:gd name="T2" fmla="*/ 316 w 358"/>
                  <a:gd name="T3" fmla="*/ 116 h 976"/>
                  <a:gd name="T4" fmla="*/ 332 w 358"/>
                  <a:gd name="T5" fmla="*/ 114 h 976"/>
                  <a:gd name="T6" fmla="*/ 326 w 358"/>
                  <a:gd name="T7" fmla="*/ 102 h 976"/>
                  <a:gd name="T8" fmla="*/ 198 w 358"/>
                  <a:gd name="T9" fmla="*/ 50 h 976"/>
                  <a:gd name="T10" fmla="*/ 194 w 358"/>
                  <a:gd name="T11" fmla="*/ 24 h 976"/>
                  <a:gd name="T12" fmla="*/ 198 w 358"/>
                  <a:gd name="T13" fmla="*/ 0 h 976"/>
                  <a:gd name="T14" fmla="*/ 172 w 358"/>
                  <a:gd name="T15" fmla="*/ 62 h 976"/>
                  <a:gd name="T16" fmla="*/ 142 w 358"/>
                  <a:gd name="T17" fmla="*/ 130 h 976"/>
                  <a:gd name="T18" fmla="*/ 144 w 358"/>
                  <a:gd name="T19" fmla="*/ 166 h 976"/>
                  <a:gd name="T20" fmla="*/ 142 w 358"/>
                  <a:gd name="T21" fmla="*/ 220 h 976"/>
                  <a:gd name="T22" fmla="*/ 116 w 358"/>
                  <a:gd name="T23" fmla="*/ 372 h 976"/>
                  <a:gd name="T24" fmla="*/ 108 w 358"/>
                  <a:gd name="T25" fmla="*/ 524 h 976"/>
                  <a:gd name="T26" fmla="*/ 104 w 358"/>
                  <a:gd name="T27" fmla="*/ 586 h 976"/>
                  <a:gd name="T28" fmla="*/ 94 w 358"/>
                  <a:gd name="T29" fmla="*/ 646 h 976"/>
                  <a:gd name="T30" fmla="*/ 76 w 358"/>
                  <a:gd name="T31" fmla="*/ 790 h 976"/>
                  <a:gd name="T32" fmla="*/ 64 w 358"/>
                  <a:gd name="T33" fmla="*/ 866 h 976"/>
                  <a:gd name="T34" fmla="*/ 46 w 358"/>
                  <a:gd name="T35" fmla="*/ 920 h 976"/>
                  <a:gd name="T36" fmla="*/ 24 w 358"/>
                  <a:gd name="T37" fmla="*/ 950 h 976"/>
                  <a:gd name="T38" fmla="*/ 0 w 358"/>
                  <a:gd name="T39" fmla="*/ 960 h 976"/>
                  <a:gd name="T40" fmla="*/ 12 w 358"/>
                  <a:gd name="T41" fmla="*/ 974 h 976"/>
                  <a:gd name="T42" fmla="*/ 36 w 358"/>
                  <a:gd name="T43" fmla="*/ 976 h 976"/>
                  <a:gd name="T44" fmla="*/ 74 w 358"/>
                  <a:gd name="T45" fmla="*/ 964 h 976"/>
                  <a:gd name="T46" fmla="*/ 90 w 358"/>
                  <a:gd name="T47" fmla="*/ 936 h 976"/>
                  <a:gd name="T48" fmla="*/ 104 w 358"/>
                  <a:gd name="T49" fmla="*/ 938 h 976"/>
                  <a:gd name="T50" fmla="*/ 108 w 358"/>
                  <a:gd name="T51" fmla="*/ 976 h 976"/>
                  <a:gd name="T52" fmla="*/ 114 w 358"/>
                  <a:gd name="T53" fmla="*/ 970 h 976"/>
                  <a:gd name="T54" fmla="*/ 118 w 358"/>
                  <a:gd name="T55" fmla="*/ 922 h 976"/>
                  <a:gd name="T56" fmla="*/ 126 w 358"/>
                  <a:gd name="T57" fmla="*/ 892 h 976"/>
                  <a:gd name="T58" fmla="*/ 116 w 358"/>
                  <a:gd name="T59" fmla="*/ 862 h 976"/>
                  <a:gd name="T60" fmla="*/ 120 w 358"/>
                  <a:gd name="T61" fmla="*/ 832 h 976"/>
                  <a:gd name="T62" fmla="*/ 162 w 358"/>
                  <a:gd name="T63" fmla="*/ 710 h 976"/>
                  <a:gd name="T64" fmla="*/ 178 w 358"/>
                  <a:gd name="T65" fmla="*/ 598 h 976"/>
                  <a:gd name="T66" fmla="*/ 192 w 358"/>
                  <a:gd name="T67" fmla="*/ 520 h 976"/>
                  <a:gd name="T68" fmla="*/ 226 w 358"/>
                  <a:gd name="T69" fmla="*/ 508 h 976"/>
                  <a:gd name="T70" fmla="*/ 264 w 358"/>
                  <a:gd name="T71" fmla="*/ 512 h 976"/>
                  <a:gd name="T72" fmla="*/ 270 w 358"/>
                  <a:gd name="T73" fmla="*/ 570 h 976"/>
                  <a:gd name="T74" fmla="*/ 270 w 358"/>
                  <a:gd name="T75" fmla="*/ 636 h 976"/>
                  <a:gd name="T76" fmla="*/ 260 w 358"/>
                  <a:gd name="T77" fmla="*/ 832 h 976"/>
                  <a:gd name="T78" fmla="*/ 252 w 358"/>
                  <a:gd name="T79" fmla="*/ 858 h 976"/>
                  <a:gd name="T80" fmla="*/ 236 w 358"/>
                  <a:gd name="T81" fmla="*/ 934 h 976"/>
                  <a:gd name="T82" fmla="*/ 238 w 358"/>
                  <a:gd name="T83" fmla="*/ 954 h 976"/>
                  <a:gd name="T84" fmla="*/ 266 w 358"/>
                  <a:gd name="T85" fmla="*/ 954 h 976"/>
                  <a:gd name="T86" fmla="*/ 296 w 358"/>
                  <a:gd name="T87" fmla="*/ 928 h 976"/>
                  <a:gd name="T88" fmla="*/ 296 w 358"/>
                  <a:gd name="T89" fmla="*/ 900 h 976"/>
                  <a:gd name="T90" fmla="*/ 298 w 358"/>
                  <a:gd name="T91" fmla="*/ 840 h 976"/>
                  <a:gd name="T92" fmla="*/ 316 w 358"/>
                  <a:gd name="T93" fmla="*/ 778 h 976"/>
                  <a:gd name="T94" fmla="*/ 332 w 358"/>
                  <a:gd name="T95" fmla="*/ 722 h 976"/>
                  <a:gd name="T96" fmla="*/ 338 w 358"/>
                  <a:gd name="T97" fmla="*/ 602 h 976"/>
                  <a:gd name="T98" fmla="*/ 338 w 358"/>
                  <a:gd name="T99" fmla="*/ 504 h 976"/>
                  <a:gd name="T100" fmla="*/ 344 w 358"/>
                  <a:gd name="T101" fmla="*/ 482 h 976"/>
                  <a:gd name="T102" fmla="*/ 358 w 358"/>
                  <a:gd name="T103" fmla="*/ 294 h 976"/>
                  <a:gd name="T104" fmla="*/ 350 w 358"/>
                  <a:gd name="T105" fmla="*/ 246 h 976"/>
                  <a:gd name="T106" fmla="*/ 326 w 358"/>
                  <a:gd name="T107" fmla="*/ 162 h 9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8" h="976">
                    <a:moveTo>
                      <a:pt x="326" y="162"/>
                    </a:moveTo>
                    <a:lnTo>
                      <a:pt x="326" y="162"/>
                    </a:lnTo>
                    <a:lnTo>
                      <a:pt x="322" y="142"/>
                    </a:lnTo>
                    <a:lnTo>
                      <a:pt x="318" y="130"/>
                    </a:lnTo>
                    <a:lnTo>
                      <a:pt x="314" y="122"/>
                    </a:lnTo>
                    <a:lnTo>
                      <a:pt x="314" y="116"/>
                    </a:lnTo>
                    <a:lnTo>
                      <a:pt x="314" y="116"/>
                    </a:lnTo>
                    <a:lnTo>
                      <a:pt x="316" y="116"/>
                    </a:lnTo>
                    <a:lnTo>
                      <a:pt x="322" y="116"/>
                    </a:lnTo>
                    <a:lnTo>
                      <a:pt x="328" y="116"/>
                    </a:lnTo>
                    <a:lnTo>
                      <a:pt x="332" y="114"/>
                    </a:lnTo>
                    <a:lnTo>
                      <a:pt x="332" y="114"/>
                    </a:lnTo>
                    <a:lnTo>
                      <a:pt x="332" y="108"/>
                    </a:lnTo>
                    <a:lnTo>
                      <a:pt x="332" y="108"/>
                    </a:lnTo>
                    <a:lnTo>
                      <a:pt x="332" y="106"/>
                    </a:lnTo>
                    <a:lnTo>
                      <a:pt x="326" y="102"/>
                    </a:lnTo>
                    <a:lnTo>
                      <a:pt x="310" y="94"/>
                    </a:lnTo>
                    <a:lnTo>
                      <a:pt x="262" y="76"/>
                    </a:lnTo>
                    <a:lnTo>
                      <a:pt x="214" y="58"/>
                    </a:lnTo>
                    <a:lnTo>
                      <a:pt x="198" y="50"/>
                    </a:lnTo>
                    <a:lnTo>
                      <a:pt x="194" y="46"/>
                    </a:lnTo>
                    <a:lnTo>
                      <a:pt x="192" y="44"/>
                    </a:lnTo>
                    <a:lnTo>
                      <a:pt x="192" y="44"/>
                    </a:lnTo>
                    <a:lnTo>
                      <a:pt x="194" y="24"/>
                    </a:lnTo>
                    <a:lnTo>
                      <a:pt x="198" y="2"/>
                    </a:lnTo>
                    <a:lnTo>
                      <a:pt x="198" y="0"/>
                    </a:lnTo>
                    <a:lnTo>
                      <a:pt x="198" y="0"/>
                    </a:lnTo>
                    <a:lnTo>
                      <a:pt x="198" y="0"/>
                    </a:lnTo>
                    <a:lnTo>
                      <a:pt x="194" y="18"/>
                    </a:lnTo>
                    <a:lnTo>
                      <a:pt x="188" y="34"/>
                    </a:lnTo>
                    <a:lnTo>
                      <a:pt x="182" y="48"/>
                    </a:lnTo>
                    <a:lnTo>
                      <a:pt x="172" y="62"/>
                    </a:lnTo>
                    <a:lnTo>
                      <a:pt x="162" y="76"/>
                    </a:lnTo>
                    <a:lnTo>
                      <a:pt x="154" y="92"/>
                    </a:lnTo>
                    <a:lnTo>
                      <a:pt x="146" y="110"/>
                    </a:lnTo>
                    <a:lnTo>
                      <a:pt x="142" y="130"/>
                    </a:lnTo>
                    <a:lnTo>
                      <a:pt x="142" y="130"/>
                    </a:lnTo>
                    <a:lnTo>
                      <a:pt x="140" y="140"/>
                    </a:lnTo>
                    <a:lnTo>
                      <a:pt x="140" y="148"/>
                    </a:lnTo>
                    <a:lnTo>
                      <a:pt x="144" y="166"/>
                    </a:lnTo>
                    <a:lnTo>
                      <a:pt x="144" y="190"/>
                    </a:lnTo>
                    <a:lnTo>
                      <a:pt x="144" y="204"/>
                    </a:lnTo>
                    <a:lnTo>
                      <a:pt x="142" y="220"/>
                    </a:lnTo>
                    <a:lnTo>
                      <a:pt x="142" y="220"/>
                    </a:lnTo>
                    <a:lnTo>
                      <a:pt x="130" y="296"/>
                    </a:lnTo>
                    <a:lnTo>
                      <a:pt x="124" y="334"/>
                    </a:lnTo>
                    <a:lnTo>
                      <a:pt x="116" y="372"/>
                    </a:lnTo>
                    <a:lnTo>
                      <a:pt x="116" y="372"/>
                    </a:lnTo>
                    <a:lnTo>
                      <a:pt x="110" y="412"/>
                    </a:lnTo>
                    <a:lnTo>
                      <a:pt x="108" y="450"/>
                    </a:lnTo>
                    <a:lnTo>
                      <a:pt x="108" y="524"/>
                    </a:lnTo>
                    <a:lnTo>
                      <a:pt x="108" y="524"/>
                    </a:lnTo>
                    <a:lnTo>
                      <a:pt x="108" y="538"/>
                    </a:lnTo>
                    <a:lnTo>
                      <a:pt x="106" y="552"/>
                    </a:lnTo>
                    <a:lnTo>
                      <a:pt x="104" y="586"/>
                    </a:lnTo>
                    <a:lnTo>
                      <a:pt x="104" y="586"/>
                    </a:lnTo>
                    <a:lnTo>
                      <a:pt x="104" y="608"/>
                    </a:lnTo>
                    <a:lnTo>
                      <a:pt x="102" y="622"/>
                    </a:lnTo>
                    <a:lnTo>
                      <a:pt x="94" y="646"/>
                    </a:lnTo>
                    <a:lnTo>
                      <a:pt x="94" y="646"/>
                    </a:lnTo>
                    <a:lnTo>
                      <a:pt x="88" y="670"/>
                    </a:lnTo>
                    <a:lnTo>
                      <a:pt x="86" y="694"/>
                    </a:lnTo>
                    <a:lnTo>
                      <a:pt x="80" y="742"/>
                    </a:lnTo>
                    <a:lnTo>
                      <a:pt x="76" y="790"/>
                    </a:lnTo>
                    <a:lnTo>
                      <a:pt x="72" y="812"/>
                    </a:lnTo>
                    <a:lnTo>
                      <a:pt x="68" y="834"/>
                    </a:lnTo>
                    <a:lnTo>
                      <a:pt x="68" y="834"/>
                    </a:lnTo>
                    <a:lnTo>
                      <a:pt x="64" y="866"/>
                    </a:lnTo>
                    <a:lnTo>
                      <a:pt x="60" y="888"/>
                    </a:lnTo>
                    <a:lnTo>
                      <a:pt x="54" y="904"/>
                    </a:lnTo>
                    <a:lnTo>
                      <a:pt x="46" y="920"/>
                    </a:lnTo>
                    <a:lnTo>
                      <a:pt x="46" y="920"/>
                    </a:lnTo>
                    <a:lnTo>
                      <a:pt x="40" y="932"/>
                    </a:lnTo>
                    <a:lnTo>
                      <a:pt x="34" y="942"/>
                    </a:lnTo>
                    <a:lnTo>
                      <a:pt x="30" y="946"/>
                    </a:lnTo>
                    <a:lnTo>
                      <a:pt x="24" y="950"/>
                    </a:lnTo>
                    <a:lnTo>
                      <a:pt x="10" y="954"/>
                    </a:lnTo>
                    <a:lnTo>
                      <a:pt x="10" y="954"/>
                    </a:lnTo>
                    <a:lnTo>
                      <a:pt x="4" y="956"/>
                    </a:lnTo>
                    <a:lnTo>
                      <a:pt x="0" y="960"/>
                    </a:lnTo>
                    <a:lnTo>
                      <a:pt x="0" y="964"/>
                    </a:lnTo>
                    <a:lnTo>
                      <a:pt x="2" y="966"/>
                    </a:lnTo>
                    <a:lnTo>
                      <a:pt x="6" y="970"/>
                    </a:lnTo>
                    <a:lnTo>
                      <a:pt x="12" y="974"/>
                    </a:lnTo>
                    <a:lnTo>
                      <a:pt x="18" y="976"/>
                    </a:lnTo>
                    <a:lnTo>
                      <a:pt x="24" y="976"/>
                    </a:lnTo>
                    <a:lnTo>
                      <a:pt x="24" y="976"/>
                    </a:lnTo>
                    <a:lnTo>
                      <a:pt x="36" y="976"/>
                    </a:lnTo>
                    <a:lnTo>
                      <a:pt x="50" y="976"/>
                    </a:lnTo>
                    <a:lnTo>
                      <a:pt x="64" y="972"/>
                    </a:lnTo>
                    <a:lnTo>
                      <a:pt x="70" y="970"/>
                    </a:lnTo>
                    <a:lnTo>
                      <a:pt x="74" y="964"/>
                    </a:lnTo>
                    <a:lnTo>
                      <a:pt x="74" y="964"/>
                    </a:lnTo>
                    <a:lnTo>
                      <a:pt x="84" y="948"/>
                    </a:lnTo>
                    <a:lnTo>
                      <a:pt x="90" y="936"/>
                    </a:lnTo>
                    <a:lnTo>
                      <a:pt x="90" y="936"/>
                    </a:lnTo>
                    <a:lnTo>
                      <a:pt x="94" y="934"/>
                    </a:lnTo>
                    <a:lnTo>
                      <a:pt x="98" y="934"/>
                    </a:lnTo>
                    <a:lnTo>
                      <a:pt x="102" y="934"/>
                    </a:lnTo>
                    <a:lnTo>
                      <a:pt x="104" y="938"/>
                    </a:lnTo>
                    <a:lnTo>
                      <a:pt x="104" y="938"/>
                    </a:lnTo>
                    <a:lnTo>
                      <a:pt x="106" y="958"/>
                    </a:lnTo>
                    <a:lnTo>
                      <a:pt x="106" y="970"/>
                    </a:lnTo>
                    <a:lnTo>
                      <a:pt x="108" y="976"/>
                    </a:lnTo>
                    <a:lnTo>
                      <a:pt x="108" y="976"/>
                    </a:lnTo>
                    <a:lnTo>
                      <a:pt x="112" y="976"/>
                    </a:lnTo>
                    <a:lnTo>
                      <a:pt x="112" y="976"/>
                    </a:lnTo>
                    <a:lnTo>
                      <a:pt x="114" y="970"/>
                    </a:lnTo>
                    <a:lnTo>
                      <a:pt x="114" y="960"/>
                    </a:lnTo>
                    <a:lnTo>
                      <a:pt x="116" y="926"/>
                    </a:lnTo>
                    <a:lnTo>
                      <a:pt x="116" y="926"/>
                    </a:lnTo>
                    <a:lnTo>
                      <a:pt x="118" y="922"/>
                    </a:lnTo>
                    <a:lnTo>
                      <a:pt x="122" y="914"/>
                    </a:lnTo>
                    <a:lnTo>
                      <a:pt x="126" y="904"/>
                    </a:lnTo>
                    <a:lnTo>
                      <a:pt x="126" y="898"/>
                    </a:lnTo>
                    <a:lnTo>
                      <a:pt x="126" y="892"/>
                    </a:lnTo>
                    <a:lnTo>
                      <a:pt x="126" y="892"/>
                    </a:lnTo>
                    <a:lnTo>
                      <a:pt x="126" y="884"/>
                    </a:lnTo>
                    <a:lnTo>
                      <a:pt x="120" y="874"/>
                    </a:lnTo>
                    <a:lnTo>
                      <a:pt x="116" y="862"/>
                    </a:lnTo>
                    <a:lnTo>
                      <a:pt x="114" y="854"/>
                    </a:lnTo>
                    <a:lnTo>
                      <a:pt x="114" y="854"/>
                    </a:lnTo>
                    <a:lnTo>
                      <a:pt x="116" y="842"/>
                    </a:lnTo>
                    <a:lnTo>
                      <a:pt x="120" y="832"/>
                    </a:lnTo>
                    <a:lnTo>
                      <a:pt x="132" y="800"/>
                    </a:lnTo>
                    <a:lnTo>
                      <a:pt x="132" y="800"/>
                    </a:lnTo>
                    <a:lnTo>
                      <a:pt x="152" y="738"/>
                    </a:lnTo>
                    <a:lnTo>
                      <a:pt x="162" y="710"/>
                    </a:lnTo>
                    <a:lnTo>
                      <a:pt x="168" y="680"/>
                    </a:lnTo>
                    <a:lnTo>
                      <a:pt x="168" y="680"/>
                    </a:lnTo>
                    <a:lnTo>
                      <a:pt x="172" y="630"/>
                    </a:lnTo>
                    <a:lnTo>
                      <a:pt x="178" y="598"/>
                    </a:lnTo>
                    <a:lnTo>
                      <a:pt x="184" y="576"/>
                    </a:lnTo>
                    <a:lnTo>
                      <a:pt x="188" y="558"/>
                    </a:lnTo>
                    <a:lnTo>
                      <a:pt x="188" y="558"/>
                    </a:lnTo>
                    <a:lnTo>
                      <a:pt x="192" y="520"/>
                    </a:lnTo>
                    <a:lnTo>
                      <a:pt x="194" y="514"/>
                    </a:lnTo>
                    <a:lnTo>
                      <a:pt x="200" y="512"/>
                    </a:lnTo>
                    <a:lnTo>
                      <a:pt x="200" y="512"/>
                    </a:lnTo>
                    <a:lnTo>
                      <a:pt x="226" y="508"/>
                    </a:lnTo>
                    <a:lnTo>
                      <a:pt x="256" y="508"/>
                    </a:lnTo>
                    <a:lnTo>
                      <a:pt x="256" y="508"/>
                    </a:lnTo>
                    <a:lnTo>
                      <a:pt x="262" y="508"/>
                    </a:lnTo>
                    <a:lnTo>
                      <a:pt x="264" y="512"/>
                    </a:lnTo>
                    <a:lnTo>
                      <a:pt x="264" y="536"/>
                    </a:lnTo>
                    <a:lnTo>
                      <a:pt x="264" y="536"/>
                    </a:lnTo>
                    <a:lnTo>
                      <a:pt x="266" y="550"/>
                    </a:lnTo>
                    <a:lnTo>
                      <a:pt x="270" y="570"/>
                    </a:lnTo>
                    <a:lnTo>
                      <a:pt x="272" y="598"/>
                    </a:lnTo>
                    <a:lnTo>
                      <a:pt x="272" y="616"/>
                    </a:lnTo>
                    <a:lnTo>
                      <a:pt x="270" y="636"/>
                    </a:lnTo>
                    <a:lnTo>
                      <a:pt x="270" y="636"/>
                    </a:lnTo>
                    <a:lnTo>
                      <a:pt x="268" y="756"/>
                    </a:lnTo>
                    <a:lnTo>
                      <a:pt x="266" y="786"/>
                    </a:lnTo>
                    <a:lnTo>
                      <a:pt x="264" y="810"/>
                    </a:lnTo>
                    <a:lnTo>
                      <a:pt x="260" y="832"/>
                    </a:lnTo>
                    <a:lnTo>
                      <a:pt x="254" y="846"/>
                    </a:lnTo>
                    <a:lnTo>
                      <a:pt x="254" y="846"/>
                    </a:lnTo>
                    <a:lnTo>
                      <a:pt x="252" y="858"/>
                    </a:lnTo>
                    <a:lnTo>
                      <a:pt x="252" y="858"/>
                    </a:lnTo>
                    <a:lnTo>
                      <a:pt x="250" y="880"/>
                    </a:lnTo>
                    <a:lnTo>
                      <a:pt x="246" y="896"/>
                    </a:lnTo>
                    <a:lnTo>
                      <a:pt x="236" y="934"/>
                    </a:lnTo>
                    <a:lnTo>
                      <a:pt x="236" y="934"/>
                    </a:lnTo>
                    <a:lnTo>
                      <a:pt x="234" y="942"/>
                    </a:lnTo>
                    <a:lnTo>
                      <a:pt x="234" y="948"/>
                    </a:lnTo>
                    <a:lnTo>
                      <a:pt x="236" y="952"/>
                    </a:lnTo>
                    <a:lnTo>
                      <a:pt x="238" y="954"/>
                    </a:lnTo>
                    <a:lnTo>
                      <a:pt x="248" y="956"/>
                    </a:lnTo>
                    <a:lnTo>
                      <a:pt x="260" y="956"/>
                    </a:lnTo>
                    <a:lnTo>
                      <a:pt x="260" y="956"/>
                    </a:lnTo>
                    <a:lnTo>
                      <a:pt x="266" y="954"/>
                    </a:lnTo>
                    <a:lnTo>
                      <a:pt x="274" y="952"/>
                    </a:lnTo>
                    <a:lnTo>
                      <a:pt x="288" y="942"/>
                    </a:lnTo>
                    <a:lnTo>
                      <a:pt x="292" y="936"/>
                    </a:lnTo>
                    <a:lnTo>
                      <a:pt x="296" y="928"/>
                    </a:lnTo>
                    <a:lnTo>
                      <a:pt x="298" y="922"/>
                    </a:lnTo>
                    <a:lnTo>
                      <a:pt x="298" y="916"/>
                    </a:lnTo>
                    <a:lnTo>
                      <a:pt x="298" y="916"/>
                    </a:lnTo>
                    <a:lnTo>
                      <a:pt x="296" y="900"/>
                    </a:lnTo>
                    <a:lnTo>
                      <a:pt x="298" y="878"/>
                    </a:lnTo>
                    <a:lnTo>
                      <a:pt x="298" y="856"/>
                    </a:lnTo>
                    <a:lnTo>
                      <a:pt x="298" y="840"/>
                    </a:lnTo>
                    <a:lnTo>
                      <a:pt x="298" y="840"/>
                    </a:lnTo>
                    <a:lnTo>
                      <a:pt x="298" y="832"/>
                    </a:lnTo>
                    <a:lnTo>
                      <a:pt x="300" y="822"/>
                    </a:lnTo>
                    <a:lnTo>
                      <a:pt x="308" y="800"/>
                    </a:lnTo>
                    <a:lnTo>
                      <a:pt x="316" y="778"/>
                    </a:lnTo>
                    <a:lnTo>
                      <a:pt x="322" y="760"/>
                    </a:lnTo>
                    <a:lnTo>
                      <a:pt x="322" y="760"/>
                    </a:lnTo>
                    <a:lnTo>
                      <a:pt x="328" y="742"/>
                    </a:lnTo>
                    <a:lnTo>
                      <a:pt x="332" y="722"/>
                    </a:lnTo>
                    <a:lnTo>
                      <a:pt x="338" y="684"/>
                    </a:lnTo>
                    <a:lnTo>
                      <a:pt x="340" y="644"/>
                    </a:lnTo>
                    <a:lnTo>
                      <a:pt x="338" y="602"/>
                    </a:lnTo>
                    <a:lnTo>
                      <a:pt x="338" y="602"/>
                    </a:lnTo>
                    <a:lnTo>
                      <a:pt x="338" y="556"/>
                    </a:lnTo>
                    <a:lnTo>
                      <a:pt x="336" y="510"/>
                    </a:lnTo>
                    <a:lnTo>
                      <a:pt x="336" y="510"/>
                    </a:lnTo>
                    <a:lnTo>
                      <a:pt x="338" y="504"/>
                    </a:lnTo>
                    <a:lnTo>
                      <a:pt x="340" y="498"/>
                    </a:lnTo>
                    <a:lnTo>
                      <a:pt x="344" y="492"/>
                    </a:lnTo>
                    <a:lnTo>
                      <a:pt x="344" y="482"/>
                    </a:lnTo>
                    <a:lnTo>
                      <a:pt x="344" y="482"/>
                    </a:lnTo>
                    <a:lnTo>
                      <a:pt x="350" y="426"/>
                    </a:lnTo>
                    <a:lnTo>
                      <a:pt x="356" y="370"/>
                    </a:lnTo>
                    <a:lnTo>
                      <a:pt x="358" y="320"/>
                    </a:lnTo>
                    <a:lnTo>
                      <a:pt x="358" y="294"/>
                    </a:lnTo>
                    <a:lnTo>
                      <a:pt x="356" y="272"/>
                    </a:lnTo>
                    <a:lnTo>
                      <a:pt x="356" y="272"/>
                    </a:lnTo>
                    <a:lnTo>
                      <a:pt x="354" y="260"/>
                    </a:lnTo>
                    <a:lnTo>
                      <a:pt x="350" y="246"/>
                    </a:lnTo>
                    <a:lnTo>
                      <a:pt x="340" y="216"/>
                    </a:lnTo>
                    <a:lnTo>
                      <a:pt x="330" y="188"/>
                    </a:lnTo>
                    <a:lnTo>
                      <a:pt x="326" y="174"/>
                    </a:lnTo>
                    <a:lnTo>
                      <a:pt x="326" y="162"/>
                    </a:lnTo>
                    <a:lnTo>
                      <a:pt x="326" y="162"/>
                    </a:lnTo>
                    <a:close/>
                  </a:path>
                </a:pathLst>
              </a:custGeom>
              <a:solidFill>
                <a:srgbClr val="8E8A8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88" name="Freeform 182"/>
              <p:cNvSpPr>
                <a:spLocks/>
              </p:cNvSpPr>
              <p:nvPr/>
            </p:nvSpPr>
            <p:spPr bwMode="auto">
              <a:xfrm>
                <a:off x="6773184" y="2533532"/>
                <a:ext cx="98992" cy="83157"/>
              </a:xfrm>
              <a:custGeom>
                <a:avLst/>
                <a:gdLst>
                  <a:gd name="T0" fmla="*/ 256 w 340"/>
                  <a:gd name="T1" fmla="*/ 34 h 264"/>
                  <a:gd name="T2" fmla="*/ 270 w 340"/>
                  <a:gd name="T3" fmla="*/ 36 h 264"/>
                  <a:gd name="T4" fmla="*/ 318 w 340"/>
                  <a:gd name="T5" fmla="*/ 28 h 264"/>
                  <a:gd name="T6" fmla="*/ 324 w 340"/>
                  <a:gd name="T7" fmla="*/ 30 h 264"/>
                  <a:gd name="T8" fmla="*/ 334 w 340"/>
                  <a:gd name="T9" fmla="*/ 36 h 264"/>
                  <a:gd name="T10" fmla="*/ 338 w 340"/>
                  <a:gd name="T11" fmla="*/ 54 h 264"/>
                  <a:gd name="T12" fmla="*/ 340 w 340"/>
                  <a:gd name="T13" fmla="*/ 66 h 264"/>
                  <a:gd name="T14" fmla="*/ 336 w 340"/>
                  <a:gd name="T15" fmla="*/ 98 h 264"/>
                  <a:gd name="T16" fmla="*/ 320 w 340"/>
                  <a:gd name="T17" fmla="*/ 150 h 264"/>
                  <a:gd name="T18" fmla="*/ 312 w 340"/>
                  <a:gd name="T19" fmla="*/ 170 h 264"/>
                  <a:gd name="T20" fmla="*/ 292 w 340"/>
                  <a:gd name="T21" fmla="*/ 212 h 264"/>
                  <a:gd name="T22" fmla="*/ 272 w 340"/>
                  <a:gd name="T23" fmla="*/ 240 h 264"/>
                  <a:gd name="T24" fmla="*/ 252 w 340"/>
                  <a:gd name="T25" fmla="*/ 258 h 264"/>
                  <a:gd name="T26" fmla="*/ 238 w 340"/>
                  <a:gd name="T27" fmla="*/ 264 h 264"/>
                  <a:gd name="T28" fmla="*/ 230 w 340"/>
                  <a:gd name="T29" fmla="*/ 262 h 264"/>
                  <a:gd name="T30" fmla="*/ 218 w 340"/>
                  <a:gd name="T31" fmla="*/ 250 h 264"/>
                  <a:gd name="T32" fmla="*/ 212 w 340"/>
                  <a:gd name="T33" fmla="*/ 236 h 264"/>
                  <a:gd name="T34" fmla="*/ 198 w 340"/>
                  <a:gd name="T35" fmla="*/ 210 h 264"/>
                  <a:gd name="T36" fmla="*/ 184 w 340"/>
                  <a:gd name="T37" fmla="*/ 202 h 264"/>
                  <a:gd name="T38" fmla="*/ 170 w 340"/>
                  <a:gd name="T39" fmla="*/ 206 h 264"/>
                  <a:gd name="T40" fmla="*/ 140 w 340"/>
                  <a:gd name="T41" fmla="*/ 234 h 264"/>
                  <a:gd name="T42" fmla="*/ 118 w 340"/>
                  <a:gd name="T43" fmla="*/ 254 h 264"/>
                  <a:gd name="T44" fmla="*/ 102 w 340"/>
                  <a:gd name="T45" fmla="*/ 256 h 264"/>
                  <a:gd name="T46" fmla="*/ 94 w 340"/>
                  <a:gd name="T47" fmla="*/ 254 h 264"/>
                  <a:gd name="T48" fmla="*/ 80 w 340"/>
                  <a:gd name="T49" fmla="*/ 238 h 264"/>
                  <a:gd name="T50" fmla="*/ 68 w 340"/>
                  <a:gd name="T51" fmla="*/ 230 h 264"/>
                  <a:gd name="T52" fmla="*/ 64 w 340"/>
                  <a:gd name="T53" fmla="*/ 232 h 264"/>
                  <a:gd name="T54" fmla="*/ 54 w 340"/>
                  <a:gd name="T55" fmla="*/ 238 h 264"/>
                  <a:gd name="T56" fmla="*/ 24 w 340"/>
                  <a:gd name="T57" fmla="*/ 240 h 264"/>
                  <a:gd name="T58" fmla="*/ 14 w 340"/>
                  <a:gd name="T59" fmla="*/ 240 h 264"/>
                  <a:gd name="T60" fmla="*/ 4 w 340"/>
                  <a:gd name="T61" fmla="*/ 230 h 264"/>
                  <a:gd name="T62" fmla="*/ 0 w 340"/>
                  <a:gd name="T63" fmla="*/ 212 h 264"/>
                  <a:gd name="T64" fmla="*/ 4 w 340"/>
                  <a:gd name="T65" fmla="*/ 186 h 264"/>
                  <a:gd name="T66" fmla="*/ 18 w 340"/>
                  <a:gd name="T67" fmla="*/ 158 h 264"/>
                  <a:gd name="T68" fmla="*/ 42 w 340"/>
                  <a:gd name="T69" fmla="*/ 124 h 264"/>
                  <a:gd name="T70" fmla="*/ 86 w 340"/>
                  <a:gd name="T71" fmla="*/ 50 h 264"/>
                  <a:gd name="T72" fmla="*/ 92 w 340"/>
                  <a:gd name="T73" fmla="*/ 42 h 264"/>
                  <a:gd name="T74" fmla="*/ 106 w 340"/>
                  <a:gd name="T75" fmla="*/ 32 h 264"/>
                  <a:gd name="T76" fmla="*/ 130 w 340"/>
                  <a:gd name="T77" fmla="*/ 26 h 264"/>
                  <a:gd name="T78" fmla="*/ 144 w 340"/>
                  <a:gd name="T79" fmla="*/ 26 h 264"/>
                  <a:gd name="T80" fmla="*/ 154 w 340"/>
                  <a:gd name="T81" fmla="*/ 24 h 264"/>
                  <a:gd name="T82" fmla="*/ 162 w 340"/>
                  <a:gd name="T83" fmla="*/ 12 h 264"/>
                  <a:gd name="T84" fmla="*/ 170 w 340"/>
                  <a:gd name="T85" fmla="*/ 4 h 264"/>
                  <a:gd name="T86" fmla="*/ 178 w 340"/>
                  <a:gd name="T87" fmla="*/ 0 h 264"/>
                  <a:gd name="T88" fmla="*/ 202 w 340"/>
                  <a:gd name="T89" fmla="*/ 4 h 264"/>
                  <a:gd name="T90" fmla="*/ 220 w 340"/>
                  <a:gd name="T91" fmla="*/ 4 h 264"/>
                  <a:gd name="T92" fmla="*/ 236 w 340"/>
                  <a:gd name="T93" fmla="*/ 6 h 264"/>
                  <a:gd name="T94" fmla="*/ 242 w 340"/>
                  <a:gd name="T95" fmla="*/ 12 h 264"/>
                  <a:gd name="T96" fmla="*/ 250 w 340"/>
                  <a:gd name="T97" fmla="*/ 28 h 264"/>
                  <a:gd name="T98" fmla="*/ 256 w 340"/>
                  <a:gd name="T99" fmla="*/ 3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0" h="264">
                    <a:moveTo>
                      <a:pt x="256" y="34"/>
                    </a:moveTo>
                    <a:lnTo>
                      <a:pt x="256" y="34"/>
                    </a:lnTo>
                    <a:lnTo>
                      <a:pt x="262" y="36"/>
                    </a:lnTo>
                    <a:lnTo>
                      <a:pt x="270" y="36"/>
                    </a:lnTo>
                    <a:lnTo>
                      <a:pt x="288" y="34"/>
                    </a:lnTo>
                    <a:lnTo>
                      <a:pt x="318" y="28"/>
                    </a:lnTo>
                    <a:lnTo>
                      <a:pt x="318" y="28"/>
                    </a:lnTo>
                    <a:lnTo>
                      <a:pt x="324" y="30"/>
                    </a:lnTo>
                    <a:lnTo>
                      <a:pt x="330" y="32"/>
                    </a:lnTo>
                    <a:lnTo>
                      <a:pt x="334" y="36"/>
                    </a:lnTo>
                    <a:lnTo>
                      <a:pt x="336" y="42"/>
                    </a:lnTo>
                    <a:lnTo>
                      <a:pt x="338" y="54"/>
                    </a:lnTo>
                    <a:lnTo>
                      <a:pt x="340" y="66"/>
                    </a:lnTo>
                    <a:lnTo>
                      <a:pt x="340" y="66"/>
                    </a:lnTo>
                    <a:lnTo>
                      <a:pt x="338" y="84"/>
                    </a:lnTo>
                    <a:lnTo>
                      <a:pt x="336" y="98"/>
                    </a:lnTo>
                    <a:lnTo>
                      <a:pt x="330" y="126"/>
                    </a:lnTo>
                    <a:lnTo>
                      <a:pt x="320" y="150"/>
                    </a:lnTo>
                    <a:lnTo>
                      <a:pt x="312" y="170"/>
                    </a:lnTo>
                    <a:lnTo>
                      <a:pt x="312" y="170"/>
                    </a:lnTo>
                    <a:lnTo>
                      <a:pt x="302" y="192"/>
                    </a:lnTo>
                    <a:lnTo>
                      <a:pt x="292" y="212"/>
                    </a:lnTo>
                    <a:lnTo>
                      <a:pt x="282" y="228"/>
                    </a:lnTo>
                    <a:lnTo>
                      <a:pt x="272" y="240"/>
                    </a:lnTo>
                    <a:lnTo>
                      <a:pt x="262" y="250"/>
                    </a:lnTo>
                    <a:lnTo>
                      <a:pt x="252" y="258"/>
                    </a:lnTo>
                    <a:lnTo>
                      <a:pt x="244" y="262"/>
                    </a:lnTo>
                    <a:lnTo>
                      <a:pt x="238" y="264"/>
                    </a:lnTo>
                    <a:lnTo>
                      <a:pt x="238" y="264"/>
                    </a:lnTo>
                    <a:lnTo>
                      <a:pt x="230" y="262"/>
                    </a:lnTo>
                    <a:lnTo>
                      <a:pt x="224" y="258"/>
                    </a:lnTo>
                    <a:lnTo>
                      <a:pt x="218" y="250"/>
                    </a:lnTo>
                    <a:lnTo>
                      <a:pt x="212" y="236"/>
                    </a:lnTo>
                    <a:lnTo>
                      <a:pt x="212" y="236"/>
                    </a:lnTo>
                    <a:lnTo>
                      <a:pt x="204" y="220"/>
                    </a:lnTo>
                    <a:lnTo>
                      <a:pt x="198" y="210"/>
                    </a:lnTo>
                    <a:lnTo>
                      <a:pt x="192" y="204"/>
                    </a:lnTo>
                    <a:lnTo>
                      <a:pt x="184" y="202"/>
                    </a:lnTo>
                    <a:lnTo>
                      <a:pt x="178" y="204"/>
                    </a:lnTo>
                    <a:lnTo>
                      <a:pt x="170" y="206"/>
                    </a:lnTo>
                    <a:lnTo>
                      <a:pt x="156" y="220"/>
                    </a:lnTo>
                    <a:lnTo>
                      <a:pt x="140" y="234"/>
                    </a:lnTo>
                    <a:lnTo>
                      <a:pt x="126" y="248"/>
                    </a:lnTo>
                    <a:lnTo>
                      <a:pt x="118" y="254"/>
                    </a:lnTo>
                    <a:lnTo>
                      <a:pt x="110" y="256"/>
                    </a:lnTo>
                    <a:lnTo>
                      <a:pt x="102" y="256"/>
                    </a:lnTo>
                    <a:lnTo>
                      <a:pt x="94" y="254"/>
                    </a:lnTo>
                    <a:lnTo>
                      <a:pt x="94" y="254"/>
                    </a:lnTo>
                    <a:lnTo>
                      <a:pt x="88" y="246"/>
                    </a:lnTo>
                    <a:lnTo>
                      <a:pt x="80" y="238"/>
                    </a:lnTo>
                    <a:lnTo>
                      <a:pt x="72" y="232"/>
                    </a:lnTo>
                    <a:lnTo>
                      <a:pt x="68" y="230"/>
                    </a:lnTo>
                    <a:lnTo>
                      <a:pt x="64" y="232"/>
                    </a:lnTo>
                    <a:lnTo>
                      <a:pt x="64" y="232"/>
                    </a:lnTo>
                    <a:lnTo>
                      <a:pt x="60" y="236"/>
                    </a:lnTo>
                    <a:lnTo>
                      <a:pt x="54" y="238"/>
                    </a:lnTo>
                    <a:lnTo>
                      <a:pt x="38" y="240"/>
                    </a:lnTo>
                    <a:lnTo>
                      <a:pt x="24" y="240"/>
                    </a:lnTo>
                    <a:lnTo>
                      <a:pt x="14" y="240"/>
                    </a:lnTo>
                    <a:lnTo>
                      <a:pt x="14" y="240"/>
                    </a:lnTo>
                    <a:lnTo>
                      <a:pt x="8" y="236"/>
                    </a:lnTo>
                    <a:lnTo>
                      <a:pt x="4" y="230"/>
                    </a:lnTo>
                    <a:lnTo>
                      <a:pt x="0" y="222"/>
                    </a:lnTo>
                    <a:lnTo>
                      <a:pt x="0" y="212"/>
                    </a:lnTo>
                    <a:lnTo>
                      <a:pt x="0" y="200"/>
                    </a:lnTo>
                    <a:lnTo>
                      <a:pt x="4" y="186"/>
                    </a:lnTo>
                    <a:lnTo>
                      <a:pt x="10" y="172"/>
                    </a:lnTo>
                    <a:lnTo>
                      <a:pt x="18" y="158"/>
                    </a:lnTo>
                    <a:lnTo>
                      <a:pt x="18" y="158"/>
                    </a:lnTo>
                    <a:lnTo>
                      <a:pt x="42" y="124"/>
                    </a:lnTo>
                    <a:lnTo>
                      <a:pt x="58" y="94"/>
                    </a:lnTo>
                    <a:lnTo>
                      <a:pt x="86" y="50"/>
                    </a:lnTo>
                    <a:lnTo>
                      <a:pt x="86" y="50"/>
                    </a:lnTo>
                    <a:lnTo>
                      <a:pt x="92" y="42"/>
                    </a:lnTo>
                    <a:lnTo>
                      <a:pt x="100" y="36"/>
                    </a:lnTo>
                    <a:lnTo>
                      <a:pt x="106" y="32"/>
                    </a:lnTo>
                    <a:lnTo>
                      <a:pt x="114" y="30"/>
                    </a:lnTo>
                    <a:lnTo>
                      <a:pt x="130" y="26"/>
                    </a:lnTo>
                    <a:lnTo>
                      <a:pt x="144" y="26"/>
                    </a:lnTo>
                    <a:lnTo>
                      <a:pt x="144" y="26"/>
                    </a:lnTo>
                    <a:lnTo>
                      <a:pt x="150" y="24"/>
                    </a:lnTo>
                    <a:lnTo>
                      <a:pt x="154" y="24"/>
                    </a:lnTo>
                    <a:lnTo>
                      <a:pt x="158" y="18"/>
                    </a:lnTo>
                    <a:lnTo>
                      <a:pt x="162" y="12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4" y="2"/>
                    </a:lnTo>
                    <a:lnTo>
                      <a:pt x="178" y="0"/>
                    </a:lnTo>
                    <a:lnTo>
                      <a:pt x="188" y="2"/>
                    </a:lnTo>
                    <a:lnTo>
                      <a:pt x="202" y="4"/>
                    </a:lnTo>
                    <a:lnTo>
                      <a:pt x="220" y="4"/>
                    </a:lnTo>
                    <a:lnTo>
                      <a:pt x="220" y="4"/>
                    </a:lnTo>
                    <a:lnTo>
                      <a:pt x="230" y="4"/>
                    </a:lnTo>
                    <a:lnTo>
                      <a:pt x="236" y="6"/>
                    </a:lnTo>
                    <a:lnTo>
                      <a:pt x="240" y="8"/>
                    </a:lnTo>
                    <a:lnTo>
                      <a:pt x="242" y="12"/>
                    </a:lnTo>
                    <a:lnTo>
                      <a:pt x="246" y="22"/>
                    </a:lnTo>
                    <a:lnTo>
                      <a:pt x="250" y="28"/>
                    </a:lnTo>
                    <a:lnTo>
                      <a:pt x="256" y="34"/>
                    </a:lnTo>
                    <a:lnTo>
                      <a:pt x="256" y="34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89" name="Freeform 183"/>
              <p:cNvSpPr>
                <a:spLocks/>
              </p:cNvSpPr>
              <p:nvPr/>
            </p:nvSpPr>
            <p:spPr bwMode="auto">
              <a:xfrm>
                <a:off x="6810451" y="2474314"/>
                <a:ext cx="54737" cy="99536"/>
              </a:xfrm>
              <a:custGeom>
                <a:avLst/>
                <a:gdLst>
                  <a:gd name="T0" fmla="*/ 98 w 188"/>
                  <a:gd name="T1" fmla="*/ 198 h 316"/>
                  <a:gd name="T2" fmla="*/ 106 w 188"/>
                  <a:gd name="T3" fmla="*/ 198 h 316"/>
                  <a:gd name="T4" fmla="*/ 118 w 188"/>
                  <a:gd name="T5" fmla="*/ 214 h 316"/>
                  <a:gd name="T6" fmla="*/ 124 w 188"/>
                  <a:gd name="T7" fmla="*/ 220 h 316"/>
                  <a:gd name="T8" fmla="*/ 136 w 188"/>
                  <a:gd name="T9" fmla="*/ 230 h 316"/>
                  <a:gd name="T10" fmla="*/ 144 w 188"/>
                  <a:gd name="T11" fmla="*/ 234 h 316"/>
                  <a:gd name="T12" fmla="*/ 146 w 188"/>
                  <a:gd name="T13" fmla="*/ 240 h 316"/>
                  <a:gd name="T14" fmla="*/ 144 w 188"/>
                  <a:gd name="T15" fmla="*/ 248 h 316"/>
                  <a:gd name="T16" fmla="*/ 144 w 188"/>
                  <a:gd name="T17" fmla="*/ 250 h 316"/>
                  <a:gd name="T18" fmla="*/ 148 w 188"/>
                  <a:gd name="T19" fmla="*/ 254 h 316"/>
                  <a:gd name="T20" fmla="*/ 154 w 188"/>
                  <a:gd name="T21" fmla="*/ 254 h 316"/>
                  <a:gd name="T22" fmla="*/ 156 w 188"/>
                  <a:gd name="T23" fmla="*/ 256 h 316"/>
                  <a:gd name="T24" fmla="*/ 164 w 188"/>
                  <a:gd name="T25" fmla="*/ 268 h 316"/>
                  <a:gd name="T26" fmla="*/ 170 w 188"/>
                  <a:gd name="T27" fmla="*/ 274 h 316"/>
                  <a:gd name="T28" fmla="*/ 176 w 188"/>
                  <a:gd name="T29" fmla="*/ 272 h 316"/>
                  <a:gd name="T30" fmla="*/ 176 w 188"/>
                  <a:gd name="T31" fmla="*/ 266 h 316"/>
                  <a:gd name="T32" fmla="*/ 172 w 188"/>
                  <a:gd name="T33" fmla="*/ 244 h 316"/>
                  <a:gd name="T34" fmla="*/ 172 w 188"/>
                  <a:gd name="T35" fmla="*/ 240 h 316"/>
                  <a:gd name="T36" fmla="*/ 180 w 188"/>
                  <a:gd name="T37" fmla="*/ 236 h 316"/>
                  <a:gd name="T38" fmla="*/ 188 w 188"/>
                  <a:gd name="T39" fmla="*/ 232 h 316"/>
                  <a:gd name="T40" fmla="*/ 188 w 188"/>
                  <a:gd name="T41" fmla="*/ 228 h 316"/>
                  <a:gd name="T42" fmla="*/ 186 w 188"/>
                  <a:gd name="T43" fmla="*/ 212 h 316"/>
                  <a:gd name="T44" fmla="*/ 178 w 188"/>
                  <a:gd name="T45" fmla="*/ 194 h 316"/>
                  <a:gd name="T46" fmla="*/ 174 w 188"/>
                  <a:gd name="T47" fmla="*/ 182 h 316"/>
                  <a:gd name="T48" fmla="*/ 176 w 188"/>
                  <a:gd name="T49" fmla="*/ 168 h 316"/>
                  <a:gd name="T50" fmla="*/ 184 w 188"/>
                  <a:gd name="T51" fmla="*/ 132 h 316"/>
                  <a:gd name="T52" fmla="*/ 182 w 188"/>
                  <a:gd name="T53" fmla="*/ 114 h 316"/>
                  <a:gd name="T54" fmla="*/ 174 w 188"/>
                  <a:gd name="T55" fmla="*/ 96 h 316"/>
                  <a:gd name="T56" fmla="*/ 150 w 188"/>
                  <a:gd name="T57" fmla="*/ 54 h 316"/>
                  <a:gd name="T58" fmla="*/ 144 w 188"/>
                  <a:gd name="T59" fmla="*/ 40 h 316"/>
                  <a:gd name="T60" fmla="*/ 122 w 188"/>
                  <a:gd name="T61" fmla="*/ 20 h 316"/>
                  <a:gd name="T62" fmla="*/ 96 w 188"/>
                  <a:gd name="T63" fmla="*/ 6 h 316"/>
                  <a:gd name="T64" fmla="*/ 72 w 188"/>
                  <a:gd name="T65" fmla="*/ 2 h 316"/>
                  <a:gd name="T66" fmla="*/ 60 w 188"/>
                  <a:gd name="T67" fmla="*/ 0 h 316"/>
                  <a:gd name="T68" fmla="*/ 38 w 188"/>
                  <a:gd name="T69" fmla="*/ 6 h 316"/>
                  <a:gd name="T70" fmla="*/ 20 w 188"/>
                  <a:gd name="T71" fmla="*/ 20 h 316"/>
                  <a:gd name="T72" fmla="*/ 8 w 188"/>
                  <a:gd name="T73" fmla="*/ 42 h 316"/>
                  <a:gd name="T74" fmla="*/ 0 w 188"/>
                  <a:gd name="T75" fmla="*/ 70 h 316"/>
                  <a:gd name="T76" fmla="*/ 0 w 188"/>
                  <a:gd name="T77" fmla="*/ 82 h 316"/>
                  <a:gd name="T78" fmla="*/ 12 w 188"/>
                  <a:gd name="T79" fmla="*/ 106 h 316"/>
                  <a:gd name="T80" fmla="*/ 22 w 188"/>
                  <a:gd name="T81" fmla="*/ 128 h 316"/>
                  <a:gd name="T82" fmla="*/ 36 w 188"/>
                  <a:gd name="T83" fmla="*/ 150 h 316"/>
                  <a:gd name="T84" fmla="*/ 50 w 188"/>
                  <a:gd name="T85" fmla="*/ 162 h 316"/>
                  <a:gd name="T86" fmla="*/ 54 w 188"/>
                  <a:gd name="T87" fmla="*/ 164 h 316"/>
                  <a:gd name="T88" fmla="*/ 60 w 188"/>
                  <a:gd name="T89" fmla="*/ 168 h 316"/>
                  <a:gd name="T90" fmla="*/ 60 w 188"/>
                  <a:gd name="T91" fmla="*/ 194 h 316"/>
                  <a:gd name="T92" fmla="*/ 60 w 188"/>
                  <a:gd name="T93" fmla="*/ 196 h 316"/>
                  <a:gd name="T94" fmla="*/ 54 w 188"/>
                  <a:gd name="T95" fmla="*/ 202 h 316"/>
                  <a:gd name="T96" fmla="*/ 46 w 188"/>
                  <a:gd name="T97" fmla="*/ 214 h 316"/>
                  <a:gd name="T98" fmla="*/ 46 w 188"/>
                  <a:gd name="T99" fmla="*/ 222 h 316"/>
                  <a:gd name="T100" fmla="*/ 36 w 188"/>
                  <a:gd name="T101" fmla="*/ 268 h 316"/>
                  <a:gd name="T102" fmla="*/ 24 w 188"/>
                  <a:gd name="T103" fmla="*/ 316 h 316"/>
                  <a:gd name="T104" fmla="*/ 24 w 188"/>
                  <a:gd name="T105" fmla="*/ 316 h 316"/>
                  <a:gd name="T106" fmla="*/ 28 w 188"/>
                  <a:gd name="T107" fmla="*/ 308 h 316"/>
                  <a:gd name="T108" fmla="*/ 62 w 188"/>
                  <a:gd name="T109" fmla="*/ 254 h 316"/>
                  <a:gd name="T110" fmla="*/ 98 w 188"/>
                  <a:gd name="T111" fmla="*/ 198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88" h="316">
                    <a:moveTo>
                      <a:pt x="98" y="198"/>
                    </a:moveTo>
                    <a:lnTo>
                      <a:pt x="98" y="198"/>
                    </a:lnTo>
                    <a:lnTo>
                      <a:pt x="100" y="196"/>
                    </a:lnTo>
                    <a:lnTo>
                      <a:pt x="106" y="198"/>
                    </a:lnTo>
                    <a:lnTo>
                      <a:pt x="112" y="202"/>
                    </a:lnTo>
                    <a:lnTo>
                      <a:pt x="118" y="214"/>
                    </a:lnTo>
                    <a:lnTo>
                      <a:pt x="118" y="214"/>
                    </a:lnTo>
                    <a:lnTo>
                      <a:pt x="124" y="220"/>
                    </a:lnTo>
                    <a:lnTo>
                      <a:pt x="130" y="226"/>
                    </a:lnTo>
                    <a:lnTo>
                      <a:pt x="136" y="230"/>
                    </a:lnTo>
                    <a:lnTo>
                      <a:pt x="144" y="234"/>
                    </a:lnTo>
                    <a:lnTo>
                      <a:pt x="144" y="234"/>
                    </a:lnTo>
                    <a:lnTo>
                      <a:pt x="146" y="236"/>
                    </a:lnTo>
                    <a:lnTo>
                      <a:pt x="146" y="240"/>
                    </a:lnTo>
                    <a:lnTo>
                      <a:pt x="146" y="242"/>
                    </a:lnTo>
                    <a:lnTo>
                      <a:pt x="144" y="248"/>
                    </a:lnTo>
                    <a:lnTo>
                      <a:pt x="144" y="248"/>
                    </a:lnTo>
                    <a:lnTo>
                      <a:pt x="144" y="250"/>
                    </a:lnTo>
                    <a:lnTo>
                      <a:pt x="144" y="252"/>
                    </a:lnTo>
                    <a:lnTo>
                      <a:pt x="148" y="254"/>
                    </a:lnTo>
                    <a:lnTo>
                      <a:pt x="152" y="254"/>
                    </a:lnTo>
                    <a:lnTo>
                      <a:pt x="154" y="254"/>
                    </a:lnTo>
                    <a:lnTo>
                      <a:pt x="156" y="256"/>
                    </a:lnTo>
                    <a:lnTo>
                      <a:pt x="156" y="256"/>
                    </a:lnTo>
                    <a:lnTo>
                      <a:pt x="160" y="264"/>
                    </a:lnTo>
                    <a:lnTo>
                      <a:pt x="164" y="268"/>
                    </a:lnTo>
                    <a:lnTo>
                      <a:pt x="166" y="272"/>
                    </a:lnTo>
                    <a:lnTo>
                      <a:pt x="170" y="274"/>
                    </a:lnTo>
                    <a:lnTo>
                      <a:pt x="172" y="274"/>
                    </a:lnTo>
                    <a:lnTo>
                      <a:pt x="176" y="272"/>
                    </a:lnTo>
                    <a:lnTo>
                      <a:pt x="176" y="270"/>
                    </a:lnTo>
                    <a:lnTo>
                      <a:pt x="176" y="266"/>
                    </a:lnTo>
                    <a:lnTo>
                      <a:pt x="176" y="266"/>
                    </a:lnTo>
                    <a:lnTo>
                      <a:pt x="172" y="244"/>
                    </a:lnTo>
                    <a:lnTo>
                      <a:pt x="172" y="244"/>
                    </a:lnTo>
                    <a:lnTo>
                      <a:pt x="172" y="240"/>
                    </a:lnTo>
                    <a:lnTo>
                      <a:pt x="174" y="238"/>
                    </a:lnTo>
                    <a:lnTo>
                      <a:pt x="180" y="236"/>
                    </a:lnTo>
                    <a:lnTo>
                      <a:pt x="186" y="234"/>
                    </a:lnTo>
                    <a:lnTo>
                      <a:pt x="188" y="232"/>
                    </a:lnTo>
                    <a:lnTo>
                      <a:pt x="188" y="228"/>
                    </a:lnTo>
                    <a:lnTo>
                      <a:pt x="188" y="228"/>
                    </a:lnTo>
                    <a:lnTo>
                      <a:pt x="188" y="222"/>
                    </a:lnTo>
                    <a:lnTo>
                      <a:pt x="186" y="212"/>
                    </a:lnTo>
                    <a:lnTo>
                      <a:pt x="186" y="212"/>
                    </a:lnTo>
                    <a:lnTo>
                      <a:pt x="178" y="194"/>
                    </a:lnTo>
                    <a:lnTo>
                      <a:pt x="176" y="188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6" y="168"/>
                    </a:lnTo>
                    <a:lnTo>
                      <a:pt x="182" y="150"/>
                    </a:lnTo>
                    <a:lnTo>
                      <a:pt x="184" y="132"/>
                    </a:lnTo>
                    <a:lnTo>
                      <a:pt x="184" y="124"/>
                    </a:lnTo>
                    <a:lnTo>
                      <a:pt x="182" y="114"/>
                    </a:lnTo>
                    <a:lnTo>
                      <a:pt x="182" y="114"/>
                    </a:lnTo>
                    <a:lnTo>
                      <a:pt x="174" y="96"/>
                    </a:lnTo>
                    <a:lnTo>
                      <a:pt x="164" y="82"/>
                    </a:lnTo>
                    <a:lnTo>
                      <a:pt x="150" y="54"/>
                    </a:lnTo>
                    <a:lnTo>
                      <a:pt x="150" y="54"/>
                    </a:lnTo>
                    <a:lnTo>
                      <a:pt x="144" y="40"/>
                    </a:lnTo>
                    <a:lnTo>
                      <a:pt x="134" y="28"/>
                    </a:lnTo>
                    <a:lnTo>
                      <a:pt x="122" y="20"/>
                    </a:lnTo>
                    <a:lnTo>
                      <a:pt x="110" y="12"/>
                    </a:lnTo>
                    <a:lnTo>
                      <a:pt x="96" y="6"/>
                    </a:lnTo>
                    <a:lnTo>
                      <a:pt x="84" y="4"/>
                    </a:lnTo>
                    <a:lnTo>
                      <a:pt x="72" y="2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30" y="12"/>
                    </a:lnTo>
                    <a:lnTo>
                      <a:pt x="20" y="20"/>
                    </a:lnTo>
                    <a:lnTo>
                      <a:pt x="14" y="30"/>
                    </a:lnTo>
                    <a:lnTo>
                      <a:pt x="8" y="42"/>
                    </a:lnTo>
                    <a:lnTo>
                      <a:pt x="2" y="56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82"/>
                    </a:lnTo>
                    <a:lnTo>
                      <a:pt x="4" y="92"/>
                    </a:lnTo>
                    <a:lnTo>
                      <a:pt x="12" y="106"/>
                    </a:lnTo>
                    <a:lnTo>
                      <a:pt x="22" y="128"/>
                    </a:lnTo>
                    <a:lnTo>
                      <a:pt x="22" y="128"/>
                    </a:lnTo>
                    <a:lnTo>
                      <a:pt x="28" y="140"/>
                    </a:lnTo>
                    <a:lnTo>
                      <a:pt x="36" y="150"/>
                    </a:lnTo>
                    <a:lnTo>
                      <a:pt x="44" y="160"/>
                    </a:lnTo>
                    <a:lnTo>
                      <a:pt x="50" y="162"/>
                    </a:lnTo>
                    <a:lnTo>
                      <a:pt x="54" y="164"/>
                    </a:lnTo>
                    <a:lnTo>
                      <a:pt x="54" y="164"/>
                    </a:lnTo>
                    <a:lnTo>
                      <a:pt x="58" y="166"/>
                    </a:lnTo>
                    <a:lnTo>
                      <a:pt x="60" y="168"/>
                    </a:lnTo>
                    <a:lnTo>
                      <a:pt x="62" y="176"/>
                    </a:lnTo>
                    <a:lnTo>
                      <a:pt x="60" y="194"/>
                    </a:lnTo>
                    <a:lnTo>
                      <a:pt x="60" y="194"/>
                    </a:lnTo>
                    <a:lnTo>
                      <a:pt x="60" y="196"/>
                    </a:lnTo>
                    <a:lnTo>
                      <a:pt x="58" y="198"/>
                    </a:lnTo>
                    <a:lnTo>
                      <a:pt x="54" y="202"/>
                    </a:lnTo>
                    <a:lnTo>
                      <a:pt x="48" y="208"/>
                    </a:lnTo>
                    <a:lnTo>
                      <a:pt x="46" y="214"/>
                    </a:lnTo>
                    <a:lnTo>
                      <a:pt x="46" y="222"/>
                    </a:lnTo>
                    <a:lnTo>
                      <a:pt x="46" y="222"/>
                    </a:lnTo>
                    <a:lnTo>
                      <a:pt x="42" y="242"/>
                    </a:lnTo>
                    <a:lnTo>
                      <a:pt x="36" y="268"/>
                    </a:lnTo>
                    <a:lnTo>
                      <a:pt x="28" y="296"/>
                    </a:lnTo>
                    <a:lnTo>
                      <a:pt x="24" y="316"/>
                    </a:lnTo>
                    <a:lnTo>
                      <a:pt x="24" y="316"/>
                    </a:lnTo>
                    <a:lnTo>
                      <a:pt x="24" y="316"/>
                    </a:lnTo>
                    <a:lnTo>
                      <a:pt x="24" y="316"/>
                    </a:lnTo>
                    <a:lnTo>
                      <a:pt x="28" y="308"/>
                    </a:lnTo>
                    <a:lnTo>
                      <a:pt x="38" y="292"/>
                    </a:lnTo>
                    <a:lnTo>
                      <a:pt x="62" y="254"/>
                    </a:lnTo>
                    <a:lnTo>
                      <a:pt x="86" y="218"/>
                    </a:lnTo>
                    <a:lnTo>
                      <a:pt x="98" y="198"/>
                    </a:lnTo>
                    <a:lnTo>
                      <a:pt x="98" y="198"/>
                    </a:lnTo>
                    <a:close/>
                  </a:path>
                </a:pathLst>
              </a:custGeom>
              <a:solidFill>
                <a:srgbClr val="8E8A8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90" name="Freeform 184"/>
              <p:cNvSpPr>
                <a:spLocks noEditPoints="1"/>
              </p:cNvSpPr>
              <p:nvPr/>
            </p:nvSpPr>
            <p:spPr bwMode="auto">
              <a:xfrm>
                <a:off x="6779007" y="2583300"/>
                <a:ext cx="59978" cy="34019"/>
              </a:xfrm>
              <a:custGeom>
                <a:avLst/>
                <a:gdLst>
                  <a:gd name="T0" fmla="*/ 204 w 206"/>
                  <a:gd name="T1" fmla="*/ 104 h 108"/>
                  <a:gd name="T2" fmla="*/ 194 w 206"/>
                  <a:gd name="T3" fmla="*/ 86 h 108"/>
                  <a:gd name="T4" fmla="*/ 182 w 206"/>
                  <a:gd name="T5" fmla="*/ 58 h 108"/>
                  <a:gd name="T6" fmla="*/ 180 w 206"/>
                  <a:gd name="T7" fmla="*/ 48 h 108"/>
                  <a:gd name="T8" fmla="*/ 182 w 206"/>
                  <a:gd name="T9" fmla="*/ 42 h 108"/>
                  <a:gd name="T10" fmla="*/ 194 w 206"/>
                  <a:gd name="T11" fmla="*/ 34 h 108"/>
                  <a:gd name="T12" fmla="*/ 198 w 206"/>
                  <a:gd name="T13" fmla="*/ 26 h 108"/>
                  <a:gd name="T14" fmla="*/ 192 w 206"/>
                  <a:gd name="T15" fmla="*/ 22 h 108"/>
                  <a:gd name="T16" fmla="*/ 168 w 206"/>
                  <a:gd name="T17" fmla="*/ 16 h 108"/>
                  <a:gd name="T18" fmla="*/ 146 w 206"/>
                  <a:gd name="T19" fmla="*/ 14 h 108"/>
                  <a:gd name="T20" fmla="*/ 120 w 206"/>
                  <a:gd name="T21" fmla="*/ 18 h 108"/>
                  <a:gd name="T22" fmla="*/ 96 w 206"/>
                  <a:gd name="T23" fmla="*/ 20 h 108"/>
                  <a:gd name="T24" fmla="*/ 84 w 206"/>
                  <a:gd name="T25" fmla="*/ 14 h 108"/>
                  <a:gd name="T26" fmla="*/ 68 w 206"/>
                  <a:gd name="T27" fmla="*/ 2 h 108"/>
                  <a:gd name="T28" fmla="*/ 60 w 206"/>
                  <a:gd name="T29" fmla="*/ 2 h 108"/>
                  <a:gd name="T30" fmla="*/ 50 w 206"/>
                  <a:gd name="T31" fmla="*/ 2 h 108"/>
                  <a:gd name="T32" fmla="*/ 40 w 206"/>
                  <a:gd name="T33" fmla="*/ 2 h 108"/>
                  <a:gd name="T34" fmla="*/ 34 w 206"/>
                  <a:gd name="T35" fmla="*/ 10 h 108"/>
                  <a:gd name="T36" fmla="*/ 28 w 206"/>
                  <a:gd name="T37" fmla="*/ 16 h 108"/>
                  <a:gd name="T38" fmla="*/ 26 w 206"/>
                  <a:gd name="T39" fmla="*/ 16 h 108"/>
                  <a:gd name="T40" fmla="*/ 20 w 206"/>
                  <a:gd name="T41" fmla="*/ 20 h 108"/>
                  <a:gd name="T42" fmla="*/ 18 w 206"/>
                  <a:gd name="T43" fmla="*/ 24 h 108"/>
                  <a:gd name="T44" fmla="*/ 10 w 206"/>
                  <a:gd name="T45" fmla="*/ 46 h 108"/>
                  <a:gd name="T46" fmla="*/ 6 w 206"/>
                  <a:gd name="T47" fmla="*/ 56 h 108"/>
                  <a:gd name="T48" fmla="*/ 0 w 206"/>
                  <a:gd name="T49" fmla="*/ 68 h 108"/>
                  <a:gd name="T50" fmla="*/ 6 w 206"/>
                  <a:gd name="T51" fmla="*/ 78 h 108"/>
                  <a:gd name="T52" fmla="*/ 32 w 206"/>
                  <a:gd name="T53" fmla="*/ 82 h 108"/>
                  <a:gd name="T54" fmla="*/ 48 w 206"/>
                  <a:gd name="T55" fmla="*/ 82 h 108"/>
                  <a:gd name="T56" fmla="*/ 76 w 206"/>
                  <a:gd name="T57" fmla="*/ 78 h 108"/>
                  <a:gd name="T58" fmla="*/ 80 w 206"/>
                  <a:gd name="T59" fmla="*/ 80 h 108"/>
                  <a:gd name="T60" fmla="*/ 80 w 206"/>
                  <a:gd name="T61" fmla="*/ 86 h 108"/>
                  <a:gd name="T62" fmla="*/ 84 w 206"/>
                  <a:gd name="T63" fmla="*/ 92 h 108"/>
                  <a:gd name="T64" fmla="*/ 90 w 206"/>
                  <a:gd name="T65" fmla="*/ 96 h 108"/>
                  <a:gd name="T66" fmla="*/ 142 w 206"/>
                  <a:gd name="T67" fmla="*/ 106 h 108"/>
                  <a:gd name="T68" fmla="*/ 192 w 206"/>
                  <a:gd name="T69" fmla="*/ 108 h 108"/>
                  <a:gd name="T70" fmla="*/ 206 w 206"/>
                  <a:gd name="T71" fmla="*/ 106 h 108"/>
                  <a:gd name="T72" fmla="*/ 204 w 206"/>
                  <a:gd name="T73" fmla="*/ 104 h 108"/>
                  <a:gd name="T74" fmla="*/ 50 w 206"/>
                  <a:gd name="T75" fmla="*/ 18 h 108"/>
                  <a:gd name="T76" fmla="*/ 40 w 206"/>
                  <a:gd name="T77" fmla="*/ 16 h 108"/>
                  <a:gd name="T78" fmla="*/ 44 w 206"/>
                  <a:gd name="T79" fmla="*/ 14 h 108"/>
                  <a:gd name="T80" fmla="*/ 50 w 206"/>
                  <a:gd name="T81" fmla="*/ 1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6" h="108">
                    <a:moveTo>
                      <a:pt x="204" y="104"/>
                    </a:moveTo>
                    <a:lnTo>
                      <a:pt x="204" y="104"/>
                    </a:lnTo>
                    <a:lnTo>
                      <a:pt x="200" y="98"/>
                    </a:lnTo>
                    <a:lnTo>
                      <a:pt x="194" y="86"/>
                    </a:lnTo>
                    <a:lnTo>
                      <a:pt x="188" y="72"/>
                    </a:lnTo>
                    <a:lnTo>
                      <a:pt x="182" y="58"/>
                    </a:lnTo>
                    <a:lnTo>
                      <a:pt x="182" y="58"/>
                    </a:lnTo>
                    <a:lnTo>
                      <a:pt x="180" y="48"/>
                    </a:lnTo>
                    <a:lnTo>
                      <a:pt x="180" y="44"/>
                    </a:lnTo>
                    <a:lnTo>
                      <a:pt x="182" y="42"/>
                    </a:lnTo>
                    <a:lnTo>
                      <a:pt x="182" y="42"/>
                    </a:lnTo>
                    <a:lnTo>
                      <a:pt x="194" y="34"/>
                    </a:lnTo>
                    <a:lnTo>
                      <a:pt x="196" y="30"/>
                    </a:lnTo>
                    <a:lnTo>
                      <a:pt x="198" y="26"/>
                    </a:lnTo>
                    <a:lnTo>
                      <a:pt x="198" y="26"/>
                    </a:lnTo>
                    <a:lnTo>
                      <a:pt x="192" y="22"/>
                    </a:lnTo>
                    <a:lnTo>
                      <a:pt x="184" y="20"/>
                    </a:lnTo>
                    <a:lnTo>
                      <a:pt x="168" y="16"/>
                    </a:lnTo>
                    <a:lnTo>
                      <a:pt x="168" y="16"/>
                    </a:lnTo>
                    <a:lnTo>
                      <a:pt x="146" y="14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74" y="6"/>
                    </a:lnTo>
                    <a:lnTo>
                      <a:pt x="68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6" y="0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4" y="10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2" y="18"/>
                    </a:lnTo>
                    <a:lnTo>
                      <a:pt x="20" y="20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2" y="34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6" y="56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2" y="72"/>
                    </a:lnTo>
                    <a:lnTo>
                      <a:pt x="6" y="78"/>
                    </a:lnTo>
                    <a:lnTo>
                      <a:pt x="16" y="80"/>
                    </a:lnTo>
                    <a:lnTo>
                      <a:pt x="32" y="82"/>
                    </a:lnTo>
                    <a:lnTo>
                      <a:pt x="32" y="82"/>
                    </a:lnTo>
                    <a:lnTo>
                      <a:pt x="48" y="82"/>
                    </a:lnTo>
                    <a:lnTo>
                      <a:pt x="64" y="78"/>
                    </a:lnTo>
                    <a:lnTo>
                      <a:pt x="76" y="78"/>
                    </a:lnTo>
                    <a:lnTo>
                      <a:pt x="78" y="78"/>
                    </a:lnTo>
                    <a:lnTo>
                      <a:pt x="80" y="80"/>
                    </a:lnTo>
                    <a:lnTo>
                      <a:pt x="80" y="80"/>
                    </a:lnTo>
                    <a:lnTo>
                      <a:pt x="80" y="86"/>
                    </a:lnTo>
                    <a:lnTo>
                      <a:pt x="80" y="88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90" y="96"/>
                    </a:lnTo>
                    <a:lnTo>
                      <a:pt x="104" y="98"/>
                    </a:lnTo>
                    <a:lnTo>
                      <a:pt x="142" y="106"/>
                    </a:lnTo>
                    <a:lnTo>
                      <a:pt x="142" y="106"/>
                    </a:lnTo>
                    <a:lnTo>
                      <a:pt x="192" y="108"/>
                    </a:lnTo>
                    <a:lnTo>
                      <a:pt x="204" y="108"/>
                    </a:lnTo>
                    <a:lnTo>
                      <a:pt x="206" y="106"/>
                    </a:lnTo>
                    <a:lnTo>
                      <a:pt x="204" y="104"/>
                    </a:lnTo>
                    <a:lnTo>
                      <a:pt x="204" y="104"/>
                    </a:lnTo>
                    <a:close/>
                    <a:moveTo>
                      <a:pt x="50" y="16"/>
                    </a:moveTo>
                    <a:lnTo>
                      <a:pt x="50" y="18"/>
                    </a:lnTo>
                    <a:lnTo>
                      <a:pt x="50" y="18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50" y="16"/>
                    </a:lnTo>
                    <a:lnTo>
                      <a:pt x="50" y="16"/>
                    </a:lnTo>
                    <a:close/>
                  </a:path>
                </a:pathLst>
              </a:custGeom>
              <a:solidFill>
                <a:srgbClr val="8E8A8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91" name="Freeform 153"/>
              <p:cNvSpPr>
                <a:spLocks/>
              </p:cNvSpPr>
              <p:nvPr/>
            </p:nvSpPr>
            <p:spPr bwMode="auto">
              <a:xfrm>
                <a:off x="6604283" y="2453359"/>
                <a:ext cx="150489" cy="448558"/>
              </a:xfrm>
              <a:custGeom>
                <a:avLst/>
                <a:gdLst>
                  <a:gd name="T0" fmla="*/ 56 w 458"/>
                  <a:gd name="T1" fmla="*/ 1288 h 1416"/>
                  <a:gd name="T2" fmla="*/ 86 w 458"/>
                  <a:gd name="T3" fmla="*/ 1234 h 1416"/>
                  <a:gd name="T4" fmla="*/ 112 w 458"/>
                  <a:gd name="T5" fmla="*/ 1170 h 1416"/>
                  <a:gd name="T6" fmla="*/ 70 w 458"/>
                  <a:gd name="T7" fmla="*/ 832 h 1416"/>
                  <a:gd name="T8" fmla="*/ 66 w 458"/>
                  <a:gd name="T9" fmla="*/ 652 h 1416"/>
                  <a:gd name="T10" fmla="*/ 66 w 458"/>
                  <a:gd name="T11" fmla="*/ 260 h 1416"/>
                  <a:gd name="T12" fmla="*/ 130 w 458"/>
                  <a:gd name="T13" fmla="*/ 200 h 1416"/>
                  <a:gd name="T14" fmla="*/ 128 w 458"/>
                  <a:gd name="T15" fmla="*/ 148 h 1416"/>
                  <a:gd name="T16" fmla="*/ 112 w 458"/>
                  <a:gd name="T17" fmla="*/ 120 h 1416"/>
                  <a:gd name="T18" fmla="*/ 116 w 458"/>
                  <a:gd name="T19" fmla="*/ 90 h 1416"/>
                  <a:gd name="T20" fmla="*/ 114 w 458"/>
                  <a:gd name="T21" fmla="*/ 72 h 1416"/>
                  <a:gd name="T22" fmla="*/ 114 w 458"/>
                  <a:gd name="T23" fmla="*/ 60 h 1416"/>
                  <a:gd name="T24" fmla="*/ 112 w 458"/>
                  <a:gd name="T25" fmla="*/ 50 h 1416"/>
                  <a:gd name="T26" fmla="*/ 114 w 458"/>
                  <a:gd name="T27" fmla="*/ 42 h 1416"/>
                  <a:gd name="T28" fmla="*/ 128 w 458"/>
                  <a:gd name="T29" fmla="*/ 30 h 1416"/>
                  <a:gd name="T30" fmla="*/ 132 w 458"/>
                  <a:gd name="T31" fmla="*/ 24 h 1416"/>
                  <a:gd name="T32" fmla="*/ 138 w 458"/>
                  <a:gd name="T33" fmla="*/ 24 h 1416"/>
                  <a:gd name="T34" fmla="*/ 140 w 458"/>
                  <a:gd name="T35" fmla="*/ 18 h 1416"/>
                  <a:gd name="T36" fmla="*/ 148 w 458"/>
                  <a:gd name="T37" fmla="*/ 10 h 1416"/>
                  <a:gd name="T38" fmla="*/ 152 w 458"/>
                  <a:gd name="T39" fmla="*/ 8 h 1416"/>
                  <a:gd name="T40" fmla="*/ 158 w 458"/>
                  <a:gd name="T41" fmla="*/ 6 h 1416"/>
                  <a:gd name="T42" fmla="*/ 170 w 458"/>
                  <a:gd name="T43" fmla="*/ 2 h 1416"/>
                  <a:gd name="T44" fmla="*/ 174 w 458"/>
                  <a:gd name="T45" fmla="*/ 2 h 1416"/>
                  <a:gd name="T46" fmla="*/ 184 w 458"/>
                  <a:gd name="T47" fmla="*/ 2 h 1416"/>
                  <a:gd name="T48" fmla="*/ 194 w 458"/>
                  <a:gd name="T49" fmla="*/ 6 h 1416"/>
                  <a:gd name="T50" fmla="*/ 200 w 458"/>
                  <a:gd name="T51" fmla="*/ 8 h 1416"/>
                  <a:gd name="T52" fmla="*/ 208 w 458"/>
                  <a:gd name="T53" fmla="*/ 14 h 1416"/>
                  <a:gd name="T54" fmla="*/ 214 w 458"/>
                  <a:gd name="T55" fmla="*/ 16 h 1416"/>
                  <a:gd name="T56" fmla="*/ 220 w 458"/>
                  <a:gd name="T57" fmla="*/ 16 h 1416"/>
                  <a:gd name="T58" fmla="*/ 222 w 458"/>
                  <a:gd name="T59" fmla="*/ 26 h 1416"/>
                  <a:gd name="T60" fmla="*/ 232 w 458"/>
                  <a:gd name="T61" fmla="*/ 30 h 1416"/>
                  <a:gd name="T62" fmla="*/ 234 w 458"/>
                  <a:gd name="T63" fmla="*/ 36 h 1416"/>
                  <a:gd name="T64" fmla="*/ 244 w 458"/>
                  <a:gd name="T65" fmla="*/ 48 h 1416"/>
                  <a:gd name="T66" fmla="*/ 238 w 458"/>
                  <a:gd name="T67" fmla="*/ 58 h 1416"/>
                  <a:gd name="T68" fmla="*/ 238 w 458"/>
                  <a:gd name="T69" fmla="*/ 64 h 1416"/>
                  <a:gd name="T70" fmla="*/ 238 w 458"/>
                  <a:gd name="T71" fmla="*/ 72 h 1416"/>
                  <a:gd name="T72" fmla="*/ 238 w 458"/>
                  <a:gd name="T73" fmla="*/ 86 h 1416"/>
                  <a:gd name="T74" fmla="*/ 238 w 458"/>
                  <a:gd name="T75" fmla="*/ 94 h 1416"/>
                  <a:gd name="T76" fmla="*/ 244 w 458"/>
                  <a:gd name="T77" fmla="*/ 98 h 1416"/>
                  <a:gd name="T78" fmla="*/ 236 w 458"/>
                  <a:gd name="T79" fmla="*/ 136 h 1416"/>
                  <a:gd name="T80" fmla="*/ 228 w 458"/>
                  <a:gd name="T81" fmla="*/ 162 h 1416"/>
                  <a:gd name="T82" fmla="*/ 240 w 458"/>
                  <a:gd name="T83" fmla="*/ 188 h 1416"/>
                  <a:gd name="T84" fmla="*/ 344 w 458"/>
                  <a:gd name="T85" fmla="*/ 234 h 1416"/>
                  <a:gd name="T86" fmla="*/ 400 w 458"/>
                  <a:gd name="T87" fmla="*/ 348 h 1416"/>
                  <a:gd name="T88" fmla="*/ 452 w 458"/>
                  <a:gd name="T89" fmla="*/ 496 h 1416"/>
                  <a:gd name="T90" fmla="*/ 370 w 458"/>
                  <a:gd name="T91" fmla="*/ 628 h 1416"/>
                  <a:gd name="T92" fmla="*/ 344 w 458"/>
                  <a:gd name="T93" fmla="*/ 722 h 1416"/>
                  <a:gd name="T94" fmla="*/ 300 w 458"/>
                  <a:gd name="T95" fmla="*/ 762 h 1416"/>
                  <a:gd name="T96" fmla="*/ 332 w 458"/>
                  <a:gd name="T97" fmla="*/ 1040 h 1416"/>
                  <a:gd name="T98" fmla="*/ 346 w 458"/>
                  <a:gd name="T99" fmla="*/ 1278 h 1416"/>
                  <a:gd name="T100" fmla="*/ 342 w 458"/>
                  <a:gd name="T101" fmla="*/ 1330 h 1416"/>
                  <a:gd name="T102" fmla="*/ 342 w 458"/>
                  <a:gd name="T103" fmla="*/ 1354 h 1416"/>
                  <a:gd name="T104" fmla="*/ 326 w 458"/>
                  <a:gd name="T105" fmla="*/ 1396 h 1416"/>
                  <a:gd name="T106" fmla="*/ 278 w 458"/>
                  <a:gd name="T107" fmla="*/ 1414 h 1416"/>
                  <a:gd name="T108" fmla="*/ 236 w 458"/>
                  <a:gd name="T109" fmla="*/ 1408 h 1416"/>
                  <a:gd name="T110" fmla="*/ 240 w 458"/>
                  <a:gd name="T111" fmla="*/ 1376 h 1416"/>
                  <a:gd name="T112" fmla="*/ 258 w 458"/>
                  <a:gd name="T113" fmla="*/ 1342 h 1416"/>
                  <a:gd name="T114" fmla="*/ 254 w 458"/>
                  <a:gd name="T115" fmla="*/ 1306 h 1416"/>
                  <a:gd name="T116" fmla="*/ 246 w 458"/>
                  <a:gd name="T117" fmla="*/ 1258 h 1416"/>
                  <a:gd name="T118" fmla="*/ 226 w 458"/>
                  <a:gd name="T119" fmla="*/ 1198 h 1416"/>
                  <a:gd name="T120" fmla="*/ 200 w 458"/>
                  <a:gd name="T121" fmla="*/ 1308 h 1416"/>
                  <a:gd name="T122" fmla="*/ 4 w 458"/>
                  <a:gd name="T123" fmla="*/ 1326 h 1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58" h="1416">
                    <a:moveTo>
                      <a:pt x="4" y="1308"/>
                    </a:moveTo>
                    <a:lnTo>
                      <a:pt x="4" y="1308"/>
                    </a:lnTo>
                    <a:lnTo>
                      <a:pt x="6" y="1300"/>
                    </a:lnTo>
                    <a:lnTo>
                      <a:pt x="10" y="1296"/>
                    </a:lnTo>
                    <a:lnTo>
                      <a:pt x="16" y="1292"/>
                    </a:lnTo>
                    <a:lnTo>
                      <a:pt x="22" y="1290"/>
                    </a:lnTo>
                    <a:lnTo>
                      <a:pt x="24" y="1290"/>
                    </a:lnTo>
                    <a:lnTo>
                      <a:pt x="24" y="1290"/>
                    </a:lnTo>
                    <a:lnTo>
                      <a:pt x="44" y="1288"/>
                    </a:lnTo>
                    <a:lnTo>
                      <a:pt x="56" y="1288"/>
                    </a:lnTo>
                    <a:lnTo>
                      <a:pt x="64" y="1286"/>
                    </a:lnTo>
                    <a:lnTo>
                      <a:pt x="64" y="1286"/>
                    </a:lnTo>
                    <a:lnTo>
                      <a:pt x="70" y="1282"/>
                    </a:lnTo>
                    <a:lnTo>
                      <a:pt x="76" y="1278"/>
                    </a:lnTo>
                    <a:lnTo>
                      <a:pt x="78" y="1274"/>
                    </a:lnTo>
                    <a:lnTo>
                      <a:pt x="80" y="1268"/>
                    </a:lnTo>
                    <a:lnTo>
                      <a:pt x="82" y="1254"/>
                    </a:lnTo>
                    <a:lnTo>
                      <a:pt x="84" y="1242"/>
                    </a:lnTo>
                    <a:lnTo>
                      <a:pt x="84" y="1242"/>
                    </a:lnTo>
                    <a:lnTo>
                      <a:pt x="86" y="1234"/>
                    </a:lnTo>
                    <a:lnTo>
                      <a:pt x="90" y="1230"/>
                    </a:lnTo>
                    <a:lnTo>
                      <a:pt x="94" y="1228"/>
                    </a:lnTo>
                    <a:lnTo>
                      <a:pt x="98" y="1228"/>
                    </a:lnTo>
                    <a:lnTo>
                      <a:pt x="102" y="1228"/>
                    </a:lnTo>
                    <a:lnTo>
                      <a:pt x="106" y="1224"/>
                    </a:lnTo>
                    <a:lnTo>
                      <a:pt x="108" y="1220"/>
                    </a:lnTo>
                    <a:lnTo>
                      <a:pt x="112" y="1210"/>
                    </a:lnTo>
                    <a:lnTo>
                      <a:pt x="112" y="1210"/>
                    </a:lnTo>
                    <a:lnTo>
                      <a:pt x="114" y="1188"/>
                    </a:lnTo>
                    <a:lnTo>
                      <a:pt x="112" y="1170"/>
                    </a:lnTo>
                    <a:lnTo>
                      <a:pt x="110" y="1150"/>
                    </a:lnTo>
                    <a:lnTo>
                      <a:pt x="106" y="1132"/>
                    </a:lnTo>
                    <a:lnTo>
                      <a:pt x="96" y="1092"/>
                    </a:lnTo>
                    <a:lnTo>
                      <a:pt x="92" y="1070"/>
                    </a:lnTo>
                    <a:lnTo>
                      <a:pt x="88" y="1044"/>
                    </a:lnTo>
                    <a:lnTo>
                      <a:pt x="88" y="1044"/>
                    </a:lnTo>
                    <a:lnTo>
                      <a:pt x="82" y="990"/>
                    </a:lnTo>
                    <a:lnTo>
                      <a:pt x="74" y="926"/>
                    </a:lnTo>
                    <a:lnTo>
                      <a:pt x="70" y="860"/>
                    </a:lnTo>
                    <a:lnTo>
                      <a:pt x="70" y="832"/>
                    </a:lnTo>
                    <a:lnTo>
                      <a:pt x="70" y="806"/>
                    </a:lnTo>
                    <a:lnTo>
                      <a:pt x="70" y="806"/>
                    </a:lnTo>
                    <a:lnTo>
                      <a:pt x="72" y="776"/>
                    </a:lnTo>
                    <a:lnTo>
                      <a:pt x="72" y="738"/>
                    </a:lnTo>
                    <a:lnTo>
                      <a:pt x="72" y="700"/>
                    </a:lnTo>
                    <a:lnTo>
                      <a:pt x="72" y="670"/>
                    </a:lnTo>
                    <a:lnTo>
                      <a:pt x="72" y="670"/>
                    </a:lnTo>
                    <a:lnTo>
                      <a:pt x="72" y="664"/>
                    </a:lnTo>
                    <a:lnTo>
                      <a:pt x="72" y="660"/>
                    </a:lnTo>
                    <a:lnTo>
                      <a:pt x="66" y="652"/>
                    </a:lnTo>
                    <a:lnTo>
                      <a:pt x="60" y="646"/>
                    </a:lnTo>
                    <a:lnTo>
                      <a:pt x="58" y="640"/>
                    </a:lnTo>
                    <a:lnTo>
                      <a:pt x="58" y="634"/>
                    </a:lnTo>
                    <a:lnTo>
                      <a:pt x="58" y="634"/>
                    </a:lnTo>
                    <a:lnTo>
                      <a:pt x="62" y="562"/>
                    </a:lnTo>
                    <a:lnTo>
                      <a:pt x="62" y="562"/>
                    </a:lnTo>
                    <a:lnTo>
                      <a:pt x="64" y="490"/>
                    </a:lnTo>
                    <a:lnTo>
                      <a:pt x="66" y="420"/>
                    </a:lnTo>
                    <a:lnTo>
                      <a:pt x="66" y="420"/>
                    </a:lnTo>
                    <a:lnTo>
                      <a:pt x="66" y="260"/>
                    </a:lnTo>
                    <a:lnTo>
                      <a:pt x="66" y="260"/>
                    </a:lnTo>
                    <a:lnTo>
                      <a:pt x="68" y="248"/>
                    </a:lnTo>
                    <a:lnTo>
                      <a:pt x="70" y="238"/>
                    </a:lnTo>
                    <a:lnTo>
                      <a:pt x="74" y="230"/>
                    </a:lnTo>
                    <a:lnTo>
                      <a:pt x="80" y="224"/>
                    </a:lnTo>
                    <a:lnTo>
                      <a:pt x="88" y="218"/>
                    </a:lnTo>
                    <a:lnTo>
                      <a:pt x="98" y="212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0" y="200"/>
                    </a:lnTo>
                    <a:lnTo>
                      <a:pt x="134" y="198"/>
                    </a:lnTo>
                    <a:lnTo>
                      <a:pt x="134" y="198"/>
                    </a:lnTo>
                    <a:lnTo>
                      <a:pt x="136" y="194"/>
                    </a:lnTo>
                    <a:lnTo>
                      <a:pt x="136" y="192"/>
                    </a:lnTo>
                    <a:lnTo>
                      <a:pt x="134" y="184"/>
                    </a:lnTo>
                    <a:lnTo>
                      <a:pt x="134" y="184"/>
                    </a:lnTo>
                    <a:lnTo>
                      <a:pt x="130" y="162"/>
                    </a:lnTo>
                    <a:lnTo>
                      <a:pt x="130" y="162"/>
                    </a:lnTo>
                    <a:lnTo>
                      <a:pt x="128" y="148"/>
                    </a:lnTo>
                    <a:lnTo>
                      <a:pt x="128" y="148"/>
                    </a:lnTo>
                    <a:lnTo>
                      <a:pt x="126" y="140"/>
                    </a:lnTo>
                    <a:lnTo>
                      <a:pt x="126" y="140"/>
                    </a:lnTo>
                    <a:lnTo>
                      <a:pt x="126" y="140"/>
                    </a:lnTo>
                    <a:lnTo>
                      <a:pt x="124" y="140"/>
                    </a:lnTo>
                    <a:lnTo>
                      <a:pt x="124" y="140"/>
                    </a:lnTo>
                    <a:lnTo>
                      <a:pt x="118" y="140"/>
                    </a:lnTo>
                    <a:lnTo>
                      <a:pt x="116" y="138"/>
                    </a:lnTo>
                    <a:lnTo>
                      <a:pt x="114" y="134"/>
                    </a:lnTo>
                    <a:lnTo>
                      <a:pt x="114" y="134"/>
                    </a:lnTo>
                    <a:lnTo>
                      <a:pt x="112" y="120"/>
                    </a:lnTo>
                    <a:lnTo>
                      <a:pt x="112" y="120"/>
                    </a:lnTo>
                    <a:lnTo>
                      <a:pt x="114" y="108"/>
                    </a:lnTo>
                    <a:lnTo>
                      <a:pt x="114" y="108"/>
                    </a:lnTo>
                    <a:lnTo>
                      <a:pt x="114" y="104"/>
                    </a:lnTo>
                    <a:lnTo>
                      <a:pt x="116" y="98"/>
                    </a:lnTo>
                    <a:lnTo>
                      <a:pt x="116" y="98"/>
                    </a:lnTo>
                    <a:lnTo>
                      <a:pt x="116" y="96"/>
                    </a:lnTo>
                    <a:lnTo>
                      <a:pt x="116" y="96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4" y="78"/>
                    </a:lnTo>
                    <a:lnTo>
                      <a:pt x="114" y="78"/>
                    </a:lnTo>
                    <a:lnTo>
                      <a:pt x="114" y="78"/>
                    </a:lnTo>
                    <a:lnTo>
                      <a:pt x="114" y="76"/>
                    </a:lnTo>
                    <a:lnTo>
                      <a:pt x="114" y="76"/>
                    </a:lnTo>
                    <a:lnTo>
                      <a:pt x="114" y="72"/>
                    </a:lnTo>
                    <a:lnTo>
                      <a:pt x="114" y="72"/>
                    </a:lnTo>
                    <a:lnTo>
                      <a:pt x="114" y="72"/>
                    </a:lnTo>
                    <a:lnTo>
                      <a:pt x="114" y="72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66"/>
                    </a:lnTo>
                    <a:lnTo>
                      <a:pt x="114" y="66"/>
                    </a:lnTo>
                    <a:lnTo>
                      <a:pt x="114" y="62"/>
                    </a:lnTo>
                    <a:lnTo>
                      <a:pt x="114" y="62"/>
                    </a:lnTo>
                    <a:lnTo>
                      <a:pt x="114" y="60"/>
                    </a:lnTo>
                    <a:lnTo>
                      <a:pt x="114" y="60"/>
                    </a:lnTo>
                    <a:lnTo>
                      <a:pt x="114" y="60"/>
                    </a:lnTo>
                    <a:lnTo>
                      <a:pt x="112" y="60"/>
                    </a:lnTo>
                    <a:lnTo>
                      <a:pt x="112" y="58"/>
                    </a:lnTo>
                    <a:lnTo>
                      <a:pt x="112" y="58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48"/>
                    </a:lnTo>
                    <a:lnTo>
                      <a:pt x="112" y="48"/>
                    </a:lnTo>
                    <a:lnTo>
                      <a:pt x="112" y="48"/>
                    </a:lnTo>
                    <a:lnTo>
                      <a:pt x="112" y="48"/>
                    </a:lnTo>
                    <a:lnTo>
                      <a:pt x="112" y="48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4" y="42"/>
                    </a:lnTo>
                    <a:lnTo>
                      <a:pt x="114" y="42"/>
                    </a:lnTo>
                    <a:lnTo>
                      <a:pt x="116" y="40"/>
                    </a:lnTo>
                    <a:lnTo>
                      <a:pt x="116" y="40"/>
                    </a:lnTo>
                    <a:lnTo>
                      <a:pt x="118" y="36"/>
                    </a:lnTo>
                    <a:lnTo>
                      <a:pt x="118" y="36"/>
                    </a:lnTo>
                    <a:lnTo>
                      <a:pt x="118" y="34"/>
                    </a:lnTo>
                    <a:lnTo>
                      <a:pt x="122" y="32"/>
                    </a:lnTo>
                    <a:lnTo>
                      <a:pt x="122" y="32"/>
                    </a:lnTo>
                    <a:lnTo>
                      <a:pt x="124" y="30"/>
                    </a:lnTo>
                    <a:lnTo>
                      <a:pt x="128" y="30"/>
                    </a:lnTo>
                    <a:lnTo>
                      <a:pt x="128" y="30"/>
                    </a:lnTo>
                    <a:lnTo>
                      <a:pt x="130" y="28"/>
                    </a:lnTo>
                    <a:lnTo>
                      <a:pt x="128" y="28"/>
                    </a:lnTo>
                    <a:lnTo>
                      <a:pt x="128" y="28"/>
                    </a:lnTo>
                    <a:lnTo>
                      <a:pt x="130" y="26"/>
                    </a:lnTo>
                    <a:lnTo>
                      <a:pt x="130" y="26"/>
                    </a:lnTo>
                    <a:lnTo>
                      <a:pt x="132" y="26"/>
                    </a:lnTo>
                    <a:lnTo>
                      <a:pt x="130" y="24"/>
                    </a:lnTo>
                    <a:lnTo>
                      <a:pt x="130" y="24"/>
                    </a:lnTo>
                    <a:lnTo>
                      <a:pt x="130" y="24"/>
                    </a:lnTo>
                    <a:lnTo>
                      <a:pt x="132" y="24"/>
                    </a:lnTo>
                    <a:lnTo>
                      <a:pt x="132" y="24"/>
                    </a:lnTo>
                    <a:lnTo>
                      <a:pt x="134" y="24"/>
                    </a:lnTo>
                    <a:lnTo>
                      <a:pt x="132" y="22"/>
                    </a:lnTo>
                    <a:lnTo>
                      <a:pt x="132" y="22"/>
                    </a:lnTo>
                    <a:lnTo>
                      <a:pt x="130" y="22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8" y="24"/>
                    </a:lnTo>
                    <a:lnTo>
                      <a:pt x="138" y="24"/>
                    </a:lnTo>
                    <a:lnTo>
                      <a:pt x="138" y="24"/>
                    </a:lnTo>
                    <a:lnTo>
                      <a:pt x="136" y="20"/>
                    </a:lnTo>
                    <a:lnTo>
                      <a:pt x="136" y="20"/>
                    </a:lnTo>
                    <a:lnTo>
                      <a:pt x="136" y="18"/>
                    </a:lnTo>
                    <a:lnTo>
                      <a:pt x="138" y="20"/>
                    </a:lnTo>
                    <a:lnTo>
                      <a:pt x="138" y="20"/>
                    </a:lnTo>
                    <a:lnTo>
                      <a:pt x="140" y="20"/>
                    </a:lnTo>
                    <a:lnTo>
                      <a:pt x="140" y="18"/>
                    </a:lnTo>
                    <a:lnTo>
                      <a:pt x="140" y="18"/>
                    </a:lnTo>
                    <a:lnTo>
                      <a:pt x="140" y="16"/>
                    </a:lnTo>
                    <a:lnTo>
                      <a:pt x="140" y="18"/>
                    </a:lnTo>
                    <a:lnTo>
                      <a:pt x="140" y="18"/>
                    </a:lnTo>
                    <a:lnTo>
                      <a:pt x="142" y="22"/>
                    </a:lnTo>
                    <a:lnTo>
                      <a:pt x="142" y="18"/>
                    </a:lnTo>
                    <a:lnTo>
                      <a:pt x="142" y="18"/>
                    </a:lnTo>
                    <a:lnTo>
                      <a:pt x="144" y="12"/>
                    </a:lnTo>
                    <a:lnTo>
                      <a:pt x="144" y="16"/>
                    </a:lnTo>
                    <a:lnTo>
                      <a:pt x="144" y="16"/>
                    </a:lnTo>
                    <a:lnTo>
                      <a:pt x="144" y="18"/>
                    </a:lnTo>
                    <a:lnTo>
                      <a:pt x="144" y="16"/>
                    </a:lnTo>
                    <a:lnTo>
                      <a:pt x="148" y="10"/>
                    </a:lnTo>
                    <a:lnTo>
                      <a:pt x="148" y="10"/>
                    </a:lnTo>
                    <a:lnTo>
                      <a:pt x="148" y="10"/>
                    </a:lnTo>
                    <a:lnTo>
                      <a:pt x="148" y="12"/>
                    </a:lnTo>
                    <a:lnTo>
                      <a:pt x="148" y="12"/>
                    </a:lnTo>
                    <a:lnTo>
                      <a:pt x="150" y="8"/>
                    </a:lnTo>
                    <a:lnTo>
                      <a:pt x="150" y="8"/>
                    </a:lnTo>
                    <a:lnTo>
                      <a:pt x="150" y="8"/>
                    </a:lnTo>
                    <a:lnTo>
                      <a:pt x="150" y="10"/>
                    </a:lnTo>
                    <a:lnTo>
                      <a:pt x="150" y="10"/>
                    </a:lnTo>
                    <a:lnTo>
                      <a:pt x="152" y="8"/>
                    </a:lnTo>
                    <a:lnTo>
                      <a:pt x="154" y="6"/>
                    </a:lnTo>
                    <a:lnTo>
                      <a:pt x="154" y="6"/>
                    </a:lnTo>
                    <a:lnTo>
                      <a:pt x="156" y="6"/>
                    </a:lnTo>
                    <a:lnTo>
                      <a:pt x="156" y="6"/>
                    </a:lnTo>
                    <a:lnTo>
                      <a:pt x="156" y="6"/>
                    </a:lnTo>
                    <a:lnTo>
                      <a:pt x="158" y="4"/>
                    </a:lnTo>
                    <a:lnTo>
                      <a:pt x="158" y="4"/>
                    </a:lnTo>
                    <a:lnTo>
                      <a:pt x="160" y="4"/>
                    </a:lnTo>
                    <a:lnTo>
                      <a:pt x="158" y="6"/>
                    </a:lnTo>
                    <a:lnTo>
                      <a:pt x="158" y="6"/>
                    </a:lnTo>
                    <a:lnTo>
                      <a:pt x="158" y="6"/>
                    </a:lnTo>
                    <a:lnTo>
                      <a:pt x="160" y="6"/>
                    </a:lnTo>
                    <a:lnTo>
                      <a:pt x="164" y="2"/>
                    </a:lnTo>
                    <a:lnTo>
                      <a:pt x="164" y="2"/>
                    </a:lnTo>
                    <a:lnTo>
                      <a:pt x="166" y="2"/>
                    </a:lnTo>
                    <a:lnTo>
                      <a:pt x="166" y="4"/>
                    </a:lnTo>
                    <a:lnTo>
                      <a:pt x="166" y="4"/>
                    </a:lnTo>
                    <a:lnTo>
                      <a:pt x="166" y="4"/>
                    </a:lnTo>
                    <a:lnTo>
                      <a:pt x="166" y="4"/>
                    </a:lnTo>
                    <a:lnTo>
                      <a:pt x="170" y="2"/>
                    </a:lnTo>
                    <a:lnTo>
                      <a:pt x="170" y="2"/>
                    </a:lnTo>
                    <a:lnTo>
                      <a:pt x="170" y="2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2" y="4"/>
                    </a:lnTo>
                    <a:lnTo>
                      <a:pt x="172" y="2"/>
                    </a:lnTo>
                    <a:lnTo>
                      <a:pt x="172" y="2"/>
                    </a:lnTo>
                    <a:lnTo>
                      <a:pt x="172" y="2"/>
                    </a:lnTo>
                    <a:lnTo>
                      <a:pt x="174" y="2"/>
                    </a:lnTo>
                    <a:lnTo>
                      <a:pt x="174" y="2"/>
                    </a:lnTo>
                    <a:lnTo>
                      <a:pt x="178" y="4"/>
                    </a:lnTo>
                    <a:lnTo>
                      <a:pt x="176" y="2"/>
                    </a:lnTo>
                    <a:lnTo>
                      <a:pt x="176" y="2"/>
                    </a:lnTo>
                    <a:lnTo>
                      <a:pt x="176" y="0"/>
                    </a:lnTo>
                    <a:lnTo>
                      <a:pt x="178" y="2"/>
                    </a:lnTo>
                    <a:lnTo>
                      <a:pt x="180" y="4"/>
                    </a:lnTo>
                    <a:lnTo>
                      <a:pt x="180" y="4"/>
                    </a:lnTo>
                    <a:lnTo>
                      <a:pt x="182" y="4"/>
                    </a:lnTo>
                    <a:lnTo>
                      <a:pt x="184" y="4"/>
                    </a:lnTo>
                    <a:lnTo>
                      <a:pt x="184" y="2"/>
                    </a:lnTo>
                    <a:lnTo>
                      <a:pt x="184" y="2"/>
                    </a:lnTo>
                    <a:lnTo>
                      <a:pt x="184" y="2"/>
                    </a:lnTo>
                    <a:lnTo>
                      <a:pt x="186" y="4"/>
                    </a:lnTo>
                    <a:lnTo>
                      <a:pt x="186" y="4"/>
                    </a:lnTo>
                    <a:lnTo>
                      <a:pt x="190" y="6"/>
                    </a:lnTo>
                    <a:lnTo>
                      <a:pt x="190" y="6"/>
                    </a:lnTo>
                    <a:lnTo>
                      <a:pt x="190" y="4"/>
                    </a:lnTo>
                    <a:lnTo>
                      <a:pt x="190" y="4"/>
                    </a:lnTo>
                    <a:lnTo>
                      <a:pt x="190" y="4"/>
                    </a:lnTo>
                    <a:lnTo>
                      <a:pt x="194" y="6"/>
                    </a:lnTo>
                    <a:lnTo>
                      <a:pt x="194" y="6"/>
                    </a:lnTo>
                    <a:lnTo>
                      <a:pt x="196" y="8"/>
                    </a:lnTo>
                    <a:lnTo>
                      <a:pt x="196" y="8"/>
                    </a:lnTo>
                    <a:lnTo>
                      <a:pt x="196" y="8"/>
                    </a:lnTo>
                    <a:lnTo>
                      <a:pt x="198" y="8"/>
                    </a:lnTo>
                    <a:lnTo>
                      <a:pt x="200" y="10"/>
                    </a:lnTo>
                    <a:lnTo>
                      <a:pt x="200" y="10"/>
                    </a:lnTo>
                    <a:lnTo>
                      <a:pt x="200" y="12"/>
                    </a:lnTo>
                    <a:lnTo>
                      <a:pt x="200" y="10"/>
                    </a:lnTo>
                    <a:lnTo>
                      <a:pt x="200" y="8"/>
                    </a:lnTo>
                    <a:lnTo>
                      <a:pt x="200" y="8"/>
                    </a:lnTo>
                    <a:lnTo>
                      <a:pt x="202" y="10"/>
                    </a:lnTo>
                    <a:lnTo>
                      <a:pt x="202" y="10"/>
                    </a:lnTo>
                    <a:lnTo>
                      <a:pt x="204" y="10"/>
                    </a:lnTo>
                    <a:lnTo>
                      <a:pt x="206" y="10"/>
                    </a:lnTo>
                    <a:lnTo>
                      <a:pt x="206" y="10"/>
                    </a:lnTo>
                    <a:lnTo>
                      <a:pt x="206" y="10"/>
                    </a:lnTo>
                    <a:lnTo>
                      <a:pt x="206" y="10"/>
                    </a:lnTo>
                    <a:lnTo>
                      <a:pt x="208" y="10"/>
                    </a:lnTo>
                    <a:lnTo>
                      <a:pt x="208" y="14"/>
                    </a:lnTo>
                    <a:lnTo>
                      <a:pt x="208" y="14"/>
                    </a:lnTo>
                    <a:lnTo>
                      <a:pt x="210" y="14"/>
                    </a:lnTo>
                    <a:lnTo>
                      <a:pt x="210" y="14"/>
                    </a:lnTo>
                    <a:lnTo>
                      <a:pt x="210" y="10"/>
                    </a:lnTo>
                    <a:lnTo>
                      <a:pt x="210" y="10"/>
                    </a:lnTo>
                    <a:lnTo>
                      <a:pt x="210" y="10"/>
                    </a:lnTo>
                    <a:lnTo>
                      <a:pt x="210" y="10"/>
                    </a:lnTo>
                    <a:lnTo>
                      <a:pt x="212" y="12"/>
                    </a:lnTo>
                    <a:lnTo>
                      <a:pt x="212" y="12"/>
                    </a:lnTo>
                    <a:lnTo>
                      <a:pt x="214" y="16"/>
                    </a:lnTo>
                    <a:lnTo>
                      <a:pt x="214" y="16"/>
                    </a:lnTo>
                    <a:lnTo>
                      <a:pt x="214" y="16"/>
                    </a:lnTo>
                    <a:lnTo>
                      <a:pt x="216" y="12"/>
                    </a:lnTo>
                    <a:lnTo>
                      <a:pt x="216" y="12"/>
                    </a:lnTo>
                    <a:lnTo>
                      <a:pt x="218" y="16"/>
                    </a:lnTo>
                    <a:lnTo>
                      <a:pt x="218" y="16"/>
                    </a:lnTo>
                    <a:lnTo>
                      <a:pt x="218" y="20"/>
                    </a:lnTo>
                    <a:lnTo>
                      <a:pt x="220" y="16"/>
                    </a:lnTo>
                    <a:lnTo>
                      <a:pt x="220" y="16"/>
                    </a:lnTo>
                    <a:lnTo>
                      <a:pt x="220" y="16"/>
                    </a:lnTo>
                    <a:lnTo>
                      <a:pt x="220" y="16"/>
                    </a:lnTo>
                    <a:lnTo>
                      <a:pt x="220" y="20"/>
                    </a:lnTo>
                    <a:lnTo>
                      <a:pt x="220" y="20"/>
                    </a:lnTo>
                    <a:lnTo>
                      <a:pt x="222" y="24"/>
                    </a:lnTo>
                    <a:lnTo>
                      <a:pt x="224" y="22"/>
                    </a:lnTo>
                    <a:lnTo>
                      <a:pt x="224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4" y="26"/>
                    </a:lnTo>
                    <a:lnTo>
                      <a:pt x="222" y="26"/>
                    </a:lnTo>
                    <a:lnTo>
                      <a:pt x="226" y="26"/>
                    </a:lnTo>
                    <a:lnTo>
                      <a:pt x="226" y="26"/>
                    </a:lnTo>
                    <a:lnTo>
                      <a:pt x="230" y="26"/>
                    </a:lnTo>
                    <a:lnTo>
                      <a:pt x="228" y="28"/>
                    </a:lnTo>
                    <a:lnTo>
                      <a:pt x="228" y="28"/>
                    </a:lnTo>
                    <a:lnTo>
                      <a:pt x="228" y="28"/>
                    </a:lnTo>
                    <a:lnTo>
                      <a:pt x="228" y="28"/>
                    </a:lnTo>
                    <a:lnTo>
                      <a:pt x="232" y="28"/>
                    </a:lnTo>
                    <a:lnTo>
                      <a:pt x="232" y="28"/>
                    </a:lnTo>
                    <a:lnTo>
                      <a:pt x="232" y="30"/>
                    </a:lnTo>
                    <a:lnTo>
                      <a:pt x="232" y="30"/>
                    </a:lnTo>
                    <a:lnTo>
                      <a:pt x="232" y="30"/>
                    </a:lnTo>
                    <a:lnTo>
                      <a:pt x="230" y="32"/>
                    </a:lnTo>
                    <a:lnTo>
                      <a:pt x="232" y="32"/>
                    </a:lnTo>
                    <a:lnTo>
                      <a:pt x="236" y="32"/>
                    </a:lnTo>
                    <a:lnTo>
                      <a:pt x="236" y="32"/>
                    </a:lnTo>
                    <a:lnTo>
                      <a:pt x="236" y="34"/>
                    </a:lnTo>
                    <a:lnTo>
                      <a:pt x="234" y="34"/>
                    </a:lnTo>
                    <a:lnTo>
                      <a:pt x="234" y="34"/>
                    </a:lnTo>
                    <a:lnTo>
                      <a:pt x="234" y="36"/>
                    </a:lnTo>
                    <a:lnTo>
                      <a:pt x="234" y="36"/>
                    </a:lnTo>
                    <a:lnTo>
                      <a:pt x="240" y="38"/>
                    </a:lnTo>
                    <a:lnTo>
                      <a:pt x="240" y="38"/>
                    </a:lnTo>
                    <a:lnTo>
                      <a:pt x="242" y="42"/>
                    </a:lnTo>
                    <a:lnTo>
                      <a:pt x="238" y="40"/>
                    </a:lnTo>
                    <a:lnTo>
                      <a:pt x="238" y="40"/>
                    </a:lnTo>
                    <a:lnTo>
                      <a:pt x="238" y="42"/>
                    </a:lnTo>
                    <a:lnTo>
                      <a:pt x="238" y="44"/>
                    </a:lnTo>
                    <a:lnTo>
                      <a:pt x="244" y="48"/>
                    </a:lnTo>
                    <a:lnTo>
                      <a:pt x="244" y="48"/>
                    </a:lnTo>
                    <a:lnTo>
                      <a:pt x="244" y="48"/>
                    </a:lnTo>
                    <a:lnTo>
                      <a:pt x="244" y="50"/>
                    </a:lnTo>
                    <a:lnTo>
                      <a:pt x="238" y="50"/>
                    </a:lnTo>
                    <a:lnTo>
                      <a:pt x="238" y="50"/>
                    </a:lnTo>
                    <a:lnTo>
                      <a:pt x="236" y="50"/>
                    </a:lnTo>
                    <a:lnTo>
                      <a:pt x="238" y="52"/>
                    </a:lnTo>
                    <a:lnTo>
                      <a:pt x="240" y="56"/>
                    </a:lnTo>
                    <a:lnTo>
                      <a:pt x="240" y="56"/>
                    </a:lnTo>
                    <a:lnTo>
                      <a:pt x="242" y="58"/>
                    </a:lnTo>
                    <a:lnTo>
                      <a:pt x="238" y="58"/>
                    </a:lnTo>
                    <a:lnTo>
                      <a:pt x="238" y="58"/>
                    </a:lnTo>
                    <a:lnTo>
                      <a:pt x="238" y="58"/>
                    </a:lnTo>
                    <a:lnTo>
                      <a:pt x="238" y="58"/>
                    </a:lnTo>
                    <a:lnTo>
                      <a:pt x="240" y="60"/>
                    </a:lnTo>
                    <a:lnTo>
                      <a:pt x="240" y="60"/>
                    </a:lnTo>
                    <a:lnTo>
                      <a:pt x="242" y="62"/>
                    </a:lnTo>
                    <a:lnTo>
                      <a:pt x="240" y="62"/>
                    </a:lnTo>
                    <a:lnTo>
                      <a:pt x="240" y="62"/>
                    </a:lnTo>
                    <a:lnTo>
                      <a:pt x="238" y="62"/>
                    </a:lnTo>
                    <a:lnTo>
                      <a:pt x="238" y="64"/>
                    </a:lnTo>
                    <a:lnTo>
                      <a:pt x="238" y="64"/>
                    </a:lnTo>
                    <a:lnTo>
                      <a:pt x="240" y="66"/>
                    </a:lnTo>
                    <a:lnTo>
                      <a:pt x="240" y="66"/>
                    </a:lnTo>
                    <a:lnTo>
                      <a:pt x="238" y="66"/>
                    </a:lnTo>
                    <a:lnTo>
                      <a:pt x="238" y="66"/>
                    </a:lnTo>
                    <a:lnTo>
                      <a:pt x="238" y="66"/>
                    </a:lnTo>
                    <a:lnTo>
                      <a:pt x="238" y="66"/>
                    </a:lnTo>
                    <a:lnTo>
                      <a:pt x="238" y="72"/>
                    </a:lnTo>
                    <a:lnTo>
                      <a:pt x="238" y="72"/>
                    </a:lnTo>
                    <a:lnTo>
                      <a:pt x="238" y="72"/>
                    </a:lnTo>
                    <a:lnTo>
                      <a:pt x="238" y="70"/>
                    </a:lnTo>
                    <a:lnTo>
                      <a:pt x="238" y="70"/>
                    </a:lnTo>
                    <a:lnTo>
                      <a:pt x="238" y="78"/>
                    </a:lnTo>
                    <a:lnTo>
                      <a:pt x="238" y="78"/>
                    </a:lnTo>
                    <a:lnTo>
                      <a:pt x="238" y="80"/>
                    </a:lnTo>
                    <a:lnTo>
                      <a:pt x="236" y="78"/>
                    </a:lnTo>
                    <a:lnTo>
                      <a:pt x="236" y="78"/>
                    </a:lnTo>
                    <a:lnTo>
                      <a:pt x="236" y="80"/>
                    </a:lnTo>
                    <a:lnTo>
                      <a:pt x="238" y="86"/>
                    </a:lnTo>
                    <a:lnTo>
                      <a:pt x="238" y="86"/>
                    </a:lnTo>
                    <a:lnTo>
                      <a:pt x="238" y="86"/>
                    </a:lnTo>
                    <a:lnTo>
                      <a:pt x="236" y="84"/>
                    </a:lnTo>
                    <a:lnTo>
                      <a:pt x="236" y="84"/>
                    </a:lnTo>
                    <a:lnTo>
                      <a:pt x="238" y="90"/>
                    </a:lnTo>
                    <a:lnTo>
                      <a:pt x="238" y="90"/>
                    </a:lnTo>
                    <a:lnTo>
                      <a:pt x="238" y="90"/>
                    </a:lnTo>
                    <a:lnTo>
                      <a:pt x="236" y="90"/>
                    </a:lnTo>
                    <a:lnTo>
                      <a:pt x="236" y="90"/>
                    </a:lnTo>
                    <a:lnTo>
                      <a:pt x="236" y="90"/>
                    </a:lnTo>
                    <a:lnTo>
                      <a:pt x="238" y="94"/>
                    </a:lnTo>
                    <a:lnTo>
                      <a:pt x="238" y="94"/>
                    </a:lnTo>
                    <a:lnTo>
                      <a:pt x="238" y="94"/>
                    </a:lnTo>
                    <a:lnTo>
                      <a:pt x="236" y="94"/>
                    </a:lnTo>
                    <a:lnTo>
                      <a:pt x="236" y="94"/>
                    </a:lnTo>
                    <a:lnTo>
                      <a:pt x="236" y="94"/>
                    </a:lnTo>
                    <a:lnTo>
                      <a:pt x="236" y="96"/>
                    </a:lnTo>
                    <a:lnTo>
                      <a:pt x="236" y="96"/>
                    </a:lnTo>
                    <a:lnTo>
                      <a:pt x="240" y="96"/>
                    </a:lnTo>
                    <a:lnTo>
                      <a:pt x="242" y="96"/>
                    </a:lnTo>
                    <a:lnTo>
                      <a:pt x="244" y="98"/>
                    </a:lnTo>
                    <a:lnTo>
                      <a:pt x="244" y="98"/>
                    </a:lnTo>
                    <a:lnTo>
                      <a:pt x="246" y="110"/>
                    </a:lnTo>
                    <a:lnTo>
                      <a:pt x="246" y="110"/>
                    </a:lnTo>
                    <a:lnTo>
                      <a:pt x="246" y="116"/>
                    </a:lnTo>
                    <a:lnTo>
                      <a:pt x="246" y="116"/>
                    </a:lnTo>
                    <a:lnTo>
                      <a:pt x="246" y="122"/>
                    </a:lnTo>
                    <a:lnTo>
                      <a:pt x="244" y="128"/>
                    </a:lnTo>
                    <a:lnTo>
                      <a:pt x="244" y="128"/>
                    </a:lnTo>
                    <a:lnTo>
                      <a:pt x="240" y="134"/>
                    </a:lnTo>
                    <a:lnTo>
                      <a:pt x="236" y="136"/>
                    </a:lnTo>
                    <a:lnTo>
                      <a:pt x="236" y="136"/>
                    </a:lnTo>
                    <a:lnTo>
                      <a:pt x="232" y="138"/>
                    </a:lnTo>
                    <a:lnTo>
                      <a:pt x="230" y="138"/>
                    </a:lnTo>
                    <a:lnTo>
                      <a:pt x="230" y="138"/>
                    </a:lnTo>
                    <a:lnTo>
                      <a:pt x="228" y="138"/>
                    </a:lnTo>
                    <a:lnTo>
                      <a:pt x="228" y="140"/>
                    </a:lnTo>
                    <a:lnTo>
                      <a:pt x="230" y="146"/>
                    </a:lnTo>
                    <a:lnTo>
                      <a:pt x="230" y="146"/>
                    </a:lnTo>
                    <a:lnTo>
                      <a:pt x="228" y="162"/>
                    </a:lnTo>
                    <a:lnTo>
                      <a:pt x="228" y="162"/>
                    </a:lnTo>
                    <a:lnTo>
                      <a:pt x="228" y="170"/>
                    </a:lnTo>
                    <a:lnTo>
                      <a:pt x="230" y="178"/>
                    </a:lnTo>
                    <a:lnTo>
                      <a:pt x="230" y="178"/>
                    </a:lnTo>
                    <a:lnTo>
                      <a:pt x="232" y="180"/>
                    </a:lnTo>
                    <a:lnTo>
                      <a:pt x="234" y="182"/>
                    </a:lnTo>
                    <a:lnTo>
                      <a:pt x="236" y="184"/>
                    </a:lnTo>
                    <a:lnTo>
                      <a:pt x="236" y="184"/>
                    </a:lnTo>
                    <a:lnTo>
                      <a:pt x="238" y="186"/>
                    </a:lnTo>
                    <a:lnTo>
                      <a:pt x="240" y="188"/>
                    </a:lnTo>
                    <a:lnTo>
                      <a:pt x="240" y="188"/>
                    </a:lnTo>
                    <a:lnTo>
                      <a:pt x="244" y="188"/>
                    </a:lnTo>
                    <a:lnTo>
                      <a:pt x="248" y="188"/>
                    </a:lnTo>
                    <a:lnTo>
                      <a:pt x="248" y="188"/>
                    </a:lnTo>
                    <a:lnTo>
                      <a:pt x="264" y="202"/>
                    </a:lnTo>
                    <a:lnTo>
                      <a:pt x="280" y="214"/>
                    </a:lnTo>
                    <a:lnTo>
                      <a:pt x="290" y="218"/>
                    </a:lnTo>
                    <a:lnTo>
                      <a:pt x="298" y="222"/>
                    </a:lnTo>
                    <a:lnTo>
                      <a:pt x="298" y="222"/>
                    </a:lnTo>
                    <a:lnTo>
                      <a:pt x="320" y="228"/>
                    </a:lnTo>
                    <a:lnTo>
                      <a:pt x="344" y="234"/>
                    </a:lnTo>
                    <a:lnTo>
                      <a:pt x="354" y="238"/>
                    </a:lnTo>
                    <a:lnTo>
                      <a:pt x="364" y="246"/>
                    </a:lnTo>
                    <a:lnTo>
                      <a:pt x="370" y="254"/>
                    </a:lnTo>
                    <a:lnTo>
                      <a:pt x="372" y="260"/>
                    </a:lnTo>
                    <a:lnTo>
                      <a:pt x="372" y="266"/>
                    </a:lnTo>
                    <a:lnTo>
                      <a:pt x="372" y="266"/>
                    </a:lnTo>
                    <a:lnTo>
                      <a:pt x="376" y="288"/>
                    </a:lnTo>
                    <a:lnTo>
                      <a:pt x="382" y="308"/>
                    </a:lnTo>
                    <a:lnTo>
                      <a:pt x="390" y="328"/>
                    </a:lnTo>
                    <a:lnTo>
                      <a:pt x="400" y="348"/>
                    </a:lnTo>
                    <a:lnTo>
                      <a:pt x="424" y="392"/>
                    </a:lnTo>
                    <a:lnTo>
                      <a:pt x="436" y="418"/>
                    </a:lnTo>
                    <a:lnTo>
                      <a:pt x="450" y="448"/>
                    </a:lnTo>
                    <a:lnTo>
                      <a:pt x="450" y="448"/>
                    </a:lnTo>
                    <a:lnTo>
                      <a:pt x="452" y="452"/>
                    </a:lnTo>
                    <a:lnTo>
                      <a:pt x="454" y="456"/>
                    </a:lnTo>
                    <a:lnTo>
                      <a:pt x="458" y="468"/>
                    </a:lnTo>
                    <a:lnTo>
                      <a:pt x="458" y="476"/>
                    </a:lnTo>
                    <a:lnTo>
                      <a:pt x="458" y="486"/>
                    </a:lnTo>
                    <a:lnTo>
                      <a:pt x="452" y="496"/>
                    </a:lnTo>
                    <a:lnTo>
                      <a:pt x="444" y="512"/>
                    </a:lnTo>
                    <a:lnTo>
                      <a:pt x="444" y="512"/>
                    </a:lnTo>
                    <a:lnTo>
                      <a:pt x="434" y="528"/>
                    </a:lnTo>
                    <a:lnTo>
                      <a:pt x="424" y="544"/>
                    </a:lnTo>
                    <a:lnTo>
                      <a:pt x="400" y="574"/>
                    </a:lnTo>
                    <a:lnTo>
                      <a:pt x="388" y="588"/>
                    </a:lnTo>
                    <a:lnTo>
                      <a:pt x="378" y="600"/>
                    </a:lnTo>
                    <a:lnTo>
                      <a:pt x="372" y="614"/>
                    </a:lnTo>
                    <a:lnTo>
                      <a:pt x="370" y="628"/>
                    </a:lnTo>
                    <a:lnTo>
                      <a:pt x="370" y="628"/>
                    </a:lnTo>
                    <a:lnTo>
                      <a:pt x="372" y="646"/>
                    </a:lnTo>
                    <a:lnTo>
                      <a:pt x="374" y="662"/>
                    </a:lnTo>
                    <a:lnTo>
                      <a:pt x="376" y="678"/>
                    </a:lnTo>
                    <a:lnTo>
                      <a:pt x="376" y="696"/>
                    </a:lnTo>
                    <a:lnTo>
                      <a:pt x="376" y="696"/>
                    </a:lnTo>
                    <a:lnTo>
                      <a:pt x="376" y="702"/>
                    </a:lnTo>
                    <a:lnTo>
                      <a:pt x="372" y="706"/>
                    </a:lnTo>
                    <a:lnTo>
                      <a:pt x="366" y="710"/>
                    </a:lnTo>
                    <a:lnTo>
                      <a:pt x="360" y="712"/>
                    </a:lnTo>
                    <a:lnTo>
                      <a:pt x="344" y="722"/>
                    </a:lnTo>
                    <a:lnTo>
                      <a:pt x="336" y="728"/>
                    </a:lnTo>
                    <a:lnTo>
                      <a:pt x="326" y="738"/>
                    </a:lnTo>
                    <a:lnTo>
                      <a:pt x="326" y="738"/>
                    </a:lnTo>
                    <a:lnTo>
                      <a:pt x="324" y="740"/>
                    </a:lnTo>
                    <a:lnTo>
                      <a:pt x="322" y="742"/>
                    </a:lnTo>
                    <a:lnTo>
                      <a:pt x="312" y="742"/>
                    </a:lnTo>
                    <a:lnTo>
                      <a:pt x="308" y="742"/>
                    </a:lnTo>
                    <a:lnTo>
                      <a:pt x="304" y="746"/>
                    </a:lnTo>
                    <a:lnTo>
                      <a:pt x="300" y="752"/>
                    </a:lnTo>
                    <a:lnTo>
                      <a:pt x="300" y="762"/>
                    </a:lnTo>
                    <a:lnTo>
                      <a:pt x="300" y="762"/>
                    </a:lnTo>
                    <a:lnTo>
                      <a:pt x="300" y="830"/>
                    </a:lnTo>
                    <a:lnTo>
                      <a:pt x="300" y="896"/>
                    </a:lnTo>
                    <a:lnTo>
                      <a:pt x="300" y="896"/>
                    </a:lnTo>
                    <a:lnTo>
                      <a:pt x="302" y="916"/>
                    </a:lnTo>
                    <a:lnTo>
                      <a:pt x="306" y="934"/>
                    </a:lnTo>
                    <a:lnTo>
                      <a:pt x="314" y="970"/>
                    </a:lnTo>
                    <a:lnTo>
                      <a:pt x="324" y="1006"/>
                    </a:lnTo>
                    <a:lnTo>
                      <a:pt x="332" y="1040"/>
                    </a:lnTo>
                    <a:lnTo>
                      <a:pt x="332" y="1040"/>
                    </a:lnTo>
                    <a:lnTo>
                      <a:pt x="336" y="1082"/>
                    </a:lnTo>
                    <a:lnTo>
                      <a:pt x="338" y="1122"/>
                    </a:lnTo>
                    <a:lnTo>
                      <a:pt x="338" y="1162"/>
                    </a:lnTo>
                    <a:lnTo>
                      <a:pt x="342" y="1180"/>
                    </a:lnTo>
                    <a:lnTo>
                      <a:pt x="344" y="1198"/>
                    </a:lnTo>
                    <a:lnTo>
                      <a:pt x="344" y="1198"/>
                    </a:lnTo>
                    <a:lnTo>
                      <a:pt x="346" y="1250"/>
                    </a:lnTo>
                    <a:lnTo>
                      <a:pt x="346" y="1250"/>
                    </a:lnTo>
                    <a:lnTo>
                      <a:pt x="346" y="1278"/>
                    </a:lnTo>
                    <a:lnTo>
                      <a:pt x="346" y="1278"/>
                    </a:lnTo>
                    <a:lnTo>
                      <a:pt x="348" y="1294"/>
                    </a:lnTo>
                    <a:lnTo>
                      <a:pt x="348" y="1294"/>
                    </a:lnTo>
                    <a:lnTo>
                      <a:pt x="350" y="1306"/>
                    </a:lnTo>
                    <a:lnTo>
                      <a:pt x="350" y="1306"/>
                    </a:lnTo>
                    <a:lnTo>
                      <a:pt x="344" y="1322"/>
                    </a:lnTo>
                    <a:lnTo>
                      <a:pt x="344" y="1322"/>
                    </a:lnTo>
                    <a:lnTo>
                      <a:pt x="342" y="1326"/>
                    </a:lnTo>
                    <a:lnTo>
                      <a:pt x="342" y="1326"/>
                    </a:lnTo>
                    <a:lnTo>
                      <a:pt x="342" y="1328"/>
                    </a:lnTo>
                    <a:lnTo>
                      <a:pt x="342" y="1330"/>
                    </a:lnTo>
                    <a:lnTo>
                      <a:pt x="342" y="1330"/>
                    </a:lnTo>
                    <a:lnTo>
                      <a:pt x="340" y="1334"/>
                    </a:lnTo>
                    <a:lnTo>
                      <a:pt x="336" y="1336"/>
                    </a:lnTo>
                    <a:lnTo>
                      <a:pt x="336" y="1336"/>
                    </a:lnTo>
                    <a:lnTo>
                      <a:pt x="336" y="1340"/>
                    </a:lnTo>
                    <a:lnTo>
                      <a:pt x="336" y="1340"/>
                    </a:lnTo>
                    <a:lnTo>
                      <a:pt x="338" y="1344"/>
                    </a:lnTo>
                    <a:lnTo>
                      <a:pt x="342" y="1348"/>
                    </a:lnTo>
                    <a:lnTo>
                      <a:pt x="342" y="1350"/>
                    </a:lnTo>
                    <a:lnTo>
                      <a:pt x="342" y="1354"/>
                    </a:lnTo>
                    <a:lnTo>
                      <a:pt x="342" y="1358"/>
                    </a:lnTo>
                    <a:lnTo>
                      <a:pt x="340" y="1364"/>
                    </a:lnTo>
                    <a:lnTo>
                      <a:pt x="340" y="1364"/>
                    </a:lnTo>
                    <a:lnTo>
                      <a:pt x="332" y="1378"/>
                    </a:lnTo>
                    <a:lnTo>
                      <a:pt x="332" y="1378"/>
                    </a:lnTo>
                    <a:lnTo>
                      <a:pt x="332" y="1382"/>
                    </a:lnTo>
                    <a:lnTo>
                      <a:pt x="332" y="1382"/>
                    </a:lnTo>
                    <a:lnTo>
                      <a:pt x="332" y="1390"/>
                    </a:lnTo>
                    <a:lnTo>
                      <a:pt x="330" y="1394"/>
                    </a:lnTo>
                    <a:lnTo>
                      <a:pt x="326" y="1396"/>
                    </a:lnTo>
                    <a:lnTo>
                      <a:pt x="326" y="1396"/>
                    </a:lnTo>
                    <a:lnTo>
                      <a:pt x="326" y="1400"/>
                    </a:lnTo>
                    <a:lnTo>
                      <a:pt x="326" y="1406"/>
                    </a:lnTo>
                    <a:lnTo>
                      <a:pt x="326" y="1406"/>
                    </a:lnTo>
                    <a:lnTo>
                      <a:pt x="326" y="1410"/>
                    </a:lnTo>
                    <a:lnTo>
                      <a:pt x="324" y="1412"/>
                    </a:lnTo>
                    <a:lnTo>
                      <a:pt x="320" y="1414"/>
                    </a:lnTo>
                    <a:lnTo>
                      <a:pt x="310" y="1416"/>
                    </a:lnTo>
                    <a:lnTo>
                      <a:pt x="310" y="1416"/>
                    </a:lnTo>
                    <a:lnTo>
                      <a:pt x="278" y="1414"/>
                    </a:lnTo>
                    <a:lnTo>
                      <a:pt x="278" y="1414"/>
                    </a:lnTo>
                    <a:lnTo>
                      <a:pt x="270" y="1414"/>
                    </a:lnTo>
                    <a:lnTo>
                      <a:pt x="270" y="1414"/>
                    </a:lnTo>
                    <a:lnTo>
                      <a:pt x="258" y="1414"/>
                    </a:lnTo>
                    <a:lnTo>
                      <a:pt x="248" y="1412"/>
                    </a:lnTo>
                    <a:lnTo>
                      <a:pt x="248" y="1412"/>
                    </a:lnTo>
                    <a:lnTo>
                      <a:pt x="240" y="1410"/>
                    </a:lnTo>
                    <a:lnTo>
                      <a:pt x="240" y="1410"/>
                    </a:lnTo>
                    <a:lnTo>
                      <a:pt x="238" y="1410"/>
                    </a:lnTo>
                    <a:lnTo>
                      <a:pt x="236" y="1408"/>
                    </a:lnTo>
                    <a:lnTo>
                      <a:pt x="236" y="1400"/>
                    </a:lnTo>
                    <a:lnTo>
                      <a:pt x="236" y="1400"/>
                    </a:lnTo>
                    <a:lnTo>
                      <a:pt x="236" y="1394"/>
                    </a:lnTo>
                    <a:lnTo>
                      <a:pt x="238" y="1390"/>
                    </a:lnTo>
                    <a:lnTo>
                      <a:pt x="242" y="1388"/>
                    </a:lnTo>
                    <a:lnTo>
                      <a:pt x="242" y="1388"/>
                    </a:lnTo>
                    <a:lnTo>
                      <a:pt x="242" y="1386"/>
                    </a:lnTo>
                    <a:lnTo>
                      <a:pt x="240" y="1380"/>
                    </a:lnTo>
                    <a:lnTo>
                      <a:pt x="240" y="1380"/>
                    </a:lnTo>
                    <a:lnTo>
                      <a:pt x="240" y="1376"/>
                    </a:lnTo>
                    <a:lnTo>
                      <a:pt x="242" y="1372"/>
                    </a:lnTo>
                    <a:lnTo>
                      <a:pt x="246" y="1366"/>
                    </a:lnTo>
                    <a:lnTo>
                      <a:pt x="246" y="1366"/>
                    </a:lnTo>
                    <a:lnTo>
                      <a:pt x="252" y="1358"/>
                    </a:lnTo>
                    <a:lnTo>
                      <a:pt x="252" y="1358"/>
                    </a:lnTo>
                    <a:lnTo>
                      <a:pt x="260" y="1346"/>
                    </a:lnTo>
                    <a:lnTo>
                      <a:pt x="260" y="1346"/>
                    </a:lnTo>
                    <a:lnTo>
                      <a:pt x="260" y="1344"/>
                    </a:lnTo>
                    <a:lnTo>
                      <a:pt x="258" y="1342"/>
                    </a:lnTo>
                    <a:lnTo>
                      <a:pt x="258" y="1342"/>
                    </a:lnTo>
                    <a:lnTo>
                      <a:pt x="252" y="1336"/>
                    </a:lnTo>
                    <a:lnTo>
                      <a:pt x="252" y="1336"/>
                    </a:lnTo>
                    <a:lnTo>
                      <a:pt x="250" y="1334"/>
                    </a:lnTo>
                    <a:lnTo>
                      <a:pt x="248" y="1328"/>
                    </a:lnTo>
                    <a:lnTo>
                      <a:pt x="248" y="1328"/>
                    </a:lnTo>
                    <a:lnTo>
                      <a:pt x="248" y="1324"/>
                    </a:lnTo>
                    <a:lnTo>
                      <a:pt x="250" y="1318"/>
                    </a:lnTo>
                    <a:lnTo>
                      <a:pt x="254" y="1312"/>
                    </a:lnTo>
                    <a:lnTo>
                      <a:pt x="254" y="1312"/>
                    </a:lnTo>
                    <a:lnTo>
                      <a:pt x="254" y="1306"/>
                    </a:lnTo>
                    <a:lnTo>
                      <a:pt x="252" y="1300"/>
                    </a:lnTo>
                    <a:lnTo>
                      <a:pt x="252" y="1300"/>
                    </a:lnTo>
                    <a:lnTo>
                      <a:pt x="246" y="1292"/>
                    </a:lnTo>
                    <a:lnTo>
                      <a:pt x="246" y="1292"/>
                    </a:lnTo>
                    <a:lnTo>
                      <a:pt x="242" y="1286"/>
                    </a:lnTo>
                    <a:lnTo>
                      <a:pt x="242" y="1278"/>
                    </a:lnTo>
                    <a:lnTo>
                      <a:pt x="242" y="1278"/>
                    </a:lnTo>
                    <a:lnTo>
                      <a:pt x="242" y="1270"/>
                    </a:lnTo>
                    <a:lnTo>
                      <a:pt x="246" y="1258"/>
                    </a:lnTo>
                    <a:lnTo>
                      <a:pt x="246" y="1258"/>
                    </a:lnTo>
                    <a:lnTo>
                      <a:pt x="248" y="1248"/>
                    </a:lnTo>
                    <a:lnTo>
                      <a:pt x="248" y="1248"/>
                    </a:lnTo>
                    <a:lnTo>
                      <a:pt x="246" y="1218"/>
                    </a:lnTo>
                    <a:lnTo>
                      <a:pt x="240" y="1176"/>
                    </a:lnTo>
                    <a:lnTo>
                      <a:pt x="240" y="1176"/>
                    </a:lnTo>
                    <a:lnTo>
                      <a:pt x="234" y="1112"/>
                    </a:lnTo>
                    <a:lnTo>
                      <a:pt x="234" y="1112"/>
                    </a:lnTo>
                    <a:lnTo>
                      <a:pt x="234" y="1150"/>
                    </a:lnTo>
                    <a:lnTo>
                      <a:pt x="230" y="1178"/>
                    </a:lnTo>
                    <a:lnTo>
                      <a:pt x="226" y="1198"/>
                    </a:lnTo>
                    <a:lnTo>
                      <a:pt x="222" y="1212"/>
                    </a:lnTo>
                    <a:lnTo>
                      <a:pt x="210" y="1234"/>
                    </a:lnTo>
                    <a:lnTo>
                      <a:pt x="208" y="1244"/>
                    </a:lnTo>
                    <a:lnTo>
                      <a:pt x="206" y="1258"/>
                    </a:lnTo>
                    <a:lnTo>
                      <a:pt x="206" y="1258"/>
                    </a:lnTo>
                    <a:lnTo>
                      <a:pt x="202" y="1284"/>
                    </a:lnTo>
                    <a:lnTo>
                      <a:pt x="198" y="1298"/>
                    </a:lnTo>
                    <a:lnTo>
                      <a:pt x="198" y="1298"/>
                    </a:lnTo>
                    <a:lnTo>
                      <a:pt x="198" y="1302"/>
                    </a:lnTo>
                    <a:lnTo>
                      <a:pt x="200" y="1308"/>
                    </a:lnTo>
                    <a:lnTo>
                      <a:pt x="200" y="1308"/>
                    </a:lnTo>
                    <a:lnTo>
                      <a:pt x="200" y="1314"/>
                    </a:lnTo>
                    <a:lnTo>
                      <a:pt x="196" y="1320"/>
                    </a:lnTo>
                    <a:lnTo>
                      <a:pt x="190" y="1324"/>
                    </a:lnTo>
                    <a:lnTo>
                      <a:pt x="182" y="1326"/>
                    </a:lnTo>
                    <a:lnTo>
                      <a:pt x="130" y="1322"/>
                    </a:lnTo>
                    <a:lnTo>
                      <a:pt x="130" y="1322"/>
                    </a:lnTo>
                    <a:lnTo>
                      <a:pt x="62" y="1326"/>
                    </a:lnTo>
                    <a:lnTo>
                      <a:pt x="18" y="1328"/>
                    </a:lnTo>
                    <a:lnTo>
                      <a:pt x="4" y="1326"/>
                    </a:lnTo>
                    <a:lnTo>
                      <a:pt x="0" y="1326"/>
                    </a:lnTo>
                    <a:lnTo>
                      <a:pt x="0" y="1324"/>
                    </a:lnTo>
                    <a:lnTo>
                      <a:pt x="4" y="1308"/>
                    </a:lnTo>
                    <a:close/>
                  </a:path>
                </a:pathLst>
              </a:custGeom>
              <a:solidFill>
                <a:srgbClr val="8E8A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i="1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292" name="Freeform 154"/>
              <p:cNvSpPr>
                <a:spLocks/>
              </p:cNvSpPr>
              <p:nvPr/>
            </p:nvSpPr>
            <p:spPr bwMode="auto">
              <a:xfrm>
                <a:off x="6629255" y="2510822"/>
                <a:ext cx="65059" cy="137482"/>
              </a:xfrm>
              <a:custGeom>
                <a:avLst/>
                <a:gdLst>
                  <a:gd name="T0" fmla="*/ 8 w 198"/>
                  <a:gd name="T1" fmla="*/ 168 h 434"/>
                  <a:gd name="T2" fmla="*/ 4 w 198"/>
                  <a:gd name="T3" fmla="*/ 262 h 434"/>
                  <a:gd name="T4" fmla="*/ 0 w 198"/>
                  <a:gd name="T5" fmla="*/ 358 h 434"/>
                  <a:gd name="T6" fmla="*/ 0 w 198"/>
                  <a:gd name="T7" fmla="*/ 402 h 434"/>
                  <a:gd name="T8" fmla="*/ 4 w 198"/>
                  <a:gd name="T9" fmla="*/ 424 h 434"/>
                  <a:gd name="T10" fmla="*/ 8 w 198"/>
                  <a:gd name="T11" fmla="*/ 426 h 434"/>
                  <a:gd name="T12" fmla="*/ 28 w 198"/>
                  <a:gd name="T13" fmla="*/ 430 h 434"/>
                  <a:gd name="T14" fmla="*/ 86 w 198"/>
                  <a:gd name="T15" fmla="*/ 434 h 434"/>
                  <a:gd name="T16" fmla="*/ 102 w 198"/>
                  <a:gd name="T17" fmla="*/ 434 h 434"/>
                  <a:gd name="T18" fmla="*/ 136 w 198"/>
                  <a:gd name="T19" fmla="*/ 428 h 434"/>
                  <a:gd name="T20" fmla="*/ 172 w 198"/>
                  <a:gd name="T21" fmla="*/ 422 h 434"/>
                  <a:gd name="T22" fmla="*/ 188 w 198"/>
                  <a:gd name="T23" fmla="*/ 420 h 434"/>
                  <a:gd name="T24" fmla="*/ 198 w 198"/>
                  <a:gd name="T25" fmla="*/ 416 h 434"/>
                  <a:gd name="T26" fmla="*/ 196 w 198"/>
                  <a:gd name="T27" fmla="*/ 404 h 434"/>
                  <a:gd name="T28" fmla="*/ 164 w 198"/>
                  <a:gd name="T29" fmla="*/ 360 h 434"/>
                  <a:gd name="T30" fmla="*/ 132 w 198"/>
                  <a:gd name="T31" fmla="*/ 310 h 434"/>
                  <a:gd name="T32" fmla="*/ 116 w 198"/>
                  <a:gd name="T33" fmla="*/ 270 h 434"/>
                  <a:gd name="T34" fmla="*/ 104 w 198"/>
                  <a:gd name="T35" fmla="*/ 226 h 434"/>
                  <a:gd name="T36" fmla="*/ 102 w 198"/>
                  <a:gd name="T37" fmla="*/ 202 h 434"/>
                  <a:gd name="T38" fmla="*/ 106 w 198"/>
                  <a:gd name="T39" fmla="*/ 170 h 434"/>
                  <a:gd name="T40" fmla="*/ 126 w 198"/>
                  <a:gd name="T41" fmla="*/ 96 h 434"/>
                  <a:gd name="T42" fmla="*/ 136 w 198"/>
                  <a:gd name="T43" fmla="*/ 52 h 434"/>
                  <a:gd name="T44" fmla="*/ 138 w 198"/>
                  <a:gd name="T45" fmla="*/ 46 h 434"/>
                  <a:gd name="T46" fmla="*/ 144 w 198"/>
                  <a:gd name="T47" fmla="*/ 40 h 434"/>
                  <a:gd name="T48" fmla="*/ 166 w 198"/>
                  <a:gd name="T49" fmla="*/ 16 h 434"/>
                  <a:gd name="T50" fmla="*/ 172 w 198"/>
                  <a:gd name="T51" fmla="*/ 8 h 434"/>
                  <a:gd name="T52" fmla="*/ 170 w 198"/>
                  <a:gd name="T53" fmla="*/ 8 h 434"/>
                  <a:gd name="T54" fmla="*/ 168 w 198"/>
                  <a:gd name="T55" fmla="*/ 2 h 434"/>
                  <a:gd name="T56" fmla="*/ 168 w 198"/>
                  <a:gd name="T57" fmla="*/ 2 h 434"/>
                  <a:gd name="T58" fmla="*/ 158 w 198"/>
                  <a:gd name="T59" fmla="*/ 4 h 434"/>
                  <a:gd name="T60" fmla="*/ 120 w 198"/>
                  <a:gd name="T61" fmla="*/ 24 h 434"/>
                  <a:gd name="T62" fmla="*/ 90 w 198"/>
                  <a:gd name="T63" fmla="*/ 34 h 434"/>
                  <a:gd name="T64" fmla="*/ 78 w 198"/>
                  <a:gd name="T65" fmla="*/ 34 h 434"/>
                  <a:gd name="T66" fmla="*/ 64 w 198"/>
                  <a:gd name="T67" fmla="*/ 28 h 434"/>
                  <a:gd name="T68" fmla="*/ 56 w 198"/>
                  <a:gd name="T69" fmla="*/ 14 h 434"/>
                  <a:gd name="T70" fmla="*/ 54 w 198"/>
                  <a:gd name="T71" fmla="*/ 12 h 434"/>
                  <a:gd name="T72" fmla="*/ 52 w 198"/>
                  <a:gd name="T73" fmla="*/ 26 h 434"/>
                  <a:gd name="T74" fmla="*/ 50 w 198"/>
                  <a:gd name="T75" fmla="*/ 70 h 434"/>
                  <a:gd name="T76" fmla="*/ 46 w 198"/>
                  <a:gd name="T77" fmla="*/ 80 h 434"/>
                  <a:gd name="T78" fmla="*/ 28 w 198"/>
                  <a:gd name="T79" fmla="*/ 116 h 434"/>
                  <a:gd name="T80" fmla="*/ 10 w 198"/>
                  <a:gd name="T81" fmla="*/ 156 h 434"/>
                  <a:gd name="T82" fmla="*/ 8 w 198"/>
                  <a:gd name="T83" fmla="*/ 16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8" h="434">
                    <a:moveTo>
                      <a:pt x="8" y="168"/>
                    </a:moveTo>
                    <a:lnTo>
                      <a:pt x="8" y="168"/>
                    </a:lnTo>
                    <a:lnTo>
                      <a:pt x="6" y="224"/>
                    </a:lnTo>
                    <a:lnTo>
                      <a:pt x="4" y="262"/>
                    </a:lnTo>
                    <a:lnTo>
                      <a:pt x="2" y="300"/>
                    </a:lnTo>
                    <a:lnTo>
                      <a:pt x="0" y="358"/>
                    </a:lnTo>
                    <a:lnTo>
                      <a:pt x="0" y="358"/>
                    </a:lnTo>
                    <a:lnTo>
                      <a:pt x="0" y="402"/>
                    </a:lnTo>
                    <a:lnTo>
                      <a:pt x="2" y="420"/>
                    </a:lnTo>
                    <a:lnTo>
                      <a:pt x="4" y="424"/>
                    </a:lnTo>
                    <a:lnTo>
                      <a:pt x="6" y="426"/>
                    </a:lnTo>
                    <a:lnTo>
                      <a:pt x="8" y="426"/>
                    </a:lnTo>
                    <a:lnTo>
                      <a:pt x="8" y="426"/>
                    </a:lnTo>
                    <a:lnTo>
                      <a:pt x="28" y="430"/>
                    </a:lnTo>
                    <a:lnTo>
                      <a:pt x="48" y="432"/>
                    </a:lnTo>
                    <a:lnTo>
                      <a:pt x="86" y="434"/>
                    </a:lnTo>
                    <a:lnTo>
                      <a:pt x="86" y="434"/>
                    </a:lnTo>
                    <a:lnTo>
                      <a:pt x="102" y="434"/>
                    </a:lnTo>
                    <a:lnTo>
                      <a:pt x="114" y="432"/>
                    </a:lnTo>
                    <a:lnTo>
                      <a:pt x="136" y="428"/>
                    </a:lnTo>
                    <a:lnTo>
                      <a:pt x="160" y="422"/>
                    </a:lnTo>
                    <a:lnTo>
                      <a:pt x="172" y="422"/>
                    </a:lnTo>
                    <a:lnTo>
                      <a:pt x="188" y="420"/>
                    </a:lnTo>
                    <a:lnTo>
                      <a:pt x="188" y="420"/>
                    </a:lnTo>
                    <a:lnTo>
                      <a:pt x="196" y="420"/>
                    </a:lnTo>
                    <a:lnTo>
                      <a:pt x="198" y="416"/>
                    </a:lnTo>
                    <a:lnTo>
                      <a:pt x="198" y="412"/>
                    </a:lnTo>
                    <a:lnTo>
                      <a:pt x="196" y="404"/>
                    </a:lnTo>
                    <a:lnTo>
                      <a:pt x="182" y="386"/>
                    </a:lnTo>
                    <a:lnTo>
                      <a:pt x="164" y="360"/>
                    </a:lnTo>
                    <a:lnTo>
                      <a:pt x="142" y="328"/>
                    </a:lnTo>
                    <a:lnTo>
                      <a:pt x="132" y="310"/>
                    </a:lnTo>
                    <a:lnTo>
                      <a:pt x="124" y="292"/>
                    </a:lnTo>
                    <a:lnTo>
                      <a:pt x="116" y="270"/>
                    </a:lnTo>
                    <a:lnTo>
                      <a:pt x="108" y="250"/>
                    </a:lnTo>
                    <a:lnTo>
                      <a:pt x="104" y="226"/>
                    </a:lnTo>
                    <a:lnTo>
                      <a:pt x="102" y="202"/>
                    </a:lnTo>
                    <a:lnTo>
                      <a:pt x="102" y="202"/>
                    </a:lnTo>
                    <a:lnTo>
                      <a:pt x="102" y="186"/>
                    </a:lnTo>
                    <a:lnTo>
                      <a:pt x="106" y="170"/>
                    </a:lnTo>
                    <a:lnTo>
                      <a:pt x="114" y="134"/>
                    </a:lnTo>
                    <a:lnTo>
                      <a:pt x="126" y="96"/>
                    </a:lnTo>
                    <a:lnTo>
                      <a:pt x="132" y="74"/>
                    </a:lnTo>
                    <a:lnTo>
                      <a:pt x="136" y="52"/>
                    </a:lnTo>
                    <a:lnTo>
                      <a:pt x="136" y="52"/>
                    </a:lnTo>
                    <a:lnTo>
                      <a:pt x="138" y="46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58" y="26"/>
                    </a:lnTo>
                    <a:lnTo>
                      <a:pt x="166" y="16"/>
                    </a:lnTo>
                    <a:lnTo>
                      <a:pt x="172" y="8"/>
                    </a:lnTo>
                    <a:lnTo>
                      <a:pt x="172" y="8"/>
                    </a:lnTo>
                    <a:lnTo>
                      <a:pt x="172" y="8"/>
                    </a:lnTo>
                    <a:lnTo>
                      <a:pt x="170" y="8"/>
                    </a:lnTo>
                    <a:lnTo>
                      <a:pt x="170" y="6"/>
                    </a:lnTo>
                    <a:lnTo>
                      <a:pt x="168" y="2"/>
                    </a:lnTo>
                    <a:lnTo>
                      <a:pt x="168" y="2"/>
                    </a:lnTo>
                    <a:lnTo>
                      <a:pt x="168" y="2"/>
                    </a:lnTo>
                    <a:lnTo>
                      <a:pt x="166" y="0"/>
                    </a:lnTo>
                    <a:lnTo>
                      <a:pt x="158" y="4"/>
                    </a:lnTo>
                    <a:lnTo>
                      <a:pt x="134" y="16"/>
                    </a:lnTo>
                    <a:lnTo>
                      <a:pt x="120" y="24"/>
                    </a:lnTo>
                    <a:lnTo>
                      <a:pt x="106" y="30"/>
                    </a:lnTo>
                    <a:lnTo>
                      <a:pt x="90" y="34"/>
                    </a:lnTo>
                    <a:lnTo>
                      <a:pt x="78" y="34"/>
                    </a:lnTo>
                    <a:lnTo>
                      <a:pt x="78" y="34"/>
                    </a:lnTo>
                    <a:lnTo>
                      <a:pt x="70" y="32"/>
                    </a:lnTo>
                    <a:lnTo>
                      <a:pt x="64" y="28"/>
                    </a:lnTo>
                    <a:lnTo>
                      <a:pt x="60" y="22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4" y="12"/>
                    </a:lnTo>
                    <a:lnTo>
                      <a:pt x="54" y="14"/>
                    </a:lnTo>
                    <a:lnTo>
                      <a:pt x="52" y="26"/>
                    </a:lnTo>
                    <a:lnTo>
                      <a:pt x="52" y="46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46" y="80"/>
                    </a:lnTo>
                    <a:lnTo>
                      <a:pt x="42" y="92"/>
                    </a:lnTo>
                    <a:lnTo>
                      <a:pt x="28" y="116"/>
                    </a:lnTo>
                    <a:lnTo>
                      <a:pt x="16" y="142"/>
                    </a:lnTo>
                    <a:lnTo>
                      <a:pt x="10" y="156"/>
                    </a:lnTo>
                    <a:lnTo>
                      <a:pt x="8" y="168"/>
                    </a:lnTo>
                    <a:lnTo>
                      <a:pt x="8" y="16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i="1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293" name="Freeform 155"/>
              <p:cNvSpPr>
                <a:spLocks/>
              </p:cNvSpPr>
              <p:nvPr/>
            </p:nvSpPr>
            <p:spPr bwMode="auto">
              <a:xfrm>
                <a:off x="6633855" y="2522860"/>
                <a:ext cx="29572" cy="121643"/>
              </a:xfrm>
              <a:custGeom>
                <a:avLst/>
                <a:gdLst>
                  <a:gd name="T0" fmla="*/ 68 w 90"/>
                  <a:gd name="T1" fmla="*/ 52 h 384"/>
                  <a:gd name="T2" fmla="*/ 68 w 90"/>
                  <a:gd name="T3" fmla="*/ 52 h 384"/>
                  <a:gd name="T4" fmla="*/ 64 w 90"/>
                  <a:gd name="T5" fmla="*/ 90 h 384"/>
                  <a:gd name="T6" fmla="*/ 58 w 90"/>
                  <a:gd name="T7" fmla="*/ 116 h 384"/>
                  <a:gd name="T8" fmla="*/ 56 w 90"/>
                  <a:gd name="T9" fmla="*/ 140 h 384"/>
                  <a:gd name="T10" fmla="*/ 58 w 90"/>
                  <a:gd name="T11" fmla="*/ 166 h 384"/>
                  <a:gd name="T12" fmla="*/ 58 w 90"/>
                  <a:gd name="T13" fmla="*/ 166 h 384"/>
                  <a:gd name="T14" fmla="*/ 58 w 90"/>
                  <a:gd name="T15" fmla="*/ 198 h 384"/>
                  <a:gd name="T16" fmla="*/ 56 w 90"/>
                  <a:gd name="T17" fmla="*/ 226 h 384"/>
                  <a:gd name="T18" fmla="*/ 52 w 90"/>
                  <a:gd name="T19" fmla="*/ 256 h 384"/>
                  <a:gd name="T20" fmla="*/ 46 w 90"/>
                  <a:gd name="T21" fmla="*/ 296 h 384"/>
                  <a:gd name="T22" fmla="*/ 46 w 90"/>
                  <a:gd name="T23" fmla="*/ 296 h 384"/>
                  <a:gd name="T24" fmla="*/ 44 w 90"/>
                  <a:gd name="T25" fmla="*/ 306 h 384"/>
                  <a:gd name="T26" fmla="*/ 42 w 90"/>
                  <a:gd name="T27" fmla="*/ 332 h 384"/>
                  <a:gd name="T28" fmla="*/ 42 w 90"/>
                  <a:gd name="T29" fmla="*/ 356 h 384"/>
                  <a:gd name="T30" fmla="*/ 40 w 90"/>
                  <a:gd name="T31" fmla="*/ 368 h 384"/>
                  <a:gd name="T32" fmla="*/ 40 w 90"/>
                  <a:gd name="T33" fmla="*/ 368 h 384"/>
                  <a:gd name="T34" fmla="*/ 32 w 90"/>
                  <a:gd name="T35" fmla="*/ 372 h 384"/>
                  <a:gd name="T36" fmla="*/ 28 w 90"/>
                  <a:gd name="T37" fmla="*/ 376 h 384"/>
                  <a:gd name="T38" fmla="*/ 22 w 90"/>
                  <a:gd name="T39" fmla="*/ 380 h 384"/>
                  <a:gd name="T40" fmla="*/ 14 w 90"/>
                  <a:gd name="T41" fmla="*/ 384 h 384"/>
                  <a:gd name="T42" fmla="*/ 14 w 90"/>
                  <a:gd name="T43" fmla="*/ 384 h 384"/>
                  <a:gd name="T44" fmla="*/ 10 w 90"/>
                  <a:gd name="T45" fmla="*/ 384 h 384"/>
                  <a:gd name="T46" fmla="*/ 8 w 90"/>
                  <a:gd name="T47" fmla="*/ 384 h 384"/>
                  <a:gd name="T48" fmla="*/ 2 w 90"/>
                  <a:gd name="T49" fmla="*/ 378 h 384"/>
                  <a:gd name="T50" fmla="*/ 0 w 90"/>
                  <a:gd name="T51" fmla="*/ 368 h 384"/>
                  <a:gd name="T52" fmla="*/ 0 w 90"/>
                  <a:gd name="T53" fmla="*/ 356 h 384"/>
                  <a:gd name="T54" fmla="*/ 0 w 90"/>
                  <a:gd name="T55" fmla="*/ 356 h 384"/>
                  <a:gd name="T56" fmla="*/ 14 w 90"/>
                  <a:gd name="T57" fmla="*/ 272 h 384"/>
                  <a:gd name="T58" fmla="*/ 18 w 90"/>
                  <a:gd name="T59" fmla="*/ 230 h 384"/>
                  <a:gd name="T60" fmla="*/ 22 w 90"/>
                  <a:gd name="T61" fmla="*/ 194 h 384"/>
                  <a:gd name="T62" fmla="*/ 22 w 90"/>
                  <a:gd name="T63" fmla="*/ 194 h 384"/>
                  <a:gd name="T64" fmla="*/ 46 w 90"/>
                  <a:gd name="T65" fmla="*/ 46 h 384"/>
                  <a:gd name="T66" fmla="*/ 46 w 90"/>
                  <a:gd name="T67" fmla="*/ 46 h 384"/>
                  <a:gd name="T68" fmla="*/ 46 w 90"/>
                  <a:gd name="T69" fmla="*/ 38 h 384"/>
                  <a:gd name="T70" fmla="*/ 46 w 90"/>
                  <a:gd name="T71" fmla="*/ 32 h 384"/>
                  <a:gd name="T72" fmla="*/ 44 w 90"/>
                  <a:gd name="T73" fmla="*/ 28 h 384"/>
                  <a:gd name="T74" fmla="*/ 44 w 90"/>
                  <a:gd name="T75" fmla="*/ 24 h 384"/>
                  <a:gd name="T76" fmla="*/ 44 w 90"/>
                  <a:gd name="T77" fmla="*/ 24 h 384"/>
                  <a:gd name="T78" fmla="*/ 48 w 90"/>
                  <a:gd name="T79" fmla="*/ 14 h 384"/>
                  <a:gd name="T80" fmla="*/ 54 w 90"/>
                  <a:gd name="T81" fmla="*/ 8 h 384"/>
                  <a:gd name="T82" fmla="*/ 60 w 90"/>
                  <a:gd name="T83" fmla="*/ 2 h 384"/>
                  <a:gd name="T84" fmla="*/ 64 w 90"/>
                  <a:gd name="T85" fmla="*/ 0 h 384"/>
                  <a:gd name="T86" fmla="*/ 64 w 90"/>
                  <a:gd name="T87" fmla="*/ 0 h 384"/>
                  <a:gd name="T88" fmla="*/ 82 w 90"/>
                  <a:gd name="T89" fmla="*/ 14 h 384"/>
                  <a:gd name="T90" fmla="*/ 90 w 90"/>
                  <a:gd name="T91" fmla="*/ 20 h 384"/>
                  <a:gd name="T92" fmla="*/ 90 w 90"/>
                  <a:gd name="T93" fmla="*/ 20 h 384"/>
                  <a:gd name="T94" fmla="*/ 88 w 90"/>
                  <a:gd name="T95" fmla="*/ 24 h 384"/>
                  <a:gd name="T96" fmla="*/ 86 w 90"/>
                  <a:gd name="T97" fmla="*/ 28 h 384"/>
                  <a:gd name="T98" fmla="*/ 80 w 90"/>
                  <a:gd name="T99" fmla="*/ 32 h 384"/>
                  <a:gd name="T100" fmla="*/ 74 w 90"/>
                  <a:gd name="T101" fmla="*/ 40 h 384"/>
                  <a:gd name="T102" fmla="*/ 70 w 90"/>
                  <a:gd name="T103" fmla="*/ 44 h 384"/>
                  <a:gd name="T104" fmla="*/ 68 w 90"/>
                  <a:gd name="T105" fmla="*/ 52 h 384"/>
                  <a:gd name="T106" fmla="*/ 68 w 90"/>
                  <a:gd name="T107" fmla="*/ 52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0" h="384">
                    <a:moveTo>
                      <a:pt x="68" y="52"/>
                    </a:moveTo>
                    <a:lnTo>
                      <a:pt x="68" y="52"/>
                    </a:lnTo>
                    <a:lnTo>
                      <a:pt x="64" y="90"/>
                    </a:lnTo>
                    <a:lnTo>
                      <a:pt x="58" y="116"/>
                    </a:lnTo>
                    <a:lnTo>
                      <a:pt x="56" y="140"/>
                    </a:lnTo>
                    <a:lnTo>
                      <a:pt x="58" y="166"/>
                    </a:lnTo>
                    <a:lnTo>
                      <a:pt x="58" y="166"/>
                    </a:lnTo>
                    <a:lnTo>
                      <a:pt x="58" y="198"/>
                    </a:lnTo>
                    <a:lnTo>
                      <a:pt x="56" y="226"/>
                    </a:lnTo>
                    <a:lnTo>
                      <a:pt x="52" y="256"/>
                    </a:lnTo>
                    <a:lnTo>
                      <a:pt x="46" y="296"/>
                    </a:lnTo>
                    <a:lnTo>
                      <a:pt x="46" y="296"/>
                    </a:lnTo>
                    <a:lnTo>
                      <a:pt x="44" y="306"/>
                    </a:lnTo>
                    <a:lnTo>
                      <a:pt x="42" y="332"/>
                    </a:lnTo>
                    <a:lnTo>
                      <a:pt x="42" y="356"/>
                    </a:lnTo>
                    <a:lnTo>
                      <a:pt x="40" y="368"/>
                    </a:lnTo>
                    <a:lnTo>
                      <a:pt x="40" y="368"/>
                    </a:lnTo>
                    <a:lnTo>
                      <a:pt x="32" y="372"/>
                    </a:lnTo>
                    <a:lnTo>
                      <a:pt x="28" y="376"/>
                    </a:lnTo>
                    <a:lnTo>
                      <a:pt x="22" y="380"/>
                    </a:lnTo>
                    <a:lnTo>
                      <a:pt x="14" y="384"/>
                    </a:lnTo>
                    <a:lnTo>
                      <a:pt x="14" y="384"/>
                    </a:lnTo>
                    <a:lnTo>
                      <a:pt x="10" y="384"/>
                    </a:lnTo>
                    <a:lnTo>
                      <a:pt x="8" y="384"/>
                    </a:lnTo>
                    <a:lnTo>
                      <a:pt x="2" y="378"/>
                    </a:lnTo>
                    <a:lnTo>
                      <a:pt x="0" y="368"/>
                    </a:lnTo>
                    <a:lnTo>
                      <a:pt x="0" y="356"/>
                    </a:lnTo>
                    <a:lnTo>
                      <a:pt x="0" y="356"/>
                    </a:lnTo>
                    <a:lnTo>
                      <a:pt x="14" y="272"/>
                    </a:lnTo>
                    <a:lnTo>
                      <a:pt x="18" y="230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38"/>
                    </a:lnTo>
                    <a:lnTo>
                      <a:pt x="46" y="32"/>
                    </a:lnTo>
                    <a:lnTo>
                      <a:pt x="44" y="28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8" y="14"/>
                    </a:lnTo>
                    <a:lnTo>
                      <a:pt x="54" y="8"/>
                    </a:lnTo>
                    <a:lnTo>
                      <a:pt x="60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82" y="14"/>
                    </a:lnTo>
                    <a:lnTo>
                      <a:pt x="90" y="20"/>
                    </a:lnTo>
                    <a:lnTo>
                      <a:pt x="90" y="20"/>
                    </a:lnTo>
                    <a:lnTo>
                      <a:pt x="88" y="24"/>
                    </a:lnTo>
                    <a:lnTo>
                      <a:pt x="86" y="28"/>
                    </a:lnTo>
                    <a:lnTo>
                      <a:pt x="80" y="32"/>
                    </a:lnTo>
                    <a:lnTo>
                      <a:pt x="74" y="40"/>
                    </a:lnTo>
                    <a:lnTo>
                      <a:pt x="70" y="44"/>
                    </a:lnTo>
                    <a:lnTo>
                      <a:pt x="68" y="52"/>
                    </a:lnTo>
                    <a:lnTo>
                      <a:pt x="68" y="52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i="1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294" name="Freeform 102"/>
              <p:cNvSpPr>
                <a:spLocks/>
              </p:cNvSpPr>
              <p:nvPr/>
            </p:nvSpPr>
            <p:spPr bwMode="auto">
              <a:xfrm>
                <a:off x="6479265" y="2467740"/>
                <a:ext cx="120000" cy="416401"/>
              </a:xfrm>
              <a:custGeom>
                <a:avLst/>
                <a:gdLst>
                  <a:gd name="T0" fmla="*/ 265 w 267"/>
                  <a:gd name="T1" fmla="*/ 192 h 961"/>
                  <a:gd name="T2" fmla="*/ 256 w 267"/>
                  <a:gd name="T3" fmla="*/ 167 h 961"/>
                  <a:gd name="T4" fmla="*/ 221 w 267"/>
                  <a:gd name="T5" fmla="*/ 141 h 961"/>
                  <a:gd name="T6" fmla="*/ 214 w 267"/>
                  <a:gd name="T7" fmla="*/ 107 h 961"/>
                  <a:gd name="T8" fmla="*/ 224 w 267"/>
                  <a:gd name="T9" fmla="*/ 79 h 961"/>
                  <a:gd name="T10" fmla="*/ 221 w 267"/>
                  <a:gd name="T11" fmla="*/ 56 h 961"/>
                  <a:gd name="T12" fmla="*/ 197 w 267"/>
                  <a:gd name="T13" fmla="*/ 8 h 961"/>
                  <a:gd name="T14" fmla="*/ 176 w 267"/>
                  <a:gd name="T15" fmla="*/ 4 h 961"/>
                  <a:gd name="T16" fmla="*/ 139 w 267"/>
                  <a:gd name="T17" fmla="*/ 20 h 961"/>
                  <a:gd name="T18" fmla="*/ 128 w 267"/>
                  <a:gd name="T19" fmla="*/ 67 h 961"/>
                  <a:gd name="T20" fmla="*/ 130 w 267"/>
                  <a:gd name="T21" fmla="*/ 87 h 961"/>
                  <a:gd name="T22" fmla="*/ 111 w 267"/>
                  <a:gd name="T23" fmla="*/ 155 h 961"/>
                  <a:gd name="T24" fmla="*/ 86 w 267"/>
                  <a:gd name="T25" fmla="*/ 172 h 961"/>
                  <a:gd name="T26" fmla="*/ 76 w 267"/>
                  <a:gd name="T27" fmla="*/ 193 h 961"/>
                  <a:gd name="T28" fmla="*/ 71 w 267"/>
                  <a:gd name="T29" fmla="*/ 219 h 961"/>
                  <a:gd name="T30" fmla="*/ 51 w 267"/>
                  <a:gd name="T31" fmla="*/ 267 h 961"/>
                  <a:gd name="T32" fmla="*/ 39 w 267"/>
                  <a:gd name="T33" fmla="*/ 303 h 961"/>
                  <a:gd name="T34" fmla="*/ 39 w 267"/>
                  <a:gd name="T35" fmla="*/ 327 h 961"/>
                  <a:gd name="T36" fmla="*/ 56 w 267"/>
                  <a:gd name="T37" fmla="*/ 352 h 961"/>
                  <a:gd name="T38" fmla="*/ 83 w 267"/>
                  <a:gd name="T39" fmla="*/ 373 h 961"/>
                  <a:gd name="T40" fmla="*/ 80 w 267"/>
                  <a:gd name="T41" fmla="*/ 403 h 961"/>
                  <a:gd name="T42" fmla="*/ 76 w 267"/>
                  <a:gd name="T43" fmla="*/ 427 h 961"/>
                  <a:gd name="T44" fmla="*/ 71 w 267"/>
                  <a:gd name="T45" fmla="*/ 444 h 961"/>
                  <a:gd name="T46" fmla="*/ 79 w 267"/>
                  <a:gd name="T47" fmla="*/ 464 h 961"/>
                  <a:gd name="T48" fmla="*/ 34 w 267"/>
                  <a:gd name="T49" fmla="*/ 634 h 961"/>
                  <a:gd name="T50" fmla="*/ 42 w 267"/>
                  <a:gd name="T51" fmla="*/ 694 h 961"/>
                  <a:gd name="T52" fmla="*/ 57 w 267"/>
                  <a:gd name="T53" fmla="*/ 828 h 961"/>
                  <a:gd name="T54" fmla="*/ 32 w 267"/>
                  <a:gd name="T55" fmla="*/ 930 h 961"/>
                  <a:gd name="T56" fmla="*/ 9 w 267"/>
                  <a:gd name="T57" fmla="*/ 936 h 961"/>
                  <a:gd name="T58" fmla="*/ 5 w 267"/>
                  <a:gd name="T59" fmla="*/ 950 h 961"/>
                  <a:gd name="T60" fmla="*/ 57 w 267"/>
                  <a:gd name="T61" fmla="*/ 950 h 961"/>
                  <a:gd name="T62" fmla="*/ 85 w 267"/>
                  <a:gd name="T63" fmla="*/ 922 h 961"/>
                  <a:gd name="T64" fmla="*/ 100 w 267"/>
                  <a:gd name="T65" fmla="*/ 927 h 961"/>
                  <a:gd name="T66" fmla="*/ 106 w 267"/>
                  <a:gd name="T67" fmla="*/ 944 h 961"/>
                  <a:gd name="T68" fmla="*/ 123 w 267"/>
                  <a:gd name="T69" fmla="*/ 896 h 961"/>
                  <a:gd name="T70" fmla="*/ 110 w 267"/>
                  <a:gd name="T71" fmla="*/ 874 h 961"/>
                  <a:gd name="T72" fmla="*/ 106 w 267"/>
                  <a:gd name="T73" fmla="*/ 791 h 961"/>
                  <a:gd name="T74" fmla="*/ 105 w 267"/>
                  <a:gd name="T75" fmla="*/ 706 h 961"/>
                  <a:gd name="T76" fmla="*/ 187 w 267"/>
                  <a:gd name="T77" fmla="*/ 739 h 961"/>
                  <a:gd name="T78" fmla="*/ 193 w 267"/>
                  <a:gd name="T79" fmla="*/ 874 h 961"/>
                  <a:gd name="T80" fmla="*/ 162 w 267"/>
                  <a:gd name="T81" fmla="*/ 927 h 961"/>
                  <a:gd name="T82" fmla="*/ 140 w 267"/>
                  <a:gd name="T83" fmla="*/ 958 h 961"/>
                  <a:gd name="T84" fmla="*/ 197 w 267"/>
                  <a:gd name="T85" fmla="*/ 956 h 961"/>
                  <a:gd name="T86" fmla="*/ 217 w 267"/>
                  <a:gd name="T87" fmla="*/ 936 h 961"/>
                  <a:gd name="T88" fmla="*/ 230 w 267"/>
                  <a:gd name="T89" fmla="*/ 933 h 961"/>
                  <a:gd name="T90" fmla="*/ 244 w 267"/>
                  <a:gd name="T91" fmla="*/ 887 h 961"/>
                  <a:gd name="T92" fmla="*/ 231 w 267"/>
                  <a:gd name="T93" fmla="*/ 862 h 961"/>
                  <a:gd name="T94" fmla="*/ 244 w 267"/>
                  <a:gd name="T95" fmla="*/ 765 h 961"/>
                  <a:gd name="T96" fmla="*/ 245 w 267"/>
                  <a:gd name="T97" fmla="*/ 699 h 961"/>
                  <a:gd name="T98" fmla="*/ 244 w 267"/>
                  <a:gd name="T99" fmla="*/ 461 h 961"/>
                  <a:gd name="T100" fmla="*/ 238 w 267"/>
                  <a:gd name="T101" fmla="*/ 380 h 961"/>
                  <a:gd name="T102" fmla="*/ 228 w 267"/>
                  <a:gd name="T103" fmla="*/ 333 h 961"/>
                  <a:gd name="T104" fmla="*/ 230 w 267"/>
                  <a:gd name="T105" fmla="*/ 310 h 961"/>
                  <a:gd name="T106" fmla="*/ 234 w 267"/>
                  <a:gd name="T107" fmla="*/ 284 h 961"/>
                  <a:gd name="T108" fmla="*/ 256 w 267"/>
                  <a:gd name="T109" fmla="*/ 235 h 961"/>
                  <a:gd name="T110" fmla="*/ 259 w 267"/>
                  <a:gd name="T111" fmla="*/ 212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67" h="961">
                    <a:moveTo>
                      <a:pt x="259" y="212"/>
                    </a:moveTo>
                    <a:lnTo>
                      <a:pt x="259" y="212"/>
                    </a:lnTo>
                    <a:lnTo>
                      <a:pt x="264" y="205"/>
                    </a:lnTo>
                    <a:lnTo>
                      <a:pt x="265" y="201"/>
                    </a:lnTo>
                    <a:lnTo>
                      <a:pt x="267" y="196"/>
                    </a:lnTo>
                    <a:lnTo>
                      <a:pt x="265" y="192"/>
                    </a:lnTo>
                    <a:lnTo>
                      <a:pt x="264" y="182"/>
                    </a:lnTo>
                    <a:lnTo>
                      <a:pt x="264" y="175"/>
                    </a:lnTo>
                    <a:lnTo>
                      <a:pt x="264" y="175"/>
                    </a:lnTo>
                    <a:lnTo>
                      <a:pt x="262" y="172"/>
                    </a:lnTo>
                    <a:lnTo>
                      <a:pt x="261" y="168"/>
                    </a:lnTo>
                    <a:lnTo>
                      <a:pt x="256" y="167"/>
                    </a:lnTo>
                    <a:lnTo>
                      <a:pt x="248" y="165"/>
                    </a:lnTo>
                    <a:lnTo>
                      <a:pt x="248" y="165"/>
                    </a:lnTo>
                    <a:lnTo>
                      <a:pt x="224" y="147"/>
                    </a:lnTo>
                    <a:lnTo>
                      <a:pt x="224" y="147"/>
                    </a:lnTo>
                    <a:lnTo>
                      <a:pt x="221" y="144"/>
                    </a:lnTo>
                    <a:lnTo>
                      <a:pt x="221" y="141"/>
                    </a:lnTo>
                    <a:lnTo>
                      <a:pt x="217" y="131"/>
                    </a:lnTo>
                    <a:lnTo>
                      <a:pt x="217" y="131"/>
                    </a:lnTo>
                    <a:lnTo>
                      <a:pt x="210" y="115"/>
                    </a:lnTo>
                    <a:lnTo>
                      <a:pt x="210" y="115"/>
                    </a:lnTo>
                    <a:lnTo>
                      <a:pt x="213" y="111"/>
                    </a:lnTo>
                    <a:lnTo>
                      <a:pt x="214" y="107"/>
                    </a:lnTo>
                    <a:lnTo>
                      <a:pt x="217" y="98"/>
                    </a:lnTo>
                    <a:lnTo>
                      <a:pt x="217" y="88"/>
                    </a:lnTo>
                    <a:lnTo>
                      <a:pt x="217" y="88"/>
                    </a:lnTo>
                    <a:lnTo>
                      <a:pt x="219" y="88"/>
                    </a:lnTo>
                    <a:lnTo>
                      <a:pt x="221" y="87"/>
                    </a:lnTo>
                    <a:lnTo>
                      <a:pt x="224" y="79"/>
                    </a:lnTo>
                    <a:lnTo>
                      <a:pt x="225" y="65"/>
                    </a:lnTo>
                    <a:lnTo>
                      <a:pt x="225" y="65"/>
                    </a:lnTo>
                    <a:lnTo>
                      <a:pt x="225" y="61"/>
                    </a:lnTo>
                    <a:lnTo>
                      <a:pt x="222" y="57"/>
                    </a:lnTo>
                    <a:lnTo>
                      <a:pt x="221" y="56"/>
                    </a:lnTo>
                    <a:lnTo>
                      <a:pt x="221" y="56"/>
                    </a:lnTo>
                    <a:lnTo>
                      <a:pt x="217" y="39"/>
                    </a:lnTo>
                    <a:lnTo>
                      <a:pt x="217" y="39"/>
                    </a:lnTo>
                    <a:lnTo>
                      <a:pt x="216" y="31"/>
                    </a:lnTo>
                    <a:lnTo>
                      <a:pt x="210" y="20"/>
                    </a:lnTo>
                    <a:lnTo>
                      <a:pt x="204" y="14"/>
                    </a:lnTo>
                    <a:lnTo>
                      <a:pt x="197" y="8"/>
                    </a:lnTo>
                    <a:lnTo>
                      <a:pt x="190" y="4"/>
                    </a:lnTo>
                    <a:lnTo>
                      <a:pt x="180" y="2"/>
                    </a:lnTo>
                    <a:lnTo>
                      <a:pt x="180" y="2"/>
                    </a:lnTo>
                    <a:lnTo>
                      <a:pt x="177" y="2"/>
                    </a:lnTo>
                    <a:lnTo>
                      <a:pt x="176" y="4"/>
                    </a:lnTo>
                    <a:lnTo>
                      <a:pt x="176" y="4"/>
                    </a:lnTo>
                    <a:lnTo>
                      <a:pt x="174" y="0"/>
                    </a:lnTo>
                    <a:lnTo>
                      <a:pt x="174" y="0"/>
                    </a:lnTo>
                    <a:lnTo>
                      <a:pt x="164" y="2"/>
                    </a:lnTo>
                    <a:lnTo>
                      <a:pt x="153" y="7"/>
                    </a:lnTo>
                    <a:lnTo>
                      <a:pt x="145" y="13"/>
                    </a:lnTo>
                    <a:lnTo>
                      <a:pt x="139" y="20"/>
                    </a:lnTo>
                    <a:lnTo>
                      <a:pt x="134" y="30"/>
                    </a:lnTo>
                    <a:lnTo>
                      <a:pt x="131" y="37"/>
                    </a:lnTo>
                    <a:lnTo>
                      <a:pt x="130" y="44"/>
                    </a:lnTo>
                    <a:lnTo>
                      <a:pt x="128" y="48"/>
                    </a:lnTo>
                    <a:lnTo>
                      <a:pt x="128" y="48"/>
                    </a:lnTo>
                    <a:lnTo>
                      <a:pt x="128" y="67"/>
                    </a:lnTo>
                    <a:lnTo>
                      <a:pt x="128" y="67"/>
                    </a:lnTo>
                    <a:lnTo>
                      <a:pt x="127" y="67"/>
                    </a:lnTo>
                    <a:lnTo>
                      <a:pt x="127" y="68"/>
                    </a:lnTo>
                    <a:lnTo>
                      <a:pt x="127" y="73"/>
                    </a:lnTo>
                    <a:lnTo>
                      <a:pt x="130" y="87"/>
                    </a:lnTo>
                    <a:lnTo>
                      <a:pt x="130" y="87"/>
                    </a:lnTo>
                    <a:lnTo>
                      <a:pt x="130" y="99"/>
                    </a:lnTo>
                    <a:lnTo>
                      <a:pt x="128" y="115"/>
                    </a:lnTo>
                    <a:lnTo>
                      <a:pt x="125" y="133"/>
                    </a:lnTo>
                    <a:lnTo>
                      <a:pt x="117" y="152"/>
                    </a:lnTo>
                    <a:lnTo>
                      <a:pt x="113" y="155"/>
                    </a:lnTo>
                    <a:lnTo>
                      <a:pt x="111" y="155"/>
                    </a:lnTo>
                    <a:lnTo>
                      <a:pt x="111" y="155"/>
                    </a:lnTo>
                    <a:lnTo>
                      <a:pt x="105" y="156"/>
                    </a:lnTo>
                    <a:lnTo>
                      <a:pt x="100" y="158"/>
                    </a:lnTo>
                    <a:lnTo>
                      <a:pt x="96" y="161"/>
                    </a:lnTo>
                    <a:lnTo>
                      <a:pt x="93" y="164"/>
                    </a:lnTo>
                    <a:lnTo>
                      <a:pt x="86" y="172"/>
                    </a:lnTo>
                    <a:lnTo>
                      <a:pt x="85" y="181"/>
                    </a:lnTo>
                    <a:lnTo>
                      <a:pt x="85" y="181"/>
                    </a:lnTo>
                    <a:lnTo>
                      <a:pt x="83" y="188"/>
                    </a:lnTo>
                    <a:lnTo>
                      <a:pt x="79" y="190"/>
                    </a:lnTo>
                    <a:lnTo>
                      <a:pt x="79" y="190"/>
                    </a:lnTo>
                    <a:lnTo>
                      <a:pt x="76" y="193"/>
                    </a:lnTo>
                    <a:lnTo>
                      <a:pt x="76" y="195"/>
                    </a:lnTo>
                    <a:lnTo>
                      <a:pt x="77" y="199"/>
                    </a:lnTo>
                    <a:lnTo>
                      <a:pt x="76" y="205"/>
                    </a:lnTo>
                    <a:lnTo>
                      <a:pt x="76" y="205"/>
                    </a:lnTo>
                    <a:lnTo>
                      <a:pt x="74" y="213"/>
                    </a:lnTo>
                    <a:lnTo>
                      <a:pt x="71" y="219"/>
                    </a:lnTo>
                    <a:lnTo>
                      <a:pt x="71" y="219"/>
                    </a:lnTo>
                    <a:lnTo>
                      <a:pt x="63" y="233"/>
                    </a:lnTo>
                    <a:lnTo>
                      <a:pt x="62" y="246"/>
                    </a:lnTo>
                    <a:lnTo>
                      <a:pt x="62" y="246"/>
                    </a:lnTo>
                    <a:lnTo>
                      <a:pt x="57" y="255"/>
                    </a:lnTo>
                    <a:lnTo>
                      <a:pt x="51" y="267"/>
                    </a:lnTo>
                    <a:lnTo>
                      <a:pt x="45" y="279"/>
                    </a:lnTo>
                    <a:lnTo>
                      <a:pt x="40" y="289"/>
                    </a:lnTo>
                    <a:lnTo>
                      <a:pt x="40" y="289"/>
                    </a:lnTo>
                    <a:lnTo>
                      <a:pt x="39" y="295"/>
                    </a:lnTo>
                    <a:lnTo>
                      <a:pt x="39" y="299"/>
                    </a:lnTo>
                    <a:lnTo>
                      <a:pt x="39" y="303"/>
                    </a:lnTo>
                    <a:lnTo>
                      <a:pt x="36" y="306"/>
                    </a:lnTo>
                    <a:lnTo>
                      <a:pt x="36" y="306"/>
                    </a:lnTo>
                    <a:lnTo>
                      <a:pt x="34" y="309"/>
                    </a:lnTo>
                    <a:lnTo>
                      <a:pt x="34" y="313"/>
                    </a:lnTo>
                    <a:lnTo>
                      <a:pt x="36" y="320"/>
                    </a:lnTo>
                    <a:lnTo>
                      <a:pt x="39" y="327"/>
                    </a:lnTo>
                    <a:lnTo>
                      <a:pt x="39" y="327"/>
                    </a:lnTo>
                    <a:lnTo>
                      <a:pt x="45" y="340"/>
                    </a:lnTo>
                    <a:lnTo>
                      <a:pt x="49" y="347"/>
                    </a:lnTo>
                    <a:lnTo>
                      <a:pt x="49" y="347"/>
                    </a:lnTo>
                    <a:lnTo>
                      <a:pt x="51" y="350"/>
                    </a:lnTo>
                    <a:lnTo>
                      <a:pt x="56" y="352"/>
                    </a:lnTo>
                    <a:lnTo>
                      <a:pt x="68" y="353"/>
                    </a:lnTo>
                    <a:lnTo>
                      <a:pt x="79" y="353"/>
                    </a:lnTo>
                    <a:lnTo>
                      <a:pt x="83" y="353"/>
                    </a:lnTo>
                    <a:lnTo>
                      <a:pt x="83" y="353"/>
                    </a:lnTo>
                    <a:lnTo>
                      <a:pt x="83" y="366"/>
                    </a:lnTo>
                    <a:lnTo>
                      <a:pt x="83" y="373"/>
                    </a:lnTo>
                    <a:lnTo>
                      <a:pt x="85" y="377"/>
                    </a:lnTo>
                    <a:lnTo>
                      <a:pt x="85" y="377"/>
                    </a:lnTo>
                    <a:lnTo>
                      <a:pt x="86" y="381"/>
                    </a:lnTo>
                    <a:lnTo>
                      <a:pt x="85" y="387"/>
                    </a:lnTo>
                    <a:lnTo>
                      <a:pt x="83" y="395"/>
                    </a:lnTo>
                    <a:lnTo>
                      <a:pt x="80" y="403"/>
                    </a:lnTo>
                    <a:lnTo>
                      <a:pt x="80" y="403"/>
                    </a:lnTo>
                    <a:lnTo>
                      <a:pt x="77" y="409"/>
                    </a:lnTo>
                    <a:lnTo>
                      <a:pt x="76" y="414"/>
                    </a:lnTo>
                    <a:lnTo>
                      <a:pt x="74" y="420"/>
                    </a:lnTo>
                    <a:lnTo>
                      <a:pt x="76" y="427"/>
                    </a:lnTo>
                    <a:lnTo>
                      <a:pt x="76" y="427"/>
                    </a:lnTo>
                    <a:lnTo>
                      <a:pt x="77" y="434"/>
                    </a:lnTo>
                    <a:lnTo>
                      <a:pt x="76" y="434"/>
                    </a:lnTo>
                    <a:lnTo>
                      <a:pt x="73" y="435"/>
                    </a:lnTo>
                    <a:lnTo>
                      <a:pt x="71" y="438"/>
                    </a:lnTo>
                    <a:lnTo>
                      <a:pt x="71" y="438"/>
                    </a:lnTo>
                    <a:lnTo>
                      <a:pt x="71" y="444"/>
                    </a:lnTo>
                    <a:lnTo>
                      <a:pt x="73" y="447"/>
                    </a:lnTo>
                    <a:lnTo>
                      <a:pt x="77" y="451"/>
                    </a:lnTo>
                    <a:lnTo>
                      <a:pt x="79" y="455"/>
                    </a:lnTo>
                    <a:lnTo>
                      <a:pt x="79" y="455"/>
                    </a:lnTo>
                    <a:lnTo>
                      <a:pt x="80" y="458"/>
                    </a:lnTo>
                    <a:lnTo>
                      <a:pt x="79" y="464"/>
                    </a:lnTo>
                    <a:lnTo>
                      <a:pt x="73" y="480"/>
                    </a:lnTo>
                    <a:lnTo>
                      <a:pt x="63" y="508"/>
                    </a:lnTo>
                    <a:lnTo>
                      <a:pt x="53" y="545"/>
                    </a:lnTo>
                    <a:lnTo>
                      <a:pt x="53" y="545"/>
                    </a:lnTo>
                    <a:lnTo>
                      <a:pt x="42" y="591"/>
                    </a:lnTo>
                    <a:lnTo>
                      <a:pt x="34" y="634"/>
                    </a:lnTo>
                    <a:lnTo>
                      <a:pt x="26" y="679"/>
                    </a:lnTo>
                    <a:lnTo>
                      <a:pt x="39" y="682"/>
                    </a:lnTo>
                    <a:lnTo>
                      <a:pt x="39" y="682"/>
                    </a:lnTo>
                    <a:lnTo>
                      <a:pt x="40" y="686"/>
                    </a:lnTo>
                    <a:lnTo>
                      <a:pt x="42" y="694"/>
                    </a:lnTo>
                    <a:lnTo>
                      <a:pt x="42" y="694"/>
                    </a:lnTo>
                    <a:lnTo>
                      <a:pt x="45" y="716"/>
                    </a:lnTo>
                    <a:lnTo>
                      <a:pt x="53" y="759"/>
                    </a:lnTo>
                    <a:lnTo>
                      <a:pt x="53" y="759"/>
                    </a:lnTo>
                    <a:lnTo>
                      <a:pt x="56" y="773"/>
                    </a:lnTo>
                    <a:lnTo>
                      <a:pt x="57" y="791"/>
                    </a:lnTo>
                    <a:lnTo>
                      <a:pt x="57" y="828"/>
                    </a:lnTo>
                    <a:lnTo>
                      <a:pt x="57" y="882"/>
                    </a:lnTo>
                    <a:lnTo>
                      <a:pt x="57" y="882"/>
                    </a:lnTo>
                    <a:lnTo>
                      <a:pt x="56" y="888"/>
                    </a:lnTo>
                    <a:lnTo>
                      <a:pt x="54" y="895"/>
                    </a:lnTo>
                    <a:lnTo>
                      <a:pt x="45" y="911"/>
                    </a:lnTo>
                    <a:lnTo>
                      <a:pt x="32" y="930"/>
                    </a:lnTo>
                    <a:lnTo>
                      <a:pt x="32" y="930"/>
                    </a:lnTo>
                    <a:lnTo>
                      <a:pt x="29" y="931"/>
                    </a:lnTo>
                    <a:lnTo>
                      <a:pt x="25" y="933"/>
                    </a:lnTo>
                    <a:lnTo>
                      <a:pt x="17" y="935"/>
                    </a:lnTo>
                    <a:lnTo>
                      <a:pt x="17" y="935"/>
                    </a:lnTo>
                    <a:lnTo>
                      <a:pt x="9" y="936"/>
                    </a:lnTo>
                    <a:lnTo>
                      <a:pt x="5" y="938"/>
                    </a:lnTo>
                    <a:lnTo>
                      <a:pt x="0" y="941"/>
                    </a:lnTo>
                    <a:lnTo>
                      <a:pt x="0" y="944"/>
                    </a:lnTo>
                    <a:lnTo>
                      <a:pt x="0" y="944"/>
                    </a:lnTo>
                    <a:lnTo>
                      <a:pt x="0" y="947"/>
                    </a:lnTo>
                    <a:lnTo>
                      <a:pt x="5" y="950"/>
                    </a:lnTo>
                    <a:lnTo>
                      <a:pt x="16" y="953"/>
                    </a:lnTo>
                    <a:lnTo>
                      <a:pt x="32" y="955"/>
                    </a:lnTo>
                    <a:lnTo>
                      <a:pt x="32" y="955"/>
                    </a:lnTo>
                    <a:lnTo>
                      <a:pt x="42" y="953"/>
                    </a:lnTo>
                    <a:lnTo>
                      <a:pt x="51" y="952"/>
                    </a:lnTo>
                    <a:lnTo>
                      <a:pt x="57" y="950"/>
                    </a:lnTo>
                    <a:lnTo>
                      <a:pt x="62" y="947"/>
                    </a:lnTo>
                    <a:lnTo>
                      <a:pt x="69" y="939"/>
                    </a:lnTo>
                    <a:lnTo>
                      <a:pt x="74" y="933"/>
                    </a:lnTo>
                    <a:lnTo>
                      <a:pt x="74" y="933"/>
                    </a:lnTo>
                    <a:lnTo>
                      <a:pt x="80" y="927"/>
                    </a:lnTo>
                    <a:lnTo>
                      <a:pt x="85" y="922"/>
                    </a:lnTo>
                    <a:lnTo>
                      <a:pt x="91" y="919"/>
                    </a:lnTo>
                    <a:lnTo>
                      <a:pt x="94" y="918"/>
                    </a:lnTo>
                    <a:lnTo>
                      <a:pt x="94" y="918"/>
                    </a:lnTo>
                    <a:lnTo>
                      <a:pt x="97" y="919"/>
                    </a:lnTo>
                    <a:lnTo>
                      <a:pt x="99" y="921"/>
                    </a:lnTo>
                    <a:lnTo>
                      <a:pt x="100" y="927"/>
                    </a:lnTo>
                    <a:lnTo>
                      <a:pt x="100" y="945"/>
                    </a:lnTo>
                    <a:lnTo>
                      <a:pt x="100" y="945"/>
                    </a:lnTo>
                    <a:lnTo>
                      <a:pt x="102" y="945"/>
                    </a:lnTo>
                    <a:lnTo>
                      <a:pt x="103" y="945"/>
                    </a:lnTo>
                    <a:lnTo>
                      <a:pt x="106" y="944"/>
                    </a:lnTo>
                    <a:lnTo>
                      <a:pt x="106" y="944"/>
                    </a:lnTo>
                    <a:lnTo>
                      <a:pt x="106" y="939"/>
                    </a:lnTo>
                    <a:lnTo>
                      <a:pt x="108" y="933"/>
                    </a:lnTo>
                    <a:lnTo>
                      <a:pt x="114" y="919"/>
                    </a:lnTo>
                    <a:lnTo>
                      <a:pt x="120" y="907"/>
                    </a:lnTo>
                    <a:lnTo>
                      <a:pt x="122" y="901"/>
                    </a:lnTo>
                    <a:lnTo>
                      <a:pt x="123" y="896"/>
                    </a:lnTo>
                    <a:lnTo>
                      <a:pt x="123" y="896"/>
                    </a:lnTo>
                    <a:lnTo>
                      <a:pt x="122" y="891"/>
                    </a:lnTo>
                    <a:lnTo>
                      <a:pt x="120" y="887"/>
                    </a:lnTo>
                    <a:lnTo>
                      <a:pt x="116" y="881"/>
                    </a:lnTo>
                    <a:lnTo>
                      <a:pt x="110" y="874"/>
                    </a:lnTo>
                    <a:lnTo>
                      <a:pt x="110" y="874"/>
                    </a:lnTo>
                    <a:lnTo>
                      <a:pt x="106" y="862"/>
                    </a:lnTo>
                    <a:lnTo>
                      <a:pt x="103" y="847"/>
                    </a:lnTo>
                    <a:lnTo>
                      <a:pt x="102" y="828"/>
                    </a:lnTo>
                    <a:lnTo>
                      <a:pt x="102" y="828"/>
                    </a:lnTo>
                    <a:lnTo>
                      <a:pt x="103" y="808"/>
                    </a:lnTo>
                    <a:lnTo>
                      <a:pt x="106" y="791"/>
                    </a:lnTo>
                    <a:lnTo>
                      <a:pt x="110" y="771"/>
                    </a:lnTo>
                    <a:lnTo>
                      <a:pt x="111" y="748"/>
                    </a:lnTo>
                    <a:lnTo>
                      <a:pt x="111" y="748"/>
                    </a:lnTo>
                    <a:lnTo>
                      <a:pt x="111" y="736"/>
                    </a:lnTo>
                    <a:lnTo>
                      <a:pt x="110" y="725"/>
                    </a:lnTo>
                    <a:lnTo>
                      <a:pt x="105" y="706"/>
                    </a:lnTo>
                    <a:lnTo>
                      <a:pt x="102" y="694"/>
                    </a:lnTo>
                    <a:lnTo>
                      <a:pt x="100" y="689"/>
                    </a:lnTo>
                    <a:lnTo>
                      <a:pt x="177" y="699"/>
                    </a:lnTo>
                    <a:lnTo>
                      <a:pt x="177" y="699"/>
                    </a:lnTo>
                    <a:lnTo>
                      <a:pt x="184" y="717"/>
                    </a:lnTo>
                    <a:lnTo>
                      <a:pt x="187" y="739"/>
                    </a:lnTo>
                    <a:lnTo>
                      <a:pt x="190" y="760"/>
                    </a:lnTo>
                    <a:lnTo>
                      <a:pt x="191" y="784"/>
                    </a:lnTo>
                    <a:lnTo>
                      <a:pt x="193" y="827"/>
                    </a:lnTo>
                    <a:lnTo>
                      <a:pt x="193" y="862"/>
                    </a:lnTo>
                    <a:lnTo>
                      <a:pt x="193" y="862"/>
                    </a:lnTo>
                    <a:lnTo>
                      <a:pt x="193" y="874"/>
                    </a:lnTo>
                    <a:lnTo>
                      <a:pt x="190" y="887"/>
                    </a:lnTo>
                    <a:lnTo>
                      <a:pt x="185" y="896"/>
                    </a:lnTo>
                    <a:lnTo>
                      <a:pt x="180" y="905"/>
                    </a:lnTo>
                    <a:lnTo>
                      <a:pt x="170" y="918"/>
                    </a:lnTo>
                    <a:lnTo>
                      <a:pt x="162" y="927"/>
                    </a:lnTo>
                    <a:lnTo>
                      <a:pt x="162" y="927"/>
                    </a:lnTo>
                    <a:lnTo>
                      <a:pt x="148" y="939"/>
                    </a:lnTo>
                    <a:lnTo>
                      <a:pt x="140" y="945"/>
                    </a:lnTo>
                    <a:lnTo>
                      <a:pt x="139" y="950"/>
                    </a:lnTo>
                    <a:lnTo>
                      <a:pt x="139" y="950"/>
                    </a:lnTo>
                    <a:lnTo>
                      <a:pt x="139" y="953"/>
                    </a:lnTo>
                    <a:lnTo>
                      <a:pt x="140" y="958"/>
                    </a:lnTo>
                    <a:lnTo>
                      <a:pt x="148" y="959"/>
                    </a:lnTo>
                    <a:lnTo>
                      <a:pt x="162" y="961"/>
                    </a:lnTo>
                    <a:lnTo>
                      <a:pt x="162" y="961"/>
                    </a:lnTo>
                    <a:lnTo>
                      <a:pt x="179" y="961"/>
                    </a:lnTo>
                    <a:lnTo>
                      <a:pt x="190" y="959"/>
                    </a:lnTo>
                    <a:lnTo>
                      <a:pt x="197" y="956"/>
                    </a:lnTo>
                    <a:lnTo>
                      <a:pt x="202" y="952"/>
                    </a:lnTo>
                    <a:lnTo>
                      <a:pt x="202" y="952"/>
                    </a:lnTo>
                    <a:lnTo>
                      <a:pt x="211" y="939"/>
                    </a:lnTo>
                    <a:lnTo>
                      <a:pt x="217" y="933"/>
                    </a:lnTo>
                    <a:lnTo>
                      <a:pt x="217" y="936"/>
                    </a:lnTo>
                    <a:lnTo>
                      <a:pt x="217" y="936"/>
                    </a:lnTo>
                    <a:lnTo>
                      <a:pt x="219" y="938"/>
                    </a:lnTo>
                    <a:lnTo>
                      <a:pt x="222" y="938"/>
                    </a:lnTo>
                    <a:lnTo>
                      <a:pt x="222" y="938"/>
                    </a:lnTo>
                    <a:lnTo>
                      <a:pt x="225" y="938"/>
                    </a:lnTo>
                    <a:lnTo>
                      <a:pt x="227" y="936"/>
                    </a:lnTo>
                    <a:lnTo>
                      <a:pt x="230" y="933"/>
                    </a:lnTo>
                    <a:lnTo>
                      <a:pt x="230" y="919"/>
                    </a:lnTo>
                    <a:lnTo>
                      <a:pt x="230" y="919"/>
                    </a:lnTo>
                    <a:lnTo>
                      <a:pt x="238" y="907"/>
                    </a:lnTo>
                    <a:lnTo>
                      <a:pt x="242" y="899"/>
                    </a:lnTo>
                    <a:lnTo>
                      <a:pt x="244" y="893"/>
                    </a:lnTo>
                    <a:lnTo>
                      <a:pt x="244" y="887"/>
                    </a:lnTo>
                    <a:lnTo>
                      <a:pt x="244" y="887"/>
                    </a:lnTo>
                    <a:lnTo>
                      <a:pt x="242" y="879"/>
                    </a:lnTo>
                    <a:lnTo>
                      <a:pt x="239" y="874"/>
                    </a:lnTo>
                    <a:lnTo>
                      <a:pt x="233" y="870"/>
                    </a:lnTo>
                    <a:lnTo>
                      <a:pt x="233" y="870"/>
                    </a:lnTo>
                    <a:lnTo>
                      <a:pt x="231" y="862"/>
                    </a:lnTo>
                    <a:lnTo>
                      <a:pt x="230" y="854"/>
                    </a:lnTo>
                    <a:lnTo>
                      <a:pt x="230" y="848"/>
                    </a:lnTo>
                    <a:lnTo>
                      <a:pt x="230" y="848"/>
                    </a:lnTo>
                    <a:lnTo>
                      <a:pt x="231" y="830"/>
                    </a:lnTo>
                    <a:lnTo>
                      <a:pt x="238" y="799"/>
                    </a:lnTo>
                    <a:lnTo>
                      <a:pt x="244" y="765"/>
                    </a:lnTo>
                    <a:lnTo>
                      <a:pt x="247" y="739"/>
                    </a:lnTo>
                    <a:lnTo>
                      <a:pt x="247" y="739"/>
                    </a:lnTo>
                    <a:lnTo>
                      <a:pt x="245" y="723"/>
                    </a:lnTo>
                    <a:lnTo>
                      <a:pt x="242" y="711"/>
                    </a:lnTo>
                    <a:lnTo>
                      <a:pt x="238" y="702"/>
                    </a:lnTo>
                    <a:lnTo>
                      <a:pt x="245" y="699"/>
                    </a:lnTo>
                    <a:lnTo>
                      <a:pt x="245" y="699"/>
                    </a:lnTo>
                    <a:lnTo>
                      <a:pt x="248" y="614"/>
                    </a:lnTo>
                    <a:lnTo>
                      <a:pt x="248" y="549"/>
                    </a:lnTo>
                    <a:lnTo>
                      <a:pt x="248" y="505"/>
                    </a:lnTo>
                    <a:lnTo>
                      <a:pt x="248" y="505"/>
                    </a:lnTo>
                    <a:lnTo>
                      <a:pt x="244" y="461"/>
                    </a:lnTo>
                    <a:lnTo>
                      <a:pt x="241" y="443"/>
                    </a:lnTo>
                    <a:lnTo>
                      <a:pt x="250" y="440"/>
                    </a:lnTo>
                    <a:lnTo>
                      <a:pt x="250" y="440"/>
                    </a:lnTo>
                    <a:lnTo>
                      <a:pt x="241" y="404"/>
                    </a:lnTo>
                    <a:lnTo>
                      <a:pt x="241" y="404"/>
                    </a:lnTo>
                    <a:lnTo>
                      <a:pt x="238" y="380"/>
                    </a:lnTo>
                    <a:lnTo>
                      <a:pt x="236" y="361"/>
                    </a:lnTo>
                    <a:lnTo>
                      <a:pt x="236" y="361"/>
                    </a:lnTo>
                    <a:lnTo>
                      <a:pt x="234" y="355"/>
                    </a:lnTo>
                    <a:lnTo>
                      <a:pt x="233" y="347"/>
                    </a:lnTo>
                    <a:lnTo>
                      <a:pt x="228" y="333"/>
                    </a:lnTo>
                    <a:lnTo>
                      <a:pt x="228" y="333"/>
                    </a:lnTo>
                    <a:lnTo>
                      <a:pt x="228" y="329"/>
                    </a:lnTo>
                    <a:lnTo>
                      <a:pt x="230" y="326"/>
                    </a:lnTo>
                    <a:lnTo>
                      <a:pt x="231" y="323"/>
                    </a:lnTo>
                    <a:lnTo>
                      <a:pt x="231" y="318"/>
                    </a:lnTo>
                    <a:lnTo>
                      <a:pt x="231" y="318"/>
                    </a:lnTo>
                    <a:lnTo>
                      <a:pt x="230" y="310"/>
                    </a:lnTo>
                    <a:lnTo>
                      <a:pt x="230" y="306"/>
                    </a:lnTo>
                    <a:lnTo>
                      <a:pt x="230" y="301"/>
                    </a:lnTo>
                    <a:lnTo>
                      <a:pt x="230" y="301"/>
                    </a:lnTo>
                    <a:lnTo>
                      <a:pt x="231" y="292"/>
                    </a:lnTo>
                    <a:lnTo>
                      <a:pt x="231" y="289"/>
                    </a:lnTo>
                    <a:lnTo>
                      <a:pt x="234" y="284"/>
                    </a:lnTo>
                    <a:lnTo>
                      <a:pt x="234" y="284"/>
                    </a:lnTo>
                    <a:lnTo>
                      <a:pt x="236" y="279"/>
                    </a:lnTo>
                    <a:lnTo>
                      <a:pt x="236" y="276"/>
                    </a:lnTo>
                    <a:lnTo>
                      <a:pt x="236" y="272"/>
                    </a:lnTo>
                    <a:lnTo>
                      <a:pt x="236" y="272"/>
                    </a:lnTo>
                    <a:lnTo>
                      <a:pt x="256" y="235"/>
                    </a:lnTo>
                    <a:lnTo>
                      <a:pt x="256" y="235"/>
                    </a:lnTo>
                    <a:lnTo>
                      <a:pt x="261" y="224"/>
                    </a:lnTo>
                    <a:lnTo>
                      <a:pt x="262" y="216"/>
                    </a:lnTo>
                    <a:lnTo>
                      <a:pt x="261" y="213"/>
                    </a:lnTo>
                    <a:lnTo>
                      <a:pt x="259" y="212"/>
                    </a:lnTo>
                    <a:lnTo>
                      <a:pt x="259" y="212"/>
                    </a:lnTo>
                    <a:close/>
                  </a:path>
                </a:pathLst>
              </a:custGeom>
              <a:solidFill>
                <a:srgbClr val="8E8A8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i="1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295" name="Freeform 103"/>
              <p:cNvSpPr>
                <a:spLocks/>
              </p:cNvSpPr>
              <p:nvPr/>
            </p:nvSpPr>
            <p:spPr bwMode="auto">
              <a:xfrm>
                <a:off x="6542186" y="2618539"/>
                <a:ext cx="8540" cy="4333"/>
              </a:xfrm>
              <a:custGeom>
                <a:avLst/>
                <a:gdLst>
                  <a:gd name="T0" fmla="*/ 0 w 19"/>
                  <a:gd name="T1" fmla="*/ 0 h 10"/>
                  <a:gd name="T2" fmla="*/ 0 w 19"/>
                  <a:gd name="T3" fmla="*/ 0 h 10"/>
                  <a:gd name="T4" fmla="*/ 0 w 19"/>
                  <a:gd name="T5" fmla="*/ 5 h 10"/>
                  <a:gd name="T6" fmla="*/ 3 w 19"/>
                  <a:gd name="T7" fmla="*/ 8 h 10"/>
                  <a:gd name="T8" fmla="*/ 5 w 19"/>
                  <a:gd name="T9" fmla="*/ 8 h 10"/>
                  <a:gd name="T10" fmla="*/ 8 w 19"/>
                  <a:gd name="T11" fmla="*/ 10 h 10"/>
                  <a:gd name="T12" fmla="*/ 8 w 19"/>
                  <a:gd name="T13" fmla="*/ 10 h 10"/>
                  <a:gd name="T14" fmla="*/ 13 w 19"/>
                  <a:gd name="T15" fmla="*/ 8 h 10"/>
                  <a:gd name="T16" fmla="*/ 16 w 19"/>
                  <a:gd name="T17" fmla="*/ 5 h 10"/>
                  <a:gd name="T18" fmla="*/ 19 w 19"/>
                  <a:gd name="T19" fmla="*/ 2 h 10"/>
                  <a:gd name="T20" fmla="*/ 17 w 19"/>
                  <a:gd name="T21" fmla="*/ 0 h 10"/>
                  <a:gd name="T22" fmla="*/ 17 w 19"/>
                  <a:gd name="T23" fmla="*/ 0 h 10"/>
                  <a:gd name="T24" fmla="*/ 16 w 19"/>
                  <a:gd name="T25" fmla="*/ 3 h 10"/>
                  <a:gd name="T26" fmla="*/ 14 w 19"/>
                  <a:gd name="T27" fmla="*/ 5 h 10"/>
                  <a:gd name="T28" fmla="*/ 11 w 19"/>
                  <a:gd name="T29" fmla="*/ 6 h 10"/>
                  <a:gd name="T30" fmla="*/ 11 w 19"/>
                  <a:gd name="T31" fmla="*/ 6 h 10"/>
                  <a:gd name="T32" fmla="*/ 7 w 19"/>
                  <a:gd name="T33" fmla="*/ 5 h 10"/>
                  <a:gd name="T34" fmla="*/ 5 w 19"/>
                  <a:gd name="T35" fmla="*/ 3 h 10"/>
                  <a:gd name="T36" fmla="*/ 5 w 19"/>
                  <a:gd name="T37" fmla="*/ 0 h 10"/>
                  <a:gd name="T38" fmla="*/ 0 w 19"/>
                  <a:gd name="T3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" h="10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3" y="8"/>
                    </a:lnTo>
                    <a:lnTo>
                      <a:pt x="5" y="8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19" y="2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6" y="3"/>
                    </a:lnTo>
                    <a:lnTo>
                      <a:pt x="14" y="5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7" y="5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i="1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296" name="Freeform 104"/>
              <p:cNvSpPr>
                <a:spLocks/>
              </p:cNvSpPr>
              <p:nvPr/>
            </p:nvSpPr>
            <p:spPr bwMode="auto">
              <a:xfrm>
                <a:off x="6511175" y="2610740"/>
                <a:ext cx="12584" cy="3900"/>
              </a:xfrm>
              <a:custGeom>
                <a:avLst/>
                <a:gdLst>
                  <a:gd name="T0" fmla="*/ 28 w 28"/>
                  <a:gd name="T1" fmla="*/ 7 h 9"/>
                  <a:gd name="T2" fmla="*/ 28 w 28"/>
                  <a:gd name="T3" fmla="*/ 7 h 9"/>
                  <a:gd name="T4" fmla="*/ 23 w 28"/>
                  <a:gd name="T5" fmla="*/ 9 h 9"/>
                  <a:gd name="T6" fmla="*/ 17 w 28"/>
                  <a:gd name="T7" fmla="*/ 9 h 9"/>
                  <a:gd name="T8" fmla="*/ 11 w 28"/>
                  <a:gd name="T9" fmla="*/ 7 h 9"/>
                  <a:gd name="T10" fmla="*/ 11 w 28"/>
                  <a:gd name="T11" fmla="*/ 7 h 9"/>
                  <a:gd name="T12" fmla="*/ 6 w 28"/>
                  <a:gd name="T13" fmla="*/ 4 h 9"/>
                  <a:gd name="T14" fmla="*/ 3 w 28"/>
                  <a:gd name="T15" fmla="*/ 3 h 9"/>
                  <a:gd name="T16" fmla="*/ 0 w 28"/>
                  <a:gd name="T17" fmla="*/ 0 h 9"/>
                  <a:gd name="T18" fmla="*/ 0 w 28"/>
                  <a:gd name="T19" fmla="*/ 0 h 9"/>
                  <a:gd name="T20" fmla="*/ 8 w 28"/>
                  <a:gd name="T21" fmla="*/ 3 h 9"/>
                  <a:gd name="T22" fmla="*/ 15 w 28"/>
                  <a:gd name="T23" fmla="*/ 6 h 9"/>
                  <a:gd name="T24" fmla="*/ 28 w 28"/>
                  <a:gd name="T25" fmla="*/ 7 h 9"/>
                  <a:gd name="T26" fmla="*/ 28 w 28"/>
                  <a:gd name="T27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9">
                    <a:moveTo>
                      <a:pt x="28" y="7"/>
                    </a:moveTo>
                    <a:lnTo>
                      <a:pt x="28" y="7"/>
                    </a:lnTo>
                    <a:lnTo>
                      <a:pt x="23" y="9"/>
                    </a:lnTo>
                    <a:lnTo>
                      <a:pt x="17" y="9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6" y="4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8" y="3"/>
                    </a:lnTo>
                    <a:lnTo>
                      <a:pt x="15" y="6"/>
                    </a:lnTo>
                    <a:lnTo>
                      <a:pt x="28" y="7"/>
                    </a:lnTo>
                    <a:lnTo>
                      <a:pt x="28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i="1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297" name="Freeform 105"/>
              <p:cNvSpPr>
                <a:spLocks/>
              </p:cNvSpPr>
              <p:nvPr/>
            </p:nvSpPr>
            <p:spPr bwMode="auto">
              <a:xfrm>
                <a:off x="6524209" y="2518447"/>
                <a:ext cx="50787" cy="64995"/>
              </a:xfrm>
              <a:custGeom>
                <a:avLst/>
                <a:gdLst>
                  <a:gd name="T0" fmla="*/ 113 w 113"/>
                  <a:gd name="T1" fmla="*/ 5 h 150"/>
                  <a:gd name="T2" fmla="*/ 110 w 113"/>
                  <a:gd name="T3" fmla="*/ 0 h 150"/>
                  <a:gd name="T4" fmla="*/ 107 w 113"/>
                  <a:gd name="T5" fmla="*/ 6 h 150"/>
                  <a:gd name="T6" fmla="*/ 99 w 113"/>
                  <a:gd name="T7" fmla="*/ 20 h 150"/>
                  <a:gd name="T8" fmla="*/ 91 w 113"/>
                  <a:gd name="T9" fmla="*/ 25 h 150"/>
                  <a:gd name="T10" fmla="*/ 80 w 113"/>
                  <a:gd name="T11" fmla="*/ 26 h 150"/>
                  <a:gd name="T12" fmla="*/ 56 w 113"/>
                  <a:gd name="T13" fmla="*/ 49 h 150"/>
                  <a:gd name="T14" fmla="*/ 51 w 113"/>
                  <a:gd name="T15" fmla="*/ 57 h 150"/>
                  <a:gd name="T16" fmla="*/ 43 w 113"/>
                  <a:gd name="T17" fmla="*/ 74 h 150"/>
                  <a:gd name="T18" fmla="*/ 43 w 113"/>
                  <a:gd name="T19" fmla="*/ 83 h 150"/>
                  <a:gd name="T20" fmla="*/ 34 w 113"/>
                  <a:gd name="T21" fmla="*/ 68 h 150"/>
                  <a:gd name="T22" fmla="*/ 33 w 113"/>
                  <a:gd name="T23" fmla="*/ 65 h 150"/>
                  <a:gd name="T24" fmla="*/ 39 w 113"/>
                  <a:gd name="T25" fmla="*/ 54 h 150"/>
                  <a:gd name="T26" fmla="*/ 43 w 113"/>
                  <a:gd name="T27" fmla="*/ 46 h 150"/>
                  <a:gd name="T28" fmla="*/ 51 w 113"/>
                  <a:gd name="T29" fmla="*/ 29 h 150"/>
                  <a:gd name="T30" fmla="*/ 51 w 113"/>
                  <a:gd name="T31" fmla="*/ 22 h 150"/>
                  <a:gd name="T32" fmla="*/ 50 w 113"/>
                  <a:gd name="T33" fmla="*/ 9 h 150"/>
                  <a:gd name="T34" fmla="*/ 48 w 113"/>
                  <a:gd name="T35" fmla="*/ 14 h 150"/>
                  <a:gd name="T36" fmla="*/ 40 w 113"/>
                  <a:gd name="T37" fmla="*/ 22 h 150"/>
                  <a:gd name="T38" fmla="*/ 11 w 113"/>
                  <a:gd name="T39" fmla="*/ 39 h 150"/>
                  <a:gd name="T40" fmla="*/ 0 w 113"/>
                  <a:gd name="T41" fmla="*/ 51 h 150"/>
                  <a:gd name="T42" fmla="*/ 2 w 113"/>
                  <a:gd name="T43" fmla="*/ 49 h 150"/>
                  <a:gd name="T44" fmla="*/ 11 w 113"/>
                  <a:gd name="T45" fmla="*/ 56 h 150"/>
                  <a:gd name="T46" fmla="*/ 20 w 113"/>
                  <a:gd name="T47" fmla="*/ 66 h 150"/>
                  <a:gd name="T48" fmla="*/ 30 w 113"/>
                  <a:gd name="T49" fmla="*/ 86 h 150"/>
                  <a:gd name="T50" fmla="*/ 30 w 113"/>
                  <a:gd name="T51" fmla="*/ 88 h 150"/>
                  <a:gd name="T52" fmla="*/ 25 w 113"/>
                  <a:gd name="T53" fmla="*/ 97 h 150"/>
                  <a:gd name="T54" fmla="*/ 20 w 113"/>
                  <a:gd name="T55" fmla="*/ 116 h 150"/>
                  <a:gd name="T56" fmla="*/ 20 w 113"/>
                  <a:gd name="T57" fmla="*/ 125 h 150"/>
                  <a:gd name="T58" fmla="*/ 22 w 113"/>
                  <a:gd name="T59" fmla="*/ 143 h 150"/>
                  <a:gd name="T60" fmla="*/ 25 w 113"/>
                  <a:gd name="T61" fmla="*/ 150 h 150"/>
                  <a:gd name="T62" fmla="*/ 27 w 113"/>
                  <a:gd name="T63" fmla="*/ 134 h 150"/>
                  <a:gd name="T64" fmla="*/ 28 w 113"/>
                  <a:gd name="T65" fmla="*/ 123 h 150"/>
                  <a:gd name="T66" fmla="*/ 47 w 113"/>
                  <a:gd name="T67" fmla="*/ 89 h 150"/>
                  <a:gd name="T68" fmla="*/ 76 w 113"/>
                  <a:gd name="T69" fmla="*/ 51 h 150"/>
                  <a:gd name="T70" fmla="*/ 80 w 113"/>
                  <a:gd name="T71" fmla="*/ 52 h 150"/>
                  <a:gd name="T72" fmla="*/ 94 w 113"/>
                  <a:gd name="T73" fmla="*/ 68 h 150"/>
                  <a:gd name="T74" fmla="*/ 111 w 113"/>
                  <a:gd name="T75" fmla="*/ 25 h 150"/>
                  <a:gd name="T76" fmla="*/ 113 w 113"/>
                  <a:gd name="T77" fmla="*/ 5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3" h="150">
                    <a:moveTo>
                      <a:pt x="113" y="5"/>
                    </a:moveTo>
                    <a:lnTo>
                      <a:pt x="113" y="5"/>
                    </a:lnTo>
                    <a:lnTo>
                      <a:pt x="110" y="0"/>
                    </a:lnTo>
                    <a:lnTo>
                      <a:pt x="110" y="0"/>
                    </a:lnTo>
                    <a:lnTo>
                      <a:pt x="107" y="6"/>
                    </a:lnTo>
                    <a:lnTo>
                      <a:pt x="107" y="6"/>
                    </a:lnTo>
                    <a:lnTo>
                      <a:pt x="104" y="14"/>
                    </a:lnTo>
                    <a:lnTo>
                      <a:pt x="99" y="20"/>
                    </a:lnTo>
                    <a:lnTo>
                      <a:pt x="96" y="22"/>
                    </a:lnTo>
                    <a:lnTo>
                      <a:pt x="91" y="25"/>
                    </a:lnTo>
                    <a:lnTo>
                      <a:pt x="87" y="25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56" y="49"/>
                    </a:lnTo>
                    <a:lnTo>
                      <a:pt x="56" y="49"/>
                    </a:lnTo>
                    <a:lnTo>
                      <a:pt x="51" y="57"/>
                    </a:lnTo>
                    <a:lnTo>
                      <a:pt x="47" y="65"/>
                    </a:lnTo>
                    <a:lnTo>
                      <a:pt x="43" y="74"/>
                    </a:lnTo>
                    <a:lnTo>
                      <a:pt x="43" y="83"/>
                    </a:lnTo>
                    <a:lnTo>
                      <a:pt x="43" y="83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3" y="66"/>
                    </a:lnTo>
                    <a:lnTo>
                      <a:pt x="33" y="65"/>
                    </a:lnTo>
                    <a:lnTo>
                      <a:pt x="34" y="60"/>
                    </a:lnTo>
                    <a:lnTo>
                      <a:pt x="39" y="54"/>
                    </a:lnTo>
                    <a:lnTo>
                      <a:pt x="39" y="54"/>
                    </a:lnTo>
                    <a:lnTo>
                      <a:pt x="43" y="46"/>
                    </a:lnTo>
                    <a:lnTo>
                      <a:pt x="48" y="37"/>
                    </a:lnTo>
                    <a:lnTo>
                      <a:pt x="51" y="29"/>
                    </a:lnTo>
                    <a:lnTo>
                      <a:pt x="51" y="29"/>
                    </a:lnTo>
                    <a:lnTo>
                      <a:pt x="51" y="22"/>
                    </a:lnTo>
                    <a:lnTo>
                      <a:pt x="51" y="15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48" y="14"/>
                    </a:lnTo>
                    <a:lnTo>
                      <a:pt x="48" y="15"/>
                    </a:lnTo>
                    <a:lnTo>
                      <a:pt x="40" y="22"/>
                    </a:lnTo>
                    <a:lnTo>
                      <a:pt x="13" y="39"/>
                    </a:lnTo>
                    <a:lnTo>
                      <a:pt x="11" y="39"/>
                    </a:lnTo>
                    <a:lnTo>
                      <a:pt x="11" y="39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2" y="49"/>
                    </a:lnTo>
                    <a:lnTo>
                      <a:pt x="5" y="51"/>
                    </a:lnTo>
                    <a:lnTo>
                      <a:pt x="11" y="56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7" y="80"/>
                    </a:lnTo>
                    <a:lnTo>
                      <a:pt x="30" y="86"/>
                    </a:lnTo>
                    <a:lnTo>
                      <a:pt x="30" y="88"/>
                    </a:lnTo>
                    <a:lnTo>
                      <a:pt x="30" y="88"/>
                    </a:lnTo>
                    <a:lnTo>
                      <a:pt x="30" y="88"/>
                    </a:lnTo>
                    <a:lnTo>
                      <a:pt x="25" y="97"/>
                    </a:lnTo>
                    <a:lnTo>
                      <a:pt x="22" y="106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20" y="125"/>
                    </a:lnTo>
                    <a:lnTo>
                      <a:pt x="20" y="136"/>
                    </a:lnTo>
                    <a:lnTo>
                      <a:pt x="22" y="143"/>
                    </a:lnTo>
                    <a:lnTo>
                      <a:pt x="25" y="150"/>
                    </a:lnTo>
                    <a:lnTo>
                      <a:pt x="25" y="150"/>
                    </a:lnTo>
                    <a:lnTo>
                      <a:pt x="25" y="143"/>
                    </a:lnTo>
                    <a:lnTo>
                      <a:pt x="27" y="134"/>
                    </a:lnTo>
                    <a:lnTo>
                      <a:pt x="28" y="123"/>
                    </a:lnTo>
                    <a:lnTo>
                      <a:pt x="28" y="123"/>
                    </a:lnTo>
                    <a:lnTo>
                      <a:pt x="36" y="108"/>
                    </a:lnTo>
                    <a:lnTo>
                      <a:pt x="47" y="89"/>
                    </a:lnTo>
                    <a:lnTo>
                      <a:pt x="76" y="51"/>
                    </a:lnTo>
                    <a:lnTo>
                      <a:pt x="76" y="51"/>
                    </a:lnTo>
                    <a:lnTo>
                      <a:pt x="77" y="51"/>
                    </a:lnTo>
                    <a:lnTo>
                      <a:pt x="80" y="52"/>
                    </a:lnTo>
                    <a:lnTo>
                      <a:pt x="87" y="57"/>
                    </a:lnTo>
                    <a:lnTo>
                      <a:pt x="94" y="68"/>
                    </a:lnTo>
                    <a:lnTo>
                      <a:pt x="111" y="25"/>
                    </a:lnTo>
                    <a:lnTo>
                      <a:pt x="111" y="25"/>
                    </a:lnTo>
                    <a:lnTo>
                      <a:pt x="111" y="17"/>
                    </a:lnTo>
                    <a:lnTo>
                      <a:pt x="113" y="5"/>
                    </a:lnTo>
                    <a:lnTo>
                      <a:pt x="113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i="1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</p:grpSp>
      </p:grpSp>
      <p:sp>
        <p:nvSpPr>
          <p:cNvPr id="342" name="Rectangle 341"/>
          <p:cNvSpPr/>
          <p:nvPr/>
        </p:nvSpPr>
        <p:spPr>
          <a:xfrm>
            <a:off x="488733" y="5010703"/>
            <a:ext cx="4117566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74320">
              <a:spcAft>
                <a:spcPts val="300"/>
              </a:spcAft>
            </a:pPr>
            <a:r>
              <a:rPr lang="ru-RU" sz="1500" i="1" dirty="0">
                <a:solidFill>
                  <a:schemeClr val="bg1"/>
                </a:solidFill>
                <a:latin typeface="+mj-lt"/>
              </a:rPr>
              <a:t>…чтобы ваши витрины данных не были перегружены данными, стекающимися со всей организации после внедрения нашей стратегии управления данными и хранения данных</a:t>
            </a:r>
          </a:p>
        </p:txBody>
      </p:sp>
      <p:sp>
        <p:nvSpPr>
          <p:cNvPr id="343" name="Rectangle 342"/>
          <p:cNvSpPr/>
          <p:nvPr/>
        </p:nvSpPr>
        <p:spPr>
          <a:xfrm>
            <a:off x="3349074" y="2538132"/>
            <a:ext cx="1418644" cy="9694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050" i="1" dirty="0">
                <a:solidFill>
                  <a:schemeClr val="bg1"/>
                </a:solidFill>
                <a:latin typeface="+mj-lt"/>
              </a:rPr>
              <a:t>Внедрение организационной структуры, обеспечивающей передачу бизнес-знаний</a:t>
            </a:r>
          </a:p>
        </p:txBody>
      </p:sp>
      <p:grpSp>
        <p:nvGrpSpPr>
          <p:cNvPr id="344" name="Group 343"/>
          <p:cNvGrpSpPr/>
          <p:nvPr/>
        </p:nvGrpSpPr>
        <p:grpSpPr>
          <a:xfrm>
            <a:off x="3555911" y="3622998"/>
            <a:ext cx="846318" cy="846318"/>
            <a:chOff x="8742468" y="3474401"/>
            <a:chExt cx="612000" cy="612000"/>
          </a:xfrm>
        </p:grpSpPr>
        <p:sp>
          <p:nvSpPr>
            <p:cNvPr id="345" name="Oval 344"/>
            <p:cNvSpPr/>
            <p:nvPr/>
          </p:nvSpPr>
          <p:spPr bwMode="ltGray">
            <a:xfrm>
              <a:off x="8742468" y="3474401"/>
              <a:ext cx="612000" cy="61200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err="1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46" name="Freeform 4847"/>
            <p:cNvSpPr>
              <a:spLocks noEditPoints="1"/>
            </p:cNvSpPr>
            <p:nvPr/>
          </p:nvSpPr>
          <p:spPr bwMode="auto">
            <a:xfrm>
              <a:off x="8894545" y="3569952"/>
              <a:ext cx="307068" cy="424047"/>
            </a:xfrm>
            <a:custGeom>
              <a:avLst/>
              <a:gdLst>
                <a:gd name="T0" fmla="*/ 252 w 252"/>
                <a:gd name="T1" fmla="*/ 332 h 348"/>
                <a:gd name="T2" fmla="*/ 242 w 252"/>
                <a:gd name="T3" fmla="*/ 346 h 348"/>
                <a:gd name="T4" fmla="*/ 16 w 252"/>
                <a:gd name="T5" fmla="*/ 348 h 348"/>
                <a:gd name="T6" fmla="*/ 2 w 252"/>
                <a:gd name="T7" fmla="*/ 338 h 348"/>
                <a:gd name="T8" fmla="*/ 0 w 252"/>
                <a:gd name="T9" fmla="*/ 32 h 348"/>
                <a:gd name="T10" fmla="*/ 10 w 252"/>
                <a:gd name="T11" fmla="*/ 16 h 348"/>
                <a:gd name="T12" fmla="*/ 90 w 252"/>
                <a:gd name="T13" fmla="*/ 16 h 348"/>
                <a:gd name="T14" fmla="*/ 86 w 252"/>
                <a:gd name="T15" fmla="*/ 30 h 348"/>
                <a:gd name="T16" fmla="*/ 16 w 252"/>
                <a:gd name="T17" fmla="*/ 332 h 348"/>
                <a:gd name="T18" fmla="*/ 168 w 252"/>
                <a:gd name="T19" fmla="*/ 34 h 348"/>
                <a:gd name="T20" fmla="*/ 164 w 252"/>
                <a:gd name="T21" fmla="*/ 26 h 348"/>
                <a:gd name="T22" fmla="*/ 236 w 252"/>
                <a:gd name="T23" fmla="*/ 16 h 348"/>
                <a:gd name="T24" fmla="*/ 248 w 252"/>
                <a:gd name="T25" fmla="*/ 20 h 348"/>
                <a:gd name="T26" fmla="*/ 252 w 252"/>
                <a:gd name="T27" fmla="*/ 32 h 348"/>
                <a:gd name="T28" fmla="*/ 36 w 252"/>
                <a:gd name="T29" fmla="*/ 312 h 348"/>
                <a:gd name="T30" fmla="*/ 36 w 252"/>
                <a:gd name="T31" fmla="*/ 94 h 348"/>
                <a:gd name="T32" fmla="*/ 216 w 252"/>
                <a:gd name="T33" fmla="*/ 94 h 348"/>
                <a:gd name="T34" fmla="*/ 132 w 252"/>
                <a:gd name="T35" fmla="*/ 186 h 348"/>
                <a:gd name="T36" fmla="*/ 122 w 252"/>
                <a:gd name="T37" fmla="*/ 184 h 348"/>
                <a:gd name="T38" fmla="*/ 74 w 252"/>
                <a:gd name="T39" fmla="*/ 206 h 348"/>
                <a:gd name="T40" fmla="*/ 68 w 252"/>
                <a:gd name="T41" fmla="*/ 204 h 348"/>
                <a:gd name="T42" fmla="*/ 60 w 252"/>
                <a:gd name="T43" fmla="*/ 206 h 348"/>
                <a:gd name="T44" fmla="*/ 58 w 252"/>
                <a:gd name="T45" fmla="*/ 218 h 348"/>
                <a:gd name="T46" fmla="*/ 78 w 252"/>
                <a:gd name="T47" fmla="*/ 238 h 348"/>
                <a:gd name="T48" fmla="*/ 86 w 252"/>
                <a:gd name="T49" fmla="*/ 242 h 348"/>
                <a:gd name="T50" fmla="*/ 132 w 252"/>
                <a:gd name="T51" fmla="*/ 200 h 348"/>
                <a:gd name="T52" fmla="*/ 134 w 252"/>
                <a:gd name="T53" fmla="*/ 192 h 348"/>
                <a:gd name="T54" fmla="*/ 132 w 252"/>
                <a:gd name="T55" fmla="*/ 186 h 348"/>
                <a:gd name="T56" fmla="*/ 128 w 252"/>
                <a:gd name="T57" fmla="*/ 122 h 348"/>
                <a:gd name="T58" fmla="*/ 118 w 252"/>
                <a:gd name="T59" fmla="*/ 124 h 348"/>
                <a:gd name="T60" fmla="*/ 74 w 252"/>
                <a:gd name="T61" fmla="*/ 144 h 348"/>
                <a:gd name="T62" fmla="*/ 64 w 252"/>
                <a:gd name="T63" fmla="*/ 142 h 348"/>
                <a:gd name="T64" fmla="*/ 58 w 252"/>
                <a:gd name="T65" fmla="*/ 148 h 348"/>
                <a:gd name="T66" fmla="*/ 60 w 252"/>
                <a:gd name="T67" fmla="*/ 158 h 348"/>
                <a:gd name="T68" fmla="*/ 82 w 252"/>
                <a:gd name="T69" fmla="*/ 180 h 348"/>
                <a:gd name="T70" fmla="*/ 90 w 252"/>
                <a:gd name="T71" fmla="*/ 180 h 348"/>
                <a:gd name="T72" fmla="*/ 132 w 252"/>
                <a:gd name="T73" fmla="*/ 138 h 348"/>
                <a:gd name="T74" fmla="*/ 134 w 252"/>
                <a:gd name="T75" fmla="*/ 126 h 348"/>
                <a:gd name="T76" fmla="*/ 36 w 252"/>
                <a:gd name="T77" fmla="*/ 64 h 348"/>
                <a:gd name="T78" fmla="*/ 40 w 252"/>
                <a:gd name="T79" fmla="*/ 54 h 348"/>
                <a:gd name="T80" fmla="*/ 78 w 252"/>
                <a:gd name="T81" fmla="*/ 48 h 348"/>
                <a:gd name="T82" fmla="*/ 94 w 252"/>
                <a:gd name="T83" fmla="*/ 42 h 348"/>
                <a:gd name="T84" fmla="*/ 100 w 252"/>
                <a:gd name="T85" fmla="*/ 26 h 348"/>
                <a:gd name="T86" fmla="*/ 116 w 252"/>
                <a:gd name="T87" fmla="*/ 2 h 348"/>
                <a:gd name="T88" fmla="*/ 136 w 252"/>
                <a:gd name="T89" fmla="*/ 2 h 348"/>
                <a:gd name="T90" fmla="*/ 152 w 252"/>
                <a:gd name="T91" fmla="*/ 26 h 348"/>
                <a:gd name="T92" fmla="*/ 158 w 252"/>
                <a:gd name="T93" fmla="*/ 42 h 348"/>
                <a:gd name="T94" fmla="*/ 200 w 252"/>
                <a:gd name="T95" fmla="*/ 48 h 348"/>
                <a:gd name="T96" fmla="*/ 212 w 252"/>
                <a:gd name="T97" fmla="*/ 54 h 348"/>
                <a:gd name="T98" fmla="*/ 216 w 252"/>
                <a:gd name="T99" fmla="*/ 78 h 348"/>
                <a:gd name="T100" fmla="*/ 36 w 252"/>
                <a:gd name="T101" fmla="*/ 82 h 348"/>
                <a:gd name="T102" fmla="*/ 36 w 252"/>
                <a:gd name="T103" fmla="*/ 64 h 348"/>
                <a:gd name="T104" fmla="*/ 116 w 252"/>
                <a:gd name="T105" fmla="*/ 30 h 348"/>
                <a:gd name="T106" fmla="*/ 126 w 252"/>
                <a:gd name="T107" fmla="*/ 38 h 348"/>
                <a:gd name="T108" fmla="*/ 134 w 252"/>
                <a:gd name="T109" fmla="*/ 34 h 348"/>
                <a:gd name="T110" fmla="*/ 136 w 252"/>
                <a:gd name="T111" fmla="*/ 26 h 348"/>
                <a:gd name="T112" fmla="*/ 130 w 252"/>
                <a:gd name="T113" fmla="*/ 16 h 348"/>
                <a:gd name="T114" fmla="*/ 122 w 252"/>
                <a:gd name="T115" fmla="*/ 16 h 348"/>
                <a:gd name="T116" fmla="*/ 116 w 252"/>
                <a:gd name="T117" fmla="*/ 26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2" h="348">
                  <a:moveTo>
                    <a:pt x="252" y="32"/>
                  </a:moveTo>
                  <a:lnTo>
                    <a:pt x="252" y="332"/>
                  </a:lnTo>
                  <a:lnTo>
                    <a:pt x="252" y="332"/>
                  </a:lnTo>
                  <a:lnTo>
                    <a:pt x="250" y="338"/>
                  </a:lnTo>
                  <a:lnTo>
                    <a:pt x="248" y="344"/>
                  </a:lnTo>
                  <a:lnTo>
                    <a:pt x="242" y="346"/>
                  </a:lnTo>
                  <a:lnTo>
                    <a:pt x="236" y="348"/>
                  </a:lnTo>
                  <a:lnTo>
                    <a:pt x="16" y="348"/>
                  </a:lnTo>
                  <a:lnTo>
                    <a:pt x="16" y="348"/>
                  </a:lnTo>
                  <a:lnTo>
                    <a:pt x="10" y="346"/>
                  </a:lnTo>
                  <a:lnTo>
                    <a:pt x="4" y="344"/>
                  </a:lnTo>
                  <a:lnTo>
                    <a:pt x="2" y="338"/>
                  </a:lnTo>
                  <a:lnTo>
                    <a:pt x="0" y="3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26"/>
                  </a:lnTo>
                  <a:lnTo>
                    <a:pt x="4" y="20"/>
                  </a:lnTo>
                  <a:lnTo>
                    <a:pt x="10" y="16"/>
                  </a:lnTo>
                  <a:lnTo>
                    <a:pt x="16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6" y="30"/>
                  </a:lnTo>
                  <a:lnTo>
                    <a:pt x="84" y="34"/>
                  </a:lnTo>
                  <a:lnTo>
                    <a:pt x="16" y="34"/>
                  </a:lnTo>
                  <a:lnTo>
                    <a:pt x="16" y="332"/>
                  </a:lnTo>
                  <a:lnTo>
                    <a:pt x="236" y="332"/>
                  </a:lnTo>
                  <a:lnTo>
                    <a:pt x="236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6" y="30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62" y="16"/>
                  </a:lnTo>
                  <a:lnTo>
                    <a:pt x="236" y="16"/>
                  </a:lnTo>
                  <a:lnTo>
                    <a:pt x="236" y="16"/>
                  </a:lnTo>
                  <a:lnTo>
                    <a:pt x="242" y="16"/>
                  </a:lnTo>
                  <a:lnTo>
                    <a:pt x="248" y="20"/>
                  </a:lnTo>
                  <a:lnTo>
                    <a:pt x="250" y="26"/>
                  </a:lnTo>
                  <a:lnTo>
                    <a:pt x="252" y="32"/>
                  </a:lnTo>
                  <a:lnTo>
                    <a:pt x="252" y="32"/>
                  </a:lnTo>
                  <a:close/>
                  <a:moveTo>
                    <a:pt x="216" y="94"/>
                  </a:moveTo>
                  <a:lnTo>
                    <a:pt x="216" y="312"/>
                  </a:lnTo>
                  <a:lnTo>
                    <a:pt x="36" y="312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216" y="94"/>
                  </a:lnTo>
                  <a:lnTo>
                    <a:pt x="216" y="94"/>
                  </a:lnTo>
                  <a:lnTo>
                    <a:pt x="216" y="94"/>
                  </a:lnTo>
                  <a:lnTo>
                    <a:pt x="216" y="94"/>
                  </a:lnTo>
                  <a:close/>
                  <a:moveTo>
                    <a:pt x="132" y="186"/>
                  </a:moveTo>
                  <a:lnTo>
                    <a:pt x="132" y="186"/>
                  </a:lnTo>
                  <a:lnTo>
                    <a:pt x="128" y="184"/>
                  </a:lnTo>
                  <a:lnTo>
                    <a:pt x="124" y="182"/>
                  </a:lnTo>
                  <a:lnTo>
                    <a:pt x="122" y="184"/>
                  </a:lnTo>
                  <a:lnTo>
                    <a:pt x="118" y="186"/>
                  </a:lnTo>
                  <a:lnTo>
                    <a:pt x="86" y="218"/>
                  </a:lnTo>
                  <a:lnTo>
                    <a:pt x="74" y="206"/>
                  </a:lnTo>
                  <a:lnTo>
                    <a:pt x="74" y="206"/>
                  </a:lnTo>
                  <a:lnTo>
                    <a:pt x="70" y="204"/>
                  </a:lnTo>
                  <a:lnTo>
                    <a:pt x="68" y="204"/>
                  </a:lnTo>
                  <a:lnTo>
                    <a:pt x="64" y="204"/>
                  </a:lnTo>
                  <a:lnTo>
                    <a:pt x="60" y="206"/>
                  </a:lnTo>
                  <a:lnTo>
                    <a:pt x="60" y="206"/>
                  </a:lnTo>
                  <a:lnTo>
                    <a:pt x="58" y="210"/>
                  </a:lnTo>
                  <a:lnTo>
                    <a:pt x="58" y="214"/>
                  </a:lnTo>
                  <a:lnTo>
                    <a:pt x="58" y="218"/>
                  </a:lnTo>
                  <a:lnTo>
                    <a:pt x="60" y="220"/>
                  </a:lnTo>
                  <a:lnTo>
                    <a:pt x="78" y="238"/>
                  </a:lnTo>
                  <a:lnTo>
                    <a:pt x="78" y="238"/>
                  </a:lnTo>
                  <a:lnTo>
                    <a:pt x="82" y="242"/>
                  </a:lnTo>
                  <a:lnTo>
                    <a:pt x="86" y="242"/>
                  </a:lnTo>
                  <a:lnTo>
                    <a:pt x="86" y="242"/>
                  </a:lnTo>
                  <a:lnTo>
                    <a:pt x="90" y="242"/>
                  </a:lnTo>
                  <a:lnTo>
                    <a:pt x="92" y="238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34" y="196"/>
                  </a:lnTo>
                  <a:lnTo>
                    <a:pt x="134" y="192"/>
                  </a:lnTo>
                  <a:lnTo>
                    <a:pt x="134" y="188"/>
                  </a:lnTo>
                  <a:lnTo>
                    <a:pt x="132" y="186"/>
                  </a:lnTo>
                  <a:lnTo>
                    <a:pt x="132" y="186"/>
                  </a:lnTo>
                  <a:close/>
                  <a:moveTo>
                    <a:pt x="132" y="124"/>
                  </a:moveTo>
                  <a:lnTo>
                    <a:pt x="132" y="124"/>
                  </a:lnTo>
                  <a:lnTo>
                    <a:pt x="128" y="122"/>
                  </a:lnTo>
                  <a:lnTo>
                    <a:pt x="124" y="120"/>
                  </a:lnTo>
                  <a:lnTo>
                    <a:pt x="122" y="122"/>
                  </a:lnTo>
                  <a:lnTo>
                    <a:pt x="118" y="124"/>
                  </a:lnTo>
                  <a:lnTo>
                    <a:pt x="86" y="156"/>
                  </a:lnTo>
                  <a:lnTo>
                    <a:pt x="74" y="144"/>
                  </a:lnTo>
                  <a:lnTo>
                    <a:pt x="74" y="144"/>
                  </a:lnTo>
                  <a:lnTo>
                    <a:pt x="70" y="142"/>
                  </a:lnTo>
                  <a:lnTo>
                    <a:pt x="68" y="142"/>
                  </a:lnTo>
                  <a:lnTo>
                    <a:pt x="64" y="142"/>
                  </a:lnTo>
                  <a:lnTo>
                    <a:pt x="60" y="144"/>
                  </a:lnTo>
                  <a:lnTo>
                    <a:pt x="60" y="144"/>
                  </a:lnTo>
                  <a:lnTo>
                    <a:pt x="58" y="148"/>
                  </a:lnTo>
                  <a:lnTo>
                    <a:pt x="58" y="152"/>
                  </a:lnTo>
                  <a:lnTo>
                    <a:pt x="58" y="156"/>
                  </a:lnTo>
                  <a:lnTo>
                    <a:pt x="60" y="158"/>
                  </a:lnTo>
                  <a:lnTo>
                    <a:pt x="78" y="178"/>
                  </a:lnTo>
                  <a:lnTo>
                    <a:pt x="78" y="178"/>
                  </a:lnTo>
                  <a:lnTo>
                    <a:pt x="82" y="180"/>
                  </a:lnTo>
                  <a:lnTo>
                    <a:pt x="86" y="180"/>
                  </a:lnTo>
                  <a:lnTo>
                    <a:pt x="86" y="180"/>
                  </a:lnTo>
                  <a:lnTo>
                    <a:pt x="90" y="180"/>
                  </a:lnTo>
                  <a:lnTo>
                    <a:pt x="92" y="178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4" y="134"/>
                  </a:lnTo>
                  <a:lnTo>
                    <a:pt x="134" y="130"/>
                  </a:lnTo>
                  <a:lnTo>
                    <a:pt x="134" y="126"/>
                  </a:lnTo>
                  <a:lnTo>
                    <a:pt x="132" y="124"/>
                  </a:lnTo>
                  <a:lnTo>
                    <a:pt x="132" y="124"/>
                  </a:lnTo>
                  <a:close/>
                  <a:moveTo>
                    <a:pt x="36" y="64"/>
                  </a:moveTo>
                  <a:lnTo>
                    <a:pt x="36" y="64"/>
                  </a:lnTo>
                  <a:lnTo>
                    <a:pt x="36" y="58"/>
                  </a:lnTo>
                  <a:lnTo>
                    <a:pt x="40" y="54"/>
                  </a:lnTo>
                  <a:lnTo>
                    <a:pt x="46" y="50"/>
                  </a:lnTo>
                  <a:lnTo>
                    <a:pt x="52" y="48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86" y="46"/>
                  </a:lnTo>
                  <a:lnTo>
                    <a:pt x="94" y="42"/>
                  </a:lnTo>
                  <a:lnTo>
                    <a:pt x="98" y="3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2" y="16"/>
                  </a:lnTo>
                  <a:lnTo>
                    <a:pt x="108" y="8"/>
                  </a:lnTo>
                  <a:lnTo>
                    <a:pt x="116" y="2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36" y="2"/>
                  </a:lnTo>
                  <a:lnTo>
                    <a:pt x="144" y="8"/>
                  </a:lnTo>
                  <a:lnTo>
                    <a:pt x="150" y="16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4" y="36"/>
                  </a:lnTo>
                  <a:lnTo>
                    <a:pt x="158" y="42"/>
                  </a:lnTo>
                  <a:lnTo>
                    <a:pt x="166" y="46"/>
                  </a:lnTo>
                  <a:lnTo>
                    <a:pt x="174" y="48"/>
                  </a:lnTo>
                  <a:lnTo>
                    <a:pt x="200" y="48"/>
                  </a:lnTo>
                  <a:lnTo>
                    <a:pt x="200" y="48"/>
                  </a:lnTo>
                  <a:lnTo>
                    <a:pt x="206" y="50"/>
                  </a:lnTo>
                  <a:lnTo>
                    <a:pt x="212" y="54"/>
                  </a:lnTo>
                  <a:lnTo>
                    <a:pt x="216" y="58"/>
                  </a:lnTo>
                  <a:lnTo>
                    <a:pt x="216" y="64"/>
                  </a:lnTo>
                  <a:lnTo>
                    <a:pt x="216" y="78"/>
                  </a:lnTo>
                  <a:lnTo>
                    <a:pt x="216" y="78"/>
                  </a:lnTo>
                  <a:lnTo>
                    <a:pt x="216" y="82"/>
                  </a:lnTo>
                  <a:lnTo>
                    <a:pt x="36" y="82"/>
                  </a:lnTo>
                  <a:lnTo>
                    <a:pt x="36" y="82"/>
                  </a:lnTo>
                  <a:lnTo>
                    <a:pt x="36" y="78"/>
                  </a:lnTo>
                  <a:lnTo>
                    <a:pt x="36" y="64"/>
                  </a:lnTo>
                  <a:close/>
                  <a:moveTo>
                    <a:pt x="116" y="26"/>
                  </a:moveTo>
                  <a:lnTo>
                    <a:pt x="116" y="26"/>
                  </a:lnTo>
                  <a:lnTo>
                    <a:pt x="116" y="30"/>
                  </a:lnTo>
                  <a:lnTo>
                    <a:pt x="118" y="34"/>
                  </a:lnTo>
                  <a:lnTo>
                    <a:pt x="122" y="36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30" y="36"/>
                  </a:lnTo>
                  <a:lnTo>
                    <a:pt x="134" y="34"/>
                  </a:lnTo>
                  <a:lnTo>
                    <a:pt x="136" y="30"/>
                  </a:lnTo>
                  <a:lnTo>
                    <a:pt x="136" y="26"/>
                  </a:lnTo>
                  <a:lnTo>
                    <a:pt x="136" y="26"/>
                  </a:lnTo>
                  <a:lnTo>
                    <a:pt x="136" y="22"/>
                  </a:lnTo>
                  <a:lnTo>
                    <a:pt x="134" y="20"/>
                  </a:lnTo>
                  <a:lnTo>
                    <a:pt x="130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2" y="16"/>
                  </a:lnTo>
                  <a:lnTo>
                    <a:pt x="118" y="20"/>
                  </a:lnTo>
                  <a:lnTo>
                    <a:pt x="116" y="22"/>
                  </a:lnTo>
                  <a:lnTo>
                    <a:pt x="116" y="26"/>
                  </a:lnTo>
                  <a:lnTo>
                    <a:pt x="116" y="2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347" name="Rectangle 346"/>
          <p:cNvSpPr/>
          <p:nvPr/>
        </p:nvSpPr>
        <p:spPr>
          <a:xfrm>
            <a:off x="1981700" y="2502272"/>
            <a:ext cx="1191861" cy="11310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050" i="1" dirty="0">
                <a:solidFill>
                  <a:schemeClr val="bg1"/>
                </a:solidFill>
                <a:latin typeface="+mj-lt"/>
              </a:rPr>
              <a:t>Оказание содействия отделу кадров в подборе подходящих специалистов по работе с данными</a:t>
            </a:r>
          </a:p>
        </p:txBody>
      </p:sp>
      <p:grpSp>
        <p:nvGrpSpPr>
          <p:cNvPr id="348" name="Group 347"/>
          <p:cNvGrpSpPr/>
          <p:nvPr/>
        </p:nvGrpSpPr>
        <p:grpSpPr>
          <a:xfrm>
            <a:off x="2120325" y="3622998"/>
            <a:ext cx="846318" cy="846318"/>
            <a:chOff x="9617181" y="4690710"/>
            <a:chExt cx="612000" cy="612000"/>
          </a:xfrm>
        </p:grpSpPr>
        <p:sp>
          <p:nvSpPr>
            <p:cNvPr id="349" name="Oval 348"/>
            <p:cNvSpPr/>
            <p:nvPr/>
          </p:nvSpPr>
          <p:spPr bwMode="ltGray">
            <a:xfrm>
              <a:off x="9617181" y="4690710"/>
              <a:ext cx="612000" cy="61200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err="1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50" name="Freeform 4851"/>
            <p:cNvSpPr>
              <a:spLocks noEditPoints="1"/>
            </p:cNvSpPr>
            <p:nvPr/>
          </p:nvSpPr>
          <p:spPr bwMode="auto">
            <a:xfrm>
              <a:off x="9703458" y="4818431"/>
              <a:ext cx="438669" cy="463039"/>
            </a:xfrm>
            <a:custGeom>
              <a:avLst/>
              <a:gdLst>
                <a:gd name="T0" fmla="*/ 248 w 360"/>
                <a:gd name="T1" fmla="*/ 8 h 380"/>
                <a:gd name="T2" fmla="*/ 274 w 360"/>
                <a:gd name="T3" fmla="*/ 0 h 380"/>
                <a:gd name="T4" fmla="*/ 298 w 360"/>
                <a:gd name="T5" fmla="*/ 28 h 380"/>
                <a:gd name="T6" fmla="*/ 280 w 360"/>
                <a:gd name="T7" fmla="*/ 56 h 380"/>
                <a:gd name="T8" fmla="*/ 258 w 360"/>
                <a:gd name="T9" fmla="*/ 56 h 380"/>
                <a:gd name="T10" fmla="*/ 240 w 360"/>
                <a:gd name="T11" fmla="*/ 28 h 380"/>
                <a:gd name="T12" fmla="*/ 344 w 360"/>
                <a:gd name="T13" fmla="*/ 88 h 380"/>
                <a:gd name="T14" fmla="*/ 288 w 360"/>
                <a:gd name="T15" fmla="*/ 68 h 380"/>
                <a:gd name="T16" fmla="*/ 214 w 360"/>
                <a:gd name="T17" fmla="*/ 70 h 380"/>
                <a:gd name="T18" fmla="*/ 194 w 360"/>
                <a:gd name="T19" fmla="*/ 90 h 380"/>
                <a:gd name="T20" fmla="*/ 224 w 360"/>
                <a:gd name="T21" fmla="*/ 114 h 380"/>
                <a:gd name="T22" fmla="*/ 248 w 360"/>
                <a:gd name="T23" fmla="*/ 166 h 380"/>
                <a:gd name="T24" fmla="*/ 234 w 360"/>
                <a:gd name="T25" fmla="*/ 208 h 380"/>
                <a:gd name="T26" fmla="*/ 278 w 360"/>
                <a:gd name="T27" fmla="*/ 214 h 380"/>
                <a:gd name="T28" fmla="*/ 310 w 360"/>
                <a:gd name="T29" fmla="*/ 244 h 380"/>
                <a:gd name="T30" fmla="*/ 332 w 360"/>
                <a:gd name="T31" fmla="*/ 200 h 380"/>
                <a:gd name="T32" fmla="*/ 348 w 360"/>
                <a:gd name="T33" fmla="*/ 208 h 380"/>
                <a:gd name="T34" fmla="*/ 360 w 360"/>
                <a:gd name="T35" fmla="*/ 190 h 380"/>
                <a:gd name="T36" fmla="*/ 102 w 360"/>
                <a:gd name="T37" fmla="*/ 56 h 380"/>
                <a:gd name="T38" fmla="*/ 120 w 360"/>
                <a:gd name="T39" fmla="*/ 28 h 380"/>
                <a:gd name="T40" fmla="*/ 98 w 360"/>
                <a:gd name="T41" fmla="*/ 0 h 380"/>
                <a:gd name="T42" fmla="*/ 70 w 360"/>
                <a:gd name="T43" fmla="*/ 8 h 380"/>
                <a:gd name="T44" fmla="*/ 62 w 360"/>
                <a:gd name="T45" fmla="*/ 34 h 380"/>
                <a:gd name="T46" fmla="*/ 92 w 360"/>
                <a:gd name="T47" fmla="*/ 58 h 380"/>
                <a:gd name="T48" fmla="*/ 50 w 360"/>
                <a:gd name="T49" fmla="*/ 244 h 380"/>
                <a:gd name="T50" fmla="*/ 74 w 360"/>
                <a:gd name="T51" fmla="*/ 218 h 380"/>
                <a:gd name="T52" fmla="*/ 126 w 360"/>
                <a:gd name="T53" fmla="*/ 208 h 380"/>
                <a:gd name="T54" fmla="*/ 112 w 360"/>
                <a:gd name="T55" fmla="*/ 166 h 380"/>
                <a:gd name="T56" fmla="*/ 128 w 360"/>
                <a:gd name="T57" fmla="*/ 122 h 380"/>
                <a:gd name="T58" fmla="*/ 166 w 360"/>
                <a:gd name="T59" fmla="*/ 90 h 380"/>
                <a:gd name="T60" fmla="*/ 154 w 360"/>
                <a:gd name="T61" fmla="*/ 74 h 380"/>
                <a:gd name="T62" fmla="*/ 72 w 360"/>
                <a:gd name="T63" fmla="*/ 68 h 380"/>
                <a:gd name="T64" fmla="*/ 20 w 360"/>
                <a:gd name="T65" fmla="*/ 80 h 380"/>
                <a:gd name="T66" fmla="*/ 0 w 360"/>
                <a:gd name="T67" fmla="*/ 190 h 380"/>
                <a:gd name="T68" fmla="*/ 12 w 360"/>
                <a:gd name="T69" fmla="*/ 208 h 380"/>
                <a:gd name="T70" fmla="*/ 28 w 360"/>
                <a:gd name="T71" fmla="*/ 200 h 380"/>
                <a:gd name="T72" fmla="*/ 170 w 360"/>
                <a:gd name="T73" fmla="*/ 118 h 380"/>
                <a:gd name="T74" fmla="*/ 136 w 360"/>
                <a:gd name="T75" fmla="*/ 146 h 380"/>
                <a:gd name="T76" fmla="*/ 136 w 360"/>
                <a:gd name="T77" fmla="*/ 184 h 380"/>
                <a:gd name="T78" fmla="*/ 170 w 360"/>
                <a:gd name="T79" fmla="*/ 214 h 380"/>
                <a:gd name="T80" fmla="*/ 208 w 360"/>
                <a:gd name="T81" fmla="*/ 206 h 380"/>
                <a:gd name="T82" fmla="*/ 228 w 360"/>
                <a:gd name="T83" fmla="*/ 166 h 380"/>
                <a:gd name="T84" fmla="*/ 214 w 360"/>
                <a:gd name="T85" fmla="*/ 132 h 380"/>
                <a:gd name="T86" fmla="*/ 296 w 360"/>
                <a:gd name="T87" fmla="*/ 260 h 380"/>
                <a:gd name="T88" fmla="*/ 288 w 360"/>
                <a:gd name="T89" fmla="*/ 246 h 380"/>
                <a:gd name="T90" fmla="*/ 180 w 360"/>
                <a:gd name="T91" fmla="*/ 278 h 380"/>
                <a:gd name="T92" fmla="*/ 82 w 360"/>
                <a:gd name="T93" fmla="*/ 236 h 380"/>
                <a:gd name="T94" fmla="*/ 64 w 360"/>
                <a:gd name="T95" fmla="*/ 260 h 380"/>
                <a:gd name="T96" fmla="*/ 106 w 360"/>
                <a:gd name="T97" fmla="*/ 304 h 380"/>
                <a:gd name="T98" fmla="*/ 146 w 360"/>
                <a:gd name="T99" fmla="*/ 378 h 380"/>
                <a:gd name="T100" fmla="*/ 214 w 360"/>
                <a:gd name="T101" fmla="*/ 378 h 380"/>
                <a:gd name="T102" fmla="*/ 264 w 360"/>
                <a:gd name="T103" fmla="*/ 36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0" h="380">
                  <a:moveTo>
                    <a:pt x="240" y="28"/>
                  </a:moveTo>
                  <a:lnTo>
                    <a:pt x="240" y="28"/>
                  </a:lnTo>
                  <a:lnTo>
                    <a:pt x="240" y="22"/>
                  </a:lnTo>
                  <a:lnTo>
                    <a:pt x="242" y="18"/>
                  </a:lnTo>
                  <a:lnTo>
                    <a:pt x="248" y="8"/>
                  </a:lnTo>
                  <a:lnTo>
                    <a:pt x="258" y="2"/>
                  </a:lnTo>
                  <a:lnTo>
                    <a:pt x="262" y="0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274" y="0"/>
                  </a:lnTo>
                  <a:lnTo>
                    <a:pt x="280" y="2"/>
                  </a:lnTo>
                  <a:lnTo>
                    <a:pt x="290" y="8"/>
                  </a:lnTo>
                  <a:lnTo>
                    <a:pt x="296" y="18"/>
                  </a:lnTo>
                  <a:lnTo>
                    <a:pt x="298" y="22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98" y="34"/>
                  </a:lnTo>
                  <a:lnTo>
                    <a:pt x="296" y="40"/>
                  </a:lnTo>
                  <a:lnTo>
                    <a:pt x="290" y="50"/>
                  </a:lnTo>
                  <a:lnTo>
                    <a:pt x="280" y="56"/>
                  </a:lnTo>
                  <a:lnTo>
                    <a:pt x="274" y="58"/>
                  </a:lnTo>
                  <a:lnTo>
                    <a:pt x="268" y="58"/>
                  </a:lnTo>
                  <a:lnTo>
                    <a:pt x="268" y="58"/>
                  </a:lnTo>
                  <a:lnTo>
                    <a:pt x="262" y="58"/>
                  </a:lnTo>
                  <a:lnTo>
                    <a:pt x="258" y="56"/>
                  </a:lnTo>
                  <a:lnTo>
                    <a:pt x="248" y="50"/>
                  </a:lnTo>
                  <a:lnTo>
                    <a:pt x="242" y="40"/>
                  </a:lnTo>
                  <a:lnTo>
                    <a:pt x="240" y="34"/>
                  </a:lnTo>
                  <a:lnTo>
                    <a:pt x="240" y="28"/>
                  </a:lnTo>
                  <a:lnTo>
                    <a:pt x="240" y="28"/>
                  </a:lnTo>
                  <a:close/>
                  <a:moveTo>
                    <a:pt x="360" y="190"/>
                  </a:moveTo>
                  <a:lnTo>
                    <a:pt x="344" y="90"/>
                  </a:lnTo>
                  <a:lnTo>
                    <a:pt x="344" y="90"/>
                  </a:lnTo>
                  <a:lnTo>
                    <a:pt x="344" y="88"/>
                  </a:lnTo>
                  <a:lnTo>
                    <a:pt x="344" y="88"/>
                  </a:lnTo>
                  <a:lnTo>
                    <a:pt x="340" y="80"/>
                  </a:lnTo>
                  <a:lnTo>
                    <a:pt x="332" y="74"/>
                  </a:lnTo>
                  <a:lnTo>
                    <a:pt x="324" y="70"/>
                  </a:lnTo>
                  <a:lnTo>
                    <a:pt x="314" y="68"/>
                  </a:lnTo>
                  <a:lnTo>
                    <a:pt x="288" y="68"/>
                  </a:lnTo>
                  <a:lnTo>
                    <a:pt x="270" y="102"/>
                  </a:lnTo>
                  <a:lnTo>
                    <a:pt x="250" y="68"/>
                  </a:lnTo>
                  <a:lnTo>
                    <a:pt x="222" y="68"/>
                  </a:lnTo>
                  <a:lnTo>
                    <a:pt x="222" y="68"/>
                  </a:lnTo>
                  <a:lnTo>
                    <a:pt x="214" y="70"/>
                  </a:lnTo>
                  <a:lnTo>
                    <a:pt x="206" y="74"/>
                  </a:lnTo>
                  <a:lnTo>
                    <a:pt x="198" y="80"/>
                  </a:lnTo>
                  <a:lnTo>
                    <a:pt x="194" y="88"/>
                  </a:lnTo>
                  <a:lnTo>
                    <a:pt x="194" y="88"/>
                  </a:lnTo>
                  <a:lnTo>
                    <a:pt x="194" y="90"/>
                  </a:lnTo>
                  <a:lnTo>
                    <a:pt x="192" y="98"/>
                  </a:lnTo>
                  <a:lnTo>
                    <a:pt x="192" y="98"/>
                  </a:lnTo>
                  <a:lnTo>
                    <a:pt x="204" y="102"/>
                  </a:lnTo>
                  <a:lnTo>
                    <a:pt x="214" y="106"/>
                  </a:lnTo>
                  <a:lnTo>
                    <a:pt x="224" y="114"/>
                  </a:lnTo>
                  <a:lnTo>
                    <a:pt x="232" y="122"/>
                  </a:lnTo>
                  <a:lnTo>
                    <a:pt x="240" y="132"/>
                  </a:lnTo>
                  <a:lnTo>
                    <a:pt x="244" y="142"/>
                  </a:lnTo>
                  <a:lnTo>
                    <a:pt x="248" y="154"/>
                  </a:lnTo>
                  <a:lnTo>
                    <a:pt x="248" y="166"/>
                  </a:lnTo>
                  <a:lnTo>
                    <a:pt x="248" y="166"/>
                  </a:lnTo>
                  <a:lnTo>
                    <a:pt x="248" y="178"/>
                  </a:lnTo>
                  <a:lnTo>
                    <a:pt x="246" y="188"/>
                  </a:lnTo>
                  <a:lnTo>
                    <a:pt x="240" y="198"/>
                  </a:lnTo>
                  <a:lnTo>
                    <a:pt x="234" y="208"/>
                  </a:lnTo>
                  <a:lnTo>
                    <a:pt x="250" y="208"/>
                  </a:lnTo>
                  <a:lnTo>
                    <a:pt x="250" y="208"/>
                  </a:lnTo>
                  <a:lnTo>
                    <a:pt x="260" y="208"/>
                  </a:lnTo>
                  <a:lnTo>
                    <a:pt x="270" y="210"/>
                  </a:lnTo>
                  <a:lnTo>
                    <a:pt x="278" y="214"/>
                  </a:lnTo>
                  <a:lnTo>
                    <a:pt x="286" y="218"/>
                  </a:lnTo>
                  <a:lnTo>
                    <a:pt x="294" y="222"/>
                  </a:lnTo>
                  <a:lnTo>
                    <a:pt x="300" y="228"/>
                  </a:lnTo>
                  <a:lnTo>
                    <a:pt x="306" y="236"/>
                  </a:lnTo>
                  <a:lnTo>
                    <a:pt x="310" y="244"/>
                  </a:lnTo>
                  <a:lnTo>
                    <a:pt x="308" y="118"/>
                  </a:lnTo>
                  <a:lnTo>
                    <a:pt x="318" y="118"/>
                  </a:lnTo>
                  <a:lnTo>
                    <a:pt x="330" y="196"/>
                  </a:lnTo>
                  <a:lnTo>
                    <a:pt x="330" y="196"/>
                  </a:lnTo>
                  <a:lnTo>
                    <a:pt x="332" y="200"/>
                  </a:lnTo>
                  <a:lnTo>
                    <a:pt x="336" y="204"/>
                  </a:lnTo>
                  <a:lnTo>
                    <a:pt x="340" y="208"/>
                  </a:lnTo>
                  <a:lnTo>
                    <a:pt x="346" y="208"/>
                  </a:lnTo>
                  <a:lnTo>
                    <a:pt x="346" y="208"/>
                  </a:lnTo>
                  <a:lnTo>
                    <a:pt x="348" y="208"/>
                  </a:lnTo>
                  <a:lnTo>
                    <a:pt x="348" y="208"/>
                  </a:lnTo>
                  <a:lnTo>
                    <a:pt x="354" y="206"/>
                  </a:lnTo>
                  <a:lnTo>
                    <a:pt x="358" y="202"/>
                  </a:lnTo>
                  <a:lnTo>
                    <a:pt x="360" y="196"/>
                  </a:lnTo>
                  <a:lnTo>
                    <a:pt x="360" y="190"/>
                  </a:lnTo>
                  <a:lnTo>
                    <a:pt x="360" y="190"/>
                  </a:lnTo>
                  <a:close/>
                  <a:moveTo>
                    <a:pt x="92" y="58"/>
                  </a:moveTo>
                  <a:lnTo>
                    <a:pt x="92" y="58"/>
                  </a:lnTo>
                  <a:lnTo>
                    <a:pt x="98" y="58"/>
                  </a:lnTo>
                  <a:lnTo>
                    <a:pt x="102" y="56"/>
                  </a:lnTo>
                  <a:lnTo>
                    <a:pt x="112" y="50"/>
                  </a:lnTo>
                  <a:lnTo>
                    <a:pt x="118" y="40"/>
                  </a:lnTo>
                  <a:lnTo>
                    <a:pt x="120" y="34"/>
                  </a:lnTo>
                  <a:lnTo>
                    <a:pt x="120" y="28"/>
                  </a:lnTo>
                  <a:lnTo>
                    <a:pt x="120" y="28"/>
                  </a:lnTo>
                  <a:lnTo>
                    <a:pt x="120" y="22"/>
                  </a:lnTo>
                  <a:lnTo>
                    <a:pt x="118" y="18"/>
                  </a:lnTo>
                  <a:lnTo>
                    <a:pt x="112" y="8"/>
                  </a:lnTo>
                  <a:lnTo>
                    <a:pt x="102" y="2"/>
                  </a:lnTo>
                  <a:lnTo>
                    <a:pt x="98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86" y="0"/>
                  </a:lnTo>
                  <a:lnTo>
                    <a:pt x="80" y="2"/>
                  </a:lnTo>
                  <a:lnTo>
                    <a:pt x="70" y="8"/>
                  </a:lnTo>
                  <a:lnTo>
                    <a:pt x="64" y="18"/>
                  </a:lnTo>
                  <a:lnTo>
                    <a:pt x="62" y="22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34"/>
                  </a:lnTo>
                  <a:lnTo>
                    <a:pt x="64" y="40"/>
                  </a:lnTo>
                  <a:lnTo>
                    <a:pt x="70" y="50"/>
                  </a:lnTo>
                  <a:lnTo>
                    <a:pt x="80" y="56"/>
                  </a:lnTo>
                  <a:lnTo>
                    <a:pt x="86" y="58"/>
                  </a:lnTo>
                  <a:lnTo>
                    <a:pt x="92" y="58"/>
                  </a:lnTo>
                  <a:lnTo>
                    <a:pt x="92" y="58"/>
                  </a:lnTo>
                  <a:close/>
                  <a:moveTo>
                    <a:pt x="30" y="196"/>
                  </a:moveTo>
                  <a:lnTo>
                    <a:pt x="42" y="118"/>
                  </a:lnTo>
                  <a:lnTo>
                    <a:pt x="52" y="118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4" y="236"/>
                  </a:lnTo>
                  <a:lnTo>
                    <a:pt x="60" y="228"/>
                  </a:lnTo>
                  <a:lnTo>
                    <a:pt x="66" y="222"/>
                  </a:lnTo>
                  <a:lnTo>
                    <a:pt x="74" y="218"/>
                  </a:lnTo>
                  <a:lnTo>
                    <a:pt x="82" y="214"/>
                  </a:lnTo>
                  <a:lnTo>
                    <a:pt x="90" y="210"/>
                  </a:lnTo>
                  <a:lnTo>
                    <a:pt x="100" y="208"/>
                  </a:lnTo>
                  <a:lnTo>
                    <a:pt x="110" y="208"/>
                  </a:lnTo>
                  <a:lnTo>
                    <a:pt x="126" y="208"/>
                  </a:lnTo>
                  <a:lnTo>
                    <a:pt x="126" y="208"/>
                  </a:lnTo>
                  <a:lnTo>
                    <a:pt x="120" y="198"/>
                  </a:lnTo>
                  <a:lnTo>
                    <a:pt x="114" y="188"/>
                  </a:lnTo>
                  <a:lnTo>
                    <a:pt x="112" y="178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54"/>
                  </a:lnTo>
                  <a:lnTo>
                    <a:pt x="116" y="142"/>
                  </a:lnTo>
                  <a:lnTo>
                    <a:pt x="120" y="132"/>
                  </a:lnTo>
                  <a:lnTo>
                    <a:pt x="128" y="122"/>
                  </a:lnTo>
                  <a:lnTo>
                    <a:pt x="136" y="114"/>
                  </a:lnTo>
                  <a:lnTo>
                    <a:pt x="146" y="106"/>
                  </a:lnTo>
                  <a:lnTo>
                    <a:pt x="156" y="102"/>
                  </a:lnTo>
                  <a:lnTo>
                    <a:pt x="168" y="98"/>
                  </a:lnTo>
                  <a:lnTo>
                    <a:pt x="166" y="90"/>
                  </a:lnTo>
                  <a:lnTo>
                    <a:pt x="166" y="90"/>
                  </a:lnTo>
                  <a:lnTo>
                    <a:pt x="166" y="88"/>
                  </a:lnTo>
                  <a:lnTo>
                    <a:pt x="166" y="88"/>
                  </a:lnTo>
                  <a:lnTo>
                    <a:pt x="162" y="80"/>
                  </a:lnTo>
                  <a:lnTo>
                    <a:pt x="154" y="74"/>
                  </a:lnTo>
                  <a:lnTo>
                    <a:pt x="146" y="70"/>
                  </a:lnTo>
                  <a:lnTo>
                    <a:pt x="138" y="68"/>
                  </a:lnTo>
                  <a:lnTo>
                    <a:pt x="110" y="68"/>
                  </a:lnTo>
                  <a:lnTo>
                    <a:pt x="90" y="102"/>
                  </a:lnTo>
                  <a:lnTo>
                    <a:pt x="72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36" y="70"/>
                  </a:lnTo>
                  <a:lnTo>
                    <a:pt x="28" y="74"/>
                  </a:lnTo>
                  <a:lnTo>
                    <a:pt x="20" y="80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90"/>
                  </a:lnTo>
                  <a:lnTo>
                    <a:pt x="0" y="190"/>
                  </a:lnTo>
                  <a:lnTo>
                    <a:pt x="0" y="190"/>
                  </a:lnTo>
                  <a:lnTo>
                    <a:pt x="0" y="196"/>
                  </a:lnTo>
                  <a:lnTo>
                    <a:pt x="2" y="202"/>
                  </a:lnTo>
                  <a:lnTo>
                    <a:pt x="6" y="206"/>
                  </a:lnTo>
                  <a:lnTo>
                    <a:pt x="12" y="208"/>
                  </a:lnTo>
                  <a:lnTo>
                    <a:pt x="12" y="208"/>
                  </a:lnTo>
                  <a:lnTo>
                    <a:pt x="14" y="208"/>
                  </a:lnTo>
                  <a:lnTo>
                    <a:pt x="14" y="208"/>
                  </a:lnTo>
                  <a:lnTo>
                    <a:pt x="20" y="208"/>
                  </a:lnTo>
                  <a:lnTo>
                    <a:pt x="24" y="204"/>
                  </a:lnTo>
                  <a:lnTo>
                    <a:pt x="28" y="200"/>
                  </a:lnTo>
                  <a:lnTo>
                    <a:pt x="30" y="196"/>
                  </a:lnTo>
                  <a:lnTo>
                    <a:pt x="30" y="196"/>
                  </a:lnTo>
                  <a:close/>
                  <a:moveTo>
                    <a:pt x="180" y="118"/>
                  </a:moveTo>
                  <a:lnTo>
                    <a:pt x="180" y="118"/>
                  </a:lnTo>
                  <a:lnTo>
                    <a:pt x="170" y="118"/>
                  </a:lnTo>
                  <a:lnTo>
                    <a:pt x="162" y="120"/>
                  </a:lnTo>
                  <a:lnTo>
                    <a:pt x="152" y="126"/>
                  </a:lnTo>
                  <a:lnTo>
                    <a:pt x="146" y="132"/>
                  </a:lnTo>
                  <a:lnTo>
                    <a:pt x="140" y="138"/>
                  </a:lnTo>
                  <a:lnTo>
                    <a:pt x="136" y="146"/>
                  </a:lnTo>
                  <a:lnTo>
                    <a:pt x="132" y="156"/>
                  </a:lnTo>
                  <a:lnTo>
                    <a:pt x="132" y="166"/>
                  </a:lnTo>
                  <a:lnTo>
                    <a:pt x="132" y="166"/>
                  </a:lnTo>
                  <a:lnTo>
                    <a:pt x="132" y="176"/>
                  </a:lnTo>
                  <a:lnTo>
                    <a:pt x="136" y="184"/>
                  </a:lnTo>
                  <a:lnTo>
                    <a:pt x="140" y="194"/>
                  </a:lnTo>
                  <a:lnTo>
                    <a:pt x="146" y="200"/>
                  </a:lnTo>
                  <a:lnTo>
                    <a:pt x="152" y="206"/>
                  </a:lnTo>
                  <a:lnTo>
                    <a:pt x="162" y="210"/>
                  </a:lnTo>
                  <a:lnTo>
                    <a:pt x="170" y="214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90" y="214"/>
                  </a:lnTo>
                  <a:lnTo>
                    <a:pt x="200" y="210"/>
                  </a:lnTo>
                  <a:lnTo>
                    <a:pt x="208" y="206"/>
                  </a:lnTo>
                  <a:lnTo>
                    <a:pt x="214" y="200"/>
                  </a:lnTo>
                  <a:lnTo>
                    <a:pt x="220" y="194"/>
                  </a:lnTo>
                  <a:lnTo>
                    <a:pt x="224" y="184"/>
                  </a:lnTo>
                  <a:lnTo>
                    <a:pt x="228" y="176"/>
                  </a:lnTo>
                  <a:lnTo>
                    <a:pt x="228" y="166"/>
                  </a:lnTo>
                  <a:lnTo>
                    <a:pt x="228" y="166"/>
                  </a:lnTo>
                  <a:lnTo>
                    <a:pt x="228" y="156"/>
                  </a:lnTo>
                  <a:lnTo>
                    <a:pt x="224" y="146"/>
                  </a:lnTo>
                  <a:lnTo>
                    <a:pt x="220" y="138"/>
                  </a:lnTo>
                  <a:lnTo>
                    <a:pt x="214" y="132"/>
                  </a:lnTo>
                  <a:lnTo>
                    <a:pt x="208" y="126"/>
                  </a:lnTo>
                  <a:lnTo>
                    <a:pt x="200" y="120"/>
                  </a:lnTo>
                  <a:lnTo>
                    <a:pt x="190" y="118"/>
                  </a:lnTo>
                  <a:lnTo>
                    <a:pt x="180" y="118"/>
                  </a:lnTo>
                  <a:close/>
                  <a:moveTo>
                    <a:pt x="296" y="260"/>
                  </a:moveTo>
                  <a:lnTo>
                    <a:pt x="296" y="260"/>
                  </a:lnTo>
                  <a:lnTo>
                    <a:pt x="294" y="258"/>
                  </a:lnTo>
                  <a:lnTo>
                    <a:pt x="294" y="258"/>
                  </a:lnTo>
                  <a:lnTo>
                    <a:pt x="292" y="252"/>
                  </a:lnTo>
                  <a:lnTo>
                    <a:pt x="288" y="246"/>
                  </a:lnTo>
                  <a:lnTo>
                    <a:pt x="278" y="236"/>
                  </a:lnTo>
                  <a:lnTo>
                    <a:pt x="266" y="230"/>
                  </a:lnTo>
                  <a:lnTo>
                    <a:pt x="250" y="228"/>
                  </a:lnTo>
                  <a:lnTo>
                    <a:pt x="210" y="228"/>
                  </a:lnTo>
                  <a:lnTo>
                    <a:pt x="180" y="278"/>
                  </a:lnTo>
                  <a:lnTo>
                    <a:pt x="150" y="228"/>
                  </a:lnTo>
                  <a:lnTo>
                    <a:pt x="110" y="228"/>
                  </a:lnTo>
                  <a:lnTo>
                    <a:pt x="110" y="228"/>
                  </a:lnTo>
                  <a:lnTo>
                    <a:pt x="94" y="230"/>
                  </a:lnTo>
                  <a:lnTo>
                    <a:pt x="82" y="236"/>
                  </a:lnTo>
                  <a:lnTo>
                    <a:pt x="72" y="246"/>
                  </a:lnTo>
                  <a:lnTo>
                    <a:pt x="68" y="252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4" y="260"/>
                  </a:lnTo>
                  <a:lnTo>
                    <a:pt x="52" y="336"/>
                  </a:lnTo>
                  <a:lnTo>
                    <a:pt x="52" y="336"/>
                  </a:lnTo>
                  <a:lnTo>
                    <a:pt x="72" y="352"/>
                  </a:lnTo>
                  <a:lnTo>
                    <a:pt x="96" y="362"/>
                  </a:lnTo>
                  <a:lnTo>
                    <a:pt x="106" y="304"/>
                  </a:lnTo>
                  <a:lnTo>
                    <a:pt x="118" y="304"/>
                  </a:lnTo>
                  <a:lnTo>
                    <a:pt x="114" y="370"/>
                  </a:lnTo>
                  <a:lnTo>
                    <a:pt x="114" y="370"/>
                  </a:lnTo>
                  <a:lnTo>
                    <a:pt x="130" y="374"/>
                  </a:lnTo>
                  <a:lnTo>
                    <a:pt x="146" y="378"/>
                  </a:lnTo>
                  <a:lnTo>
                    <a:pt x="162" y="380"/>
                  </a:lnTo>
                  <a:lnTo>
                    <a:pt x="180" y="380"/>
                  </a:lnTo>
                  <a:lnTo>
                    <a:pt x="180" y="380"/>
                  </a:lnTo>
                  <a:lnTo>
                    <a:pt x="196" y="380"/>
                  </a:lnTo>
                  <a:lnTo>
                    <a:pt x="214" y="378"/>
                  </a:lnTo>
                  <a:lnTo>
                    <a:pt x="230" y="374"/>
                  </a:lnTo>
                  <a:lnTo>
                    <a:pt x="246" y="370"/>
                  </a:lnTo>
                  <a:lnTo>
                    <a:pt x="242" y="304"/>
                  </a:lnTo>
                  <a:lnTo>
                    <a:pt x="254" y="304"/>
                  </a:lnTo>
                  <a:lnTo>
                    <a:pt x="264" y="362"/>
                  </a:lnTo>
                  <a:lnTo>
                    <a:pt x="264" y="362"/>
                  </a:lnTo>
                  <a:lnTo>
                    <a:pt x="288" y="350"/>
                  </a:lnTo>
                  <a:lnTo>
                    <a:pt x="308" y="336"/>
                  </a:lnTo>
                  <a:lnTo>
                    <a:pt x="296" y="26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351" name="Rectangle 350"/>
          <p:cNvSpPr/>
          <p:nvPr/>
        </p:nvSpPr>
        <p:spPr>
          <a:xfrm>
            <a:off x="614133" y="2502272"/>
            <a:ext cx="1192054" cy="8079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050" i="1" dirty="0" smtClean="0">
                <a:solidFill>
                  <a:schemeClr val="bg1"/>
                </a:solidFill>
                <a:latin typeface="+mj-lt"/>
              </a:rPr>
              <a:t>Использование аналитических инструментов и разработка технологий...</a:t>
            </a:r>
            <a:endParaRPr lang="ru-RU" sz="105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52" name="Group 351"/>
          <p:cNvGrpSpPr/>
          <p:nvPr/>
        </p:nvGrpSpPr>
        <p:grpSpPr>
          <a:xfrm>
            <a:off x="684739" y="3622998"/>
            <a:ext cx="846318" cy="846318"/>
            <a:chOff x="4091659" y="5907019"/>
            <a:chExt cx="612000" cy="612000"/>
          </a:xfrm>
        </p:grpSpPr>
        <p:sp>
          <p:nvSpPr>
            <p:cNvPr id="353" name="Oval 352"/>
            <p:cNvSpPr/>
            <p:nvPr/>
          </p:nvSpPr>
          <p:spPr bwMode="ltGray">
            <a:xfrm>
              <a:off x="4091659" y="5907019"/>
              <a:ext cx="612000" cy="61200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err="1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54" name="Freeform 4840"/>
            <p:cNvSpPr>
              <a:spLocks noEditPoints="1"/>
            </p:cNvSpPr>
            <p:nvPr/>
          </p:nvSpPr>
          <p:spPr bwMode="auto">
            <a:xfrm>
              <a:off x="4242899" y="5995064"/>
              <a:ext cx="357646" cy="452026"/>
            </a:xfrm>
            <a:custGeom>
              <a:avLst/>
              <a:gdLst>
                <a:gd name="T0" fmla="*/ 120 w 288"/>
                <a:gd name="T1" fmla="*/ 84 h 364"/>
                <a:gd name="T2" fmla="*/ 96 w 288"/>
                <a:gd name="T3" fmla="*/ 74 h 364"/>
                <a:gd name="T4" fmla="*/ 106 w 288"/>
                <a:gd name="T5" fmla="*/ 52 h 364"/>
                <a:gd name="T6" fmla="*/ 130 w 288"/>
                <a:gd name="T7" fmla="*/ 62 h 364"/>
                <a:gd name="T8" fmla="*/ 74 w 288"/>
                <a:gd name="T9" fmla="*/ 52 h 364"/>
                <a:gd name="T10" fmla="*/ 50 w 288"/>
                <a:gd name="T11" fmla="*/ 58 h 364"/>
                <a:gd name="T12" fmla="*/ 54 w 288"/>
                <a:gd name="T13" fmla="*/ 82 h 364"/>
                <a:gd name="T14" fmla="*/ 80 w 288"/>
                <a:gd name="T15" fmla="*/ 78 h 364"/>
                <a:gd name="T16" fmla="*/ 148 w 288"/>
                <a:gd name="T17" fmla="*/ 54 h 364"/>
                <a:gd name="T18" fmla="*/ 148 w 288"/>
                <a:gd name="T19" fmla="*/ 80 h 364"/>
                <a:gd name="T20" fmla="*/ 174 w 288"/>
                <a:gd name="T21" fmla="*/ 80 h 364"/>
                <a:gd name="T22" fmla="*/ 174 w 288"/>
                <a:gd name="T23" fmla="*/ 54 h 364"/>
                <a:gd name="T24" fmla="*/ 128 w 288"/>
                <a:gd name="T25" fmla="*/ 106 h 364"/>
                <a:gd name="T26" fmla="*/ 102 w 288"/>
                <a:gd name="T27" fmla="*/ 100 h 364"/>
                <a:gd name="T28" fmla="*/ 98 w 288"/>
                <a:gd name="T29" fmla="*/ 126 h 364"/>
                <a:gd name="T30" fmla="*/ 122 w 288"/>
                <a:gd name="T31" fmla="*/ 130 h 364"/>
                <a:gd name="T32" fmla="*/ 82 w 288"/>
                <a:gd name="T33" fmla="*/ 110 h 364"/>
                <a:gd name="T34" fmla="*/ 58 w 288"/>
                <a:gd name="T35" fmla="*/ 100 h 364"/>
                <a:gd name="T36" fmla="*/ 48 w 288"/>
                <a:gd name="T37" fmla="*/ 122 h 364"/>
                <a:gd name="T38" fmla="*/ 72 w 288"/>
                <a:gd name="T39" fmla="*/ 132 h 364"/>
                <a:gd name="T40" fmla="*/ 120 w 288"/>
                <a:gd name="T41" fmla="*/ 148 h 364"/>
                <a:gd name="T42" fmla="*/ 96 w 288"/>
                <a:gd name="T43" fmla="*/ 158 h 364"/>
                <a:gd name="T44" fmla="*/ 106 w 288"/>
                <a:gd name="T45" fmla="*/ 180 h 364"/>
                <a:gd name="T46" fmla="*/ 130 w 288"/>
                <a:gd name="T47" fmla="*/ 170 h 364"/>
                <a:gd name="T48" fmla="*/ 120 w 288"/>
                <a:gd name="T49" fmla="*/ 148 h 364"/>
                <a:gd name="T50" fmla="*/ 52 w 288"/>
                <a:gd name="T51" fmla="*/ 150 h 364"/>
                <a:gd name="T52" fmla="*/ 52 w 288"/>
                <a:gd name="T53" fmla="*/ 176 h 364"/>
                <a:gd name="T54" fmla="*/ 78 w 288"/>
                <a:gd name="T55" fmla="*/ 176 h 364"/>
                <a:gd name="T56" fmla="*/ 78 w 288"/>
                <a:gd name="T57" fmla="*/ 150 h 364"/>
                <a:gd name="T58" fmla="*/ 216 w 288"/>
                <a:gd name="T59" fmla="*/ 348 h 364"/>
                <a:gd name="T60" fmla="*/ 40 w 288"/>
                <a:gd name="T61" fmla="*/ 364 h 364"/>
                <a:gd name="T62" fmla="*/ 8 w 288"/>
                <a:gd name="T63" fmla="*/ 346 h 364"/>
                <a:gd name="T64" fmla="*/ 2 w 288"/>
                <a:gd name="T65" fmla="*/ 32 h 364"/>
                <a:gd name="T66" fmla="*/ 32 w 288"/>
                <a:gd name="T67" fmla="*/ 0 h 364"/>
                <a:gd name="T68" fmla="*/ 208 w 288"/>
                <a:gd name="T69" fmla="*/ 6 h 364"/>
                <a:gd name="T70" fmla="*/ 224 w 288"/>
                <a:gd name="T71" fmla="*/ 158 h 364"/>
                <a:gd name="T72" fmla="*/ 206 w 288"/>
                <a:gd name="T73" fmla="*/ 148 h 364"/>
                <a:gd name="T74" fmla="*/ 194 w 288"/>
                <a:gd name="T75" fmla="*/ 36 h 364"/>
                <a:gd name="T76" fmla="*/ 36 w 288"/>
                <a:gd name="T77" fmla="*/ 30 h 364"/>
                <a:gd name="T78" fmla="*/ 32 w 288"/>
                <a:gd name="T79" fmla="*/ 274 h 364"/>
                <a:gd name="T80" fmla="*/ 156 w 288"/>
                <a:gd name="T81" fmla="*/ 324 h 364"/>
                <a:gd name="T82" fmla="*/ 216 w 288"/>
                <a:gd name="T83" fmla="*/ 348 h 364"/>
                <a:gd name="T84" fmla="*/ 120 w 288"/>
                <a:gd name="T85" fmla="*/ 304 h 364"/>
                <a:gd name="T86" fmla="*/ 92 w 288"/>
                <a:gd name="T87" fmla="*/ 324 h 364"/>
                <a:gd name="T88" fmla="*/ 112 w 288"/>
                <a:gd name="T89" fmla="*/ 342 h 364"/>
                <a:gd name="T90" fmla="*/ 288 w 288"/>
                <a:gd name="T91" fmla="*/ 256 h 364"/>
                <a:gd name="T92" fmla="*/ 282 w 288"/>
                <a:gd name="T93" fmla="*/ 188 h 364"/>
                <a:gd name="T94" fmla="*/ 254 w 288"/>
                <a:gd name="T95" fmla="*/ 190 h 364"/>
                <a:gd name="T96" fmla="*/ 242 w 288"/>
                <a:gd name="T97" fmla="*/ 174 h 364"/>
                <a:gd name="T98" fmla="*/ 216 w 288"/>
                <a:gd name="T99" fmla="*/ 186 h 364"/>
                <a:gd name="T100" fmla="*/ 198 w 288"/>
                <a:gd name="T101" fmla="*/ 164 h 364"/>
                <a:gd name="T102" fmla="*/ 180 w 288"/>
                <a:gd name="T103" fmla="*/ 118 h 364"/>
                <a:gd name="T104" fmla="*/ 162 w 288"/>
                <a:gd name="T105" fmla="*/ 100 h 364"/>
                <a:gd name="T106" fmla="*/ 118 w 288"/>
                <a:gd name="T107" fmla="*/ 212 h 364"/>
                <a:gd name="T108" fmla="*/ 92 w 288"/>
                <a:gd name="T109" fmla="*/ 212 h 364"/>
                <a:gd name="T110" fmla="*/ 166 w 288"/>
                <a:gd name="T111" fmla="*/ 312 h 364"/>
                <a:gd name="T112" fmla="*/ 216 w 288"/>
                <a:gd name="T113" fmla="*/ 332 h 364"/>
                <a:gd name="T114" fmla="*/ 276 w 288"/>
                <a:gd name="T115" fmla="*/ 300 h 364"/>
                <a:gd name="T116" fmla="*/ 288 w 288"/>
                <a:gd name="T117" fmla="*/ 256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364">
                  <a:moveTo>
                    <a:pt x="130" y="74"/>
                  </a:moveTo>
                  <a:lnTo>
                    <a:pt x="130" y="74"/>
                  </a:lnTo>
                  <a:lnTo>
                    <a:pt x="128" y="78"/>
                  </a:lnTo>
                  <a:lnTo>
                    <a:pt x="126" y="80"/>
                  </a:lnTo>
                  <a:lnTo>
                    <a:pt x="122" y="82"/>
                  </a:lnTo>
                  <a:lnTo>
                    <a:pt x="120" y="84"/>
                  </a:lnTo>
                  <a:lnTo>
                    <a:pt x="106" y="84"/>
                  </a:lnTo>
                  <a:lnTo>
                    <a:pt x="106" y="84"/>
                  </a:lnTo>
                  <a:lnTo>
                    <a:pt x="102" y="82"/>
                  </a:lnTo>
                  <a:lnTo>
                    <a:pt x="100" y="80"/>
                  </a:lnTo>
                  <a:lnTo>
                    <a:pt x="98" y="78"/>
                  </a:lnTo>
                  <a:lnTo>
                    <a:pt x="96" y="74"/>
                  </a:lnTo>
                  <a:lnTo>
                    <a:pt x="96" y="62"/>
                  </a:lnTo>
                  <a:lnTo>
                    <a:pt x="96" y="62"/>
                  </a:lnTo>
                  <a:lnTo>
                    <a:pt x="98" y="58"/>
                  </a:lnTo>
                  <a:lnTo>
                    <a:pt x="100" y="54"/>
                  </a:lnTo>
                  <a:lnTo>
                    <a:pt x="102" y="52"/>
                  </a:lnTo>
                  <a:lnTo>
                    <a:pt x="106" y="52"/>
                  </a:lnTo>
                  <a:lnTo>
                    <a:pt x="120" y="52"/>
                  </a:lnTo>
                  <a:lnTo>
                    <a:pt x="120" y="52"/>
                  </a:lnTo>
                  <a:lnTo>
                    <a:pt x="122" y="52"/>
                  </a:lnTo>
                  <a:lnTo>
                    <a:pt x="126" y="54"/>
                  </a:lnTo>
                  <a:lnTo>
                    <a:pt x="128" y="58"/>
                  </a:lnTo>
                  <a:lnTo>
                    <a:pt x="130" y="62"/>
                  </a:lnTo>
                  <a:lnTo>
                    <a:pt x="130" y="74"/>
                  </a:lnTo>
                  <a:close/>
                  <a:moveTo>
                    <a:pt x="82" y="62"/>
                  </a:moveTo>
                  <a:lnTo>
                    <a:pt x="82" y="62"/>
                  </a:lnTo>
                  <a:lnTo>
                    <a:pt x="80" y="58"/>
                  </a:lnTo>
                  <a:lnTo>
                    <a:pt x="78" y="54"/>
                  </a:lnTo>
                  <a:lnTo>
                    <a:pt x="74" y="52"/>
                  </a:lnTo>
                  <a:lnTo>
                    <a:pt x="72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4" y="52"/>
                  </a:lnTo>
                  <a:lnTo>
                    <a:pt x="52" y="54"/>
                  </a:lnTo>
                  <a:lnTo>
                    <a:pt x="50" y="58"/>
                  </a:lnTo>
                  <a:lnTo>
                    <a:pt x="48" y="62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50" y="78"/>
                  </a:lnTo>
                  <a:lnTo>
                    <a:pt x="52" y="80"/>
                  </a:lnTo>
                  <a:lnTo>
                    <a:pt x="54" y="82"/>
                  </a:lnTo>
                  <a:lnTo>
                    <a:pt x="58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4" y="82"/>
                  </a:lnTo>
                  <a:lnTo>
                    <a:pt x="78" y="80"/>
                  </a:lnTo>
                  <a:lnTo>
                    <a:pt x="80" y="78"/>
                  </a:lnTo>
                  <a:lnTo>
                    <a:pt x="82" y="74"/>
                  </a:lnTo>
                  <a:lnTo>
                    <a:pt x="82" y="62"/>
                  </a:lnTo>
                  <a:close/>
                  <a:moveTo>
                    <a:pt x="154" y="52"/>
                  </a:moveTo>
                  <a:lnTo>
                    <a:pt x="154" y="52"/>
                  </a:lnTo>
                  <a:lnTo>
                    <a:pt x="150" y="52"/>
                  </a:lnTo>
                  <a:lnTo>
                    <a:pt x="148" y="54"/>
                  </a:lnTo>
                  <a:lnTo>
                    <a:pt x="146" y="58"/>
                  </a:lnTo>
                  <a:lnTo>
                    <a:pt x="144" y="62"/>
                  </a:lnTo>
                  <a:lnTo>
                    <a:pt x="144" y="74"/>
                  </a:lnTo>
                  <a:lnTo>
                    <a:pt x="144" y="74"/>
                  </a:lnTo>
                  <a:lnTo>
                    <a:pt x="146" y="78"/>
                  </a:lnTo>
                  <a:lnTo>
                    <a:pt x="148" y="80"/>
                  </a:lnTo>
                  <a:lnTo>
                    <a:pt x="150" y="82"/>
                  </a:lnTo>
                  <a:lnTo>
                    <a:pt x="154" y="84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70" y="82"/>
                  </a:lnTo>
                  <a:lnTo>
                    <a:pt x="174" y="80"/>
                  </a:lnTo>
                  <a:lnTo>
                    <a:pt x="176" y="78"/>
                  </a:lnTo>
                  <a:lnTo>
                    <a:pt x="178" y="74"/>
                  </a:lnTo>
                  <a:lnTo>
                    <a:pt x="178" y="62"/>
                  </a:lnTo>
                  <a:lnTo>
                    <a:pt x="178" y="62"/>
                  </a:lnTo>
                  <a:lnTo>
                    <a:pt x="176" y="58"/>
                  </a:lnTo>
                  <a:lnTo>
                    <a:pt x="174" y="54"/>
                  </a:lnTo>
                  <a:lnTo>
                    <a:pt x="170" y="52"/>
                  </a:lnTo>
                  <a:lnTo>
                    <a:pt x="168" y="52"/>
                  </a:lnTo>
                  <a:lnTo>
                    <a:pt x="154" y="52"/>
                  </a:lnTo>
                  <a:close/>
                  <a:moveTo>
                    <a:pt x="130" y="110"/>
                  </a:moveTo>
                  <a:lnTo>
                    <a:pt x="130" y="110"/>
                  </a:lnTo>
                  <a:lnTo>
                    <a:pt x="128" y="106"/>
                  </a:lnTo>
                  <a:lnTo>
                    <a:pt x="126" y="102"/>
                  </a:lnTo>
                  <a:lnTo>
                    <a:pt x="122" y="100"/>
                  </a:lnTo>
                  <a:lnTo>
                    <a:pt x="120" y="100"/>
                  </a:lnTo>
                  <a:lnTo>
                    <a:pt x="106" y="100"/>
                  </a:lnTo>
                  <a:lnTo>
                    <a:pt x="106" y="100"/>
                  </a:lnTo>
                  <a:lnTo>
                    <a:pt x="102" y="100"/>
                  </a:lnTo>
                  <a:lnTo>
                    <a:pt x="100" y="102"/>
                  </a:lnTo>
                  <a:lnTo>
                    <a:pt x="98" y="106"/>
                  </a:lnTo>
                  <a:lnTo>
                    <a:pt x="96" y="110"/>
                  </a:lnTo>
                  <a:lnTo>
                    <a:pt x="96" y="122"/>
                  </a:lnTo>
                  <a:lnTo>
                    <a:pt x="96" y="122"/>
                  </a:lnTo>
                  <a:lnTo>
                    <a:pt x="98" y="126"/>
                  </a:lnTo>
                  <a:lnTo>
                    <a:pt x="100" y="128"/>
                  </a:lnTo>
                  <a:lnTo>
                    <a:pt x="102" y="130"/>
                  </a:lnTo>
                  <a:lnTo>
                    <a:pt x="106" y="132"/>
                  </a:lnTo>
                  <a:lnTo>
                    <a:pt x="120" y="132"/>
                  </a:lnTo>
                  <a:lnTo>
                    <a:pt x="120" y="132"/>
                  </a:lnTo>
                  <a:lnTo>
                    <a:pt x="122" y="130"/>
                  </a:lnTo>
                  <a:lnTo>
                    <a:pt x="126" y="128"/>
                  </a:lnTo>
                  <a:lnTo>
                    <a:pt x="128" y="126"/>
                  </a:lnTo>
                  <a:lnTo>
                    <a:pt x="130" y="122"/>
                  </a:lnTo>
                  <a:lnTo>
                    <a:pt x="130" y="110"/>
                  </a:lnTo>
                  <a:close/>
                  <a:moveTo>
                    <a:pt x="82" y="110"/>
                  </a:moveTo>
                  <a:lnTo>
                    <a:pt x="82" y="110"/>
                  </a:lnTo>
                  <a:lnTo>
                    <a:pt x="80" y="106"/>
                  </a:lnTo>
                  <a:lnTo>
                    <a:pt x="78" y="102"/>
                  </a:lnTo>
                  <a:lnTo>
                    <a:pt x="74" y="100"/>
                  </a:lnTo>
                  <a:lnTo>
                    <a:pt x="72" y="100"/>
                  </a:lnTo>
                  <a:lnTo>
                    <a:pt x="58" y="100"/>
                  </a:lnTo>
                  <a:lnTo>
                    <a:pt x="58" y="100"/>
                  </a:lnTo>
                  <a:lnTo>
                    <a:pt x="54" y="100"/>
                  </a:lnTo>
                  <a:lnTo>
                    <a:pt x="52" y="102"/>
                  </a:lnTo>
                  <a:lnTo>
                    <a:pt x="50" y="106"/>
                  </a:lnTo>
                  <a:lnTo>
                    <a:pt x="48" y="110"/>
                  </a:lnTo>
                  <a:lnTo>
                    <a:pt x="48" y="122"/>
                  </a:lnTo>
                  <a:lnTo>
                    <a:pt x="48" y="122"/>
                  </a:lnTo>
                  <a:lnTo>
                    <a:pt x="50" y="126"/>
                  </a:lnTo>
                  <a:lnTo>
                    <a:pt x="52" y="128"/>
                  </a:lnTo>
                  <a:lnTo>
                    <a:pt x="54" y="130"/>
                  </a:lnTo>
                  <a:lnTo>
                    <a:pt x="58" y="132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74" y="130"/>
                  </a:lnTo>
                  <a:lnTo>
                    <a:pt x="78" y="128"/>
                  </a:lnTo>
                  <a:lnTo>
                    <a:pt x="80" y="126"/>
                  </a:lnTo>
                  <a:lnTo>
                    <a:pt x="82" y="122"/>
                  </a:lnTo>
                  <a:lnTo>
                    <a:pt x="82" y="110"/>
                  </a:lnTo>
                  <a:close/>
                  <a:moveTo>
                    <a:pt x="120" y="148"/>
                  </a:moveTo>
                  <a:lnTo>
                    <a:pt x="106" y="148"/>
                  </a:lnTo>
                  <a:lnTo>
                    <a:pt x="106" y="148"/>
                  </a:lnTo>
                  <a:lnTo>
                    <a:pt x="102" y="148"/>
                  </a:lnTo>
                  <a:lnTo>
                    <a:pt x="100" y="150"/>
                  </a:lnTo>
                  <a:lnTo>
                    <a:pt x="98" y="154"/>
                  </a:lnTo>
                  <a:lnTo>
                    <a:pt x="96" y="158"/>
                  </a:lnTo>
                  <a:lnTo>
                    <a:pt x="96" y="170"/>
                  </a:lnTo>
                  <a:lnTo>
                    <a:pt x="96" y="170"/>
                  </a:lnTo>
                  <a:lnTo>
                    <a:pt x="98" y="174"/>
                  </a:lnTo>
                  <a:lnTo>
                    <a:pt x="100" y="176"/>
                  </a:lnTo>
                  <a:lnTo>
                    <a:pt x="102" y="178"/>
                  </a:lnTo>
                  <a:lnTo>
                    <a:pt x="106" y="180"/>
                  </a:lnTo>
                  <a:lnTo>
                    <a:pt x="120" y="180"/>
                  </a:lnTo>
                  <a:lnTo>
                    <a:pt x="120" y="180"/>
                  </a:lnTo>
                  <a:lnTo>
                    <a:pt x="122" y="178"/>
                  </a:lnTo>
                  <a:lnTo>
                    <a:pt x="126" y="176"/>
                  </a:lnTo>
                  <a:lnTo>
                    <a:pt x="128" y="174"/>
                  </a:lnTo>
                  <a:lnTo>
                    <a:pt x="130" y="170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28" y="154"/>
                  </a:lnTo>
                  <a:lnTo>
                    <a:pt x="126" y="150"/>
                  </a:lnTo>
                  <a:lnTo>
                    <a:pt x="122" y="148"/>
                  </a:lnTo>
                  <a:lnTo>
                    <a:pt x="120" y="148"/>
                  </a:lnTo>
                  <a:lnTo>
                    <a:pt x="120" y="148"/>
                  </a:lnTo>
                  <a:close/>
                  <a:moveTo>
                    <a:pt x="72" y="148"/>
                  </a:moveTo>
                  <a:lnTo>
                    <a:pt x="58" y="148"/>
                  </a:lnTo>
                  <a:lnTo>
                    <a:pt x="58" y="148"/>
                  </a:lnTo>
                  <a:lnTo>
                    <a:pt x="54" y="148"/>
                  </a:lnTo>
                  <a:lnTo>
                    <a:pt x="52" y="150"/>
                  </a:lnTo>
                  <a:lnTo>
                    <a:pt x="50" y="154"/>
                  </a:lnTo>
                  <a:lnTo>
                    <a:pt x="48" y="158"/>
                  </a:lnTo>
                  <a:lnTo>
                    <a:pt x="48" y="170"/>
                  </a:lnTo>
                  <a:lnTo>
                    <a:pt x="48" y="170"/>
                  </a:lnTo>
                  <a:lnTo>
                    <a:pt x="50" y="174"/>
                  </a:lnTo>
                  <a:lnTo>
                    <a:pt x="52" y="176"/>
                  </a:lnTo>
                  <a:lnTo>
                    <a:pt x="54" y="178"/>
                  </a:lnTo>
                  <a:lnTo>
                    <a:pt x="58" y="180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4" y="178"/>
                  </a:lnTo>
                  <a:lnTo>
                    <a:pt x="78" y="176"/>
                  </a:lnTo>
                  <a:lnTo>
                    <a:pt x="80" y="174"/>
                  </a:lnTo>
                  <a:lnTo>
                    <a:pt x="82" y="170"/>
                  </a:lnTo>
                  <a:lnTo>
                    <a:pt x="82" y="158"/>
                  </a:lnTo>
                  <a:lnTo>
                    <a:pt x="82" y="158"/>
                  </a:lnTo>
                  <a:lnTo>
                    <a:pt x="80" y="154"/>
                  </a:lnTo>
                  <a:lnTo>
                    <a:pt x="78" y="150"/>
                  </a:lnTo>
                  <a:lnTo>
                    <a:pt x="74" y="148"/>
                  </a:lnTo>
                  <a:lnTo>
                    <a:pt x="72" y="148"/>
                  </a:lnTo>
                  <a:lnTo>
                    <a:pt x="72" y="148"/>
                  </a:lnTo>
                  <a:close/>
                  <a:moveTo>
                    <a:pt x="216" y="348"/>
                  </a:moveTo>
                  <a:lnTo>
                    <a:pt x="216" y="348"/>
                  </a:lnTo>
                  <a:lnTo>
                    <a:pt x="216" y="348"/>
                  </a:lnTo>
                  <a:lnTo>
                    <a:pt x="216" y="348"/>
                  </a:lnTo>
                  <a:lnTo>
                    <a:pt x="210" y="354"/>
                  </a:lnTo>
                  <a:lnTo>
                    <a:pt x="202" y="360"/>
                  </a:lnTo>
                  <a:lnTo>
                    <a:pt x="194" y="362"/>
                  </a:lnTo>
                  <a:lnTo>
                    <a:pt x="184" y="364"/>
                  </a:lnTo>
                  <a:lnTo>
                    <a:pt x="40" y="364"/>
                  </a:lnTo>
                  <a:lnTo>
                    <a:pt x="40" y="364"/>
                  </a:lnTo>
                  <a:lnTo>
                    <a:pt x="32" y="364"/>
                  </a:lnTo>
                  <a:lnTo>
                    <a:pt x="26" y="360"/>
                  </a:lnTo>
                  <a:lnTo>
                    <a:pt x="18" y="358"/>
                  </a:lnTo>
                  <a:lnTo>
                    <a:pt x="12" y="352"/>
                  </a:lnTo>
                  <a:lnTo>
                    <a:pt x="8" y="346"/>
                  </a:lnTo>
                  <a:lnTo>
                    <a:pt x="4" y="340"/>
                  </a:lnTo>
                  <a:lnTo>
                    <a:pt x="2" y="332"/>
                  </a:lnTo>
                  <a:lnTo>
                    <a:pt x="0" y="32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4" y="24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6" y="4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92" y="0"/>
                  </a:lnTo>
                  <a:lnTo>
                    <a:pt x="200" y="4"/>
                  </a:lnTo>
                  <a:lnTo>
                    <a:pt x="208" y="6"/>
                  </a:lnTo>
                  <a:lnTo>
                    <a:pt x="214" y="12"/>
                  </a:lnTo>
                  <a:lnTo>
                    <a:pt x="218" y="18"/>
                  </a:lnTo>
                  <a:lnTo>
                    <a:pt x="222" y="24"/>
                  </a:lnTo>
                  <a:lnTo>
                    <a:pt x="224" y="32"/>
                  </a:lnTo>
                  <a:lnTo>
                    <a:pt x="224" y="40"/>
                  </a:lnTo>
                  <a:lnTo>
                    <a:pt x="224" y="158"/>
                  </a:lnTo>
                  <a:lnTo>
                    <a:pt x="224" y="158"/>
                  </a:lnTo>
                  <a:lnTo>
                    <a:pt x="224" y="158"/>
                  </a:lnTo>
                  <a:lnTo>
                    <a:pt x="224" y="158"/>
                  </a:lnTo>
                  <a:lnTo>
                    <a:pt x="218" y="154"/>
                  </a:lnTo>
                  <a:lnTo>
                    <a:pt x="212" y="150"/>
                  </a:lnTo>
                  <a:lnTo>
                    <a:pt x="206" y="148"/>
                  </a:lnTo>
                  <a:lnTo>
                    <a:pt x="198" y="148"/>
                  </a:lnTo>
                  <a:lnTo>
                    <a:pt x="198" y="148"/>
                  </a:lnTo>
                  <a:lnTo>
                    <a:pt x="194" y="148"/>
                  </a:lnTo>
                  <a:lnTo>
                    <a:pt x="194" y="40"/>
                  </a:lnTo>
                  <a:lnTo>
                    <a:pt x="194" y="40"/>
                  </a:lnTo>
                  <a:lnTo>
                    <a:pt x="194" y="36"/>
                  </a:lnTo>
                  <a:lnTo>
                    <a:pt x="192" y="32"/>
                  </a:lnTo>
                  <a:lnTo>
                    <a:pt x="188" y="30"/>
                  </a:lnTo>
                  <a:lnTo>
                    <a:pt x="184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6" y="30"/>
                  </a:lnTo>
                  <a:lnTo>
                    <a:pt x="34" y="32"/>
                  </a:lnTo>
                  <a:lnTo>
                    <a:pt x="32" y="36"/>
                  </a:lnTo>
                  <a:lnTo>
                    <a:pt x="30" y="40"/>
                  </a:lnTo>
                  <a:lnTo>
                    <a:pt x="30" y="270"/>
                  </a:lnTo>
                  <a:lnTo>
                    <a:pt x="30" y="270"/>
                  </a:lnTo>
                  <a:lnTo>
                    <a:pt x="32" y="274"/>
                  </a:lnTo>
                  <a:lnTo>
                    <a:pt x="34" y="276"/>
                  </a:lnTo>
                  <a:lnTo>
                    <a:pt x="36" y="278"/>
                  </a:lnTo>
                  <a:lnTo>
                    <a:pt x="40" y="280"/>
                  </a:lnTo>
                  <a:lnTo>
                    <a:pt x="110" y="280"/>
                  </a:lnTo>
                  <a:lnTo>
                    <a:pt x="156" y="324"/>
                  </a:lnTo>
                  <a:lnTo>
                    <a:pt x="156" y="324"/>
                  </a:lnTo>
                  <a:lnTo>
                    <a:pt x="160" y="328"/>
                  </a:lnTo>
                  <a:lnTo>
                    <a:pt x="160" y="328"/>
                  </a:lnTo>
                  <a:lnTo>
                    <a:pt x="172" y="336"/>
                  </a:lnTo>
                  <a:lnTo>
                    <a:pt x="186" y="342"/>
                  </a:lnTo>
                  <a:lnTo>
                    <a:pt x="200" y="346"/>
                  </a:lnTo>
                  <a:lnTo>
                    <a:pt x="216" y="348"/>
                  </a:lnTo>
                  <a:lnTo>
                    <a:pt x="216" y="348"/>
                  </a:lnTo>
                  <a:close/>
                  <a:moveTo>
                    <a:pt x="132" y="324"/>
                  </a:moveTo>
                  <a:lnTo>
                    <a:pt x="132" y="324"/>
                  </a:lnTo>
                  <a:lnTo>
                    <a:pt x="132" y="316"/>
                  </a:lnTo>
                  <a:lnTo>
                    <a:pt x="126" y="310"/>
                  </a:lnTo>
                  <a:lnTo>
                    <a:pt x="120" y="304"/>
                  </a:lnTo>
                  <a:lnTo>
                    <a:pt x="112" y="304"/>
                  </a:lnTo>
                  <a:lnTo>
                    <a:pt x="112" y="304"/>
                  </a:lnTo>
                  <a:lnTo>
                    <a:pt x="106" y="304"/>
                  </a:lnTo>
                  <a:lnTo>
                    <a:pt x="98" y="310"/>
                  </a:lnTo>
                  <a:lnTo>
                    <a:pt x="94" y="316"/>
                  </a:lnTo>
                  <a:lnTo>
                    <a:pt x="92" y="324"/>
                  </a:lnTo>
                  <a:lnTo>
                    <a:pt x="92" y="324"/>
                  </a:lnTo>
                  <a:lnTo>
                    <a:pt x="94" y="330"/>
                  </a:lnTo>
                  <a:lnTo>
                    <a:pt x="98" y="338"/>
                  </a:lnTo>
                  <a:lnTo>
                    <a:pt x="106" y="342"/>
                  </a:lnTo>
                  <a:lnTo>
                    <a:pt x="112" y="342"/>
                  </a:lnTo>
                  <a:lnTo>
                    <a:pt x="112" y="342"/>
                  </a:lnTo>
                  <a:lnTo>
                    <a:pt x="120" y="342"/>
                  </a:lnTo>
                  <a:lnTo>
                    <a:pt x="126" y="338"/>
                  </a:lnTo>
                  <a:lnTo>
                    <a:pt x="132" y="330"/>
                  </a:lnTo>
                  <a:lnTo>
                    <a:pt x="132" y="324"/>
                  </a:lnTo>
                  <a:lnTo>
                    <a:pt x="132" y="324"/>
                  </a:lnTo>
                  <a:close/>
                  <a:moveTo>
                    <a:pt x="288" y="256"/>
                  </a:moveTo>
                  <a:lnTo>
                    <a:pt x="288" y="256"/>
                  </a:lnTo>
                  <a:lnTo>
                    <a:pt x="288" y="256"/>
                  </a:lnTo>
                  <a:lnTo>
                    <a:pt x="288" y="200"/>
                  </a:lnTo>
                  <a:lnTo>
                    <a:pt x="288" y="200"/>
                  </a:lnTo>
                  <a:lnTo>
                    <a:pt x="286" y="192"/>
                  </a:lnTo>
                  <a:lnTo>
                    <a:pt x="282" y="188"/>
                  </a:lnTo>
                  <a:lnTo>
                    <a:pt x="276" y="184"/>
                  </a:lnTo>
                  <a:lnTo>
                    <a:pt x="270" y="182"/>
                  </a:lnTo>
                  <a:lnTo>
                    <a:pt x="270" y="182"/>
                  </a:lnTo>
                  <a:lnTo>
                    <a:pt x="264" y="182"/>
                  </a:lnTo>
                  <a:lnTo>
                    <a:pt x="258" y="186"/>
                  </a:lnTo>
                  <a:lnTo>
                    <a:pt x="254" y="190"/>
                  </a:lnTo>
                  <a:lnTo>
                    <a:pt x="252" y="196"/>
                  </a:lnTo>
                  <a:lnTo>
                    <a:pt x="252" y="190"/>
                  </a:lnTo>
                  <a:lnTo>
                    <a:pt x="252" y="190"/>
                  </a:lnTo>
                  <a:lnTo>
                    <a:pt x="250" y="184"/>
                  </a:lnTo>
                  <a:lnTo>
                    <a:pt x="246" y="178"/>
                  </a:lnTo>
                  <a:lnTo>
                    <a:pt x="242" y="174"/>
                  </a:lnTo>
                  <a:lnTo>
                    <a:pt x="234" y="172"/>
                  </a:lnTo>
                  <a:lnTo>
                    <a:pt x="234" y="172"/>
                  </a:lnTo>
                  <a:lnTo>
                    <a:pt x="228" y="174"/>
                  </a:lnTo>
                  <a:lnTo>
                    <a:pt x="222" y="176"/>
                  </a:lnTo>
                  <a:lnTo>
                    <a:pt x="218" y="180"/>
                  </a:lnTo>
                  <a:lnTo>
                    <a:pt x="216" y="186"/>
                  </a:lnTo>
                  <a:lnTo>
                    <a:pt x="216" y="182"/>
                  </a:lnTo>
                  <a:lnTo>
                    <a:pt x="216" y="182"/>
                  </a:lnTo>
                  <a:lnTo>
                    <a:pt x="214" y="174"/>
                  </a:lnTo>
                  <a:lnTo>
                    <a:pt x="212" y="168"/>
                  </a:lnTo>
                  <a:lnTo>
                    <a:pt x="206" y="164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192" y="164"/>
                  </a:lnTo>
                  <a:lnTo>
                    <a:pt x="186" y="168"/>
                  </a:lnTo>
                  <a:lnTo>
                    <a:pt x="182" y="172"/>
                  </a:lnTo>
                  <a:lnTo>
                    <a:pt x="180" y="176"/>
                  </a:lnTo>
                  <a:lnTo>
                    <a:pt x="180" y="118"/>
                  </a:lnTo>
                  <a:lnTo>
                    <a:pt x="180" y="118"/>
                  </a:lnTo>
                  <a:lnTo>
                    <a:pt x="180" y="110"/>
                  </a:lnTo>
                  <a:lnTo>
                    <a:pt x="176" y="104"/>
                  </a:lnTo>
                  <a:lnTo>
                    <a:pt x="170" y="100"/>
                  </a:lnTo>
                  <a:lnTo>
                    <a:pt x="162" y="100"/>
                  </a:lnTo>
                  <a:lnTo>
                    <a:pt x="162" y="100"/>
                  </a:lnTo>
                  <a:lnTo>
                    <a:pt x="156" y="100"/>
                  </a:lnTo>
                  <a:lnTo>
                    <a:pt x="150" y="104"/>
                  </a:lnTo>
                  <a:lnTo>
                    <a:pt x="146" y="110"/>
                  </a:lnTo>
                  <a:lnTo>
                    <a:pt x="144" y="118"/>
                  </a:lnTo>
                  <a:lnTo>
                    <a:pt x="144" y="238"/>
                  </a:lnTo>
                  <a:lnTo>
                    <a:pt x="118" y="212"/>
                  </a:lnTo>
                  <a:lnTo>
                    <a:pt x="118" y="212"/>
                  </a:lnTo>
                  <a:lnTo>
                    <a:pt x="112" y="208"/>
                  </a:lnTo>
                  <a:lnTo>
                    <a:pt x="104" y="206"/>
                  </a:lnTo>
                  <a:lnTo>
                    <a:pt x="98" y="208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88" y="218"/>
                  </a:lnTo>
                  <a:lnTo>
                    <a:pt x="86" y="224"/>
                  </a:lnTo>
                  <a:lnTo>
                    <a:pt x="88" y="232"/>
                  </a:lnTo>
                  <a:lnTo>
                    <a:pt x="92" y="238"/>
                  </a:lnTo>
                  <a:lnTo>
                    <a:pt x="166" y="312"/>
                  </a:lnTo>
                  <a:lnTo>
                    <a:pt x="166" y="312"/>
                  </a:lnTo>
                  <a:lnTo>
                    <a:pt x="170" y="314"/>
                  </a:lnTo>
                  <a:lnTo>
                    <a:pt x="170" y="314"/>
                  </a:lnTo>
                  <a:lnTo>
                    <a:pt x="180" y="322"/>
                  </a:lnTo>
                  <a:lnTo>
                    <a:pt x="190" y="328"/>
                  </a:lnTo>
                  <a:lnTo>
                    <a:pt x="204" y="330"/>
                  </a:lnTo>
                  <a:lnTo>
                    <a:pt x="216" y="332"/>
                  </a:lnTo>
                  <a:lnTo>
                    <a:pt x="216" y="332"/>
                  </a:lnTo>
                  <a:lnTo>
                    <a:pt x="230" y="330"/>
                  </a:lnTo>
                  <a:lnTo>
                    <a:pt x="244" y="326"/>
                  </a:lnTo>
                  <a:lnTo>
                    <a:pt x="256" y="320"/>
                  </a:lnTo>
                  <a:lnTo>
                    <a:pt x="268" y="312"/>
                  </a:lnTo>
                  <a:lnTo>
                    <a:pt x="276" y="300"/>
                  </a:lnTo>
                  <a:lnTo>
                    <a:pt x="282" y="288"/>
                  </a:lnTo>
                  <a:lnTo>
                    <a:pt x="286" y="274"/>
                  </a:lnTo>
                  <a:lnTo>
                    <a:pt x="288" y="260"/>
                  </a:lnTo>
                  <a:lnTo>
                    <a:pt x="288" y="260"/>
                  </a:lnTo>
                  <a:lnTo>
                    <a:pt x="288" y="256"/>
                  </a:lnTo>
                  <a:lnTo>
                    <a:pt x="288" y="25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358" name="Group 357"/>
          <p:cNvGrpSpPr/>
          <p:nvPr/>
        </p:nvGrpSpPr>
        <p:grpSpPr>
          <a:xfrm>
            <a:off x="4884742" y="3058890"/>
            <a:ext cx="4052950" cy="3205294"/>
            <a:chOff x="4307081" y="1496317"/>
            <a:chExt cx="4052950" cy="3205294"/>
          </a:xfrm>
        </p:grpSpPr>
        <p:pic>
          <p:nvPicPr>
            <p:cNvPr id="359" name="Picture 6" descr="https://spark.apache.org/images/spark-logo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07504" y="3786344"/>
              <a:ext cx="522152" cy="2772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0" name="Picture 14" descr="http://rhrv.r-forge.r-project.org/css/images/R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4557" y="3662305"/>
              <a:ext cx="528994" cy="4013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61" name="Group 360"/>
            <p:cNvGrpSpPr/>
            <p:nvPr/>
          </p:nvGrpSpPr>
          <p:grpSpPr>
            <a:xfrm>
              <a:off x="7337208" y="4435639"/>
              <a:ext cx="1022823" cy="265972"/>
              <a:chOff x="5534552" y="5126183"/>
              <a:chExt cx="1022823" cy="265972"/>
            </a:xfrm>
          </p:grpSpPr>
          <p:sp>
            <p:nvSpPr>
              <p:cNvPr id="402" name="TextBox 53"/>
              <p:cNvSpPr txBox="1">
                <a:spLocks noChangeArrowheads="1"/>
              </p:cNvSpPr>
              <p:nvPr/>
            </p:nvSpPr>
            <p:spPr bwMode="auto">
              <a:xfrm>
                <a:off x="5774954" y="5145934"/>
                <a:ext cx="782421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ru-RU" sz="800" i="1" dirty="0" smtClean="0">
                    <a:solidFill>
                      <a:schemeClr val="bg1"/>
                    </a:solidFill>
                    <a:latin typeface="+mj-lt"/>
                  </a:rPr>
                  <a:t>Внешние данные</a:t>
                </a:r>
                <a:endParaRPr lang="ru-RU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403" name="Flowchart: Magnetic Disk 402"/>
              <p:cNvSpPr/>
              <p:nvPr/>
            </p:nvSpPr>
            <p:spPr bwMode="auto">
              <a:xfrm>
                <a:off x="5534552" y="5126183"/>
                <a:ext cx="152924" cy="169133"/>
              </a:xfrm>
              <a:prstGeom prst="flowChartMagneticDisk">
                <a:avLst/>
              </a:prstGeom>
              <a:solidFill>
                <a:srgbClr val="A7A49B"/>
              </a:solidFill>
              <a:ln w="3175">
                <a:solidFill>
                  <a:srgbClr val="74706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362" name="Group 361"/>
            <p:cNvGrpSpPr/>
            <p:nvPr/>
          </p:nvGrpSpPr>
          <p:grpSpPr>
            <a:xfrm>
              <a:off x="4315824" y="4435639"/>
              <a:ext cx="1188383" cy="265972"/>
              <a:chOff x="5534552" y="4558091"/>
              <a:chExt cx="1188383" cy="265972"/>
            </a:xfrm>
          </p:grpSpPr>
          <p:sp>
            <p:nvSpPr>
              <p:cNvPr id="400" name="TextBox 56"/>
              <p:cNvSpPr txBox="1">
                <a:spLocks noChangeArrowheads="1"/>
              </p:cNvSpPr>
              <p:nvPr/>
            </p:nvSpPr>
            <p:spPr bwMode="auto">
              <a:xfrm>
                <a:off x="5774954" y="4577842"/>
                <a:ext cx="947981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r>
                  <a:rPr lang="ru-RU" sz="800" i="1" dirty="0" smtClean="0">
                    <a:solidFill>
                      <a:schemeClr val="bg1"/>
                    </a:solidFill>
                    <a:latin typeface="+mj-lt"/>
                  </a:rPr>
                  <a:t>Расчетные таблицы</a:t>
                </a:r>
                <a:endParaRPr lang="ru-RU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401" name="Flowchart: Magnetic Disk 400"/>
              <p:cNvSpPr/>
              <p:nvPr/>
            </p:nvSpPr>
            <p:spPr bwMode="auto">
              <a:xfrm>
                <a:off x="5534552" y="4558091"/>
                <a:ext cx="152922" cy="169133"/>
              </a:xfrm>
              <a:prstGeom prst="flowChartMagneticDisk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3175">
                <a:solidFill>
                  <a:srgbClr val="74706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363" name="Group 362"/>
            <p:cNvGrpSpPr/>
            <p:nvPr/>
          </p:nvGrpSpPr>
          <p:grpSpPr>
            <a:xfrm>
              <a:off x="5776042" y="4435639"/>
              <a:ext cx="1289332" cy="265972"/>
              <a:chOff x="5534552" y="4842137"/>
              <a:chExt cx="1289332" cy="265972"/>
            </a:xfrm>
          </p:grpSpPr>
          <p:sp>
            <p:nvSpPr>
              <p:cNvPr id="398" name="Flowchart: Magnetic Disk 397"/>
              <p:cNvSpPr/>
              <p:nvPr/>
            </p:nvSpPr>
            <p:spPr bwMode="auto">
              <a:xfrm>
                <a:off x="5534552" y="4842137"/>
                <a:ext cx="152922" cy="169133"/>
              </a:xfrm>
              <a:prstGeom prst="flowChartMagneticDisk">
                <a:avLst/>
              </a:prstGeom>
              <a:solidFill>
                <a:schemeClr val="tx2"/>
              </a:solidFill>
              <a:ln w="3175">
                <a:solidFill>
                  <a:srgbClr val="74706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99" name="TextBox 62"/>
              <p:cNvSpPr txBox="1">
                <a:spLocks noChangeArrowheads="1"/>
              </p:cNvSpPr>
              <p:nvPr/>
            </p:nvSpPr>
            <p:spPr bwMode="auto">
              <a:xfrm>
                <a:off x="5774954" y="4861888"/>
                <a:ext cx="1048930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r>
                  <a:rPr lang="ru-RU" sz="800" i="1" dirty="0" smtClean="0">
                    <a:solidFill>
                      <a:schemeClr val="bg1"/>
                    </a:solidFill>
                    <a:latin typeface="+mj-lt"/>
                  </a:rPr>
                  <a:t>Внутренние клиентские данные</a:t>
                </a:r>
                <a:endParaRPr lang="ru-RU" sz="8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364" name="Group 363"/>
            <p:cNvGrpSpPr/>
            <p:nvPr/>
          </p:nvGrpSpPr>
          <p:grpSpPr>
            <a:xfrm>
              <a:off x="4307081" y="1496317"/>
              <a:ext cx="3914106" cy="1648597"/>
              <a:chOff x="729778" y="4276805"/>
              <a:chExt cx="4797383" cy="1648597"/>
            </a:xfrm>
          </p:grpSpPr>
          <p:sp>
            <p:nvSpPr>
              <p:cNvPr id="371" name="Flowchart: Magnetic Disk 370"/>
              <p:cNvSpPr/>
              <p:nvPr/>
            </p:nvSpPr>
            <p:spPr bwMode="auto">
              <a:xfrm>
                <a:off x="3361810" y="4276805"/>
                <a:ext cx="152922" cy="169133"/>
              </a:xfrm>
              <a:prstGeom prst="flowChartMagneticDisk">
                <a:avLst/>
              </a:prstGeom>
              <a:solidFill>
                <a:schemeClr val="tx2"/>
              </a:solidFill>
              <a:ln w="3175">
                <a:solidFill>
                  <a:srgbClr val="74706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72" name="TextBox 371"/>
              <p:cNvSpPr txBox="1"/>
              <p:nvPr/>
            </p:nvSpPr>
            <p:spPr>
              <a:xfrm>
                <a:off x="3586743" y="4276806"/>
                <a:ext cx="777168" cy="7751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indent="-274320">
                  <a:spcAft>
                    <a:spcPts val="900"/>
                  </a:spcAft>
                </a:pPr>
                <a:r>
                  <a:rPr lang="ru-RU" sz="700" i="1" dirty="0" smtClean="0">
                    <a:solidFill>
                      <a:schemeClr val="bg1"/>
                    </a:solidFill>
                    <a:latin typeface="+mj-lt"/>
                  </a:rPr>
                  <a:t>Контроллинг</a:t>
                </a:r>
              </a:p>
            </p:txBody>
          </p:sp>
          <p:sp>
            <p:nvSpPr>
              <p:cNvPr id="373" name="Flowchart: Magnetic Disk 372"/>
              <p:cNvSpPr/>
              <p:nvPr/>
            </p:nvSpPr>
            <p:spPr bwMode="auto">
              <a:xfrm>
                <a:off x="1990463" y="4276805"/>
                <a:ext cx="152922" cy="169133"/>
              </a:xfrm>
              <a:prstGeom prst="flowChartMagneticDisk">
                <a:avLst/>
              </a:prstGeom>
              <a:solidFill>
                <a:schemeClr val="tx2"/>
              </a:solidFill>
              <a:ln w="3175">
                <a:solidFill>
                  <a:srgbClr val="74706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74" name="TextBox 373"/>
              <p:cNvSpPr txBox="1"/>
              <p:nvPr/>
            </p:nvSpPr>
            <p:spPr>
              <a:xfrm>
                <a:off x="2215398" y="4276805"/>
                <a:ext cx="979555" cy="2352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ru-RU" sz="700" i="1" dirty="0" smtClean="0">
                    <a:solidFill>
                      <a:schemeClr val="bg1"/>
                    </a:solidFill>
                    <a:latin typeface="+mj-lt"/>
                  </a:rPr>
                  <a:t>Транзакционные</a:t>
                </a:r>
                <a:r>
                  <a:rPr i="1" dirty="0">
                    <a:solidFill>
                      <a:schemeClr val="bg1"/>
                    </a:solidFill>
                    <a:latin typeface="+mj-lt"/>
                  </a:rPr>
                  <a:t/>
                </a:r>
                <a:br>
                  <a:rPr i="1" dirty="0">
                    <a:solidFill>
                      <a:schemeClr val="bg1"/>
                    </a:solidFill>
                    <a:latin typeface="+mj-lt"/>
                  </a:rPr>
                </a:br>
                <a:r>
                  <a:rPr lang="ru-RU" sz="700" i="1" dirty="0" smtClean="0">
                    <a:solidFill>
                      <a:schemeClr val="bg1"/>
                    </a:solidFill>
                    <a:latin typeface="+mj-lt"/>
                  </a:rPr>
                  <a:t>данные</a:t>
                </a:r>
              </a:p>
            </p:txBody>
          </p:sp>
          <p:sp>
            <p:nvSpPr>
              <p:cNvPr id="375" name="Flowchart: Magnetic Disk 374"/>
              <p:cNvSpPr/>
              <p:nvPr/>
            </p:nvSpPr>
            <p:spPr bwMode="auto">
              <a:xfrm>
                <a:off x="4457822" y="4276805"/>
                <a:ext cx="152922" cy="169133"/>
              </a:xfrm>
              <a:prstGeom prst="flowChartMagneticDisk">
                <a:avLst/>
              </a:prstGeom>
              <a:solidFill>
                <a:schemeClr val="tx2"/>
              </a:solidFill>
              <a:ln w="3175">
                <a:solidFill>
                  <a:srgbClr val="74706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76" name="TextBox 375"/>
              <p:cNvSpPr txBox="1"/>
              <p:nvPr/>
            </p:nvSpPr>
            <p:spPr>
              <a:xfrm>
                <a:off x="4594920" y="4276805"/>
                <a:ext cx="758705" cy="2352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ru-RU" sz="700" i="1" dirty="0" smtClean="0">
                    <a:solidFill>
                      <a:schemeClr val="bg1"/>
                    </a:solidFill>
                    <a:latin typeface="+mj-lt"/>
                  </a:rPr>
                  <a:t>Новый источник данных</a:t>
                </a:r>
              </a:p>
            </p:txBody>
          </p:sp>
          <p:sp>
            <p:nvSpPr>
              <p:cNvPr id="377" name="Flowchart: Magnetic Disk 376"/>
              <p:cNvSpPr/>
              <p:nvPr/>
            </p:nvSpPr>
            <p:spPr bwMode="auto">
              <a:xfrm>
                <a:off x="893516" y="4276805"/>
                <a:ext cx="152922" cy="169133"/>
              </a:xfrm>
              <a:prstGeom prst="flowChartMagneticDisk">
                <a:avLst/>
              </a:prstGeom>
              <a:solidFill>
                <a:schemeClr val="tx2"/>
              </a:solidFill>
              <a:ln w="3175">
                <a:solidFill>
                  <a:srgbClr val="74706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9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78" name="TextBox 377"/>
              <p:cNvSpPr txBox="1"/>
              <p:nvPr/>
            </p:nvSpPr>
            <p:spPr>
              <a:xfrm>
                <a:off x="1118451" y="4276805"/>
                <a:ext cx="647595" cy="826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indent="-274320">
                  <a:spcAft>
                    <a:spcPts val="900"/>
                  </a:spcAft>
                </a:pPr>
                <a:r>
                  <a:rPr lang="ru-RU" sz="700" i="1" dirty="0" smtClean="0">
                    <a:solidFill>
                      <a:schemeClr val="bg1"/>
                    </a:solidFill>
                    <a:latin typeface="+mj-lt"/>
                  </a:rPr>
                  <a:t>Маркетинг</a:t>
                </a:r>
              </a:p>
            </p:txBody>
          </p:sp>
          <p:grpSp>
            <p:nvGrpSpPr>
              <p:cNvPr id="379" name="Group 378"/>
              <p:cNvGrpSpPr/>
              <p:nvPr/>
            </p:nvGrpSpPr>
            <p:grpSpPr>
              <a:xfrm>
                <a:off x="1154033" y="4830381"/>
                <a:ext cx="4373128" cy="235216"/>
                <a:chOff x="2021049" y="5415068"/>
                <a:chExt cx="4373128" cy="235216"/>
              </a:xfrm>
            </p:grpSpPr>
            <p:sp>
              <p:nvSpPr>
                <p:cNvPr id="390" name="Flowchart: Magnetic Disk 389"/>
                <p:cNvSpPr/>
                <p:nvPr/>
              </p:nvSpPr>
              <p:spPr bwMode="auto">
                <a:xfrm>
                  <a:off x="2021049" y="5421178"/>
                  <a:ext cx="152922" cy="169133"/>
                </a:xfrm>
                <a:prstGeom prst="flowChartMagneticDisk">
                  <a:avLst/>
                </a:prstGeom>
                <a:solidFill>
                  <a:schemeClr val="tx2"/>
                </a:solidFill>
                <a:ln w="3175">
                  <a:solidFill>
                    <a:srgbClr val="74706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9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391" name="TextBox 390"/>
                <p:cNvSpPr txBox="1"/>
                <p:nvPr/>
              </p:nvSpPr>
              <p:spPr>
                <a:xfrm>
                  <a:off x="2259389" y="5421178"/>
                  <a:ext cx="647595" cy="8261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indent="-274320">
                    <a:spcAft>
                      <a:spcPts val="900"/>
                    </a:spcAft>
                  </a:pPr>
                  <a:r>
                    <a:rPr lang="ru-RU" sz="700" i="1" dirty="0" smtClean="0">
                      <a:solidFill>
                        <a:schemeClr val="bg1"/>
                      </a:solidFill>
                      <a:latin typeface="+mj-lt"/>
                    </a:rPr>
                    <a:t>Филиалы</a:t>
                  </a:r>
                </a:p>
              </p:txBody>
            </p:sp>
            <p:sp>
              <p:nvSpPr>
                <p:cNvPr id="392" name="TextBox 391"/>
                <p:cNvSpPr txBox="1"/>
                <p:nvPr/>
              </p:nvSpPr>
              <p:spPr>
                <a:xfrm>
                  <a:off x="3339604" y="5421178"/>
                  <a:ext cx="895887" cy="15612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indent="-274320">
                    <a:spcAft>
                      <a:spcPts val="900"/>
                    </a:spcAft>
                  </a:pPr>
                  <a:r>
                    <a:rPr lang="ru-RU" sz="700" i="1" dirty="0" smtClean="0">
                      <a:solidFill>
                        <a:schemeClr val="bg1"/>
                      </a:solidFill>
                      <a:latin typeface="+mj-lt"/>
                    </a:rPr>
                    <a:t>Макроэкономические показатели</a:t>
                  </a:r>
                </a:p>
              </p:txBody>
            </p:sp>
            <p:sp>
              <p:nvSpPr>
                <p:cNvPr id="393" name="TextBox 392"/>
                <p:cNvSpPr txBox="1"/>
                <p:nvPr/>
              </p:nvSpPr>
              <p:spPr>
                <a:xfrm>
                  <a:off x="4668111" y="5421178"/>
                  <a:ext cx="647595" cy="8261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indent="-274320">
                    <a:spcAft>
                      <a:spcPts val="900"/>
                    </a:spcAft>
                  </a:pPr>
                  <a:r>
                    <a:rPr lang="ru-RU" sz="700" i="1" dirty="0" smtClean="0">
                      <a:solidFill>
                        <a:schemeClr val="bg1"/>
                      </a:solidFill>
                      <a:latin typeface="+mj-lt"/>
                    </a:rPr>
                    <a:t>Геолокационные данные</a:t>
                  </a:r>
                </a:p>
              </p:txBody>
            </p:sp>
            <p:sp>
              <p:nvSpPr>
                <p:cNvPr id="394" name="TextBox 393"/>
                <p:cNvSpPr txBox="1"/>
                <p:nvPr/>
              </p:nvSpPr>
              <p:spPr>
                <a:xfrm>
                  <a:off x="5635472" y="5415068"/>
                  <a:ext cx="758705" cy="23521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indent="-274320" algn="ctr">
                    <a:spcAft>
                      <a:spcPts val="900"/>
                    </a:spcAft>
                  </a:pPr>
                  <a:r>
                    <a:rPr lang="ru-RU" sz="700" i="1" dirty="0" smtClean="0">
                      <a:solidFill>
                        <a:schemeClr val="bg1"/>
                      </a:solidFill>
                      <a:latin typeface="+mj-lt"/>
                    </a:rPr>
                    <a:t>Новый источник данных</a:t>
                  </a:r>
                </a:p>
              </p:txBody>
            </p:sp>
            <p:sp>
              <p:nvSpPr>
                <p:cNvPr id="395" name="Flowchart: Magnetic Disk 394"/>
                <p:cNvSpPr/>
                <p:nvPr/>
              </p:nvSpPr>
              <p:spPr bwMode="auto">
                <a:xfrm>
                  <a:off x="4429769" y="5421178"/>
                  <a:ext cx="152924" cy="169133"/>
                </a:xfrm>
                <a:prstGeom prst="flowChartMagneticDisk">
                  <a:avLst/>
                </a:prstGeom>
                <a:solidFill>
                  <a:srgbClr val="A7A49B"/>
                </a:solidFill>
                <a:ln w="3175">
                  <a:solidFill>
                    <a:srgbClr val="74706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9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396" name="Flowchart: Magnetic Disk 395"/>
                <p:cNvSpPr/>
                <p:nvPr/>
              </p:nvSpPr>
              <p:spPr bwMode="auto">
                <a:xfrm>
                  <a:off x="5509984" y="5421178"/>
                  <a:ext cx="152924" cy="169133"/>
                </a:xfrm>
                <a:prstGeom prst="flowChartMagneticDisk">
                  <a:avLst/>
                </a:prstGeom>
                <a:solidFill>
                  <a:srgbClr val="A7A49B"/>
                </a:solidFill>
                <a:ln w="3175">
                  <a:solidFill>
                    <a:srgbClr val="74706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9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397" name="Flowchart: Magnetic Disk 396"/>
                <p:cNvSpPr/>
                <p:nvPr/>
              </p:nvSpPr>
              <p:spPr bwMode="auto">
                <a:xfrm>
                  <a:off x="3101262" y="5421178"/>
                  <a:ext cx="152924" cy="169133"/>
                </a:xfrm>
                <a:prstGeom prst="flowChartMagneticDisk">
                  <a:avLst/>
                </a:prstGeom>
                <a:solidFill>
                  <a:srgbClr val="A7A49B"/>
                </a:solidFill>
                <a:ln w="3175">
                  <a:solidFill>
                    <a:srgbClr val="74706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9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380" name="Rounded Rectangle 379"/>
              <p:cNvSpPr/>
              <p:nvPr/>
            </p:nvSpPr>
            <p:spPr bwMode="ltGray">
              <a:xfrm>
                <a:off x="729778" y="5469379"/>
                <a:ext cx="4733357" cy="399509"/>
              </a:xfrm>
              <a:prstGeom prst="roundRect">
                <a:avLst>
                  <a:gd name="adj" fmla="val 0"/>
                </a:avLst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600" i="1" dirty="0" smtClean="0">
                    <a:solidFill>
                      <a:schemeClr val="bg1"/>
                    </a:solidFill>
                    <a:latin typeface="+mj-lt"/>
                  </a:rPr>
                  <a:t>Хранилище Data Lake</a:t>
                </a:r>
              </a:p>
            </p:txBody>
          </p:sp>
          <p:cxnSp>
            <p:nvCxnSpPr>
              <p:cNvPr id="381" name="Straight Arrow Connector 380"/>
              <p:cNvCxnSpPr/>
              <p:nvPr/>
            </p:nvCxnSpPr>
            <p:spPr>
              <a:xfrm>
                <a:off x="982235" y="4546495"/>
                <a:ext cx="0" cy="847682"/>
              </a:xfrm>
              <a:prstGeom prst="straightConnector1">
                <a:avLst/>
              </a:prstGeom>
              <a:noFill/>
              <a:ln w="19050" cap="rnd">
                <a:solidFill>
                  <a:schemeClr val="tx2">
                    <a:lumMod val="20000"/>
                    <a:lumOff val="80000"/>
                  </a:schemeClr>
                </a:solidFill>
                <a:prstDash val="sysDot"/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2" name="Straight Arrow Connector 381"/>
              <p:cNvCxnSpPr/>
              <p:nvPr/>
            </p:nvCxnSpPr>
            <p:spPr>
              <a:xfrm>
                <a:off x="2057713" y="4546495"/>
                <a:ext cx="0" cy="847682"/>
              </a:xfrm>
              <a:prstGeom prst="straightConnector1">
                <a:avLst/>
              </a:prstGeom>
              <a:noFill/>
              <a:ln w="19050" cap="rnd">
                <a:solidFill>
                  <a:schemeClr val="tx2">
                    <a:lumMod val="20000"/>
                    <a:lumOff val="80000"/>
                  </a:schemeClr>
                </a:solidFill>
                <a:prstDash val="sysDot"/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Straight Arrow Connector 382"/>
              <p:cNvCxnSpPr/>
              <p:nvPr/>
            </p:nvCxnSpPr>
            <p:spPr>
              <a:xfrm>
                <a:off x="3446745" y="4546495"/>
                <a:ext cx="0" cy="847682"/>
              </a:xfrm>
              <a:prstGeom prst="straightConnector1">
                <a:avLst/>
              </a:prstGeom>
              <a:noFill/>
              <a:ln w="19050" cap="rnd">
                <a:solidFill>
                  <a:schemeClr val="tx2">
                    <a:lumMod val="20000"/>
                    <a:lumOff val="80000"/>
                  </a:schemeClr>
                </a:solidFill>
                <a:prstDash val="sysDot"/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4" name="Straight Arrow Connector 383"/>
              <p:cNvCxnSpPr/>
              <p:nvPr/>
            </p:nvCxnSpPr>
            <p:spPr>
              <a:xfrm>
                <a:off x="4532177" y="4546495"/>
                <a:ext cx="0" cy="847682"/>
              </a:xfrm>
              <a:prstGeom prst="straightConnector1">
                <a:avLst/>
              </a:prstGeom>
              <a:noFill/>
              <a:ln w="19050" cap="rnd">
                <a:solidFill>
                  <a:schemeClr val="tx2">
                    <a:lumMod val="20000"/>
                    <a:lumOff val="80000"/>
                  </a:schemeClr>
                </a:solidFill>
                <a:prstDash val="sysDot"/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5" name="Straight Arrow Connector 384"/>
              <p:cNvCxnSpPr/>
              <p:nvPr/>
            </p:nvCxnSpPr>
            <p:spPr>
              <a:xfrm flipH="1">
                <a:off x="1619650" y="5036722"/>
                <a:ext cx="2674" cy="357455"/>
              </a:xfrm>
              <a:prstGeom prst="straightConnector1">
                <a:avLst/>
              </a:prstGeom>
              <a:noFill/>
              <a:ln w="19050" cap="rnd">
                <a:solidFill>
                  <a:schemeClr val="tx2">
                    <a:lumMod val="20000"/>
                    <a:lumOff val="80000"/>
                  </a:schemeClr>
                </a:solidFill>
                <a:prstDash val="sysDot"/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6" name="Straight Arrow Connector 385"/>
              <p:cNvCxnSpPr/>
              <p:nvPr/>
            </p:nvCxnSpPr>
            <p:spPr>
              <a:xfrm>
                <a:off x="2766162" y="5147403"/>
                <a:ext cx="0" cy="234109"/>
              </a:xfrm>
              <a:prstGeom prst="straightConnector1">
                <a:avLst/>
              </a:prstGeom>
              <a:noFill/>
              <a:ln w="19050" cap="rnd">
                <a:solidFill>
                  <a:schemeClr val="tx2">
                    <a:lumMod val="20000"/>
                    <a:lumOff val="80000"/>
                  </a:schemeClr>
                </a:solidFill>
                <a:prstDash val="sysDot"/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7" name="Straight Arrow Connector 386"/>
              <p:cNvCxnSpPr/>
              <p:nvPr/>
            </p:nvCxnSpPr>
            <p:spPr>
              <a:xfrm>
                <a:off x="4051526" y="5147402"/>
                <a:ext cx="0" cy="234109"/>
              </a:xfrm>
              <a:prstGeom prst="straightConnector1">
                <a:avLst/>
              </a:prstGeom>
              <a:noFill/>
              <a:ln w="19050" cap="rnd">
                <a:solidFill>
                  <a:schemeClr val="tx2">
                    <a:lumMod val="20000"/>
                    <a:lumOff val="80000"/>
                  </a:schemeClr>
                </a:solidFill>
                <a:prstDash val="sysDot"/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8" name="Straight Arrow Connector 387"/>
              <p:cNvCxnSpPr/>
              <p:nvPr/>
            </p:nvCxnSpPr>
            <p:spPr>
              <a:xfrm>
                <a:off x="5147808" y="5152972"/>
                <a:ext cx="0" cy="234109"/>
              </a:xfrm>
              <a:prstGeom prst="straightConnector1">
                <a:avLst/>
              </a:prstGeom>
              <a:noFill/>
              <a:ln w="19050" cap="rnd">
                <a:solidFill>
                  <a:schemeClr val="tx2">
                    <a:lumMod val="20000"/>
                    <a:lumOff val="80000"/>
                  </a:schemeClr>
                </a:solidFill>
                <a:prstDash val="sysDot"/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pic>
            <p:nvPicPr>
              <p:cNvPr id="389" name="Picture 388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175510" y="5474049"/>
                <a:ext cx="752255" cy="451353"/>
              </a:xfrm>
              <a:prstGeom prst="rect">
                <a:avLst/>
              </a:prstGeom>
            </p:spPr>
          </p:pic>
        </p:grpSp>
        <p:sp>
          <p:nvSpPr>
            <p:cNvPr id="365" name="Flowchart: Magnetic Disk 364"/>
            <p:cNvSpPr/>
            <p:nvPr/>
          </p:nvSpPr>
          <p:spPr bwMode="ltGray">
            <a:xfrm>
              <a:off x="4308533" y="3547657"/>
              <a:ext cx="923732" cy="515954"/>
            </a:xfrm>
            <a:prstGeom prst="flowChartMagneticDisk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rgbClr val="747066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bIns="36000" anchor="ctr"/>
            <a:lstStyle/>
            <a:p>
              <a:pPr algn="ctr">
                <a:defRPr/>
              </a:pPr>
              <a:r>
                <a:rPr lang="ru-RU" sz="1050" i="1" dirty="0" smtClean="0">
                  <a:solidFill>
                    <a:schemeClr val="bg1"/>
                  </a:solidFill>
                  <a:latin typeface="+mj-lt"/>
                </a:rPr>
                <a:t>Витрина</a:t>
              </a:r>
              <a:r>
                <a:rPr i="1">
                  <a:solidFill>
                    <a:schemeClr val="bg1"/>
                  </a:solidFill>
                  <a:latin typeface="+mj-lt"/>
                </a:rPr>
                <a:t/>
              </a:r>
              <a:br>
                <a:rPr i="1">
                  <a:solidFill>
                    <a:schemeClr val="bg1"/>
                  </a:solidFill>
                  <a:latin typeface="+mj-lt"/>
                </a:rPr>
              </a:br>
              <a:r>
                <a:rPr lang="ru-RU" sz="1050" i="1" dirty="0" smtClean="0">
                  <a:solidFill>
                    <a:schemeClr val="bg1"/>
                  </a:solidFill>
                  <a:latin typeface="+mj-lt"/>
                </a:rPr>
                <a:t>данных</a:t>
              </a:r>
            </a:p>
          </p:txBody>
        </p:sp>
        <p:pic>
          <p:nvPicPr>
            <p:cNvPr id="366" name="Picture 141" descr="http://www.affecto.pl/var/ezwebin_site/storage/images/media/poland/images/logo2/220950-1-pol-PL/logo_medium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27166" y="3793669"/>
              <a:ext cx="1285437" cy="2699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67" name="Straight Arrow Connector 366"/>
            <p:cNvCxnSpPr>
              <a:stCxn id="380" idx="2"/>
              <a:endCxn id="365" idx="1"/>
            </p:cNvCxnSpPr>
            <p:nvPr/>
          </p:nvCxnSpPr>
          <p:spPr>
            <a:xfrm flipH="1">
              <a:off x="4770399" y="3088400"/>
              <a:ext cx="1467616" cy="459257"/>
            </a:xfrm>
            <a:prstGeom prst="straightConnector1">
              <a:avLst/>
            </a:prstGeom>
            <a:noFill/>
            <a:ln w="19050" cap="rnd">
              <a:solidFill>
                <a:schemeClr val="tx2">
                  <a:lumMod val="20000"/>
                  <a:lumOff val="80000"/>
                </a:schemeClr>
              </a:solidFill>
              <a:prstDash val="sysDot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8" name="Straight Arrow Connector 367"/>
            <p:cNvCxnSpPr>
              <a:stCxn id="380" idx="2"/>
              <a:endCxn id="366" idx="0"/>
            </p:cNvCxnSpPr>
            <p:nvPr/>
          </p:nvCxnSpPr>
          <p:spPr>
            <a:xfrm flipH="1">
              <a:off x="6069885" y="3088400"/>
              <a:ext cx="168130" cy="705269"/>
            </a:xfrm>
            <a:prstGeom prst="straightConnector1">
              <a:avLst/>
            </a:prstGeom>
            <a:noFill/>
            <a:ln w="19050" cap="rnd">
              <a:solidFill>
                <a:schemeClr val="tx2">
                  <a:lumMod val="20000"/>
                  <a:lumOff val="80000"/>
                </a:schemeClr>
              </a:solidFill>
              <a:prstDash val="sysDot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69" name="Straight Arrow Connector 368"/>
            <p:cNvCxnSpPr>
              <a:stCxn id="380" idx="2"/>
              <a:endCxn id="359" idx="0"/>
            </p:cNvCxnSpPr>
            <p:nvPr/>
          </p:nvCxnSpPr>
          <p:spPr>
            <a:xfrm>
              <a:off x="6238015" y="3088400"/>
              <a:ext cx="930565" cy="697944"/>
            </a:xfrm>
            <a:prstGeom prst="straightConnector1">
              <a:avLst/>
            </a:prstGeom>
            <a:noFill/>
            <a:ln w="19050" cap="rnd">
              <a:solidFill>
                <a:schemeClr val="tx2">
                  <a:lumMod val="20000"/>
                  <a:lumOff val="80000"/>
                </a:schemeClr>
              </a:solidFill>
              <a:prstDash val="sysDot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0" name="Straight Arrow Connector 369"/>
            <p:cNvCxnSpPr>
              <a:stCxn id="380" idx="2"/>
              <a:endCxn id="360" idx="0"/>
            </p:cNvCxnSpPr>
            <p:nvPr/>
          </p:nvCxnSpPr>
          <p:spPr>
            <a:xfrm>
              <a:off x="6238015" y="3088400"/>
              <a:ext cx="1651039" cy="573905"/>
            </a:xfrm>
            <a:prstGeom prst="straightConnector1">
              <a:avLst/>
            </a:prstGeom>
            <a:noFill/>
            <a:ln w="19050" cap="rnd">
              <a:solidFill>
                <a:schemeClr val="tx2">
                  <a:lumMod val="20000"/>
                  <a:lumOff val="80000"/>
                </a:schemeClr>
              </a:solidFill>
              <a:prstDash val="sysDot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19" name="Rectangle 118"/>
          <p:cNvSpPr/>
          <p:nvPr/>
        </p:nvSpPr>
        <p:spPr bwMode="ltGray">
          <a:xfrm>
            <a:off x="6174395" y="-1"/>
            <a:ext cx="2969606" cy="24504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050" i="1" dirty="0" smtClean="0">
                <a:solidFill>
                  <a:schemeClr val="bg1"/>
                </a:solidFill>
                <a:latin typeface="+mj-lt"/>
              </a:rPr>
              <a:t>Стратегия в области больших данных</a:t>
            </a:r>
            <a:endParaRPr lang="ru-RU" sz="1050" i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084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9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1"/>
          <p:cNvSpPr txBox="1">
            <a:spLocks/>
          </p:cNvSpPr>
          <p:nvPr/>
        </p:nvSpPr>
        <p:spPr>
          <a:xfrm>
            <a:off x="457200" y="304800"/>
            <a:ext cx="8394699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800" dirty="0" smtClean="0">
                <a:solidFill>
                  <a:srgbClr val="FFFFFF"/>
                </a:solidFill>
              </a:rPr>
              <a:t>Заключительные соображения</a:t>
            </a:r>
            <a:endParaRPr lang="ru-RU" sz="6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574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9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ltGray">
          <a:xfrm>
            <a:off x="7177289" y="0"/>
            <a:ext cx="1966712" cy="685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i="1" dirty="0" smtClean="0">
              <a:solidFill>
                <a:schemeClr val="accent5">
                  <a:lumMod val="60000"/>
                  <a:lumOff val="40000"/>
                </a:schemeClr>
              </a:solidFill>
              <a:latin typeface="+mj-lt"/>
            </a:endParaRPr>
          </a:p>
          <a:p>
            <a:pPr algn="ctr"/>
            <a:endParaRPr lang="ru-RU" sz="1600" b="1" i="1" dirty="0">
              <a:solidFill>
                <a:schemeClr val="accent5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/>
              <a:t>Охват</a:t>
            </a:r>
            <a:endParaRPr lang="ru-RU" sz="1800" b="0" dirty="0"/>
          </a:p>
        </p:txBody>
      </p:sp>
      <p:sp>
        <p:nvSpPr>
          <p:cNvPr id="64" name="Rectangle 6"/>
          <p:cNvSpPr>
            <a:spLocks noChangeArrowheads="1"/>
          </p:cNvSpPr>
          <p:nvPr/>
        </p:nvSpPr>
        <p:spPr bwMode="gray">
          <a:xfrm>
            <a:off x="533400" y="1812457"/>
            <a:ext cx="2046240" cy="354969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t">
            <a:spAutoFit/>
          </a:bodyPr>
          <a:lstStyle/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Модели перекрестных и дополнительных продаж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Моделирование оттока клиентов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Динамическое ценообразование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Оптимизация маркетинговых кампаний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Оптимизация стратегии продвижения товаров и услуг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Прогнозирование спроса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Диагностика производительности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Моделирование ценности клиента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Микро-сегментация </a:t>
            </a:r>
            <a:endParaRPr lang="ru-RU" sz="1200" kern="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  <p:sp>
        <p:nvSpPr>
          <p:cNvPr id="76" name="Rectangle 75"/>
          <p:cNvSpPr/>
          <p:nvPr/>
        </p:nvSpPr>
        <p:spPr bwMode="ltGray">
          <a:xfrm>
            <a:off x="533400" y="904059"/>
            <a:ext cx="1975987" cy="78800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600" b="1" i="1" dirty="0" smtClean="0">
                <a:solidFill>
                  <a:schemeClr val="bg1"/>
                </a:solidFill>
                <a:latin typeface="+mj-lt"/>
              </a:rPr>
              <a:t>Клиентская аналитика</a:t>
            </a:r>
            <a:endParaRPr lang="ru-RU" sz="1600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7" name="Rectangle 76"/>
          <p:cNvSpPr/>
          <p:nvPr/>
        </p:nvSpPr>
        <p:spPr bwMode="ltGray">
          <a:xfrm>
            <a:off x="2733422" y="904059"/>
            <a:ext cx="1975987" cy="78800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b="1" i="1" dirty="0" smtClean="0">
                <a:solidFill>
                  <a:schemeClr val="bg1"/>
                </a:solidFill>
                <a:latin typeface="+mj-lt"/>
              </a:rPr>
              <a:t>Управление рисками</a:t>
            </a:r>
            <a:endParaRPr lang="ru-RU" sz="1400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0" name="Rectangle 79"/>
          <p:cNvSpPr/>
          <p:nvPr/>
        </p:nvSpPr>
        <p:spPr bwMode="ltGray">
          <a:xfrm>
            <a:off x="4937919" y="904059"/>
            <a:ext cx="1975987" cy="78800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100" b="1" i="1" dirty="0" smtClean="0">
                <a:solidFill>
                  <a:schemeClr val="bg1"/>
                </a:solidFill>
                <a:latin typeface="+mj-lt"/>
              </a:rPr>
              <a:t>Финансовые преступления /выявление мошенничества</a:t>
            </a:r>
            <a:endParaRPr lang="ru-RU" sz="1100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8" name="Rectangle 6"/>
          <p:cNvSpPr>
            <a:spLocks noChangeArrowheads="1"/>
          </p:cNvSpPr>
          <p:nvPr/>
        </p:nvSpPr>
        <p:spPr bwMode="gray">
          <a:xfrm>
            <a:off x="2733422" y="1812457"/>
            <a:ext cx="2046240" cy="247247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t">
            <a:spAutoFit/>
          </a:bodyPr>
          <a:lstStyle/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Управление кредитными рисками и соответствующие модели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Обязательная отчетность по МСФО 9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Стресс-тестирование портфеля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Оценка портфеля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Повышение внешней оценки и рейтинга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Оптимизация кредитных лимитов</a:t>
            </a:r>
          </a:p>
        </p:txBody>
      </p:sp>
      <p:sp>
        <p:nvSpPr>
          <p:cNvPr id="89" name="Rectangle 6"/>
          <p:cNvSpPr>
            <a:spLocks noChangeArrowheads="1"/>
          </p:cNvSpPr>
          <p:nvPr/>
        </p:nvSpPr>
        <p:spPr bwMode="gray">
          <a:xfrm>
            <a:off x="4933444" y="1812457"/>
            <a:ext cx="2046240" cy="228780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 anchor="t">
            <a:spAutoFit/>
          </a:bodyPr>
          <a:lstStyle/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Прогнозирование случаев мошенничества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Оценка системы противодействия мошенничеству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Системы выявления случаев отмывания денег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Выявление неприемлемого контента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Геомоделирование</a:t>
            </a:r>
          </a:p>
          <a:p>
            <a:pPr marL="171450" indent="-171450" eaLnBrk="0" hangingPunc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endParaRPr lang="ru-RU" sz="1200" kern="0" dirty="0" smtClean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94055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2"/>
          <p:cNvSpPr txBox="1">
            <a:spLocks/>
          </p:cNvSpPr>
          <p:nvPr/>
        </p:nvSpPr>
        <p:spPr>
          <a:xfrm>
            <a:off x="533398" y="1317011"/>
            <a:ext cx="8077202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>
              <a:buClr>
                <a:srgbClr val="000000"/>
              </a:buClr>
            </a:pP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Внутренние данные, особенно данные розничных транзакций, играют важную роль, однако во многих случаях их прогнозирующая способность не является исключительной. Их следует применять в сочетании с различными внешними данными, включая:</a:t>
            </a:r>
          </a:p>
        </p:txBody>
      </p:sp>
      <p:grpSp>
        <p:nvGrpSpPr>
          <p:cNvPr id="95" name="Group 52"/>
          <p:cNvGrpSpPr>
            <a:grpSpLocks noChangeAspect="1"/>
          </p:cNvGrpSpPr>
          <p:nvPr/>
        </p:nvGrpSpPr>
        <p:grpSpPr bwMode="auto">
          <a:xfrm rot="2700000">
            <a:off x="3363895" y="2782090"/>
            <a:ext cx="2411809" cy="2425670"/>
            <a:chOff x="4230" y="2242"/>
            <a:chExt cx="1044" cy="1050"/>
          </a:xfrm>
        </p:grpSpPr>
        <p:sp>
          <p:nvSpPr>
            <p:cNvPr id="114" name="Freeform 53"/>
            <p:cNvSpPr>
              <a:spLocks/>
            </p:cNvSpPr>
            <p:nvPr/>
          </p:nvSpPr>
          <p:spPr bwMode="auto">
            <a:xfrm>
              <a:off x="4752" y="2242"/>
              <a:ext cx="370" cy="525"/>
            </a:xfrm>
            <a:custGeom>
              <a:avLst/>
              <a:gdLst/>
              <a:ahLst/>
              <a:cxnLst>
                <a:cxn ang="0">
                  <a:pos x="988" y="413"/>
                </a:cxn>
                <a:cxn ang="0">
                  <a:pos x="0" y="0"/>
                </a:cxn>
                <a:cxn ang="0">
                  <a:pos x="0" y="1400"/>
                </a:cxn>
                <a:cxn ang="0">
                  <a:pos x="988" y="413"/>
                </a:cxn>
              </a:cxnLst>
              <a:rect l="0" t="0" r="r" b="b"/>
              <a:pathLst>
                <a:path w="988" h="1400">
                  <a:moveTo>
                    <a:pt x="988" y="413"/>
                  </a:moveTo>
                  <a:cubicBezTo>
                    <a:pt x="726" y="149"/>
                    <a:pt x="371" y="0"/>
                    <a:pt x="0" y="0"/>
                  </a:cubicBezTo>
                  <a:lnTo>
                    <a:pt x="0" y="1400"/>
                  </a:lnTo>
                  <a:lnTo>
                    <a:pt x="988" y="413"/>
                  </a:lnTo>
                  <a:close/>
                </a:path>
              </a:pathLst>
            </a:custGeom>
            <a:solidFill>
              <a:schemeClr val="accent5"/>
            </a:solidFill>
            <a:ln w="285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5" name="Freeform 54"/>
            <p:cNvSpPr>
              <a:spLocks/>
            </p:cNvSpPr>
            <p:nvPr/>
          </p:nvSpPr>
          <p:spPr bwMode="auto">
            <a:xfrm>
              <a:off x="4752" y="2397"/>
              <a:ext cx="522" cy="370"/>
            </a:xfrm>
            <a:custGeom>
              <a:avLst/>
              <a:gdLst/>
              <a:ahLst/>
              <a:cxnLst>
                <a:cxn ang="0">
                  <a:pos x="1392" y="987"/>
                </a:cxn>
                <a:cxn ang="0">
                  <a:pos x="988" y="0"/>
                </a:cxn>
                <a:cxn ang="0">
                  <a:pos x="0" y="987"/>
                </a:cxn>
                <a:cxn ang="0">
                  <a:pos x="1392" y="987"/>
                </a:cxn>
              </a:cxnLst>
              <a:rect l="0" t="0" r="r" b="b"/>
              <a:pathLst>
                <a:path w="1392" h="987">
                  <a:moveTo>
                    <a:pt x="1392" y="987"/>
                  </a:moveTo>
                  <a:cubicBezTo>
                    <a:pt x="1392" y="618"/>
                    <a:pt x="1247" y="263"/>
                    <a:pt x="988" y="0"/>
                  </a:cubicBezTo>
                  <a:lnTo>
                    <a:pt x="0" y="987"/>
                  </a:lnTo>
                  <a:lnTo>
                    <a:pt x="1392" y="987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285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6" name="Freeform 55"/>
            <p:cNvSpPr>
              <a:spLocks/>
            </p:cNvSpPr>
            <p:nvPr/>
          </p:nvSpPr>
          <p:spPr bwMode="auto">
            <a:xfrm>
              <a:off x="4752" y="2767"/>
              <a:ext cx="522" cy="370"/>
            </a:xfrm>
            <a:custGeom>
              <a:avLst/>
              <a:gdLst/>
              <a:ahLst/>
              <a:cxnLst>
                <a:cxn ang="0">
                  <a:pos x="988" y="988"/>
                </a:cxn>
                <a:cxn ang="0">
                  <a:pos x="1392" y="0"/>
                </a:cxn>
                <a:cxn ang="0">
                  <a:pos x="0" y="0"/>
                </a:cxn>
                <a:cxn ang="0">
                  <a:pos x="988" y="988"/>
                </a:cxn>
              </a:cxnLst>
              <a:rect l="0" t="0" r="r" b="b"/>
              <a:pathLst>
                <a:path w="1392" h="988">
                  <a:moveTo>
                    <a:pt x="988" y="988"/>
                  </a:moveTo>
                  <a:cubicBezTo>
                    <a:pt x="1247" y="725"/>
                    <a:pt x="1392" y="370"/>
                    <a:pt x="1392" y="0"/>
                  </a:cubicBezTo>
                  <a:lnTo>
                    <a:pt x="0" y="0"/>
                  </a:lnTo>
                  <a:lnTo>
                    <a:pt x="988" y="988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85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7" name="Freeform 56"/>
            <p:cNvSpPr>
              <a:spLocks/>
            </p:cNvSpPr>
            <p:nvPr/>
          </p:nvSpPr>
          <p:spPr bwMode="auto">
            <a:xfrm>
              <a:off x="4752" y="2767"/>
              <a:ext cx="370" cy="525"/>
            </a:xfrm>
            <a:custGeom>
              <a:avLst/>
              <a:gdLst/>
              <a:ahLst/>
              <a:cxnLst>
                <a:cxn ang="0">
                  <a:pos x="0" y="1400"/>
                </a:cxn>
                <a:cxn ang="0">
                  <a:pos x="988" y="988"/>
                </a:cxn>
                <a:cxn ang="0">
                  <a:pos x="0" y="0"/>
                </a:cxn>
                <a:cxn ang="0">
                  <a:pos x="0" y="1400"/>
                </a:cxn>
              </a:cxnLst>
              <a:rect l="0" t="0" r="r" b="b"/>
              <a:pathLst>
                <a:path w="988" h="1400">
                  <a:moveTo>
                    <a:pt x="0" y="1400"/>
                  </a:moveTo>
                  <a:cubicBezTo>
                    <a:pt x="371" y="1400"/>
                    <a:pt x="726" y="1252"/>
                    <a:pt x="988" y="988"/>
                  </a:cubicBezTo>
                  <a:lnTo>
                    <a:pt x="0" y="0"/>
                  </a:lnTo>
                  <a:lnTo>
                    <a:pt x="0" y="140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285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8" name="Freeform 57"/>
            <p:cNvSpPr>
              <a:spLocks/>
            </p:cNvSpPr>
            <p:nvPr/>
          </p:nvSpPr>
          <p:spPr bwMode="auto">
            <a:xfrm>
              <a:off x="4382" y="2767"/>
              <a:ext cx="370" cy="525"/>
            </a:xfrm>
            <a:custGeom>
              <a:avLst/>
              <a:gdLst/>
              <a:ahLst/>
              <a:cxnLst>
                <a:cxn ang="0">
                  <a:pos x="0" y="988"/>
                </a:cxn>
                <a:cxn ang="0">
                  <a:pos x="987" y="1400"/>
                </a:cxn>
                <a:cxn ang="0">
                  <a:pos x="987" y="0"/>
                </a:cxn>
                <a:cxn ang="0">
                  <a:pos x="0" y="988"/>
                </a:cxn>
              </a:cxnLst>
              <a:rect l="0" t="0" r="r" b="b"/>
              <a:pathLst>
                <a:path w="987" h="1400">
                  <a:moveTo>
                    <a:pt x="0" y="988"/>
                  </a:moveTo>
                  <a:cubicBezTo>
                    <a:pt x="262" y="1252"/>
                    <a:pt x="617" y="1400"/>
                    <a:pt x="987" y="1400"/>
                  </a:cubicBezTo>
                  <a:lnTo>
                    <a:pt x="987" y="0"/>
                  </a:lnTo>
                  <a:lnTo>
                    <a:pt x="0" y="988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285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9" name="Freeform 58"/>
            <p:cNvSpPr>
              <a:spLocks/>
            </p:cNvSpPr>
            <p:nvPr/>
          </p:nvSpPr>
          <p:spPr bwMode="auto">
            <a:xfrm>
              <a:off x="4230" y="2767"/>
              <a:ext cx="522" cy="3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05" y="988"/>
                </a:cxn>
                <a:cxn ang="0">
                  <a:pos x="1392" y="0"/>
                </a:cxn>
                <a:cxn ang="0">
                  <a:pos x="0" y="0"/>
                </a:cxn>
              </a:cxnLst>
              <a:rect l="0" t="0" r="r" b="b"/>
              <a:pathLst>
                <a:path w="1392" h="988">
                  <a:moveTo>
                    <a:pt x="0" y="0"/>
                  </a:moveTo>
                  <a:cubicBezTo>
                    <a:pt x="0" y="370"/>
                    <a:pt x="146" y="725"/>
                    <a:pt x="405" y="988"/>
                  </a:cubicBezTo>
                  <a:lnTo>
                    <a:pt x="139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285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0" name="Freeform 59"/>
            <p:cNvSpPr>
              <a:spLocks/>
            </p:cNvSpPr>
            <p:nvPr/>
          </p:nvSpPr>
          <p:spPr bwMode="auto">
            <a:xfrm>
              <a:off x="4230" y="2397"/>
              <a:ext cx="522" cy="370"/>
            </a:xfrm>
            <a:custGeom>
              <a:avLst/>
              <a:gdLst/>
              <a:ahLst/>
              <a:cxnLst>
                <a:cxn ang="0">
                  <a:pos x="405" y="0"/>
                </a:cxn>
                <a:cxn ang="0">
                  <a:pos x="0" y="987"/>
                </a:cxn>
                <a:cxn ang="0">
                  <a:pos x="1392" y="987"/>
                </a:cxn>
                <a:cxn ang="0">
                  <a:pos x="405" y="0"/>
                </a:cxn>
              </a:cxnLst>
              <a:rect l="0" t="0" r="r" b="b"/>
              <a:pathLst>
                <a:path w="1392" h="987">
                  <a:moveTo>
                    <a:pt x="405" y="0"/>
                  </a:moveTo>
                  <a:cubicBezTo>
                    <a:pt x="146" y="263"/>
                    <a:pt x="0" y="618"/>
                    <a:pt x="0" y="987"/>
                  </a:cubicBezTo>
                  <a:lnTo>
                    <a:pt x="1392" y="987"/>
                  </a:lnTo>
                  <a:lnTo>
                    <a:pt x="405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285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1" name="Freeform 60"/>
            <p:cNvSpPr>
              <a:spLocks/>
            </p:cNvSpPr>
            <p:nvPr/>
          </p:nvSpPr>
          <p:spPr bwMode="auto">
            <a:xfrm>
              <a:off x="4382" y="2242"/>
              <a:ext cx="370" cy="525"/>
            </a:xfrm>
            <a:custGeom>
              <a:avLst/>
              <a:gdLst/>
              <a:ahLst/>
              <a:cxnLst>
                <a:cxn ang="0">
                  <a:pos x="987" y="0"/>
                </a:cxn>
                <a:cxn ang="0">
                  <a:pos x="0" y="413"/>
                </a:cxn>
                <a:cxn ang="0">
                  <a:pos x="987" y="1400"/>
                </a:cxn>
                <a:cxn ang="0">
                  <a:pos x="987" y="0"/>
                </a:cxn>
              </a:cxnLst>
              <a:rect l="0" t="0" r="r" b="b"/>
              <a:pathLst>
                <a:path w="987" h="1400">
                  <a:moveTo>
                    <a:pt x="987" y="0"/>
                  </a:moveTo>
                  <a:cubicBezTo>
                    <a:pt x="617" y="0"/>
                    <a:pt x="262" y="149"/>
                    <a:pt x="0" y="413"/>
                  </a:cubicBezTo>
                  <a:lnTo>
                    <a:pt x="987" y="1400"/>
                  </a:lnTo>
                  <a:lnTo>
                    <a:pt x="987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285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96" name="Oval 95"/>
          <p:cNvSpPr/>
          <p:nvPr/>
        </p:nvSpPr>
        <p:spPr bwMode="ltGray">
          <a:xfrm>
            <a:off x="3034724" y="4047241"/>
            <a:ext cx="818763" cy="818763"/>
          </a:xfrm>
          <a:prstGeom prst="ellipse">
            <a:avLst/>
          </a:prstGeom>
          <a:solidFill>
            <a:srgbClr val="747066"/>
          </a:solidFill>
          <a:ln w="381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7" name="Oval 96"/>
          <p:cNvSpPr/>
          <p:nvPr/>
        </p:nvSpPr>
        <p:spPr bwMode="ltGray">
          <a:xfrm>
            <a:off x="3034724" y="3124580"/>
            <a:ext cx="818763" cy="818763"/>
          </a:xfrm>
          <a:prstGeom prst="ellipse">
            <a:avLst/>
          </a:prstGeom>
          <a:solidFill>
            <a:srgbClr val="747066"/>
          </a:solidFill>
          <a:ln w="381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8" name="Oval 97"/>
          <p:cNvSpPr/>
          <p:nvPr/>
        </p:nvSpPr>
        <p:spPr bwMode="ltGray">
          <a:xfrm>
            <a:off x="5281159" y="4047241"/>
            <a:ext cx="818763" cy="818763"/>
          </a:xfrm>
          <a:prstGeom prst="ellipse">
            <a:avLst/>
          </a:prstGeom>
          <a:solidFill>
            <a:srgbClr val="747066"/>
          </a:solidFill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9" name="Oval 98"/>
          <p:cNvSpPr/>
          <p:nvPr/>
        </p:nvSpPr>
        <p:spPr bwMode="ltGray">
          <a:xfrm>
            <a:off x="5281159" y="3124580"/>
            <a:ext cx="818763" cy="818763"/>
          </a:xfrm>
          <a:prstGeom prst="ellipse">
            <a:avLst/>
          </a:prstGeom>
          <a:solidFill>
            <a:srgbClr val="747066"/>
          </a:solidFill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0" name="Oval 99"/>
          <p:cNvSpPr/>
          <p:nvPr/>
        </p:nvSpPr>
        <p:spPr bwMode="ltGray">
          <a:xfrm>
            <a:off x="4628655" y="2420222"/>
            <a:ext cx="818763" cy="818763"/>
          </a:xfrm>
          <a:prstGeom prst="ellipse">
            <a:avLst/>
          </a:prstGeom>
          <a:solidFill>
            <a:srgbClr val="747066"/>
          </a:solidFill>
          <a:ln w="381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1" name="Oval 100"/>
          <p:cNvSpPr/>
          <p:nvPr/>
        </p:nvSpPr>
        <p:spPr bwMode="ltGray">
          <a:xfrm>
            <a:off x="3687139" y="2420222"/>
            <a:ext cx="818763" cy="818763"/>
          </a:xfrm>
          <a:prstGeom prst="ellipse">
            <a:avLst/>
          </a:prstGeom>
          <a:solidFill>
            <a:srgbClr val="747066"/>
          </a:solidFill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2" name="Oval 101"/>
          <p:cNvSpPr/>
          <p:nvPr/>
        </p:nvSpPr>
        <p:spPr bwMode="ltGray">
          <a:xfrm>
            <a:off x="4628655" y="4726091"/>
            <a:ext cx="818763" cy="818763"/>
          </a:xfrm>
          <a:prstGeom prst="ellipse">
            <a:avLst/>
          </a:prstGeom>
          <a:solidFill>
            <a:srgbClr val="747066"/>
          </a:solidFill>
          <a:ln w="3810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3" name="Oval 102"/>
          <p:cNvSpPr/>
          <p:nvPr/>
        </p:nvSpPr>
        <p:spPr bwMode="ltGray">
          <a:xfrm>
            <a:off x="3687139" y="4726091"/>
            <a:ext cx="818763" cy="818763"/>
          </a:xfrm>
          <a:prstGeom prst="ellipse">
            <a:avLst/>
          </a:prstGeom>
          <a:solidFill>
            <a:srgbClr val="747066"/>
          </a:solidFill>
          <a:ln w="38100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2" name="Oval 111"/>
          <p:cNvSpPr/>
          <p:nvPr/>
        </p:nvSpPr>
        <p:spPr bwMode="ltGray">
          <a:xfrm>
            <a:off x="3926919" y="3341717"/>
            <a:ext cx="1299650" cy="1299649"/>
          </a:xfrm>
          <a:prstGeom prst="ellipse">
            <a:avLst/>
          </a:prstGeom>
          <a:solidFill>
            <a:srgbClr val="74706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i="1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3" name="Freeform 122"/>
          <p:cNvSpPr/>
          <p:nvPr/>
        </p:nvSpPr>
        <p:spPr>
          <a:xfrm>
            <a:off x="5414106" y="2077530"/>
            <a:ext cx="2628563" cy="169897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245" h="198407">
                <a:moveTo>
                  <a:pt x="0" y="198407"/>
                </a:moveTo>
                <a:lnTo>
                  <a:pt x="37531" y="0"/>
                </a:lnTo>
                <a:lnTo>
                  <a:pt x="733245" y="0"/>
                </a:lnTo>
              </a:path>
            </a:pathLst>
          </a:custGeom>
          <a:ln w="19050"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4" name="Rectangle 10"/>
          <p:cNvSpPr>
            <a:spLocks noChangeArrowheads="1"/>
          </p:cNvSpPr>
          <p:nvPr/>
        </p:nvSpPr>
        <p:spPr bwMode="auto">
          <a:xfrm>
            <a:off x="5699520" y="2152740"/>
            <a:ext cx="2491980" cy="76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Google Карты/OSM/Nokia Here для объектов инфраструктуры и расстояний</a:t>
            </a:r>
          </a:p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Конкурентные магазины, коммунальные сооружения, остановки общественного транспорта, а также пересадочные узлы, церкви, школы и пр.</a:t>
            </a:r>
            <a:endParaRPr lang="ru-RU" sz="800" i="1" kern="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26" name="Freeform 125"/>
          <p:cNvSpPr/>
          <p:nvPr/>
        </p:nvSpPr>
        <p:spPr>
          <a:xfrm>
            <a:off x="6088445" y="2971943"/>
            <a:ext cx="2628900" cy="18267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245" h="198407">
                <a:moveTo>
                  <a:pt x="0" y="198407"/>
                </a:moveTo>
                <a:lnTo>
                  <a:pt x="37531" y="0"/>
                </a:lnTo>
                <a:lnTo>
                  <a:pt x="733245" y="0"/>
                </a:lnTo>
              </a:path>
            </a:pathLst>
          </a:custGeom>
          <a:ln w="19050"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7" name="Rectangle 10"/>
          <p:cNvSpPr>
            <a:spLocks noChangeArrowheads="1"/>
          </p:cNvSpPr>
          <p:nvPr/>
        </p:nvSpPr>
        <p:spPr bwMode="auto">
          <a:xfrm>
            <a:off x="6381383" y="4645431"/>
            <a:ext cx="2231727" cy="5180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Релевантные доступные рыночные данные</a:t>
            </a:r>
          </a:p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Магазины, цены, рекламные материалы, загруженные / собранные непосредственно из интернета</a:t>
            </a:r>
            <a:endParaRPr lang="ru-RU" sz="800" i="1" kern="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29" name="Freeform 128"/>
          <p:cNvSpPr/>
          <p:nvPr/>
        </p:nvSpPr>
        <p:spPr>
          <a:xfrm flipH="1">
            <a:off x="442911" y="2970454"/>
            <a:ext cx="2628900" cy="18267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245" h="198407">
                <a:moveTo>
                  <a:pt x="0" y="198407"/>
                </a:moveTo>
                <a:lnTo>
                  <a:pt x="37531" y="0"/>
                </a:lnTo>
                <a:lnTo>
                  <a:pt x="733245" y="0"/>
                </a:lnTo>
              </a:path>
            </a:pathLst>
          </a:custGeom>
          <a:ln w="19050"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0" name="Rectangle 10"/>
          <p:cNvSpPr>
            <a:spLocks noChangeArrowheads="1"/>
          </p:cNvSpPr>
          <p:nvPr/>
        </p:nvSpPr>
        <p:spPr bwMode="auto">
          <a:xfrm>
            <a:off x="442911" y="3045663"/>
            <a:ext cx="2198734" cy="76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Сбор данных из социальных сетей </a:t>
            </a:r>
          </a:p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Twitter, Facebook, Instagram – отслеживание клиентов при помощи меток местоположения и оценки настроения клиентов для более эффективной обратной связи</a:t>
            </a:r>
            <a:endParaRPr lang="ru-RU" sz="800" i="1" kern="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32" name="Freeform 131"/>
          <p:cNvSpPr/>
          <p:nvPr/>
        </p:nvSpPr>
        <p:spPr>
          <a:xfrm flipH="1">
            <a:off x="1265284" y="2077531"/>
            <a:ext cx="2628900" cy="18267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245" h="198407">
                <a:moveTo>
                  <a:pt x="0" y="198407"/>
                </a:moveTo>
                <a:lnTo>
                  <a:pt x="37531" y="0"/>
                </a:lnTo>
                <a:lnTo>
                  <a:pt x="733245" y="0"/>
                </a:lnTo>
              </a:path>
            </a:pathLst>
          </a:custGeom>
          <a:ln w="19050"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3" name="Rectangle 10"/>
          <p:cNvSpPr>
            <a:spLocks noChangeArrowheads="1"/>
          </p:cNvSpPr>
          <p:nvPr/>
        </p:nvSpPr>
        <p:spPr bwMode="auto">
          <a:xfrm>
            <a:off x="1265284" y="2152740"/>
            <a:ext cx="2252264" cy="76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Внутренние данные</a:t>
            </a:r>
          </a:p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Данные из систем обработки транзакций, CRM, IVR, ERP, внутренние маркетинговые базы данных, исследования, контроллинг, справочные данные по поставщикам и пр., адреса клиентов</a:t>
            </a:r>
            <a:endParaRPr lang="ru-RU" sz="800" i="1" kern="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35" name="Freeform 134"/>
          <p:cNvSpPr/>
          <p:nvPr/>
        </p:nvSpPr>
        <p:spPr>
          <a:xfrm flipH="1" flipV="1">
            <a:off x="533398" y="4956222"/>
            <a:ext cx="2628900" cy="16954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245" h="198407">
                <a:moveTo>
                  <a:pt x="0" y="198407"/>
                </a:moveTo>
                <a:lnTo>
                  <a:pt x="37531" y="0"/>
                </a:lnTo>
                <a:lnTo>
                  <a:pt x="733245" y="0"/>
                </a:lnTo>
              </a:path>
            </a:pathLst>
          </a:custGeom>
          <a:ln w="19050"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6" name="Rectangle 10"/>
          <p:cNvSpPr>
            <a:spLocks noChangeArrowheads="1"/>
          </p:cNvSpPr>
          <p:nvPr/>
        </p:nvSpPr>
        <p:spPr bwMode="auto">
          <a:xfrm>
            <a:off x="1265284" y="5542907"/>
            <a:ext cx="2198734" cy="394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Статистические бюро </a:t>
            </a:r>
          </a:p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Данные по макроэкономическим показателям</a:t>
            </a:r>
            <a:endParaRPr lang="ru-RU" sz="800" i="1" kern="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38" name="Freeform 137"/>
          <p:cNvSpPr/>
          <p:nvPr/>
        </p:nvSpPr>
        <p:spPr>
          <a:xfrm flipH="1" flipV="1">
            <a:off x="1265284" y="5737250"/>
            <a:ext cx="2628900" cy="18267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245" h="198407">
                <a:moveTo>
                  <a:pt x="0" y="198407"/>
                </a:moveTo>
                <a:lnTo>
                  <a:pt x="37531" y="0"/>
                </a:lnTo>
                <a:lnTo>
                  <a:pt x="733245" y="0"/>
                </a:lnTo>
              </a:path>
            </a:pathLst>
          </a:custGeom>
          <a:ln w="19050"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9" name="Rectangle 10"/>
          <p:cNvSpPr>
            <a:spLocks noChangeArrowheads="1"/>
          </p:cNvSpPr>
          <p:nvPr/>
        </p:nvSpPr>
        <p:spPr bwMode="auto">
          <a:xfrm>
            <a:off x="533400" y="4087869"/>
            <a:ext cx="2383500" cy="1010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Использование продукта</a:t>
            </a:r>
          </a:p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Данные о поведении потребителей и пользователей при использовании мобильных приложений, аналитика по веб-сайтам (Google Analytics, журналы действий и cursor hotspots!), оборудование, датчики и маячки (использование корпоративных активов), местоположение пользователей (GPS, IP)</a:t>
            </a:r>
            <a:endParaRPr lang="ru-RU" sz="800" i="1" kern="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41" name="Freeform 140"/>
          <p:cNvSpPr/>
          <p:nvPr/>
        </p:nvSpPr>
        <p:spPr>
          <a:xfrm flipV="1">
            <a:off x="5981700" y="4956222"/>
            <a:ext cx="2628900" cy="18267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245" h="198407">
                <a:moveTo>
                  <a:pt x="0" y="198407"/>
                </a:moveTo>
                <a:lnTo>
                  <a:pt x="37531" y="0"/>
                </a:lnTo>
                <a:lnTo>
                  <a:pt x="733245" y="0"/>
                </a:lnTo>
              </a:path>
            </a:pathLst>
          </a:custGeom>
          <a:ln w="19050"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2" name="Rectangle 10"/>
          <p:cNvSpPr>
            <a:spLocks noChangeArrowheads="1"/>
          </p:cNvSpPr>
          <p:nvPr/>
        </p:nvSpPr>
        <p:spPr bwMode="auto">
          <a:xfrm>
            <a:off x="6487980" y="3047152"/>
            <a:ext cx="2285999" cy="1159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Приобретение внешних данных </a:t>
            </a:r>
          </a:p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Специальные аналитические агентства, медиакомпании, организации, занимающиеся исследованием рынка, например Millward Brown, Nielsen (рыночные цены, действия конкурентов, расчет покупательной способности, результаты опросов участников рынка)</a:t>
            </a:r>
          </a:p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Финансовые данные о конкурентах, поставщиках и других интересующих вас организациях</a:t>
            </a:r>
            <a:endParaRPr lang="ru-RU" sz="800" i="1" kern="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44" name="Freeform 143"/>
          <p:cNvSpPr/>
          <p:nvPr/>
        </p:nvSpPr>
        <p:spPr>
          <a:xfrm flipV="1">
            <a:off x="5414107" y="5737250"/>
            <a:ext cx="2628900" cy="182676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245" h="198407">
                <a:moveTo>
                  <a:pt x="0" y="198407"/>
                </a:moveTo>
                <a:lnTo>
                  <a:pt x="37531" y="0"/>
                </a:lnTo>
                <a:lnTo>
                  <a:pt x="733245" y="0"/>
                </a:lnTo>
              </a:path>
            </a:pathLst>
          </a:custGeom>
          <a:ln w="19050"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5" name="Rectangle 10"/>
          <p:cNvSpPr>
            <a:spLocks noChangeArrowheads="1"/>
          </p:cNvSpPr>
          <p:nvPr/>
        </p:nvSpPr>
        <p:spPr bwMode="auto">
          <a:xfrm>
            <a:off x="5699520" y="5404408"/>
            <a:ext cx="2491980" cy="441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Стратегические бизнес-партнеры</a:t>
            </a:r>
          </a:p>
          <a:p>
            <a:pPr defTabSz="798513" eaLnBrk="0" hangingPunct="0">
              <a:spcAft>
                <a:spcPts val="200"/>
              </a:spcAft>
              <a:defRPr/>
            </a:pPr>
            <a:r>
              <a:rPr lang="ru-RU" sz="800" i="1" kern="0" dirty="0" smtClean="0">
                <a:solidFill>
                  <a:schemeClr val="bg1"/>
                </a:solidFill>
                <a:latin typeface="+mj-lt"/>
              </a:rPr>
              <a:t>Особый интерес представляют телекоммуникационные компании, банки, национальная база данных о кредитах и должниках</a:t>
            </a:r>
            <a:endParaRPr lang="ru-RU" sz="800" i="1" kern="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4793719" y="2566993"/>
            <a:ext cx="488634" cy="449020"/>
            <a:chOff x="-1831145" y="1063685"/>
            <a:chExt cx="488634" cy="449020"/>
          </a:xfrm>
          <a:solidFill>
            <a:schemeClr val="accent5">
              <a:lumMod val="75000"/>
            </a:schemeClr>
          </a:solidFill>
        </p:grpSpPr>
        <p:sp>
          <p:nvSpPr>
            <p:cNvPr id="194" name="Freeform 7"/>
            <p:cNvSpPr>
              <a:spLocks/>
            </p:cNvSpPr>
            <p:nvPr/>
          </p:nvSpPr>
          <p:spPr bwMode="auto">
            <a:xfrm>
              <a:off x="-1793165" y="1260323"/>
              <a:ext cx="210523" cy="127008"/>
            </a:xfrm>
            <a:custGeom>
              <a:avLst/>
              <a:gdLst>
                <a:gd name="T0" fmla="*/ 396 w 2061"/>
                <a:gd name="T1" fmla="*/ 0 h 1245"/>
                <a:gd name="T2" fmla="*/ 1816 w 2061"/>
                <a:gd name="T3" fmla="*/ 0 h 1245"/>
                <a:gd name="T4" fmla="*/ 1869 w 2061"/>
                <a:gd name="T5" fmla="*/ 137 h 1245"/>
                <a:gd name="T6" fmla="*/ 1928 w 2061"/>
                <a:gd name="T7" fmla="*/ 271 h 1245"/>
                <a:gd name="T8" fmla="*/ 1993 w 2061"/>
                <a:gd name="T9" fmla="*/ 402 h 1245"/>
                <a:gd name="T10" fmla="*/ 2061 w 2061"/>
                <a:gd name="T11" fmla="*/ 528 h 1245"/>
                <a:gd name="T12" fmla="*/ 1912 w 2061"/>
                <a:gd name="T13" fmla="*/ 1245 h 1245"/>
                <a:gd name="T14" fmla="*/ 0 w 2061"/>
                <a:gd name="T15" fmla="*/ 1037 h 1245"/>
                <a:gd name="T16" fmla="*/ 272 w 2061"/>
                <a:gd name="T17" fmla="*/ 93 h 1245"/>
                <a:gd name="T18" fmla="*/ 284 w 2061"/>
                <a:gd name="T19" fmla="*/ 67 h 1245"/>
                <a:gd name="T20" fmla="*/ 299 w 2061"/>
                <a:gd name="T21" fmla="*/ 45 h 1245"/>
                <a:gd name="T22" fmla="*/ 319 w 2061"/>
                <a:gd name="T23" fmla="*/ 26 h 1245"/>
                <a:gd name="T24" fmla="*/ 342 w 2061"/>
                <a:gd name="T25" fmla="*/ 13 h 1245"/>
                <a:gd name="T26" fmla="*/ 368 w 2061"/>
                <a:gd name="T27" fmla="*/ 5 h 1245"/>
                <a:gd name="T28" fmla="*/ 396 w 2061"/>
                <a:gd name="T29" fmla="*/ 0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61" h="1245">
                  <a:moveTo>
                    <a:pt x="396" y="0"/>
                  </a:moveTo>
                  <a:lnTo>
                    <a:pt x="1816" y="0"/>
                  </a:lnTo>
                  <a:lnTo>
                    <a:pt x="1869" y="137"/>
                  </a:lnTo>
                  <a:lnTo>
                    <a:pt x="1928" y="271"/>
                  </a:lnTo>
                  <a:lnTo>
                    <a:pt x="1993" y="402"/>
                  </a:lnTo>
                  <a:lnTo>
                    <a:pt x="2061" y="528"/>
                  </a:lnTo>
                  <a:lnTo>
                    <a:pt x="1912" y="1245"/>
                  </a:lnTo>
                  <a:lnTo>
                    <a:pt x="0" y="1037"/>
                  </a:lnTo>
                  <a:lnTo>
                    <a:pt x="272" y="93"/>
                  </a:lnTo>
                  <a:lnTo>
                    <a:pt x="284" y="67"/>
                  </a:lnTo>
                  <a:lnTo>
                    <a:pt x="299" y="45"/>
                  </a:lnTo>
                  <a:lnTo>
                    <a:pt x="319" y="26"/>
                  </a:lnTo>
                  <a:lnTo>
                    <a:pt x="342" y="13"/>
                  </a:lnTo>
                  <a:lnTo>
                    <a:pt x="368" y="5"/>
                  </a:lnTo>
                  <a:lnTo>
                    <a:pt x="3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5" name="Freeform 8"/>
            <p:cNvSpPr>
              <a:spLocks/>
            </p:cNvSpPr>
            <p:nvPr/>
          </p:nvSpPr>
          <p:spPr bwMode="auto">
            <a:xfrm>
              <a:off x="-1425618" y="1352209"/>
              <a:ext cx="58603" cy="60645"/>
            </a:xfrm>
            <a:custGeom>
              <a:avLst/>
              <a:gdLst>
                <a:gd name="T0" fmla="*/ 403 w 575"/>
                <a:gd name="T1" fmla="*/ 0 h 593"/>
                <a:gd name="T2" fmla="*/ 575 w 575"/>
                <a:gd name="T3" fmla="*/ 593 h 593"/>
                <a:gd name="T4" fmla="*/ 0 w 575"/>
                <a:gd name="T5" fmla="*/ 531 h 593"/>
                <a:gd name="T6" fmla="*/ 63 w 575"/>
                <a:gd name="T7" fmla="*/ 453 h 593"/>
                <a:gd name="T8" fmla="*/ 128 w 575"/>
                <a:gd name="T9" fmla="*/ 372 h 593"/>
                <a:gd name="T10" fmla="*/ 197 w 575"/>
                <a:gd name="T11" fmla="*/ 285 h 593"/>
                <a:gd name="T12" fmla="*/ 265 w 575"/>
                <a:gd name="T13" fmla="*/ 195 h 593"/>
                <a:gd name="T14" fmla="*/ 335 w 575"/>
                <a:gd name="T15" fmla="*/ 99 h 593"/>
                <a:gd name="T16" fmla="*/ 403 w 575"/>
                <a:gd name="T17" fmla="*/ 0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5" h="593">
                  <a:moveTo>
                    <a:pt x="403" y="0"/>
                  </a:moveTo>
                  <a:lnTo>
                    <a:pt x="575" y="593"/>
                  </a:lnTo>
                  <a:lnTo>
                    <a:pt x="0" y="531"/>
                  </a:lnTo>
                  <a:lnTo>
                    <a:pt x="63" y="453"/>
                  </a:lnTo>
                  <a:lnTo>
                    <a:pt x="128" y="372"/>
                  </a:lnTo>
                  <a:lnTo>
                    <a:pt x="197" y="285"/>
                  </a:lnTo>
                  <a:lnTo>
                    <a:pt x="265" y="195"/>
                  </a:lnTo>
                  <a:lnTo>
                    <a:pt x="335" y="99"/>
                  </a:lnTo>
                  <a:lnTo>
                    <a:pt x="4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6" name="Freeform 9"/>
            <p:cNvSpPr>
              <a:spLocks/>
            </p:cNvSpPr>
            <p:nvPr/>
          </p:nvSpPr>
          <p:spPr bwMode="auto">
            <a:xfrm>
              <a:off x="-1558956" y="1361602"/>
              <a:ext cx="31854" cy="33692"/>
            </a:xfrm>
            <a:custGeom>
              <a:avLst/>
              <a:gdLst>
                <a:gd name="T0" fmla="*/ 63 w 311"/>
                <a:gd name="T1" fmla="*/ 0 h 328"/>
                <a:gd name="T2" fmla="*/ 67 w 311"/>
                <a:gd name="T3" fmla="*/ 6 h 328"/>
                <a:gd name="T4" fmla="*/ 150 w 311"/>
                <a:gd name="T5" fmla="*/ 120 h 328"/>
                <a:gd name="T6" fmla="*/ 231 w 311"/>
                <a:gd name="T7" fmla="*/ 227 h 328"/>
                <a:gd name="T8" fmla="*/ 311 w 311"/>
                <a:gd name="T9" fmla="*/ 328 h 328"/>
                <a:gd name="T10" fmla="*/ 0 w 311"/>
                <a:gd name="T11" fmla="*/ 294 h 328"/>
                <a:gd name="T12" fmla="*/ 63 w 311"/>
                <a:gd name="T13" fmla="*/ 0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1" h="328">
                  <a:moveTo>
                    <a:pt x="63" y="0"/>
                  </a:moveTo>
                  <a:lnTo>
                    <a:pt x="67" y="6"/>
                  </a:lnTo>
                  <a:lnTo>
                    <a:pt x="150" y="120"/>
                  </a:lnTo>
                  <a:lnTo>
                    <a:pt x="231" y="227"/>
                  </a:lnTo>
                  <a:lnTo>
                    <a:pt x="311" y="328"/>
                  </a:lnTo>
                  <a:lnTo>
                    <a:pt x="0" y="294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7" name="Freeform 10"/>
            <p:cNvSpPr>
              <a:spLocks/>
            </p:cNvSpPr>
            <p:nvPr/>
          </p:nvSpPr>
          <p:spPr bwMode="auto">
            <a:xfrm>
              <a:off x="-1831145" y="1404279"/>
              <a:ext cx="225021" cy="108426"/>
            </a:xfrm>
            <a:custGeom>
              <a:avLst/>
              <a:gdLst>
                <a:gd name="T0" fmla="*/ 265 w 2204"/>
                <a:gd name="T1" fmla="*/ 0 h 1062"/>
                <a:gd name="T2" fmla="*/ 2204 w 2204"/>
                <a:gd name="T3" fmla="*/ 213 h 1062"/>
                <a:gd name="T4" fmla="*/ 2026 w 2204"/>
                <a:gd name="T5" fmla="*/ 1062 h 1062"/>
                <a:gd name="T6" fmla="*/ 128 w 2204"/>
                <a:gd name="T7" fmla="*/ 1062 h 1062"/>
                <a:gd name="T8" fmla="*/ 99 w 2204"/>
                <a:gd name="T9" fmla="*/ 1059 h 1062"/>
                <a:gd name="T10" fmla="*/ 71 w 2204"/>
                <a:gd name="T11" fmla="*/ 1049 h 1062"/>
                <a:gd name="T12" fmla="*/ 47 w 2204"/>
                <a:gd name="T13" fmla="*/ 1033 h 1062"/>
                <a:gd name="T14" fmla="*/ 26 w 2204"/>
                <a:gd name="T15" fmla="*/ 1011 h 1062"/>
                <a:gd name="T16" fmla="*/ 10 w 2204"/>
                <a:gd name="T17" fmla="*/ 985 h 1062"/>
                <a:gd name="T18" fmla="*/ 1 w 2204"/>
                <a:gd name="T19" fmla="*/ 957 h 1062"/>
                <a:gd name="T20" fmla="*/ 0 w 2204"/>
                <a:gd name="T21" fmla="*/ 928 h 1062"/>
                <a:gd name="T22" fmla="*/ 4 w 2204"/>
                <a:gd name="T23" fmla="*/ 899 h 1062"/>
                <a:gd name="T24" fmla="*/ 265 w 2204"/>
                <a:gd name="T25" fmla="*/ 0 h 1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04" h="1062">
                  <a:moveTo>
                    <a:pt x="265" y="0"/>
                  </a:moveTo>
                  <a:lnTo>
                    <a:pt x="2204" y="213"/>
                  </a:lnTo>
                  <a:lnTo>
                    <a:pt x="2026" y="1062"/>
                  </a:lnTo>
                  <a:lnTo>
                    <a:pt x="128" y="1062"/>
                  </a:lnTo>
                  <a:lnTo>
                    <a:pt x="99" y="1059"/>
                  </a:lnTo>
                  <a:lnTo>
                    <a:pt x="71" y="1049"/>
                  </a:lnTo>
                  <a:lnTo>
                    <a:pt x="47" y="1033"/>
                  </a:lnTo>
                  <a:lnTo>
                    <a:pt x="26" y="1011"/>
                  </a:lnTo>
                  <a:lnTo>
                    <a:pt x="10" y="985"/>
                  </a:lnTo>
                  <a:lnTo>
                    <a:pt x="1" y="957"/>
                  </a:lnTo>
                  <a:lnTo>
                    <a:pt x="0" y="928"/>
                  </a:lnTo>
                  <a:lnTo>
                    <a:pt x="4" y="899"/>
                  </a:lnTo>
                  <a:lnTo>
                    <a:pt x="2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8" name="Freeform 11"/>
            <p:cNvSpPr>
              <a:spLocks/>
            </p:cNvSpPr>
            <p:nvPr/>
          </p:nvSpPr>
          <p:spPr bwMode="auto">
            <a:xfrm>
              <a:off x="-1584276" y="1430211"/>
              <a:ext cx="241765" cy="82494"/>
            </a:xfrm>
            <a:custGeom>
              <a:avLst/>
              <a:gdLst>
                <a:gd name="T0" fmla="*/ 169 w 2368"/>
                <a:gd name="T1" fmla="*/ 0 h 807"/>
                <a:gd name="T2" fmla="*/ 2243 w 2368"/>
                <a:gd name="T3" fmla="*/ 227 h 807"/>
                <a:gd name="T4" fmla="*/ 2361 w 2368"/>
                <a:gd name="T5" fmla="*/ 635 h 807"/>
                <a:gd name="T6" fmla="*/ 2366 w 2368"/>
                <a:gd name="T7" fmla="*/ 657 h 807"/>
                <a:gd name="T8" fmla="*/ 2368 w 2368"/>
                <a:gd name="T9" fmla="*/ 679 h 807"/>
                <a:gd name="T10" fmla="*/ 2365 w 2368"/>
                <a:gd name="T11" fmla="*/ 708 h 807"/>
                <a:gd name="T12" fmla="*/ 2355 w 2368"/>
                <a:gd name="T13" fmla="*/ 736 h 807"/>
                <a:gd name="T14" fmla="*/ 2340 w 2368"/>
                <a:gd name="T15" fmla="*/ 759 h 807"/>
                <a:gd name="T16" fmla="*/ 2320 w 2368"/>
                <a:gd name="T17" fmla="*/ 779 h 807"/>
                <a:gd name="T18" fmla="*/ 2297 w 2368"/>
                <a:gd name="T19" fmla="*/ 794 h 807"/>
                <a:gd name="T20" fmla="*/ 2269 w 2368"/>
                <a:gd name="T21" fmla="*/ 804 h 807"/>
                <a:gd name="T22" fmla="*/ 2240 w 2368"/>
                <a:gd name="T23" fmla="*/ 807 h 807"/>
                <a:gd name="T24" fmla="*/ 0 w 2368"/>
                <a:gd name="T25" fmla="*/ 807 h 807"/>
                <a:gd name="T26" fmla="*/ 169 w 2368"/>
                <a:gd name="T27" fmla="*/ 0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68" h="807">
                  <a:moveTo>
                    <a:pt x="169" y="0"/>
                  </a:moveTo>
                  <a:lnTo>
                    <a:pt x="2243" y="227"/>
                  </a:lnTo>
                  <a:lnTo>
                    <a:pt x="2361" y="635"/>
                  </a:lnTo>
                  <a:lnTo>
                    <a:pt x="2366" y="657"/>
                  </a:lnTo>
                  <a:lnTo>
                    <a:pt x="2368" y="679"/>
                  </a:lnTo>
                  <a:lnTo>
                    <a:pt x="2365" y="708"/>
                  </a:lnTo>
                  <a:lnTo>
                    <a:pt x="2355" y="736"/>
                  </a:lnTo>
                  <a:lnTo>
                    <a:pt x="2340" y="759"/>
                  </a:lnTo>
                  <a:lnTo>
                    <a:pt x="2320" y="779"/>
                  </a:lnTo>
                  <a:lnTo>
                    <a:pt x="2297" y="794"/>
                  </a:lnTo>
                  <a:lnTo>
                    <a:pt x="2269" y="804"/>
                  </a:lnTo>
                  <a:lnTo>
                    <a:pt x="2240" y="807"/>
                  </a:lnTo>
                  <a:lnTo>
                    <a:pt x="0" y="807"/>
                  </a:lnTo>
                  <a:lnTo>
                    <a:pt x="1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9" name="Freeform 12"/>
            <p:cNvSpPr>
              <a:spLocks noEditPoints="1"/>
            </p:cNvSpPr>
            <p:nvPr/>
          </p:nvSpPr>
          <p:spPr bwMode="auto">
            <a:xfrm>
              <a:off x="-1601224" y="1063685"/>
              <a:ext cx="258713" cy="361625"/>
            </a:xfrm>
            <a:custGeom>
              <a:avLst/>
              <a:gdLst>
                <a:gd name="T0" fmla="*/ 1102 w 2535"/>
                <a:gd name="T1" fmla="*/ 494 h 3540"/>
                <a:gd name="T2" fmla="*/ 877 w 2535"/>
                <a:gd name="T3" fmla="*/ 583 h 3540"/>
                <a:gd name="T4" fmla="*/ 693 w 2535"/>
                <a:gd name="T5" fmla="*/ 733 h 3540"/>
                <a:gd name="T6" fmla="*/ 563 w 2535"/>
                <a:gd name="T7" fmla="*/ 931 h 3540"/>
                <a:gd name="T8" fmla="*/ 499 w 2535"/>
                <a:gd name="T9" fmla="*/ 1166 h 3540"/>
                <a:gd name="T10" fmla="*/ 512 w 2535"/>
                <a:gd name="T11" fmla="*/ 1417 h 3540"/>
                <a:gd name="T12" fmla="*/ 599 w 2535"/>
                <a:gd name="T13" fmla="*/ 1641 h 3540"/>
                <a:gd name="T14" fmla="*/ 749 w 2535"/>
                <a:gd name="T15" fmla="*/ 1825 h 3540"/>
                <a:gd name="T16" fmla="*/ 948 w 2535"/>
                <a:gd name="T17" fmla="*/ 1956 h 3540"/>
                <a:gd name="T18" fmla="*/ 1184 w 2535"/>
                <a:gd name="T19" fmla="*/ 2020 h 3540"/>
                <a:gd name="T20" fmla="*/ 1434 w 2535"/>
                <a:gd name="T21" fmla="*/ 2007 h 3540"/>
                <a:gd name="T22" fmla="*/ 1658 w 2535"/>
                <a:gd name="T23" fmla="*/ 1920 h 3540"/>
                <a:gd name="T24" fmla="*/ 1843 w 2535"/>
                <a:gd name="T25" fmla="*/ 1769 h 3540"/>
                <a:gd name="T26" fmla="*/ 1972 w 2535"/>
                <a:gd name="T27" fmla="*/ 1571 h 3540"/>
                <a:gd name="T28" fmla="*/ 2037 w 2535"/>
                <a:gd name="T29" fmla="*/ 1335 h 3540"/>
                <a:gd name="T30" fmla="*/ 2023 w 2535"/>
                <a:gd name="T31" fmla="*/ 1085 h 3540"/>
                <a:gd name="T32" fmla="*/ 1936 w 2535"/>
                <a:gd name="T33" fmla="*/ 861 h 3540"/>
                <a:gd name="T34" fmla="*/ 1786 w 2535"/>
                <a:gd name="T35" fmla="*/ 676 h 3540"/>
                <a:gd name="T36" fmla="*/ 1587 w 2535"/>
                <a:gd name="T37" fmla="*/ 545 h 3540"/>
                <a:gd name="T38" fmla="*/ 1351 w 2535"/>
                <a:gd name="T39" fmla="*/ 481 h 3540"/>
                <a:gd name="T40" fmla="*/ 1377 w 2535"/>
                <a:gd name="T41" fmla="*/ 4 h 3540"/>
                <a:gd name="T42" fmla="*/ 1687 w 2535"/>
                <a:gd name="T43" fmla="*/ 71 h 3540"/>
                <a:gd name="T44" fmla="*/ 1965 w 2535"/>
                <a:gd name="T45" fmla="*/ 209 h 3540"/>
                <a:gd name="T46" fmla="*/ 2199 w 2535"/>
                <a:gd name="T47" fmla="*/ 409 h 3540"/>
                <a:gd name="T48" fmla="*/ 2379 w 2535"/>
                <a:gd name="T49" fmla="*/ 657 h 3540"/>
                <a:gd name="T50" fmla="*/ 2494 w 2535"/>
                <a:gd name="T51" fmla="*/ 948 h 3540"/>
                <a:gd name="T52" fmla="*/ 2535 w 2535"/>
                <a:gd name="T53" fmla="*/ 1267 h 3540"/>
                <a:gd name="T54" fmla="*/ 2497 w 2535"/>
                <a:gd name="T55" fmla="*/ 1594 h 3540"/>
                <a:gd name="T56" fmla="*/ 2395 w 2535"/>
                <a:gd name="T57" fmla="*/ 1924 h 3540"/>
                <a:gd name="T58" fmla="*/ 2248 w 2535"/>
                <a:gd name="T59" fmla="*/ 2246 h 3540"/>
                <a:gd name="T60" fmla="*/ 2075 w 2535"/>
                <a:gd name="T61" fmla="*/ 2545 h 3540"/>
                <a:gd name="T62" fmla="*/ 1898 w 2535"/>
                <a:gd name="T63" fmla="*/ 2812 h 3540"/>
                <a:gd name="T64" fmla="*/ 1726 w 2535"/>
                <a:gd name="T65" fmla="*/ 3041 h 3540"/>
                <a:gd name="T66" fmla="*/ 1566 w 2535"/>
                <a:gd name="T67" fmla="*/ 3241 h 3540"/>
                <a:gd name="T68" fmla="*/ 1428 w 2535"/>
                <a:gd name="T69" fmla="*/ 3401 h 3540"/>
                <a:gd name="T70" fmla="*/ 1320 w 2535"/>
                <a:gd name="T71" fmla="*/ 3517 h 3540"/>
                <a:gd name="T72" fmla="*/ 1268 w 2535"/>
                <a:gd name="T73" fmla="*/ 3540 h 3540"/>
                <a:gd name="T74" fmla="*/ 1214 w 2535"/>
                <a:gd name="T75" fmla="*/ 3517 h 3540"/>
                <a:gd name="T76" fmla="*/ 1108 w 2535"/>
                <a:gd name="T77" fmla="*/ 3401 h 3540"/>
                <a:gd name="T78" fmla="*/ 968 w 2535"/>
                <a:gd name="T79" fmla="*/ 3241 h 3540"/>
                <a:gd name="T80" fmla="*/ 808 w 2535"/>
                <a:gd name="T81" fmla="*/ 3043 h 3540"/>
                <a:gd name="T82" fmla="*/ 638 w 2535"/>
                <a:gd name="T83" fmla="*/ 2813 h 3540"/>
                <a:gd name="T84" fmla="*/ 459 w 2535"/>
                <a:gd name="T85" fmla="*/ 2547 h 3540"/>
                <a:gd name="T86" fmla="*/ 288 w 2535"/>
                <a:gd name="T87" fmla="*/ 2246 h 3540"/>
                <a:gd name="T88" fmla="*/ 141 w 2535"/>
                <a:gd name="T89" fmla="*/ 1924 h 3540"/>
                <a:gd name="T90" fmla="*/ 37 w 2535"/>
                <a:gd name="T91" fmla="*/ 1594 h 3540"/>
                <a:gd name="T92" fmla="*/ 0 w 2535"/>
                <a:gd name="T93" fmla="*/ 1267 h 3540"/>
                <a:gd name="T94" fmla="*/ 40 w 2535"/>
                <a:gd name="T95" fmla="*/ 948 h 3540"/>
                <a:gd name="T96" fmla="*/ 155 w 2535"/>
                <a:gd name="T97" fmla="*/ 657 h 3540"/>
                <a:gd name="T98" fmla="*/ 336 w 2535"/>
                <a:gd name="T99" fmla="*/ 409 h 3540"/>
                <a:gd name="T100" fmla="*/ 570 w 2535"/>
                <a:gd name="T101" fmla="*/ 209 h 3540"/>
                <a:gd name="T102" fmla="*/ 848 w 2535"/>
                <a:gd name="T103" fmla="*/ 71 h 3540"/>
                <a:gd name="T104" fmla="*/ 1157 w 2535"/>
                <a:gd name="T105" fmla="*/ 4 h 3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35" h="3540">
                  <a:moveTo>
                    <a:pt x="1268" y="477"/>
                  </a:moveTo>
                  <a:lnTo>
                    <a:pt x="1184" y="481"/>
                  </a:lnTo>
                  <a:lnTo>
                    <a:pt x="1102" y="494"/>
                  </a:lnTo>
                  <a:lnTo>
                    <a:pt x="1024" y="516"/>
                  </a:lnTo>
                  <a:lnTo>
                    <a:pt x="948" y="545"/>
                  </a:lnTo>
                  <a:lnTo>
                    <a:pt x="877" y="583"/>
                  </a:lnTo>
                  <a:lnTo>
                    <a:pt x="810" y="627"/>
                  </a:lnTo>
                  <a:lnTo>
                    <a:pt x="749" y="676"/>
                  </a:lnTo>
                  <a:lnTo>
                    <a:pt x="693" y="733"/>
                  </a:lnTo>
                  <a:lnTo>
                    <a:pt x="643" y="794"/>
                  </a:lnTo>
                  <a:lnTo>
                    <a:pt x="599" y="861"/>
                  </a:lnTo>
                  <a:lnTo>
                    <a:pt x="563" y="931"/>
                  </a:lnTo>
                  <a:lnTo>
                    <a:pt x="533" y="1006"/>
                  </a:lnTo>
                  <a:lnTo>
                    <a:pt x="512" y="1085"/>
                  </a:lnTo>
                  <a:lnTo>
                    <a:pt x="499" y="1166"/>
                  </a:lnTo>
                  <a:lnTo>
                    <a:pt x="493" y="1251"/>
                  </a:lnTo>
                  <a:lnTo>
                    <a:pt x="499" y="1335"/>
                  </a:lnTo>
                  <a:lnTo>
                    <a:pt x="512" y="1417"/>
                  </a:lnTo>
                  <a:lnTo>
                    <a:pt x="533" y="1495"/>
                  </a:lnTo>
                  <a:lnTo>
                    <a:pt x="563" y="1571"/>
                  </a:lnTo>
                  <a:lnTo>
                    <a:pt x="599" y="1641"/>
                  </a:lnTo>
                  <a:lnTo>
                    <a:pt x="643" y="1708"/>
                  </a:lnTo>
                  <a:lnTo>
                    <a:pt x="693" y="1769"/>
                  </a:lnTo>
                  <a:lnTo>
                    <a:pt x="749" y="1825"/>
                  </a:lnTo>
                  <a:lnTo>
                    <a:pt x="810" y="1875"/>
                  </a:lnTo>
                  <a:lnTo>
                    <a:pt x="877" y="1920"/>
                  </a:lnTo>
                  <a:lnTo>
                    <a:pt x="948" y="1956"/>
                  </a:lnTo>
                  <a:lnTo>
                    <a:pt x="1024" y="1985"/>
                  </a:lnTo>
                  <a:lnTo>
                    <a:pt x="1102" y="2007"/>
                  </a:lnTo>
                  <a:lnTo>
                    <a:pt x="1184" y="2020"/>
                  </a:lnTo>
                  <a:lnTo>
                    <a:pt x="1268" y="2025"/>
                  </a:lnTo>
                  <a:lnTo>
                    <a:pt x="1351" y="2020"/>
                  </a:lnTo>
                  <a:lnTo>
                    <a:pt x="1434" y="2007"/>
                  </a:lnTo>
                  <a:lnTo>
                    <a:pt x="1512" y="1985"/>
                  </a:lnTo>
                  <a:lnTo>
                    <a:pt x="1587" y="1956"/>
                  </a:lnTo>
                  <a:lnTo>
                    <a:pt x="1658" y="1920"/>
                  </a:lnTo>
                  <a:lnTo>
                    <a:pt x="1725" y="1875"/>
                  </a:lnTo>
                  <a:lnTo>
                    <a:pt x="1786" y="1825"/>
                  </a:lnTo>
                  <a:lnTo>
                    <a:pt x="1843" y="1769"/>
                  </a:lnTo>
                  <a:lnTo>
                    <a:pt x="1892" y="1708"/>
                  </a:lnTo>
                  <a:lnTo>
                    <a:pt x="1936" y="1641"/>
                  </a:lnTo>
                  <a:lnTo>
                    <a:pt x="1972" y="1571"/>
                  </a:lnTo>
                  <a:lnTo>
                    <a:pt x="2003" y="1495"/>
                  </a:lnTo>
                  <a:lnTo>
                    <a:pt x="2023" y="1417"/>
                  </a:lnTo>
                  <a:lnTo>
                    <a:pt x="2037" y="1335"/>
                  </a:lnTo>
                  <a:lnTo>
                    <a:pt x="2042" y="1251"/>
                  </a:lnTo>
                  <a:lnTo>
                    <a:pt x="2037" y="1166"/>
                  </a:lnTo>
                  <a:lnTo>
                    <a:pt x="2023" y="1085"/>
                  </a:lnTo>
                  <a:lnTo>
                    <a:pt x="2003" y="1006"/>
                  </a:lnTo>
                  <a:lnTo>
                    <a:pt x="1972" y="931"/>
                  </a:lnTo>
                  <a:lnTo>
                    <a:pt x="1936" y="861"/>
                  </a:lnTo>
                  <a:lnTo>
                    <a:pt x="1892" y="794"/>
                  </a:lnTo>
                  <a:lnTo>
                    <a:pt x="1843" y="733"/>
                  </a:lnTo>
                  <a:lnTo>
                    <a:pt x="1786" y="676"/>
                  </a:lnTo>
                  <a:lnTo>
                    <a:pt x="1725" y="627"/>
                  </a:lnTo>
                  <a:lnTo>
                    <a:pt x="1658" y="583"/>
                  </a:lnTo>
                  <a:lnTo>
                    <a:pt x="1587" y="545"/>
                  </a:lnTo>
                  <a:lnTo>
                    <a:pt x="1512" y="516"/>
                  </a:lnTo>
                  <a:lnTo>
                    <a:pt x="1434" y="494"/>
                  </a:lnTo>
                  <a:lnTo>
                    <a:pt x="1351" y="481"/>
                  </a:lnTo>
                  <a:lnTo>
                    <a:pt x="1268" y="477"/>
                  </a:lnTo>
                  <a:close/>
                  <a:moveTo>
                    <a:pt x="1268" y="0"/>
                  </a:moveTo>
                  <a:lnTo>
                    <a:pt x="1377" y="4"/>
                  </a:lnTo>
                  <a:lnTo>
                    <a:pt x="1483" y="17"/>
                  </a:lnTo>
                  <a:lnTo>
                    <a:pt x="1587" y="41"/>
                  </a:lnTo>
                  <a:lnTo>
                    <a:pt x="1687" y="71"/>
                  </a:lnTo>
                  <a:lnTo>
                    <a:pt x="1784" y="110"/>
                  </a:lnTo>
                  <a:lnTo>
                    <a:pt x="1877" y="156"/>
                  </a:lnTo>
                  <a:lnTo>
                    <a:pt x="1965" y="209"/>
                  </a:lnTo>
                  <a:lnTo>
                    <a:pt x="2049" y="269"/>
                  </a:lnTo>
                  <a:lnTo>
                    <a:pt x="2126" y="336"/>
                  </a:lnTo>
                  <a:lnTo>
                    <a:pt x="2199" y="409"/>
                  </a:lnTo>
                  <a:lnTo>
                    <a:pt x="2266" y="486"/>
                  </a:lnTo>
                  <a:lnTo>
                    <a:pt x="2325" y="570"/>
                  </a:lnTo>
                  <a:lnTo>
                    <a:pt x="2379" y="657"/>
                  </a:lnTo>
                  <a:lnTo>
                    <a:pt x="2424" y="750"/>
                  </a:lnTo>
                  <a:lnTo>
                    <a:pt x="2464" y="848"/>
                  </a:lnTo>
                  <a:lnTo>
                    <a:pt x="2494" y="948"/>
                  </a:lnTo>
                  <a:lnTo>
                    <a:pt x="2517" y="1052"/>
                  </a:lnTo>
                  <a:lnTo>
                    <a:pt x="2531" y="1158"/>
                  </a:lnTo>
                  <a:lnTo>
                    <a:pt x="2535" y="1267"/>
                  </a:lnTo>
                  <a:lnTo>
                    <a:pt x="2531" y="1376"/>
                  </a:lnTo>
                  <a:lnTo>
                    <a:pt x="2517" y="1485"/>
                  </a:lnTo>
                  <a:lnTo>
                    <a:pt x="2497" y="1594"/>
                  </a:lnTo>
                  <a:lnTo>
                    <a:pt x="2469" y="1705"/>
                  </a:lnTo>
                  <a:lnTo>
                    <a:pt x="2435" y="1815"/>
                  </a:lnTo>
                  <a:lnTo>
                    <a:pt x="2395" y="1924"/>
                  </a:lnTo>
                  <a:lnTo>
                    <a:pt x="2350" y="2033"/>
                  </a:lnTo>
                  <a:lnTo>
                    <a:pt x="2301" y="2140"/>
                  </a:lnTo>
                  <a:lnTo>
                    <a:pt x="2248" y="2246"/>
                  </a:lnTo>
                  <a:lnTo>
                    <a:pt x="2193" y="2349"/>
                  </a:lnTo>
                  <a:lnTo>
                    <a:pt x="2135" y="2448"/>
                  </a:lnTo>
                  <a:lnTo>
                    <a:pt x="2075" y="2545"/>
                  </a:lnTo>
                  <a:lnTo>
                    <a:pt x="2016" y="2638"/>
                  </a:lnTo>
                  <a:lnTo>
                    <a:pt x="1957" y="2727"/>
                  </a:lnTo>
                  <a:lnTo>
                    <a:pt x="1898" y="2812"/>
                  </a:lnTo>
                  <a:lnTo>
                    <a:pt x="1841" y="2892"/>
                  </a:lnTo>
                  <a:lnTo>
                    <a:pt x="1783" y="2969"/>
                  </a:lnTo>
                  <a:lnTo>
                    <a:pt x="1726" y="3041"/>
                  </a:lnTo>
                  <a:lnTo>
                    <a:pt x="1671" y="3111"/>
                  </a:lnTo>
                  <a:lnTo>
                    <a:pt x="1619" y="3178"/>
                  </a:lnTo>
                  <a:lnTo>
                    <a:pt x="1566" y="3241"/>
                  </a:lnTo>
                  <a:lnTo>
                    <a:pt x="1517" y="3297"/>
                  </a:lnTo>
                  <a:lnTo>
                    <a:pt x="1470" y="3351"/>
                  </a:lnTo>
                  <a:lnTo>
                    <a:pt x="1428" y="3401"/>
                  </a:lnTo>
                  <a:lnTo>
                    <a:pt x="1387" y="3444"/>
                  </a:lnTo>
                  <a:lnTo>
                    <a:pt x="1352" y="3484"/>
                  </a:lnTo>
                  <a:lnTo>
                    <a:pt x="1320" y="3517"/>
                  </a:lnTo>
                  <a:lnTo>
                    <a:pt x="1304" y="3530"/>
                  </a:lnTo>
                  <a:lnTo>
                    <a:pt x="1287" y="3537"/>
                  </a:lnTo>
                  <a:lnTo>
                    <a:pt x="1268" y="3540"/>
                  </a:lnTo>
                  <a:lnTo>
                    <a:pt x="1248" y="3537"/>
                  </a:lnTo>
                  <a:lnTo>
                    <a:pt x="1230" y="3530"/>
                  </a:lnTo>
                  <a:lnTo>
                    <a:pt x="1214" y="3517"/>
                  </a:lnTo>
                  <a:lnTo>
                    <a:pt x="1184" y="3484"/>
                  </a:lnTo>
                  <a:lnTo>
                    <a:pt x="1147" y="3444"/>
                  </a:lnTo>
                  <a:lnTo>
                    <a:pt x="1108" y="3401"/>
                  </a:lnTo>
                  <a:lnTo>
                    <a:pt x="1064" y="3353"/>
                  </a:lnTo>
                  <a:lnTo>
                    <a:pt x="1018" y="3299"/>
                  </a:lnTo>
                  <a:lnTo>
                    <a:pt x="968" y="3241"/>
                  </a:lnTo>
                  <a:lnTo>
                    <a:pt x="917" y="3178"/>
                  </a:lnTo>
                  <a:lnTo>
                    <a:pt x="864" y="3113"/>
                  </a:lnTo>
                  <a:lnTo>
                    <a:pt x="808" y="3043"/>
                  </a:lnTo>
                  <a:lnTo>
                    <a:pt x="752" y="2969"/>
                  </a:lnTo>
                  <a:lnTo>
                    <a:pt x="695" y="2893"/>
                  </a:lnTo>
                  <a:lnTo>
                    <a:pt x="638" y="2813"/>
                  </a:lnTo>
                  <a:lnTo>
                    <a:pt x="579" y="2729"/>
                  </a:lnTo>
                  <a:lnTo>
                    <a:pt x="519" y="2640"/>
                  </a:lnTo>
                  <a:lnTo>
                    <a:pt x="459" y="2547"/>
                  </a:lnTo>
                  <a:lnTo>
                    <a:pt x="401" y="2449"/>
                  </a:lnTo>
                  <a:lnTo>
                    <a:pt x="343" y="2349"/>
                  </a:lnTo>
                  <a:lnTo>
                    <a:pt x="288" y="2246"/>
                  </a:lnTo>
                  <a:lnTo>
                    <a:pt x="234" y="2141"/>
                  </a:lnTo>
                  <a:lnTo>
                    <a:pt x="186" y="2033"/>
                  </a:lnTo>
                  <a:lnTo>
                    <a:pt x="141" y="1924"/>
                  </a:lnTo>
                  <a:lnTo>
                    <a:pt x="100" y="1815"/>
                  </a:lnTo>
                  <a:lnTo>
                    <a:pt x="67" y="1705"/>
                  </a:lnTo>
                  <a:lnTo>
                    <a:pt x="37" y="1594"/>
                  </a:lnTo>
                  <a:lnTo>
                    <a:pt x="17" y="1485"/>
                  </a:lnTo>
                  <a:lnTo>
                    <a:pt x="4" y="1376"/>
                  </a:lnTo>
                  <a:lnTo>
                    <a:pt x="0" y="1267"/>
                  </a:lnTo>
                  <a:lnTo>
                    <a:pt x="4" y="1158"/>
                  </a:lnTo>
                  <a:lnTo>
                    <a:pt x="19" y="1052"/>
                  </a:lnTo>
                  <a:lnTo>
                    <a:pt x="40" y="948"/>
                  </a:lnTo>
                  <a:lnTo>
                    <a:pt x="71" y="848"/>
                  </a:lnTo>
                  <a:lnTo>
                    <a:pt x="110" y="750"/>
                  </a:lnTo>
                  <a:lnTo>
                    <a:pt x="155" y="657"/>
                  </a:lnTo>
                  <a:lnTo>
                    <a:pt x="209" y="570"/>
                  </a:lnTo>
                  <a:lnTo>
                    <a:pt x="269" y="486"/>
                  </a:lnTo>
                  <a:lnTo>
                    <a:pt x="336" y="409"/>
                  </a:lnTo>
                  <a:lnTo>
                    <a:pt x="408" y="336"/>
                  </a:lnTo>
                  <a:lnTo>
                    <a:pt x="487" y="269"/>
                  </a:lnTo>
                  <a:lnTo>
                    <a:pt x="570" y="209"/>
                  </a:lnTo>
                  <a:lnTo>
                    <a:pt x="659" y="156"/>
                  </a:lnTo>
                  <a:lnTo>
                    <a:pt x="750" y="110"/>
                  </a:lnTo>
                  <a:lnTo>
                    <a:pt x="848" y="71"/>
                  </a:lnTo>
                  <a:lnTo>
                    <a:pt x="948" y="41"/>
                  </a:lnTo>
                  <a:lnTo>
                    <a:pt x="1051" y="17"/>
                  </a:lnTo>
                  <a:lnTo>
                    <a:pt x="1157" y="4"/>
                  </a:lnTo>
                  <a:lnTo>
                    <a:pt x="12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7" name="Group 165"/>
          <p:cNvGrpSpPr>
            <a:grpSpLocks noChangeAspect="1"/>
          </p:cNvGrpSpPr>
          <p:nvPr/>
        </p:nvGrpSpPr>
        <p:grpSpPr bwMode="auto">
          <a:xfrm>
            <a:off x="5434623" y="4277182"/>
            <a:ext cx="530496" cy="414866"/>
            <a:chOff x="-1919" y="3510"/>
            <a:chExt cx="679" cy="531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188" name="Freeform 167"/>
            <p:cNvSpPr>
              <a:spLocks/>
            </p:cNvSpPr>
            <p:nvPr/>
          </p:nvSpPr>
          <p:spPr bwMode="auto">
            <a:xfrm>
              <a:off x="-1803" y="3980"/>
              <a:ext cx="447" cy="61"/>
            </a:xfrm>
            <a:custGeom>
              <a:avLst/>
              <a:gdLst>
                <a:gd name="T0" fmla="*/ 154 w 2237"/>
                <a:gd name="T1" fmla="*/ 0 h 304"/>
                <a:gd name="T2" fmla="*/ 2082 w 2237"/>
                <a:gd name="T3" fmla="*/ 0 h 304"/>
                <a:gd name="T4" fmla="*/ 2113 w 2237"/>
                <a:gd name="T5" fmla="*/ 3 h 304"/>
                <a:gd name="T6" fmla="*/ 2142 w 2237"/>
                <a:gd name="T7" fmla="*/ 12 h 304"/>
                <a:gd name="T8" fmla="*/ 2168 w 2237"/>
                <a:gd name="T9" fmla="*/ 27 h 304"/>
                <a:gd name="T10" fmla="*/ 2191 w 2237"/>
                <a:gd name="T11" fmla="*/ 45 h 304"/>
                <a:gd name="T12" fmla="*/ 2210 w 2237"/>
                <a:gd name="T13" fmla="*/ 68 h 304"/>
                <a:gd name="T14" fmla="*/ 2224 w 2237"/>
                <a:gd name="T15" fmla="*/ 93 h 304"/>
                <a:gd name="T16" fmla="*/ 2234 w 2237"/>
                <a:gd name="T17" fmla="*/ 122 h 304"/>
                <a:gd name="T18" fmla="*/ 2237 w 2237"/>
                <a:gd name="T19" fmla="*/ 153 h 304"/>
                <a:gd name="T20" fmla="*/ 2234 w 2237"/>
                <a:gd name="T21" fmla="*/ 183 h 304"/>
                <a:gd name="T22" fmla="*/ 2224 w 2237"/>
                <a:gd name="T23" fmla="*/ 212 h 304"/>
                <a:gd name="T24" fmla="*/ 2210 w 2237"/>
                <a:gd name="T25" fmla="*/ 237 h 304"/>
                <a:gd name="T26" fmla="*/ 2191 w 2237"/>
                <a:gd name="T27" fmla="*/ 260 h 304"/>
                <a:gd name="T28" fmla="*/ 2168 w 2237"/>
                <a:gd name="T29" fmla="*/ 278 h 304"/>
                <a:gd name="T30" fmla="*/ 2142 w 2237"/>
                <a:gd name="T31" fmla="*/ 293 h 304"/>
                <a:gd name="T32" fmla="*/ 2113 w 2237"/>
                <a:gd name="T33" fmla="*/ 301 h 304"/>
                <a:gd name="T34" fmla="*/ 2082 w 2237"/>
                <a:gd name="T35" fmla="*/ 304 h 304"/>
                <a:gd name="T36" fmla="*/ 154 w 2237"/>
                <a:gd name="T37" fmla="*/ 304 h 304"/>
                <a:gd name="T38" fmla="*/ 123 w 2237"/>
                <a:gd name="T39" fmla="*/ 301 h 304"/>
                <a:gd name="T40" fmla="*/ 93 w 2237"/>
                <a:gd name="T41" fmla="*/ 293 h 304"/>
                <a:gd name="T42" fmla="*/ 68 w 2237"/>
                <a:gd name="T43" fmla="*/ 278 h 304"/>
                <a:gd name="T44" fmla="*/ 45 w 2237"/>
                <a:gd name="T45" fmla="*/ 260 h 304"/>
                <a:gd name="T46" fmla="*/ 26 w 2237"/>
                <a:gd name="T47" fmla="*/ 237 h 304"/>
                <a:gd name="T48" fmla="*/ 11 w 2237"/>
                <a:gd name="T49" fmla="*/ 212 h 304"/>
                <a:gd name="T50" fmla="*/ 3 w 2237"/>
                <a:gd name="T51" fmla="*/ 183 h 304"/>
                <a:gd name="T52" fmla="*/ 0 w 2237"/>
                <a:gd name="T53" fmla="*/ 153 h 304"/>
                <a:gd name="T54" fmla="*/ 3 w 2237"/>
                <a:gd name="T55" fmla="*/ 122 h 304"/>
                <a:gd name="T56" fmla="*/ 11 w 2237"/>
                <a:gd name="T57" fmla="*/ 93 h 304"/>
                <a:gd name="T58" fmla="*/ 26 w 2237"/>
                <a:gd name="T59" fmla="*/ 68 h 304"/>
                <a:gd name="T60" fmla="*/ 45 w 2237"/>
                <a:gd name="T61" fmla="*/ 45 h 304"/>
                <a:gd name="T62" fmla="*/ 68 w 2237"/>
                <a:gd name="T63" fmla="*/ 27 h 304"/>
                <a:gd name="T64" fmla="*/ 93 w 2237"/>
                <a:gd name="T65" fmla="*/ 12 h 304"/>
                <a:gd name="T66" fmla="*/ 123 w 2237"/>
                <a:gd name="T67" fmla="*/ 3 h 304"/>
                <a:gd name="T68" fmla="*/ 154 w 2237"/>
                <a:gd name="T69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37" h="304">
                  <a:moveTo>
                    <a:pt x="154" y="0"/>
                  </a:moveTo>
                  <a:lnTo>
                    <a:pt x="2082" y="0"/>
                  </a:lnTo>
                  <a:lnTo>
                    <a:pt x="2113" y="3"/>
                  </a:lnTo>
                  <a:lnTo>
                    <a:pt x="2142" y="12"/>
                  </a:lnTo>
                  <a:lnTo>
                    <a:pt x="2168" y="27"/>
                  </a:lnTo>
                  <a:lnTo>
                    <a:pt x="2191" y="45"/>
                  </a:lnTo>
                  <a:lnTo>
                    <a:pt x="2210" y="68"/>
                  </a:lnTo>
                  <a:lnTo>
                    <a:pt x="2224" y="93"/>
                  </a:lnTo>
                  <a:lnTo>
                    <a:pt x="2234" y="122"/>
                  </a:lnTo>
                  <a:lnTo>
                    <a:pt x="2237" y="153"/>
                  </a:lnTo>
                  <a:lnTo>
                    <a:pt x="2234" y="183"/>
                  </a:lnTo>
                  <a:lnTo>
                    <a:pt x="2224" y="212"/>
                  </a:lnTo>
                  <a:lnTo>
                    <a:pt x="2210" y="237"/>
                  </a:lnTo>
                  <a:lnTo>
                    <a:pt x="2191" y="260"/>
                  </a:lnTo>
                  <a:lnTo>
                    <a:pt x="2168" y="278"/>
                  </a:lnTo>
                  <a:lnTo>
                    <a:pt x="2142" y="293"/>
                  </a:lnTo>
                  <a:lnTo>
                    <a:pt x="2113" y="301"/>
                  </a:lnTo>
                  <a:lnTo>
                    <a:pt x="2082" y="304"/>
                  </a:lnTo>
                  <a:lnTo>
                    <a:pt x="154" y="304"/>
                  </a:lnTo>
                  <a:lnTo>
                    <a:pt x="123" y="301"/>
                  </a:lnTo>
                  <a:lnTo>
                    <a:pt x="93" y="293"/>
                  </a:lnTo>
                  <a:lnTo>
                    <a:pt x="68" y="278"/>
                  </a:lnTo>
                  <a:lnTo>
                    <a:pt x="45" y="260"/>
                  </a:lnTo>
                  <a:lnTo>
                    <a:pt x="26" y="237"/>
                  </a:lnTo>
                  <a:lnTo>
                    <a:pt x="11" y="212"/>
                  </a:lnTo>
                  <a:lnTo>
                    <a:pt x="3" y="183"/>
                  </a:lnTo>
                  <a:lnTo>
                    <a:pt x="0" y="153"/>
                  </a:lnTo>
                  <a:lnTo>
                    <a:pt x="3" y="122"/>
                  </a:lnTo>
                  <a:lnTo>
                    <a:pt x="11" y="93"/>
                  </a:lnTo>
                  <a:lnTo>
                    <a:pt x="26" y="68"/>
                  </a:lnTo>
                  <a:lnTo>
                    <a:pt x="45" y="45"/>
                  </a:lnTo>
                  <a:lnTo>
                    <a:pt x="68" y="27"/>
                  </a:lnTo>
                  <a:lnTo>
                    <a:pt x="93" y="12"/>
                  </a:lnTo>
                  <a:lnTo>
                    <a:pt x="123" y="3"/>
                  </a:lnTo>
                  <a:lnTo>
                    <a:pt x="1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9" name="Freeform 168"/>
            <p:cNvSpPr>
              <a:spLocks/>
            </p:cNvSpPr>
            <p:nvPr/>
          </p:nvSpPr>
          <p:spPr bwMode="auto">
            <a:xfrm>
              <a:off x="-1811" y="3730"/>
              <a:ext cx="46" cy="121"/>
            </a:xfrm>
            <a:custGeom>
              <a:avLst/>
              <a:gdLst>
                <a:gd name="T0" fmla="*/ 117 w 232"/>
                <a:gd name="T1" fmla="*/ 0 h 607"/>
                <a:gd name="T2" fmla="*/ 143 w 232"/>
                <a:gd name="T3" fmla="*/ 3 h 607"/>
                <a:gd name="T4" fmla="*/ 168 w 232"/>
                <a:gd name="T5" fmla="*/ 12 h 607"/>
                <a:gd name="T6" fmla="*/ 190 w 232"/>
                <a:gd name="T7" fmla="*/ 25 h 607"/>
                <a:gd name="T8" fmla="*/ 207 w 232"/>
                <a:gd name="T9" fmla="*/ 43 h 607"/>
                <a:gd name="T10" fmla="*/ 221 w 232"/>
                <a:gd name="T11" fmla="*/ 64 h 607"/>
                <a:gd name="T12" fmla="*/ 229 w 232"/>
                <a:gd name="T13" fmla="*/ 88 h 607"/>
                <a:gd name="T14" fmla="*/ 232 w 232"/>
                <a:gd name="T15" fmla="*/ 114 h 607"/>
                <a:gd name="T16" fmla="*/ 232 w 232"/>
                <a:gd name="T17" fmla="*/ 494 h 607"/>
                <a:gd name="T18" fmla="*/ 229 w 232"/>
                <a:gd name="T19" fmla="*/ 520 h 607"/>
                <a:gd name="T20" fmla="*/ 221 w 232"/>
                <a:gd name="T21" fmla="*/ 544 h 607"/>
                <a:gd name="T22" fmla="*/ 207 w 232"/>
                <a:gd name="T23" fmla="*/ 565 h 607"/>
                <a:gd name="T24" fmla="*/ 190 w 232"/>
                <a:gd name="T25" fmla="*/ 583 h 607"/>
                <a:gd name="T26" fmla="*/ 168 w 232"/>
                <a:gd name="T27" fmla="*/ 596 h 607"/>
                <a:gd name="T28" fmla="*/ 143 w 232"/>
                <a:gd name="T29" fmla="*/ 605 h 607"/>
                <a:gd name="T30" fmla="*/ 117 w 232"/>
                <a:gd name="T31" fmla="*/ 607 h 607"/>
                <a:gd name="T32" fmla="*/ 90 w 232"/>
                <a:gd name="T33" fmla="*/ 605 h 607"/>
                <a:gd name="T34" fmla="*/ 66 w 232"/>
                <a:gd name="T35" fmla="*/ 596 h 607"/>
                <a:gd name="T36" fmla="*/ 44 w 232"/>
                <a:gd name="T37" fmla="*/ 583 h 607"/>
                <a:gd name="T38" fmla="*/ 26 w 232"/>
                <a:gd name="T39" fmla="*/ 565 h 607"/>
                <a:gd name="T40" fmla="*/ 13 w 232"/>
                <a:gd name="T41" fmla="*/ 544 h 607"/>
                <a:gd name="T42" fmla="*/ 4 w 232"/>
                <a:gd name="T43" fmla="*/ 520 h 607"/>
                <a:gd name="T44" fmla="*/ 0 w 232"/>
                <a:gd name="T45" fmla="*/ 494 h 607"/>
                <a:gd name="T46" fmla="*/ 0 w 232"/>
                <a:gd name="T47" fmla="*/ 114 h 607"/>
                <a:gd name="T48" fmla="*/ 4 w 232"/>
                <a:gd name="T49" fmla="*/ 88 h 607"/>
                <a:gd name="T50" fmla="*/ 13 w 232"/>
                <a:gd name="T51" fmla="*/ 64 h 607"/>
                <a:gd name="T52" fmla="*/ 26 w 232"/>
                <a:gd name="T53" fmla="*/ 43 h 607"/>
                <a:gd name="T54" fmla="*/ 44 w 232"/>
                <a:gd name="T55" fmla="*/ 25 h 607"/>
                <a:gd name="T56" fmla="*/ 66 w 232"/>
                <a:gd name="T57" fmla="*/ 12 h 607"/>
                <a:gd name="T58" fmla="*/ 90 w 232"/>
                <a:gd name="T59" fmla="*/ 3 h 607"/>
                <a:gd name="T60" fmla="*/ 117 w 232"/>
                <a:gd name="T61" fmla="*/ 0 h 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2" h="607">
                  <a:moveTo>
                    <a:pt x="117" y="0"/>
                  </a:moveTo>
                  <a:lnTo>
                    <a:pt x="143" y="3"/>
                  </a:lnTo>
                  <a:lnTo>
                    <a:pt x="168" y="12"/>
                  </a:lnTo>
                  <a:lnTo>
                    <a:pt x="190" y="25"/>
                  </a:lnTo>
                  <a:lnTo>
                    <a:pt x="207" y="43"/>
                  </a:lnTo>
                  <a:lnTo>
                    <a:pt x="221" y="64"/>
                  </a:lnTo>
                  <a:lnTo>
                    <a:pt x="229" y="88"/>
                  </a:lnTo>
                  <a:lnTo>
                    <a:pt x="232" y="114"/>
                  </a:lnTo>
                  <a:lnTo>
                    <a:pt x="232" y="494"/>
                  </a:lnTo>
                  <a:lnTo>
                    <a:pt x="229" y="520"/>
                  </a:lnTo>
                  <a:lnTo>
                    <a:pt x="221" y="544"/>
                  </a:lnTo>
                  <a:lnTo>
                    <a:pt x="207" y="565"/>
                  </a:lnTo>
                  <a:lnTo>
                    <a:pt x="190" y="583"/>
                  </a:lnTo>
                  <a:lnTo>
                    <a:pt x="168" y="596"/>
                  </a:lnTo>
                  <a:lnTo>
                    <a:pt x="143" y="605"/>
                  </a:lnTo>
                  <a:lnTo>
                    <a:pt x="117" y="607"/>
                  </a:lnTo>
                  <a:lnTo>
                    <a:pt x="90" y="605"/>
                  </a:lnTo>
                  <a:lnTo>
                    <a:pt x="66" y="596"/>
                  </a:lnTo>
                  <a:lnTo>
                    <a:pt x="44" y="583"/>
                  </a:lnTo>
                  <a:lnTo>
                    <a:pt x="26" y="565"/>
                  </a:lnTo>
                  <a:lnTo>
                    <a:pt x="13" y="544"/>
                  </a:lnTo>
                  <a:lnTo>
                    <a:pt x="4" y="520"/>
                  </a:lnTo>
                  <a:lnTo>
                    <a:pt x="0" y="494"/>
                  </a:lnTo>
                  <a:lnTo>
                    <a:pt x="0" y="114"/>
                  </a:lnTo>
                  <a:lnTo>
                    <a:pt x="4" y="88"/>
                  </a:lnTo>
                  <a:lnTo>
                    <a:pt x="13" y="64"/>
                  </a:lnTo>
                  <a:lnTo>
                    <a:pt x="26" y="43"/>
                  </a:lnTo>
                  <a:lnTo>
                    <a:pt x="44" y="25"/>
                  </a:lnTo>
                  <a:lnTo>
                    <a:pt x="66" y="12"/>
                  </a:lnTo>
                  <a:lnTo>
                    <a:pt x="90" y="3"/>
                  </a:lnTo>
                  <a:lnTo>
                    <a:pt x="1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0" name="Freeform 169"/>
            <p:cNvSpPr>
              <a:spLocks/>
            </p:cNvSpPr>
            <p:nvPr/>
          </p:nvSpPr>
          <p:spPr bwMode="auto">
            <a:xfrm>
              <a:off x="-1734" y="3699"/>
              <a:ext cx="46" cy="152"/>
            </a:xfrm>
            <a:custGeom>
              <a:avLst/>
              <a:gdLst>
                <a:gd name="T0" fmla="*/ 116 w 232"/>
                <a:gd name="T1" fmla="*/ 0 h 759"/>
                <a:gd name="T2" fmla="*/ 142 w 232"/>
                <a:gd name="T3" fmla="*/ 3 h 759"/>
                <a:gd name="T4" fmla="*/ 167 w 232"/>
                <a:gd name="T5" fmla="*/ 12 h 759"/>
                <a:gd name="T6" fmla="*/ 188 w 232"/>
                <a:gd name="T7" fmla="*/ 25 h 759"/>
                <a:gd name="T8" fmla="*/ 207 w 232"/>
                <a:gd name="T9" fmla="*/ 43 h 759"/>
                <a:gd name="T10" fmla="*/ 220 w 232"/>
                <a:gd name="T11" fmla="*/ 64 h 759"/>
                <a:gd name="T12" fmla="*/ 229 w 232"/>
                <a:gd name="T13" fmla="*/ 88 h 759"/>
                <a:gd name="T14" fmla="*/ 232 w 232"/>
                <a:gd name="T15" fmla="*/ 115 h 759"/>
                <a:gd name="T16" fmla="*/ 232 w 232"/>
                <a:gd name="T17" fmla="*/ 646 h 759"/>
                <a:gd name="T18" fmla="*/ 229 w 232"/>
                <a:gd name="T19" fmla="*/ 672 h 759"/>
                <a:gd name="T20" fmla="*/ 220 w 232"/>
                <a:gd name="T21" fmla="*/ 696 h 759"/>
                <a:gd name="T22" fmla="*/ 207 w 232"/>
                <a:gd name="T23" fmla="*/ 717 h 759"/>
                <a:gd name="T24" fmla="*/ 188 w 232"/>
                <a:gd name="T25" fmla="*/ 735 h 759"/>
                <a:gd name="T26" fmla="*/ 167 w 232"/>
                <a:gd name="T27" fmla="*/ 748 h 759"/>
                <a:gd name="T28" fmla="*/ 142 w 232"/>
                <a:gd name="T29" fmla="*/ 757 h 759"/>
                <a:gd name="T30" fmla="*/ 116 w 232"/>
                <a:gd name="T31" fmla="*/ 759 h 759"/>
                <a:gd name="T32" fmla="*/ 89 w 232"/>
                <a:gd name="T33" fmla="*/ 757 h 759"/>
                <a:gd name="T34" fmla="*/ 66 w 232"/>
                <a:gd name="T35" fmla="*/ 748 h 759"/>
                <a:gd name="T36" fmla="*/ 44 w 232"/>
                <a:gd name="T37" fmla="*/ 735 h 759"/>
                <a:gd name="T38" fmla="*/ 26 w 232"/>
                <a:gd name="T39" fmla="*/ 717 h 759"/>
                <a:gd name="T40" fmla="*/ 13 w 232"/>
                <a:gd name="T41" fmla="*/ 696 h 759"/>
                <a:gd name="T42" fmla="*/ 3 w 232"/>
                <a:gd name="T43" fmla="*/ 672 h 759"/>
                <a:gd name="T44" fmla="*/ 0 w 232"/>
                <a:gd name="T45" fmla="*/ 646 h 759"/>
                <a:gd name="T46" fmla="*/ 0 w 232"/>
                <a:gd name="T47" fmla="*/ 115 h 759"/>
                <a:gd name="T48" fmla="*/ 3 w 232"/>
                <a:gd name="T49" fmla="*/ 88 h 759"/>
                <a:gd name="T50" fmla="*/ 13 w 232"/>
                <a:gd name="T51" fmla="*/ 64 h 759"/>
                <a:gd name="T52" fmla="*/ 26 w 232"/>
                <a:gd name="T53" fmla="*/ 43 h 759"/>
                <a:gd name="T54" fmla="*/ 44 w 232"/>
                <a:gd name="T55" fmla="*/ 25 h 759"/>
                <a:gd name="T56" fmla="*/ 66 w 232"/>
                <a:gd name="T57" fmla="*/ 12 h 759"/>
                <a:gd name="T58" fmla="*/ 89 w 232"/>
                <a:gd name="T59" fmla="*/ 3 h 759"/>
                <a:gd name="T60" fmla="*/ 116 w 232"/>
                <a:gd name="T61" fmla="*/ 0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2" h="759">
                  <a:moveTo>
                    <a:pt x="116" y="0"/>
                  </a:moveTo>
                  <a:lnTo>
                    <a:pt x="142" y="3"/>
                  </a:lnTo>
                  <a:lnTo>
                    <a:pt x="167" y="12"/>
                  </a:lnTo>
                  <a:lnTo>
                    <a:pt x="188" y="25"/>
                  </a:lnTo>
                  <a:lnTo>
                    <a:pt x="207" y="43"/>
                  </a:lnTo>
                  <a:lnTo>
                    <a:pt x="220" y="64"/>
                  </a:lnTo>
                  <a:lnTo>
                    <a:pt x="229" y="88"/>
                  </a:lnTo>
                  <a:lnTo>
                    <a:pt x="232" y="115"/>
                  </a:lnTo>
                  <a:lnTo>
                    <a:pt x="232" y="646"/>
                  </a:lnTo>
                  <a:lnTo>
                    <a:pt x="229" y="672"/>
                  </a:lnTo>
                  <a:lnTo>
                    <a:pt x="220" y="696"/>
                  </a:lnTo>
                  <a:lnTo>
                    <a:pt x="207" y="717"/>
                  </a:lnTo>
                  <a:lnTo>
                    <a:pt x="188" y="735"/>
                  </a:lnTo>
                  <a:lnTo>
                    <a:pt x="167" y="748"/>
                  </a:lnTo>
                  <a:lnTo>
                    <a:pt x="142" y="757"/>
                  </a:lnTo>
                  <a:lnTo>
                    <a:pt x="116" y="759"/>
                  </a:lnTo>
                  <a:lnTo>
                    <a:pt x="89" y="757"/>
                  </a:lnTo>
                  <a:lnTo>
                    <a:pt x="66" y="748"/>
                  </a:lnTo>
                  <a:lnTo>
                    <a:pt x="44" y="735"/>
                  </a:lnTo>
                  <a:lnTo>
                    <a:pt x="26" y="717"/>
                  </a:lnTo>
                  <a:lnTo>
                    <a:pt x="13" y="696"/>
                  </a:lnTo>
                  <a:lnTo>
                    <a:pt x="3" y="672"/>
                  </a:lnTo>
                  <a:lnTo>
                    <a:pt x="0" y="646"/>
                  </a:lnTo>
                  <a:lnTo>
                    <a:pt x="0" y="115"/>
                  </a:lnTo>
                  <a:lnTo>
                    <a:pt x="3" y="88"/>
                  </a:lnTo>
                  <a:lnTo>
                    <a:pt x="13" y="64"/>
                  </a:lnTo>
                  <a:lnTo>
                    <a:pt x="26" y="43"/>
                  </a:lnTo>
                  <a:lnTo>
                    <a:pt x="44" y="25"/>
                  </a:lnTo>
                  <a:lnTo>
                    <a:pt x="66" y="12"/>
                  </a:lnTo>
                  <a:lnTo>
                    <a:pt x="89" y="3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1" name="Freeform 170"/>
            <p:cNvSpPr>
              <a:spLocks/>
            </p:cNvSpPr>
            <p:nvPr/>
          </p:nvSpPr>
          <p:spPr bwMode="auto">
            <a:xfrm>
              <a:off x="-1657" y="3669"/>
              <a:ext cx="46" cy="182"/>
            </a:xfrm>
            <a:custGeom>
              <a:avLst/>
              <a:gdLst>
                <a:gd name="T0" fmla="*/ 115 w 230"/>
                <a:gd name="T1" fmla="*/ 0 h 911"/>
                <a:gd name="T2" fmla="*/ 141 w 230"/>
                <a:gd name="T3" fmla="*/ 3 h 911"/>
                <a:gd name="T4" fmla="*/ 166 w 230"/>
                <a:gd name="T5" fmla="*/ 12 h 911"/>
                <a:gd name="T6" fmla="*/ 187 w 230"/>
                <a:gd name="T7" fmla="*/ 25 h 911"/>
                <a:gd name="T8" fmla="*/ 206 w 230"/>
                <a:gd name="T9" fmla="*/ 43 h 911"/>
                <a:gd name="T10" fmla="*/ 219 w 230"/>
                <a:gd name="T11" fmla="*/ 64 h 911"/>
                <a:gd name="T12" fmla="*/ 227 w 230"/>
                <a:gd name="T13" fmla="*/ 88 h 911"/>
                <a:gd name="T14" fmla="*/ 230 w 230"/>
                <a:gd name="T15" fmla="*/ 114 h 911"/>
                <a:gd name="T16" fmla="*/ 230 w 230"/>
                <a:gd name="T17" fmla="*/ 798 h 911"/>
                <a:gd name="T18" fmla="*/ 227 w 230"/>
                <a:gd name="T19" fmla="*/ 824 h 911"/>
                <a:gd name="T20" fmla="*/ 219 w 230"/>
                <a:gd name="T21" fmla="*/ 848 h 911"/>
                <a:gd name="T22" fmla="*/ 206 w 230"/>
                <a:gd name="T23" fmla="*/ 869 h 911"/>
                <a:gd name="T24" fmla="*/ 187 w 230"/>
                <a:gd name="T25" fmla="*/ 887 h 911"/>
                <a:gd name="T26" fmla="*/ 166 w 230"/>
                <a:gd name="T27" fmla="*/ 900 h 911"/>
                <a:gd name="T28" fmla="*/ 141 w 230"/>
                <a:gd name="T29" fmla="*/ 909 h 911"/>
                <a:gd name="T30" fmla="*/ 115 w 230"/>
                <a:gd name="T31" fmla="*/ 911 h 911"/>
                <a:gd name="T32" fmla="*/ 88 w 230"/>
                <a:gd name="T33" fmla="*/ 909 h 911"/>
                <a:gd name="T34" fmla="*/ 64 w 230"/>
                <a:gd name="T35" fmla="*/ 900 h 911"/>
                <a:gd name="T36" fmla="*/ 42 w 230"/>
                <a:gd name="T37" fmla="*/ 887 h 911"/>
                <a:gd name="T38" fmla="*/ 25 w 230"/>
                <a:gd name="T39" fmla="*/ 869 h 911"/>
                <a:gd name="T40" fmla="*/ 11 w 230"/>
                <a:gd name="T41" fmla="*/ 848 h 911"/>
                <a:gd name="T42" fmla="*/ 3 w 230"/>
                <a:gd name="T43" fmla="*/ 824 h 911"/>
                <a:gd name="T44" fmla="*/ 0 w 230"/>
                <a:gd name="T45" fmla="*/ 798 h 911"/>
                <a:gd name="T46" fmla="*/ 0 w 230"/>
                <a:gd name="T47" fmla="*/ 114 h 911"/>
                <a:gd name="T48" fmla="*/ 3 w 230"/>
                <a:gd name="T49" fmla="*/ 88 h 911"/>
                <a:gd name="T50" fmla="*/ 11 w 230"/>
                <a:gd name="T51" fmla="*/ 64 h 911"/>
                <a:gd name="T52" fmla="*/ 25 w 230"/>
                <a:gd name="T53" fmla="*/ 43 h 911"/>
                <a:gd name="T54" fmla="*/ 42 w 230"/>
                <a:gd name="T55" fmla="*/ 25 h 911"/>
                <a:gd name="T56" fmla="*/ 64 w 230"/>
                <a:gd name="T57" fmla="*/ 12 h 911"/>
                <a:gd name="T58" fmla="*/ 88 w 230"/>
                <a:gd name="T59" fmla="*/ 3 h 911"/>
                <a:gd name="T60" fmla="*/ 115 w 230"/>
                <a:gd name="T61" fmla="*/ 0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0" h="911">
                  <a:moveTo>
                    <a:pt x="115" y="0"/>
                  </a:moveTo>
                  <a:lnTo>
                    <a:pt x="141" y="3"/>
                  </a:lnTo>
                  <a:lnTo>
                    <a:pt x="166" y="12"/>
                  </a:lnTo>
                  <a:lnTo>
                    <a:pt x="187" y="25"/>
                  </a:lnTo>
                  <a:lnTo>
                    <a:pt x="206" y="43"/>
                  </a:lnTo>
                  <a:lnTo>
                    <a:pt x="219" y="64"/>
                  </a:lnTo>
                  <a:lnTo>
                    <a:pt x="227" y="88"/>
                  </a:lnTo>
                  <a:lnTo>
                    <a:pt x="230" y="114"/>
                  </a:lnTo>
                  <a:lnTo>
                    <a:pt x="230" y="798"/>
                  </a:lnTo>
                  <a:lnTo>
                    <a:pt x="227" y="824"/>
                  </a:lnTo>
                  <a:lnTo>
                    <a:pt x="219" y="848"/>
                  </a:lnTo>
                  <a:lnTo>
                    <a:pt x="206" y="869"/>
                  </a:lnTo>
                  <a:lnTo>
                    <a:pt x="187" y="887"/>
                  </a:lnTo>
                  <a:lnTo>
                    <a:pt x="166" y="900"/>
                  </a:lnTo>
                  <a:lnTo>
                    <a:pt x="141" y="909"/>
                  </a:lnTo>
                  <a:lnTo>
                    <a:pt x="115" y="911"/>
                  </a:lnTo>
                  <a:lnTo>
                    <a:pt x="88" y="909"/>
                  </a:lnTo>
                  <a:lnTo>
                    <a:pt x="64" y="900"/>
                  </a:lnTo>
                  <a:lnTo>
                    <a:pt x="42" y="887"/>
                  </a:lnTo>
                  <a:lnTo>
                    <a:pt x="25" y="869"/>
                  </a:lnTo>
                  <a:lnTo>
                    <a:pt x="11" y="848"/>
                  </a:lnTo>
                  <a:lnTo>
                    <a:pt x="3" y="824"/>
                  </a:lnTo>
                  <a:lnTo>
                    <a:pt x="0" y="798"/>
                  </a:lnTo>
                  <a:lnTo>
                    <a:pt x="0" y="114"/>
                  </a:lnTo>
                  <a:lnTo>
                    <a:pt x="3" y="88"/>
                  </a:lnTo>
                  <a:lnTo>
                    <a:pt x="11" y="64"/>
                  </a:lnTo>
                  <a:lnTo>
                    <a:pt x="25" y="43"/>
                  </a:lnTo>
                  <a:lnTo>
                    <a:pt x="42" y="25"/>
                  </a:lnTo>
                  <a:lnTo>
                    <a:pt x="64" y="12"/>
                  </a:lnTo>
                  <a:lnTo>
                    <a:pt x="88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2" name="Freeform 171"/>
            <p:cNvSpPr>
              <a:spLocks/>
            </p:cNvSpPr>
            <p:nvPr/>
          </p:nvSpPr>
          <p:spPr bwMode="auto">
            <a:xfrm>
              <a:off x="-1919" y="3510"/>
              <a:ext cx="679" cy="440"/>
            </a:xfrm>
            <a:custGeom>
              <a:avLst/>
              <a:gdLst>
                <a:gd name="T0" fmla="*/ 3240 w 3394"/>
                <a:gd name="T1" fmla="*/ 0 h 2203"/>
                <a:gd name="T2" fmla="*/ 3300 w 3394"/>
                <a:gd name="T3" fmla="*/ 11 h 2203"/>
                <a:gd name="T4" fmla="*/ 3349 w 3394"/>
                <a:gd name="T5" fmla="*/ 44 h 2203"/>
                <a:gd name="T6" fmla="*/ 3382 w 3394"/>
                <a:gd name="T7" fmla="*/ 92 h 2203"/>
                <a:gd name="T8" fmla="*/ 3394 w 3394"/>
                <a:gd name="T9" fmla="*/ 152 h 2203"/>
                <a:gd name="T10" fmla="*/ 3187 w 3394"/>
                <a:gd name="T11" fmla="*/ 1669 h 2203"/>
                <a:gd name="T12" fmla="*/ 3245 w 3394"/>
                <a:gd name="T13" fmla="*/ 1543 h 2203"/>
                <a:gd name="T14" fmla="*/ 3281 w 3394"/>
                <a:gd name="T15" fmla="*/ 1409 h 2203"/>
                <a:gd name="T16" fmla="*/ 3294 w 3394"/>
                <a:gd name="T17" fmla="*/ 1271 h 2203"/>
                <a:gd name="T18" fmla="*/ 3282 w 3394"/>
                <a:gd name="T19" fmla="*/ 1139 h 2203"/>
                <a:gd name="T20" fmla="*/ 3251 w 3394"/>
                <a:gd name="T21" fmla="*/ 1012 h 2203"/>
                <a:gd name="T22" fmla="*/ 3199 w 3394"/>
                <a:gd name="T23" fmla="*/ 894 h 2203"/>
                <a:gd name="T24" fmla="*/ 3128 w 3394"/>
                <a:gd name="T25" fmla="*/ 783 h 2203"/>
                <a:gd name="T26" fmla="*/ 3085 w 3394"/>
                <a:gd name="T27" fmla="*/ 304 h 2203"/>
                <a:gd name="T28" fmla="*/ 309 w 3394"/>
                <a:gd name="T29" fmla="*/ 1899 h 2203"/>
                <a:gd name="T30" fmla="*/ 1989 w 3394"/>
                <a:gd name="T31" fmla="*/ 1937 h 2203"/>
                <a:gd name="T32" fmla="*/ 2097 w 3394"/>
                <a:gd name="T33" fmla="*/ 2001 h 2203"/>
                <a:gd name="T34" fmla="*/ 2214 w 3394"/>
                <a:gd name="T35" fmla="*/ 2048 h 2203"/>
                <a:gd name="T36" fmla="*/ 2338 w 3394"/>
                <a:gd name="T37" fmla="*/ 2077 h 2203"/>
                <a:gd name="T38" fmla="*/ 2465 w 3394"/>
                <a:gd name="T39" fmla="*/ 2086 h 2203"/>
                <a:gd name="T40" fmla="*/ 2607 w 3394"/>
                <a:gd name="T41" fmla="*/ 2074 h 2203"/>
                <a:gd name="T42" fmla="*/ 2743 w 3394"/>
                <a:gd name="T43" fmla="*/ 2039 h 2203"/>
                <a:gd name="T44" fmla="*/ 2871 w 3394"/>
                <a:gd name="T45" fmla="*/ 1980 h 2203"/>
                <a:gd name="T46" fmla="*/ 3089 w 3394"/>
                <a:gd name="T47" fmla="*/ 2195 h 2203"/>
                <a:gd name="T48" fmla="*/ 3098 w 3394"/>
                <a:gd name="T49" fmla="*/ 2203 h 2203"/>
                <a:gd name="T50" fmla="*/ 124 w 3394"/>
                <a:gd name="T51" fmla="*/ 2199 h 2203"/>
                <a:gd name="T52" fmla="*/ 69 w 3394"/>
                <a:gd name="T53" fmla="*/ 2177 h 2203"/>
                <a:gd name="T54" fmla="*/ 26 w 3394"/>
                <a:gd name="T55" fmla="*/ 2135 h 2203"/>
                <a:gd name="T56" fmla="*/ 3 w 3394"/>
                <a:gd name="T57" fmla="*/ 2081 h 2203"/>
                <a:gd name="T58" fmla="*/ 0 w 3394"/>
                <a:gd name="T59" fmla="*/ 152 h 2203"/>
                <a:gd name="T60" fmla="*/ 12 w 3394"/>
                <a:gd name="T61" fmla="*/ 93 h 2203"/>
                <a:gd name="T62" fmla="*/ 46 w 3394"/>
                <a:gd name="T63" fmla="*/ 44 h 2203"/>
                <a:gd name="T64" fmla="*/ 95 w 3394"/>
                <a:gd name="T65" fmla="*/ 11 h 2203"/>
                <a:gd name="T66" fmla="*/ 155 w 3394"/>
                <a:gd name="T67" fmla="*/ 0 h 2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94" h="2203">
                  <a:moveTo>
                    <a:pt x="155" y="0"/>
                  </a:moveTo>
                  <a:lnTo>
                    <a:pt x="3240" y="0"/>
                  </a:lnTo>
                  <a:lnTo>
                    <a:pt x="3271" y="3"/>
                  </a:lnTo>
                  <a:lnTo>
                    <a:pt x="3300" y="11"/>
                  </a:lnTo>
                  <a:lnTo>
                    <a:pt x="3326" y="26"/>
                  </a:lnTo>
                  <a:lnTo>
                    <a:pt x="3349" y="44"/>
                  </a:lnTo>
                  <a:lnTo>
                    <a:pt x="3368" y="67"/>
                  </a:lnTo>
                  <a:lnTo>
                    <a:pt x="3382" y="92"/>
                  </a:lnTo>
                  <a:lnTo>
                    <a:pt x="3391" y="121"/>
                  </a:lnTo>
                  <a:lnTo>
                    <a:pt x="3394" y="152"/>
                  </a:lnTo>
                  <a:lnTo>
                    <a:pt x="3394" y="1874"/>
                  </a:lnTo>
                  <a:lnTo>
                    <a:pt x="3187" y="1669"/>
                  </a:lnTo>
                  <a:lnTo>
                    <a:pt x="3219" y="1608"/>
                  </a:lnTo>
                  <a:lnTo>
                    <a:pt x="3245" y="1543"/>
                  </a:lnTo>
                  <a:lnTo>
                    <a:pt x="3266" y="1478"/>
                  </a:lnTo>
                  <a:lnTo>
                    <a:pt x="3281" y="1409"/>
                  </a:lnTo>
                  <a:lnTo>
                    <a:pt x="3291" y="1341"/>
                  </a:lnTo>
                  <a:lnTo>
                    <a:pt x="3294" y="1271"/>
                  </a:lnTo>
                  <a:lnTo>
                    <a:pt x="3291" y="1205"/>
                  </a:lnTo>
                  <a:lnTo>
                    <a:pt x="3282" y="1139"/>
                  </a:lnTo>
                  <a:lnTo>
                    <a:pt x="3269" y="1075"/>
                  </a:lnTo>
                  <a:lnTo>
                    <a:pt x="3251" y="1012"/>
                  </a:lnTo>
                  <a:lnTo>
                    <a:pt x="3227" y="952"/>
                  </a:lnTo>
                  <a:lnTo>
                    <a:pt x="3199" y="894"/>
                  </a:lnTo>
                  <a:lnTo>
                    <a:pt x="3166" y="836"/>
                  </a:lnTo>
                  <a:lnTo>
                    <a:pt x="3128" y="783"/>
                  </a:lnTo>
                  <a:lnTo>
                    <a:pt x="3085" y="732"/>
                  </a:lnTo>
                  <a:lnTo>
                    <a:pt x="3085" y="304"/>
                  </a:lnTo>
                  <a:lnTo>
                    <a:pt x="309" y="304"/>
                  </a:lnTo>
                  <a:lnTo>
                    <a:pt x="309" y="1899"/>
                  </a:lnTo>
                  <a:lnTo>
                    <a:pt x="1938" y="1899"/>
                  </a:lnTo>
                  <a:lnTo>
                    <a:pt x="1989" y="1937"/>
                  </a:lnTo>
                  <a:lnTo>
                    <a:pt x="2042" y="1971"/>
                  </a:lnTo>
                  <a:lnTo>
                    <a:pt x="2097" y="2001"/>
                  </a:lnTo>
                  <a:lnTo>
                    <a:pt x="2155" y="2027"/>
                  </a:lnTo>
                  <a:lnTo>
                    <a:pt x="2214" y="2048"/>
                  </a:lnTo>
                  <a:lnTo>
                    <a:pt x="2275" y="2064"/>
                  </a:lnTo>
                  <a:lnTo>
                    <a:pt x="2338" y="2077"/>
                  </a:lnTo>
                  <a:lnTo>
                    <a:pt x="2401" y="2084"/>
                  </a:lnTo>
                  <a:lnTo>
                    <a:pt x="2465" y="2086"/>
                  </a:lnTo>
                  <a:lnTo>
                    <a:pt x="2537" y="2083"/>
                  </a:lnTo>
                  <a:lnTo>
                    <a:pt x="2607" y="2074"/>
                  </a:lnTo>
                  <a:lnTo>
                    <a:pt x="2675" y="2059"/>
                  </a:lnTo>
                  <a:lnTo>
                    <a:pt x="2743" y="2039"/>
                  </a:lnTo>
                  <a:lnTo>
                    <a:pt x="2808" y="2012"/>
                  </a:lnTo>
                  <a:lnTo>
                    <a:pt x="2871" y="1980"/>
                  </a:lnTo>
                  <a:lnTo>
                    <a:pt x="3085" y="2191"/>
                  </a:lnTo>
                  <a:lnTo>
                    <a:pt x="3089" y="2195"/>
                  </a:lnTo>
                  <a:lnTo>
                    <a:pt x="3094" y="2198"/>
                  </a:lnTo>
                  <a:lnTo>
                    <a:pt x="3098" y="2203"/>
                  </a:lnTo>
                  <a:lnTo>
                    <a:pt x="155" y="2203"/>
                  </a:lnTo>
                  <a:lnTo>
                    <a:pt x="124" y="2199"/>
                  </a:lnTo>
                  <a:lnTo>
                    <a:pt x="95" y="2190"/>
                  </a:lnTo>
                  <a:lnTo>
                    <a:pt x="69" y="2177"/>
                  </a:lnTo>
                  <a:lnTo>
                    <a:pt x="46" y="2158"/>
                  </a:lnTo>
                  <a:lnTo>
                    <a:pt x="26" y="2135"/>
                  </a:lnTo>
                  <a:lnTo>
                    <a:pt x="12" y="2109"/>
                  </a:lnTo>
                  <a:lnTo>
                    <a:pt x="3" y="2081"/>
                  </a:lnTo>
                  <a:lnTo>
                    <a:pt x="0" y="2051"/>
                  </a:lnTo>
                  <a:lnTo>
                    <a:pt x="0" y="152"/>
                  </a:lnTo>
                  <a:lnTo>
                    <a:pt x="3" y="121"/>
                  </a:lnTo>
                  <a:lnTo>
                    <a:pt x="12" y="93"/>
                  </a:lnTo>
                  <a:lnTo>
                    <a:pt x="26" y="67"/>
                  </a:lnTo>
                  <a:lnTo>
                    <a:pt x="46" y="44"/>
                  </a:lnTo>
                  <a:lnTo>
                    <a:pt x="69" y="26"/>
                  </a:lnTo>
                  <a:lnTo>
                    <a:pt x="95" y="11"/>
                  </a:lnTo>
                  <a:lnTo>
                    <a:pt x="124" y="3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3" name="Freeform 172"/>
            <p:cNvSpPr>
              <a:spLocks noEditPoints="1"/>
            </p:cNvSpPr>
            <p:nvPr/>
          </p:nvSpPr>
          <p:spPr bwMode="auto">
            <a:xfrm>
              <a:off x="-1561" y="3631"/>
              <a:ext cx="304" cy="299"/>
            </a:xfrm>
            <a:custGeom>
              <a:avLst/>
              <a:gdLst>
                <a:gd name="T0" fmla="*/ 568 w 1520"/>
                <a:gd name="T1" fmla="*/ 146 h 1495"/>
                <a:gd name="T2" fmla="*/ 422 w 1520"/>
                <a:gd name="T3" fmla="*/ 198 h 1495"/>
                <a:gd name="T4" fmla="*/ 295 w 1520"/>
                <a:gd name="T5" fmla="*/ 291 h 1495"/>
                <a:gd name="T6" fmla="*/ 202 w 1520"/>
                <a:gd name="T7" fmla="*/ 415 h 1495"/>
                <a:gd name="T8" fmla="*/ 149 w 1520"/>
                <a:gd name="T9" fmla="*/ 560 h 1495"/>
                <a:gd name="T10" fmla="*/ 141 w 1520"/>
                <a:gd name="T11" fmla="*/ 715 h 1495"/>
                <a:gd name="T12" fmla="*/ 179 w 1520"/>
                <a:gd name="T13" fmla="*/ 865 h 1495"/>
                <a:gd name="T14" fmla="*/ 260 w 1520"/>
                <a:gd name="T15" fmla="*/ 997 h 1495"/>
                <a:gd name="T16" fmla="*/ 377 w 1520"/>
                <a:gd name="T17" fmla="*/ 1101 h 1495"/>
                <a:gd name="T18" fmla="*/ 518 w 1520"/>
                <a:gd name="T19" fmla="*/ 1168 h 1495"/>
                <a:gd name="T20" fmla="*/ 673 w 1520"/>
                <a:gd name="T21" fmla="*/ 1190 h 1495"/>
                <a:gd name="T22" fmla="*/ 829 w 1520"/>
                <a:gd name="T23" fmla="*/ 1168 h 1495"/>
                <a:gd name="T24" fmla="*/ 971 w 1520"/>
                <a:gd name="T25" fmla="*/ 1101 h 1495"/>
                <a:gd name="T26" fmla="*/ 1088 w 1520"/>
                <a:gd name="T27" fmla="*/ 997 h 1495"/>
                <a:gd name="T28" fmla="*/ 1168 w 1520"/>
                <a:gd name="T29" fmla="*/ 865 h 1495"/>
                <a:gd name="T30" fmla="*/ 1207 w 1520"/>
                <a:gd name="T31" fmla="*/ 715 h 1495"/>
                <a:gd name="T32" fmla="*/ 1198 w 1520"/>
                <a:gd name="T33" fmla="*/ 560 h 1495"/>
                <a:gd name="T34" fmla="*/ 1146 w 1520"/>
                <a:gd name="T35" fmla="*/ 415 h 1495"/>
                <a:gd name="T36" fmla="*/ 1053 w 1520"/>
                <a:gd name="T37" fmla="*/ 291 h 1495"/>
                <a:gd name="T38" fmla="*/ 926 w 1520"/>
                <a:gd name="T39" fmla="*/ 198 h 1495"/>
                <a:gd name="T40" fmla="*/ 779 w 1520"/>
                <a:gd name="T41" fmla="*/ 146 h 1495"/>
                <a:gd name="T42" fmla="*/ 673 w 1520"/>
                <a:gd name="T43" fmla="*/ 0 h 1495"/>
                <a:gd name="T44" fmla="*/ 849 w 1520"/>
                <a:gd name="T45" fmla="*/ 23 h 1495"/>
                <a:gd name="T46" fmla="*/ 1010 w 1520"/>
                <a:gd name="T47" fmla="*/ 88 h 1495"/>
                <a:gd name="T48" fmla="*/ 1151 w 1520"/>
                <a:gd name="T49" fmla="*/ 195 h 1495"/>
                <a:gd name="T50" fmla="*/ 1258 w 1520"/>
                <a:gd name="T51" fmla="*/ 332 h 1495"/>
                <a:gd name="T52" fmla="*/ 1324 w 1520"/>
                <a:gd name="T53" fmla="*/ 490 h 1495"/>
                <a:gd name="T54" fmla="*/ 1347 w 1520"/>
                <a:gd name="T55" fmla="*/ 663 h 1495"/>
                <a:gd name="T56" fmla="*/ 1322 w 1520"/>
                <a:gd name="T57" fmla="*/ 841 h 1495"/>
                <a:gd name="T58" fmla="*/ 1251 w 1520"/>
                <a:gd name="T59" fmla="*/ 1004 h 1495"/>
                <a:gd name="T60" fmla="*/ 1211 w 1520"/>
                <a:gd name="T61" fmla="*/ 1132 h 1495"/>
                <a:gd name="T62" fmla="*/ 1256 w 1520"/>
                <a:gd name="T63" fmla="*/ 1142 h 1495"/>
                <a:gd name="T64" fmla="*/ 1511 w 1520"/>
                <a:gd name="T65" fmla="*/ 1395 h 1495"/>
                <a:gd name="T66" fmla="*/ 1517 w 1520"/>
                <a:gd name="T67" fmla="*/ 1445 h 1495"/>
                <a:gd name="T68" fmla="*/ 1485 w 1520"/>
                <a:gd name="T69" fmla="*/ 1487 h 1495"/>
                <a:gd name="T70" fmla="*/ 1433 w 1520"/>
                <a:gd name="T71" fmla="*/ 1493 h 1495"/>
                <a:gd name="T72" fmla="*/ 1170 w 1520"/>
                <a:gd name="T73" fmla="*/ 1248 h 1495"/>
                <a:gd name="T74" fmla="*/ 1151 w 1520"/>
                <a:gd name="T75" fmla="*/ 1208 h 1495"/>
                <a:gd name="T76" fmla="*/ 1070 w 1520"/>
                <a:gd name="T77" fmla="*/ 1198 h 1495"/>
                <a:gd name="T78" fmla="*/ 911 w 1520"/>
                <a:gd name="T79" fmla="*/ 1283 h 1495"/>
                <a:gd name="T80" fmla="*/ 735 w 1520"/>
                <a:gd name="T81" fmla="*/ 1323 h 1495"/>
                <a:gd name="T82" fmla="*/ 556 w 1520"/>
                <a:gd name="T83" fmla="*/ 1316 h 1495"/>
                <a:gd name="T84" fmla="*/ 390 w 1520"/>
                <a:gd name="T85" fmla="*/ 1264 h 1495"/>
                <a:gd name="T86" fmla="*/ 242 w 1520"/>
                <a:gd name="T87" fmla="*/ 1172 h 1495"/>
                <a:gd name="T88" fmla="*/ 122 w 1520"/>
                <a:gd name="T89" fmla="*/ 1043 h 1495"/>
                <a:gd name="T90" fmla="*/ 40 w 1520"/>
                <a:gd name="T91" fmla="*/ 890 h 1495"/>
                <a:gd name="T92" fmla="*/ 3 w 1520"/>
                <a:gd name="T93" fmla="*/ 722 h 1495"/>
                <a:gd name="T94" fmla="*/ 10 w 1520"/>
                <a:gd name="T95" fmla="*/ 547 h 1495"/>
                <a:gd name="T96" fmla="*/ 63 w 1520"/>
                <a:gd name="T97" fmla="*/ 383 h 1495"/>
                <a:gd name="T98" fmla="*/ 157 w 1520"/>
                <a:gd name="T99" fmla="*/ 238 h 1495"/>
                <a:gd name="T100" fmla="*/ 288 w 1520"/>
                <a:gd name="T101" fmla="*/ 119 h 1495"/>
                <a:gd name="T102" fmla="*/ 443 w 1520"/>
                <a:gd name="T103" fmla="*/ 40 h 1495"/>
                <a:gd name="T104" fmla="*/ 614 w 1520"/>
                <a:gd name="T105" fmla="*/ 2 h 1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20" h="1495">
                  <a:moveTo>
                    <a:pt x="673" y="136"/>
                  </a:moveTo>
                  <a:lnTo>
                    <a:pt x="620" y="138"/>
                  </a:lnTo>
                  <a:lnTo>
                    <a:pt x="568" y="146"/>
                  </a:lnTo>
                  <a:lnTo>
                    <a:pt x="518" y="159"/>
                  </a:lnTo>
                  <a:lnTo>
                    <a:pt x="469" y="176"/>
                  </a:lnTo>
                  <a:lnTo>
                    <a:pt x="422" y="198"/>
                  </a:lnTo>
                  <a:lnTo>
                    <a:pt x="377" y="224"/>
                  </a:lnTo>
                  <a:lnTo>
                    <a:pt x="335" y="255"/>
                  </a:lnTo>
                  <a:lnTo>
                    <a:pt x="295" y="291"/>
                  </a:lnTo>
                  <a:lnTo>
                    <a:pt x="260" y="330"/>
                  </a:lnTo>
                  <a:lnTo>
                    <a:pt x="229" y="371"/>
                  </a:lnTo>
                  <a:lnTo>
                    <a:pt x="202" y="415"/>
                  </a:lnTo>
                  <a:lnTo>
                    <a:pt x="179" y="462"/>
                  </a:lnTo>
                  <a:lnTo>
                    <a:pt x="161" y="510"/>
                  </a:lnTo>
                  <a:lnTo>
                    <a:pt x="149" y="560"/>
                  </a:lnTo>
                  <a:lnTo>
                    <a:pt x="141" y="611"/>
                  </a:lnTo>
                  <a:lnTo>
                    <a:pt x="138" y="663"/>
                  </a:lnTo>
                  <a:lnTo>
                    <a:pt x="141" y="715"/>
                  </a:lnTo>
                  <a:lnTo>
                    <a:pt x="149" y="767"/>
                  </a:lnTo>
                  <a:lnTo>
                    <a:pt x="161" y="817"/>
                  </a:lnTo>
                  <a:lnTo>
                    <a:pt x="179" y="865"/>
                  </a:lnTo>
                  <a:lnTo>
                    <a:pt x="202" y="911"/>
                  </a:lnTo>
                  <a:lnTo>
                    <a:pt x="229" y="955"/>
                  </a:lnTo>
                  <a:lnTo>
                    <a:pt x="260" y="997"/>
                  </a:lnTo>
                  <a:lnTo>
                    <a:pt x="295" y="1036"/>
                  </a:lnTo>
                  <a:lnTo>
                    <a:pt x="335" y="1071"/>
                  </a:lnTo>
                  <a:lnTo>
                    <a:pt x="377" y="1101"/>
                  </a:lnTo>
                  <a:lnTo>
                    <a:pt x="422" y="1128"/>
                  </a:lnTo>
                  <a:lnTo>
                    <a:pt x="469" y="1150"/>
                  </a:lnTo>
                  <a:lnTo>
                    <a:pt x="518" y="1168"/>
                  </a:lnTo>
                  <a:lnTo>
                    <a:pt x="568" y="1180"/>
                  </a:lnTo>
                  <a:lnTo>
                    <a:pt x="620" y="1187"/>
                  </a:lnTo>
                  <a:lnTo>
                    <a:pt x="673" y="1190"/>
                  </a:lnTo>
                  <a:lnTo>
                    <a:pt x="726" y="1187"/>
                  </a:lnTo>
                  <a:lnTo>
                    <a:pt x="779" y="1180"/>
                  </a:lnTo>
                  <a:lnTo>
                    <a:pt x="829" y="1168"/>
                  </a:lnTo>
                  <a:lnTo>
                    <a:pt x="879" y="1150"/>
                  </a:lnTo>
                  <a:lnTo>
                    <a:pt x="926" y="1128"/>
                  </a:lnTo>
                  <a:lnTo>
                    <a:pt x="971" y="1101"/>
                  </a:lnTo>
                  <a:lnTo>
                    <a:pt x="1013" y="1071"/>
                  </a:lnTo>
                  <a:lnTo>
                    <a:pt x="1053" y="1036"/>
                  </a:lnTo>
                  <a:lnTo>
                    <a:pt x="1088" y="997"/>
                  </a:lnTo>
                  <a:lnTo>
                    <a:pt x="1119" y="955"/>
                  </a:lnTo>
                  <a:lnTo>
                    <a:pt x="1146" y="911"/>
                  </a:lnTo>
                  <a:lnTo>
                    <a:pt x="1168" y="865"/>
                  </a:lnTo>
                  <a:lnTo>
                    <a:pt x="1186" y="817"/>
                  </a:lnTo>
                  <a:lnTo>
                    <a:pt x="1198" y="767"/>
                  </a:lnTo>
                  <a:lnTo>
                    <a:pt x="1207" y="715"/>
                  </a:lnTo>
                  <a:lnTo>
                    <a:pt x="1209" y="663"/>
                  </a:lnTo>
                  <a:lnTo>
                    <a:pt x="1207" y="611"/>
                  </a:lnTo>
                  <a:lnTo>
                    <a:pt x="1198" y="560"/>
                  </a:lnTo>
                  <a:lnTo>
                    <a:pt x="1186" y="510"/>
                  </a:lnTo>
                  <a:lnTo>
                    <a:pt x="1168" y="462"/>
                  </a:lnTo>
                  <a:lnTo>
                    <a:pt x="1146" y="415"/>
                  </a:lnTo>
                  <a:lnTo>
                    <a:pt x="1119" y="371"/>
                  </a:lnTo>
                  <a:lnTo>
                    <a:pt x="1088" y="330"/>
                  </a:lnTo>
                  <a:lnTo>
                    <a:pt x="1053" y="291"/>
                  </a:lnTo>
                  <a:lnTo>
                    <a:pt x="1013" y="255"/>
                  </a:lnTo>
                  <a:lnTo>
                    <a:pt x="971" y="224"/>
                  </a:lnTo>
                  <a:lnTo>
                    <a:pt x="926" y="198"/>
                  </a:lnTo>
                  <a:lnTo>
                    <a:pt x="879" y="176"/>
                  </a:lnTo>
                  <a:lnTo>
                    <a:pt x="829" y="159"/>
                  </a:lnTo>
                  <a:lnTo>
                    <a:pt x="779" y="146"/>
                  </a:lnTo>
                  <a:lnTo>
                    <a:pt x="726" y="138"/>
                  </a:lnTo>
                  <a:lnTo>
                    <a:pt x="673" y="136"/>
                  </a:lnTo>
                  <a:close/>
                  <a:moveTo>
                    <a:pt x="673" y="0"/>
                  </a:moveTo>
                  <a:lnTo>
                    <a:pt x="734" y="2"/>
                  </a:lnTo>
                  <a:lnTo>
                    <a:pt x="792" y="10"/>
                  </a:lnTo>
                  <a:lnTo>
                    <a:pt x="849" y="23"/>
                  </a:lnTo>
                  <a:lnTo>
                    <a:pt x="904" y="40"/>
                  </a:lnTo>
                  <a:lnTo>
                    <a:pt x="958" y="61"/>
                  </a:lnTo>
                  <a:lnTo>
                    <a:pt x="1010" y="88"/>
                  </a:lnTo>
                  <a:lnTo>
                    <a:pt x="1059" y="119"/>
                  </a:lnTo>
                  <a:lnTo>
                    <a:pt x="1106" y="155"/>
                  </a:lnTo>
                  <a:lnTo>
                    <a:pt x="1151" y="195"/>
                  </a:lnTo>
                  <a:lnTo>
                    <a:pt x="1190" y="238"/>
                  </a:lnTo>
                  <a:lnTo>
                    <a:pt x="1226" y="284"/>
                  </a:lnTo>
                  <a:lnTo>
                    <a:pt x="1258" y="332"/>
                  </a:lnTo>
                  <a:lnTo>
                    <a:pt x="1285" y="383"/>
                  </a:lnTo>
                  <a:lnTo>
                    <a:pt x="1306" y="436"/>
                  </a:lnTo>
                  <a:lnTo>
                    <a:pt x="1324" y="490"/>
                  </a:lnTo>
                  <a:lnTo>
                    <a:pt x="1337" y="547"/>
                  </a:lnTo>
                  <a:lnTo>
                    <a:pt x="1345" y="604"/>
                  </a:lnTo>
                  <a:lnTo>
                    <a:pt x="1347" y="663"/>
                  </a:lnTo>
                  <a:lnTo>
                    <a:pt x="1344" y="724"/>
                  </a:lnTo>
                  <a:lnTo>
                    <a:pt x="1337" y="783"/>
                  </a:lnTo>
                  <a:lnTo>
                    <a:pt x="1322" y="841"/>
                  </a:lnTo>
                  <a:lnTo>
                    <a:pt x="1303" y="898"/>
                  </a:lnTo>
                  <a:lnTo>
                    <a:pt x="1279" y="952"/>
                  </a:lnTo>
                  <a:lnTo>
                    <a:pt x="1251" y="1004"/>
                  </a:lnTo>
                  <a:lnTo>
                    <a:pt x="1217" y="1053"/>
                  </a:lnTo>
                  <a:lnTo>
                    <a:pt x="1179" y="1100"/>
                  </a:lnTo>
                  <a:lnTo>
                    <a:pt x="1211" y="1132"/>
                  </a:lnTo>
                  <a:lnTo>
                    <a:pt x="1226" y="1132"/>
                  </a:lnTo>
                  <a:lnTo>
                    <a:pt x="1241" y="1135"/>
                  </a:lnTo>
                  <a:lnTo>
                    <a:pt x="1256" y="1142"/>
                  </a:lnTo>
                  <a:lnTo>
                    <a:pt x="1268" y="1151"/>
                  </a:lnTo>
                  <a:lnTo>
                    <a:pt x="1500" y="1381"/>
                  </a:lnTo>
                  <a:lnTo>
                    <a:pt x="1511" y="1395"/>
                  </a:lnTo>
                  <a:lnTo>
                    <a:pt x="1517" y="1411"/>
                  </a:lnTo>
                  <a:lnTo>
                    <a:pt x="1520" y="1428"/>
                  </a:lnTo>
                  <a:lnTo>
                    <a:pt x="1517" y="1445"/>
                  </a:lnTo>
                  <a:lnTo>
                    <a:pt x="1511" y="1462"/>
                  </a:lnTo>
                  <a:lnTo>
                    <a:pt x="1500" y="1476"/>
                  </a:lnTo>
                  <a:lnTo>
                    <a:pt x="1485" y="1487"/>
                  </a:lnTo>
                  <a:lnTo>
                    <a:pt x="1469" y="1493"/>
                  </a:lnTo>
                  <a:lnTo>
                    <a:pt x="1451" y="1495"/>
                  </a:lnTo>
                  <a:lnTo>
                    <a:pt x="1433" y="1493"/>
                  </a:lnTo>
                  <a:lnTo>
                    <a:pt x="1417" y="1487"/>
                  </a:lnTo>
                  <a:lnTo>
                    <a:pt x="1402" y="1476"/>
                  </a:lnTo>
                  <a:lnTo>
                    <a:pt x="1170" y="1248"/>
                  </a:lnTo>
                  <a:lnTo>
                    <a:pt x="1160" y="1235"/>
                  </a:lnTo>
                  <a:lnTo>
                    <a:pt x="1154" y="1222"/>
                  </a:lnTo>
                  <a:lnTo>
                    <a:pt x="1151" y="1208"/>
                  </a:lnTo>
                  <a:lnTo>
                    <a:pt x="1151" y="1192"/>
                  </a:lnTo>
                  <a:lnTo>
                    <a:pt x="1118" y="1161"/>
                  </a:lnTo>
                  <a:lnTo>
                    <a:pt x="1070" y="1198"/>
                  </a:lnTo>
                  <a:lnTo>
                    <a:pt x="1020" y="1231"/>
                  </a:lnTo>
                  <a:lnTo>
                    <a:pt x="967" y="1260"/>
                  </a:lnTo>
                  <a:lnTo>
                    <a:pt x="911" y="1283"/>
                  </a:lnTo>
                  <a:lnTo>
                    <a:pt x="854" y="1302"/>
                  </a:lnTo>
                  <a:lnTo>
                    <a:pt x="796" y="1315"/>
                  </a:lnTo>
                  <a:lnTo>
                    <a:pt x="735" y="1323"/>
                  </a:lnTo>
                  <a:lnTo>
                    <a:pt x="673" y="1326"/>
                  </a:lnTo>
                  <a:lnTo>
                    <a:pt x="614" y="1323"/>
                  </a:lnTo>
                  <a:lnTo>
                    <a:pt x="556" y="1316"/>
                  </a:lnTo>
                  <a:lnTo>
                    <a:pt x="499" y="1304"/>
                  </a:lnTo>
                  <a:lnTo>
                    <a:pt x="443" y="1287"/>
                  </a:lnTo>
                  <a:lnTo>
                    <a:pt x="390" y="1264"/>
                  </a:lnTo>
                  <a:lnTo>
                    <a:pt x="338" y="1238"/>
                  </a:lnTo>
                  <a:lnTo>
                    <a:pt x="288" y="1207"/>
                  </a:lnTo>
                  <a:lnTo>
                    <a:pt x="242" y="1172"/>
                  </a:lnTo>
                  <a:lnTo>
                    <a:pt x="197" y="1132"/>
                  </a:lnTo>
                  <a:lnTo>
                    <a:pt x="157" y="1089"/>
                  </a:lnTo>
                  <a:lnTo>
                    <a:pt x="122" y="1043"/>
                  </a:lnTo>
                  <a:lnTo>
                    <a:pt x="90" y="994"/>
                  </a:lnTo>
                  <a:lnTo>
                    <a:pt x="63" y="943"/>
                  </a:lnTo>
                  <a:lnTo>
                    <a:pt x="40" y="890"/>
                  </a:lnTo>
                  <a:lnTo>
                    <a:pt x="23" y="835"/>
                  </a:lnTo>
                  <a:lnTo>
                    <a:pt x="10" y="779"/>
                  </a:lnTo>
                  <a:lnTo>
                    <a:pt x="3" y="722"/>
                  </a:lnTo>
                  <a:lnTo>
                    <a:pt x="0" y="663"/>
                  </a:lnTo>
                  <a:lnTo>
                    <a:pt x="3" y="604"/>
                  </a:lnTo>
                  <a:lnTo>
                    <a:pt x="10" y="547"/>
                  </a:lnTo>
                  <a:lnTo>
                    <a:pt x="23" y="490"/>
                  </a:lnTo>
                  <a:lnTo>
                    <a:pt x="40" y="436"/>
                  </a:lnTo>
                  <a:lnTo>
                    <a:pt x="63" y="383"/>
                  </a:lnTo>
                  <a:lnTo>
                    <a:pt x="90" y="332"/>
                  </a:lnTo>
                  <a:lnTo>
                    <a:pt x="122" y="284"/>
                  </a:lnTo>
                  <a:lnTo>
                    <a:pt x="157" y="238"/>
                  </a:lnTo>
                  <a:lnTo>
                    <a:pt x="197" y="195"/>
                  </a:lnTo>
                  <a:lnTo>
                    <a:pt x="242" y="155"/>
                  </a:lnTo>
                  <a:lnTo>
                    <a:pt x="288" y="119"/>
                  </a:lnTo>
                  <a:lnTo>
                    <a:pt x="338" y="88"/>
                  </a:lnTo>
                  <a:lnTo>
                    <a:pt x="390" y="61"/>
                  </a:lnTo>
                  <a:lnTo>
                    <a:pt x="443" y="40"/>
                  </a:lnTo>
                  <a:lnTo>
                    <a:pt x="499" y="23"/>
                  </a:lnTo>
                  <a:lnTo>
                    <a:pt x="556" y="10"/>
                  </a:lnTo>
                  <a:lnTo>
                    <a:pt x="614" y="2"/>
                  </a:lnTo>
                  <a:lnTo>
                    <a:pt x="6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3" name="Group 107"/>
          <p:cNvGrpSpPr>
            <a:grpSpLocks noChangeAspect="1"/>
          </p:cNvGrpSpPr>
          <p:nvPr/>
        </p:nvGrpSpPr>
        <p:grpSpPr bwMode="auto">
          <a:xfrm>
            <a:off x="3900591" y="2575112"/>
            <a:ext cx="391858" cy="508983"/>
            <a:chOff x="6087" y="198"/>
            <a:chExt cx="1723" cy="2238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184" name="Freeform 109"/>
            <p:cNvSpPr>
              <a:spLocks noEditPoints="1"/>
            </p:cNvSpPr>
            <p:nvPr/>
          </p:nvSpPr>
          <p:spPr bwMode="auto">
            <a:xfrm>
              <a:off x="6087" y="198"/>
              <a:ext cx="1723" cy="2238"/>
            </a:xfrm>
            <a:custGeom>
              <a:avLst/>
              <a:gdLst>
                <a:gd name="T0" fmla="*/ 292 w 3445"/>
                <a:gd name="T1" fmla="*/ 3944 h 4476"/>
                <a:gd name="T2" fmla="*/ 481 w 3445"/>
                <a:gd name="T3" fmla="*/ 4159 h 4476"/>
                <a:gd name="T4" fmla="*/ 2735 w 3445"/>
                <a:gd name="T5" fmla="*/ 4220 h 4476"/>
                <a:gd name="T6" fmla="*/ 3011 w 3445"/>
                <a:gd name="T7" fmla="*/ 4126 h 4476"/>
                <a:gd name="T8" fmla="*/ 3172 w 3445"/>
                <a:gd name="T9" fmla="*/ 3887 h 4476"/>
                <a:gd name="T10" fmla="*/ 3134 w 3445"/>
                <a:gd name="T11" fmla="*/ 3563 h 4476"/>
                <a:gd name="T12" fmla="*/ 2807 w 3445"/>
                <a:gd name="T13" fmla="*/ 3683 h 4476"/>
                <a:gd name="T14" fmla="*/ 497 w 3445"/>
                <a:gd name="T15" fmla="*/ 3654 h 4476"/>
                <a:gd name="T16" fmla="*/ 257 w 3445"/>
                <a:gd name="T17" fmla="*/ 2733 h 4476"/>
                <a:gd name="T18" fmla="*/ 318 w 3445"/>
                <a:gd name="T19" fmla="*/ 3205 h 4476"/>
                <a:gd name="T20" fmla="*/ 534 w 3445"/>
                <a:gd name="T21" fmla="*/ 3394 h 4476"/>
                <a:gd name="T22" fmla="*/ 2796 w 3445"/>
                <a:gd name="T23" fmla="*/ 3425 h 4476"/>
                <a:gd name="T24" fmla="*/ 3055 w 3445"/>
                <a:gd name="T25" fmla="*/ 3296 h 4476"/>
                <a:gd name="T26" fmla="*/ 3184 w 3445"/>
                <a:gd name="T27" fmla="*/ 3038 h 4476"/>
                <a:gd name="T28" fmla="*/ 3075 w 3445"/>
                <a:gd name="T29" fmla="*/ 2810 h 4476"/>
                <a:gd name="T30" fmla="*/ 2735 w 3445"/>
                <a:gd name="T31" fmla="*/ 2897 h 4476"/>
                <a:gd name="T32" fmla="*/ 432 w 3445"/>
                <a:gd name="T33" fmla="*/ 2840 h 4476"/>
                <a:gd name="T34" fmla="*/ 257 w 3445"/>
                <a:gd name="T35" fmla="*/ 2186 h 4476"/>
                <a:gd name="T36" fmla="*/ 350 w 3445"/>
                <a:gd name="T37" fmla="*/ 2463 h 4476"/>
                <a:gd name="T38" fmla="*/ 590 w 3445"/>
                <a:gd name="T39" fmla="*/ 2623 h 4476"/>
                <a:gd name="T40" fmla="*/ 2855 w 3445"/>
                <a:gd name="T41" fmla="*/ 2623 h 4476"/>
                <a:gd name="T42" fmla="*/ 3094 w 3445"/>
                <a:gd name="T43" fmla="*/ 2463 h 4476"/>
                <a:gd name="T44" fmla="*/ 3188 w 3445"/>
                <a:gd name="T45" fmla="*/ 2186 h 4476"/>
                <a:gd name="T46" fmla="*/ 3013 w 3445"/>
                <a:gd name="T47" fmla="*/ 2052 h 4476"/>
                <a:gd name="T48" fmla="*/ 709 w 3445"/>
                <a:gd name="T49" fmla="*/ 2109 h 4476"/>
                <a:gd name="T50" fmla="*/ 369 w 3445"/>
                <a:gd name="T51" fmla="*/ 2022 h 4476"/>
                <a:gd name="T52" fmla="*/ 1533 w 3445"/>
                <a:gd name="T53" fmla="*/ 298 h 4476"/>
                <a:gd name="T54" fmla="*/ 1102 w 3445"/>
                <a:gd name="T55" fmla="*/ 415 h 4476"/>
                <a:gd name="T56" fmla="*/ 783 w 3445"/>
                <a:gd name="T57" fmla="*/ 640 h 4476"/>
                <a:gd name="T58" fmla="*/ 624 w 3445"/>
                <a:gd name="T59" fmla="*/ 928 h 4476"/>
                <a:gd name="T60" fmla="*/ 643 w 3445"/>
                <a:gd name="T61" fmla="*/ 1244 h 4476"/>
                <a:gd name="T62" fmla="*/ 834 w 3445"/>
                <a:gd name="T63" fmla="*/ 1520 h 4476"/>
                <a:gd name="T64" fmla="*/ 1183 w 3445"/>
                <a:gd name="T65" fmla="*/ 1728 h 4476"/>
                <a:gd name="T66" fmla="*/ 1627 w 3445"/>
                <a:gd name="T67" fmla="*/ 1819 h 4476"/>
                <a:gd name="T68" fmla="*/ 2092 w 3445"/>
                <a:gd name="T69" fmla="*/ 1780 h 4476"/>
                <a:gd name="T70" fmla="*/ 2488 w 3445"/>
                <a:gd name="T71" fmla="*/ 1614 h 4476"/>
                <a:gd name="T72" fmla="*/ 2746 w 3445"/>
                <a:gd name="T73" fmla="*/ 1360 h 4476"/>
                <a:gd name="T74" fmla="*/ 2835 w 3445"/>
                <a:gd name="T75" fmla="*/ 1055 h 4476"/>
                <a:gd name="T76" fmla="*/ 2746 w 3445"/>
                <a:gd name="T77" fmla="*/ 749 h 4476"/>
                <a:gd name="T78" fmla="*/ 2488 w 3445"/>
                <a:gd name="T79" fmla="*/ 495 h 4476"/>
                <a:gd name="T80" fmla="*/ 2092 w 3445"/>
                <a:gd name="T81" fmla="*/ 330 h 4476"/>
                <a:gd name="T82" fmla="*/ 709 w 3445"/>
                <a:gd name="T83" fmla="*/ 0 h 4476"/>
                <a:gd name="T84" fmla="*/ 3028 w 3445"/>
                <a:gd name="T85" fmla="*/ 64 h 4476"/>
                <a:gd name="T86" fmla="*/ 3308 w 3445"/>
                <a:gd name="T87" fmla="*/ 290 h 4476"/>
                <a:gd name="T88" fmla="*/ 3441 w 3445"/>
                <a:gd name="T89" fmla="*/ 631 h 4476"/>
                <a:gd name="T90" fmla="*/ 3408 w 3445"/>
                <a:gd name="T91" fmla="*/ 3992 h 4476"/>
                <a:gd name="T92" fmla="*/ 3210 w 3445"/>
                <a:gd name="T93" fmla="*/ 4293 h 4476"/>
                <a:gd name="T94" fmla="*/ 2886 w 3445"/>
                <a:gd name="T95" fmla="*/ 4460 h 4476"/>
                <a:gd name="T96" fmla="*/ 557 w 3445"/>
                <a:gd name="T97" fmla="*/ 4460 h 4476"/>
                <a:gd name="T98" fmla="*/ 235 w 3445"/>
                <a:gd name="T99" fmla="*/ 4293 h 4476"/>
                <a:gd name="T100" fmla="*/ 36 w 3445"/>
                <a:gd name="T101" fmla="*/ 3992 h 4476"/>
                <a:gd name="T102" fmla="*/ 4 w 3445"/>
                <a:gd name="T103" fmla="*/ 631 h 4476"/>
                <a:gd name="T104" fmla="*/ 137 w 3445"/>
                <a:gd name="T105" fmla="*/ 290 h 4476"/>
                <a:gd name="T106" fmla="*/ 417 w 3445"/>
                <a:gd name="T107" fmla="*/ 64 h 4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45" h="4476">
                  <a:moveTo>
                    <a:pt x="257" y="3522"/>
                  </a:moveTo>
                  <a:lnTo>
                    <a:pt x="257" y="3768"/>
                  </a:lnTo>
                  <a:lnTo>
                    <a:pt x="261" y="3829"/>
                  </a:lnTo>
                  <a:lnTo>
                    <a:pt x="273" y="3887"/>
                  </a:lnTo>
                  <a:lnTo>
                    <a:pt x="292" y="3944"/>
                  </a:lnTo>
                  <a:lnTo>
                    <a:pt x="318" y="3996"/>
                  </a:lnTo>
                  <a:lnTo>
                    <a:pt x="350" y="4045"/>
                  </a:lnTo>
                  <a:lnTo>
                    <a:pt x="389" y="4088"/>
                  </a:lnTo>
                  <a:lnTo>
                    <a:pt x="433" y="4126"/>
                  </a:lnTo>
                  <a:lnTo>
                    <a:pt x="481" y="4159"/>
                  </a:lnTo>
                  <a:lnTo>
                    <a:pt x="534" y="4184"/>
                  </a:lnTo>
                  <a:lnTo>
                    <a:pt x="590" y="4203"/>
                  </a:lnTo>
                  <a:lnTo>
                    <a:pt x="648" y="4216"/>
                  </a:lnTo>
                  <a:lnTo>
                    <a:pt x="709" y="4220"/>
                  </a:lnTo>
                  <a:lnTo>
                    <a:pt x="2735" y="4220"/>
                  </a:lnTo>
                  <a:lnTo>
                    <a:pt x="2796" y="4216"/>
                  </a:lnTo>
                  <a:lnTo>
                    <a:pt x="2855" y="4203"/>
                  </a:lnTo>
                  <a:lnTo>
                    <a:pt x="2911" y="4184"/>
                  </a:lnTo>
                  <a:lnTo>
                    <a:pt x="2964" y="4159"/>
                  </a:lnTo>
                  <a:lnTo>
                    <a:pt x="3011" y="4126"/>
                  </a:lnTo>
                  <a:lnTo>
                    <a:pt x="3055" y="4088"/>
                  </a:lnTo>
                  <a:lnTo>
                    <a:pt x="3094" y="4045"/>
                  </a:lnTo>
                  <a:lnTo>
                    <a:pt x="3127" y="3996"/>
                  </a:lnTo>
                  <a:lnTo>
                    <a:pt x="3153" y="3944"/>
                  </a:lnTo>
                  <a:lnTo>
                    <a:pt x="3172" y="3887"/>
                  </a:lnTo>
                  <a:lnTo>
                    <a:pt x="3184" y="3829"/>
                  </a:lnTo>
                  <a:lnTo>
                    <a:pt x="3188" y="3768"/>
                  </a:lnTo>
                  <a:lnTo>
                    <a:pt x="3188" y="3768"/>
                  </a:lnTo>
                  <a:lnTo>
                    <a:pt x="3188" y="3522"/>
                  </a:lnTo>
                  <a:lnTo>
                    <a:pt x="3134" y="3563"/>
                  </a:lnTo>
                  <a:lnTo>
                    <a:pt x="3075" y="3598"/>
                  </a:lnTo>
                  <a:lnTo>
                    <a:pt x="3013" y="3630"/>
                  </a:lnTo>
                  <a:lnTo>
                    <a:pt x="2947" y="3654"/>
                  </a:lnTo>
                  <a:lnTo>
                    <a:pt x="2878" y="3672"/>
                  </a:lnTo>
                  <a:lnTo>
                    <a:pt x="2807" y="3683"/>
                  </a:lnTo>
                  <a:lnTo>
                    <a:pt x="2735" y="3685"/>
                  </a:lnTo>
                  <a:lnTo>
                    <a:pt x="709" y="3685"/>
                  </a:lnTo>
                  <a:lnTo>
                    <a:pt x="637" y="3683"/>
                  </a:lnTo>
                  <a:lnTo>
                    <a:pt x="567" y="3672"/>
                  </a:lnTo>
                  <a:lnTo>
                    <a:pt x="497" y="3654"/>
                  </a:lnTo>
                  <a:lnTo>
                    <a:pt x="432" y="3630"/>
                  </a:lnTo>
                  <a:lnTo>
                    <a:pt x="369" y="3598"/>
                  </a:lnTo>
                  <a:lnTo>
                    <a:pt x="311" y="3563"/>
                  </a:lnTo>
                  <a:lnTo>
                    <a:pt x="257" y="3522"/>
                  </a:lnTo>
                  <a:close/>
                  <a:moveTo>
                    <a:pt x="257" y="2733"/>
                  </a:moveTo>
                  <a:lnTo>
                    <a:pt x="257" y="2977"/>
                  </a:lnTo>
                  <a:lnTo>
                    <a:pt x="261" y="3038"/>
                  </a:lnTo>
                  <a:lnTo>
                    <a:pt x="273" y="3097"/>
                  </a:lnTo>
                  <a:lnTo>
                    <a:pt x="292" y="3152"/>
                  </a:lnTo>
                  <a:lnTo>
                    <a:pt x="318" y="3205"/>
                  </a:lnTo>
                  <a:lnTo>
                    <a:pt x="350" y="3253"/>
                  </a:lnTo>
                  <a:lnTo>
                    <a:pt x="389" y="3296"/>
                  </a:lnTo>
                  <a:lnTo>
                    <a:pt x="433" y="3335"/>
                  </a:lnTo>
                  <a:lnTo>
                    <a:pt x="481" y="3368"/>
                  </a:lnTo>
                  <a:lnTo>
                    <a:pt x="534" y="3394"/>
                  </a:lnTo>
                  <a:lnTo>
                    <a:pt x="590" y="3413"/>
                  </a:lnTo>
                  <a:lnTo>
                    <a:pt x="648" y="3425"/>
                  </a:lnTo>
                  <a:lnTo>
                    <a:pt x="709" y="3429"/>
                  </a:lnTo>
                  <a:lnTo>
                    <a:pt x="2735" y="3429"/>
                  </a:lnTo>
                  <a:lnTo>
                    <a:pt x="2796" y="3425"/>
                  </a:lnTo>
                  <a:lnTo>
                    <a:pt x="2855" y="3413"/>
                  </a:lnTo>
                  <a:lnTo>
                    <a:pt x="2911" y="3394"/>
                  </a:lnTo>
                  <a:lnTo>
                    <a:pt x="2964" y="3368"/>
                  </a:lnTo>
                  <a:lnTo>
                    <a:pt x="3011" y="3335"/>
                  </a:lnTo>
                  <a:lnTo>
                    <a:pt x="3055" y="3296"/>
                  </a:lnTo>
                  <a:lnTo>
                    <a:pt x="3094" y="3253"/>
                  </a:lnTo>
                  <a:lnTo>
                    <a:pt x="3127" y="3205"/>
                  </a:lnTo>
                  <a:lnTo>
                    <a:pt x="3153" y="3152"/>
                  </a:lnTo>
                  <a:lnTo>
                    <a:pt x="3172" y="3097"/>
                  </a:lnTo>
                  <a:lnTo>
                    <a:pt x="3184" y="3038"/>
                  </a:lnTo>
                  <a:lnTo>
                    <a:pt x="3188" y="2977"/>
                  </a:lnTo>
                  <a:lnTo>
                    <a:pt x="3188" y="2977"/>
                  </a:lnTo>
                  <a:lnTo>
                    <a:pt x="3188" y="2733"/>
                  </a:lnTo>
                  <a:lnTo>
                    <a:pt x="3134" y="2774"/>
                  </a:lnTo>
                  <a:lnTo>
                    <a:pt x="3075" y="2810"/>
                  </a:lnTo>
                  <a:lnTo>
                    <a:pt x="3013" y="2840"/>
                  </a:lnTo>
                  <a:lnTo>
                    <a:pt x="2947" y="2865"/>
                  </a:lnTo>
                  <a:lnTo>
                    <a:pt x="2878" y="2882"/>
                  </a:lnTo>
                  <a:lnTo>
                    <a:pt x="2807" y="2893"/>
                  </a:lnTo>
                  <a:lnTo>
                    <a:pt x="2735" y="2897"/>
                  </a:lnTo>
                  <a:lnTo>
                    <a:pt x="709" y="2897"/>
                  </a:lnTo>
                  <a:lnTo>
                    <a:pt x="637" y="2893"/>
                  </a:lnTo>
                  <a:lnTo>
                    <a:pt x="567" y="2882"/>
                  </a:lnTo>
                  <a:lnTo>
                    <a:pt x="497" y="2865"/>
                  </a:lnTo>
                  <a:lnTo>
                    <a:pt x="432" y="2840"/>
                  </a:lnTo>
                  <a:lnTo>
                    <a:pt x="369" y="2810"/>
                  </a:lnTo>
                  <a:lnTo>
                    <a:pt x="311" y="2774"/>
                  </a:lnTo>
                  <a:lnTo>
                    <a:pt x="257" y="2733"/>
                  </a:lnTo>
                  <a:close/>
                  <a:moveTo>
                    <a:pt x="257" y="1945"/>
                  </a:moveTo>
                  <a:lnTo>
                    <a:pt x="257" y="2186"/>
                  </a:lnTo>
                  <a:lnTo>
                    <a:pt x="261" y="2247"/>
                  </a:lnTo>
                  <a:lnTo>
                    <a:pt x="273" y="2307"/>
                  </a:lnTo>
                  <a:lnTo>
                    <a:pt x="292" y="2363"/>
                  </a:lnTo>
                  <a:lnTo>
                    <a:pt x="318" y="2414"/>
                  </a:lnTo>
                  <a:lnTo>
                    <a:pt x="350" y="2463"/>
                  </a:lnTo>
                  <a:lnTo>
                    <a:pt x="389" y="2507"/>
                  </a:lnTo>
                  <a:lnTo>
                    <a:pt x="433" y="2545"/>
                  </a:lnTo>
                  <a:lnTo>
                    <a:pt x="481" y="2577"/>
                  </a:lnTo>
                  <a:lnTo>
                    <a:pt x="534" y="2603"/>
                  </a:lnTo>
                  <a:lnTo>
                    <a:pt x="590" y="2623"/>
                  </a:lnTo>
                  <a:lnTo>
                    <a:pt x="648" y="2635"/>
                  </a:lnTo>
                  <a:lnTo>
                    <a:pt x="709" y="2639"/>
                  </a:lnTo>
                  <a:lnTo>
                    <a:pt x="2735" y="2639"/>
                  </a:lnTo>
                  <a:lnTo>
                    <a:pt x="2796" y="2635"/>
                  </a:lnTo>
                  <a:lnTo>
                    <a:pt x="2855" y="2623"/>
                  </a:lnTo>
                  <a:lnTo>
                    <a:pt x="2911" y="2603"/>
                  </a:lnTo>
                  <a:lnTo>
                    <a:pt x="2964" y="2577"/>
                  </a:lnTo>
                  <a:lnTo>
                    <a:pt x="3011" y="2545"/>
                  </a:lnTo>
                  <a:lnTo>
                    <a:pt x="3055" y="2507"/>
                  </a:lnTo>
                  <a:lnTo>
                    <a:pt x="3094" y="2463"/>
                  </a:lnTo>
                  <a:lnTo>
                    <a:pt x="3127" y="2414"/>
                  </a:lnTo>
                  <a:lnTo>
                    <a:pt x="3153" y="2363"/>
                  </a:lnTo>
                  <a:lnTo>
                    <a:pt x="3172" y="2307"/>
                  </a:lnTo>
                  <a:lnTo>
                    <a:pt x="3184" y="2247"/>
                  </a:lnTo>
                  <a:lnTo>
                    <a:pt x="3188" y="2186"/>
                  </a:lnTo>
                  <a:lnTo>
                    <a:pt x="3188" y="2186"/>
                  </a:lnTo>
                  <a:lnTo>
                    <a:pt x="3188" y="1945"/>
                  </a:lnTo>
                  <a:lnTo>
                    <a:pt x="3134" y="1986"/>
                  </a:lnTo>
                  <a:lnTo>
                    <a:pt x="3075" y="2022"/>
                  </a:lnTo>
                  <a:lnTo>
                    <a:pt x="3013" y="2052"/>
                  </a:lnTo>
                  <a:lnTo>
                    <a:pt x="2947" y="2077"/>
                  </a:lnTo>
                  <a:lnTo>
                    <a:pt x="2878" y="2094"/>
                  </a:lnTo>
                  <a:lnTo>
                    <a:pt x="2807" y="2105"/>
                  </a:lnTo>
                  <a:lnTo>
                    <a:pt x="2735" y="2109"/>
                  </a:lnTo>
                  <a:lnTo>
                    <a:pt x="709" y="2109"/>
                  </a:lnTo>
                  <a:lnTo>
                    <a:pt x="637" y="2105"/>
                  </a:lnTo>
                  <a:lnTo>
                    <a:pt x="567" y="2094"/>
                  </a:lnTo>
                  <a:lnTo>
                    <a:pt x="497" y="2077"/>
                  </a:lnTo>
                  <a:lnTo>
                    <a:pt x="432" y="2052"/>
                  </a:lnTo>
                  <a:lnTo>
                    <a:pt x="369" y="2022"/>
                  </a:lnTo>
                  <a:lnTo>
                    <a:pt x="311" y="1986"/>
                  </a:lnTo>
                  <a:lnTo>
                    <a:pt x="257" y="1945"/>
                  </a:lnTo>
                  <a:close/>
                  <a:moveTo>
                    <a:pt x="1721" y="288"/>
                  </a:moveTo>
                  <a:lnTo>
                    <a:pt x="1627" y="290"/>
                  </a:lnTo>
                  <a:lnTo>
                    <a:pt x="1533" y="298"/>
                  </a:lnTo>
                  <a:lnTo>
                    <a:pt x="1442" y="312"/>
                  </a:lnTo>
                  <a:lnTo>
                    <a:pt x="1352" y="330"/>
                  </a:lnTo>
                  <a:lnTo>
                    <a:pt x="1265" y="354"/>
                  </a:lnTo>
                  <a:lnTo>
                    <a:pt x="1183" y="382"/>
                  </a:lnTo>
                  <a:lnTo>
                    <a:pt x="1102" y="415"/>
                  </a:lnTo>
                  <a:lnTo>
                    <a:pt x="1028" y="453"/>
                  </a:lnTo>
                  <a:lnTo>
                    <a:pt x="957" y="495"/>
                  </a:lnTo>
                  <a:lnTo>
                    <a:pt x="892" y="541"/>
                  </a:lnTo>
                  <a:lnTo>
                    <a:pt x="834" y="589"/>
                  </a:lnTo>
                  <a:lnTo>
                    <a:pt x="783" y="640"/>
                  </a:lnTo>
                  <a:lnTo>
                    <a:pt x="738" y="693"/>
                  </a:lnTo>
                  <a:lnTo>
                    <a:pt x="699" y="749"/>
                  </a:lnTo>
                  <a:lnTo>
                    <a:pt x="667" y="807"/>
                  </a:lnTo>
                  <a:lnTo>
                    <a:pt x="643" y="867"/>
                  </a:lnTo>
                  <a:lnTo>
                    <a:pt x="624" y="928"/>
                  </a:lnTo>
                  <a:lnTo>
                    <a:pt x="613" y="990"/>
                  </a:lnTo>
                  <a:lnTo>
                    <a:pt x="610" y="1055"/>
                  </a:lnTo>
                  <a:lnTo>
                    <a:pt x="613" y="1119"/>
                  </a:lnTo>
                  <a:lnTo>
                    <a:pt x="624" y="1181"/>
                  </a:lnTo>
                  <a:lnTo>
                    <a:pt x="643" y="1244"/>
                  </a:lnTo>
                  <a:lnTo>
                    <a:pt x="667" y="1303"/>
                  </a:lnTo>
                  <a:lnTo>
                    <a:pt x="699" y="1360"/>
                  </a:lnTo>
                  <a:lnTo>
                    <a:pt x="738" y="1416"/>
                  </a:lnTo>
                  <a:lnTo>
                    <a:pt x="783" y="1470"/>
                  </a:lnTo>
                  <a:lnTo>
                    <a:pt x="834" y="1520"/>
                  </a:lnTo>
                  <a:lnTo>
                    <a:pt x="892" y="1569"/>
                  </a:lnTo>
                  <a:lnTo>
                    <a:pt x="957" y="1614"/>
                  </a:lnTo>
                  <a:lnTo>
                    <a:pt x="1028" y="1656"/>
                  </a:lnTo>
                  <a:lnTo>
                    <a:pt x="1102" y="1694"/>
                  </a:lnTo>
                  <a:lnTo>
                    <a:pt x="1183" y="1728"/>
                  </a:lnTo>
                  <a:lnTo>
                    <a:pt x="1265" y="1756"/>
                  </a:lnTo>
                  <a:lnTo>
                    <a:pt x="1352" y="1780"/>
                  </a:lnTo>
                  <a:lnTo>
                    <a:pt x="1442" y="1799"/>
                  </a:lnTo>
                  <a:lnTo>
                    <a:pt x="1533" y="1811"/>
                  </a:lnTo>
                  <a:lnTo>
                    <a:pt x="1627" y="1819"/>
                  </a:lnTo>
                  <a:lnTo>
                    <a:pt x="1721" y="1822"/>
                  </a:lnTo>
                  <a:lnTo>
                    <a:pt x="1817" y="1819"/>
                  </a:lnTo>
                  <a:lnTo>
                    <a:pt x="1911" y="1811"/>
                  </a:lnTo>
                  <a:lnTo>
                    <a:pt x="2002" y="1799"/>
                  </a:lnTo>
                  <a:lnTo>
                    <a:pt x="2092" y="1780"/>
                  </a:lnTo>
                  <a:lnTo>
                    <a:pt x="2179" y="1756"/>
                  </a:lnTo>
                  <a:lnTo>
                    <a:pt x="2262" y="1728"/>
                  </a:lnTo>
                  <a:lnTo>
                    <a:pt x="2341" y="1694"/>
                  </a:lnTo>
                  <a:lnTo>
                    <a:pt x="2417" y="1656"/>
                  </a:lnTo>
                  <a:lnTo>
                    <a:pt x="2488" y="1614"/>
                  </a:lnTo>
                  <a:lnTo>
                    <a:pt x="2553" y="1569"/>
                  </a:lnTo>
                  <a:lnTo>
                    <a:pt x="2610" y="1520"/>
                  </a:lnTo>
                  <a:lnTo>
                    <a:pt x="2662" y="1470"/>
                  </a:lnTo>
                  <a:lnTo>
                    <a:pt x="2707" y="1416"/>
                  </a:lnTo>
                  <a:lnTo>
                    <a:pt x="2746" y="1360"/>
                  </a:lnTo>
                  <a:lnTo>
                    <a:pt x="2777" y="1303"/>
                  </a:lnTo>
                  <a:lnTo>
                    <a:pt x="2802" y="1244"/>
                  </a:lnTo>
                  <a:lnTo>
                    <a:pt x="2821" y="1181"/>
                  </a:lnTo>
                  <a:lnTo>
                    <a:pt x="2832" y="1119"/>
                  </a:lnTo>
                  <a:lnTo>
                    <a:pt x="2835" y="1055"/>
                  </a:lnTo>
                  <a:lnTo>
                    <a:pt x="2832" y="990"/>
                  </a:lnTo>
                  <a:lnTo>
                    <a:pt x="2821" y="928"/>
                  </a:lnTo>
                  <a:lnTo>
                    <a:pt x="2802" y="867"/>
                  </a:lnTo>
                  <a:lnTo>
                    <a:pt x="2777" y="807"/>
                  </a:lnTo>
                  <a:lnTo>
                    <a:pt x="2746" y="749"/>
                  </a:lnTo>
                  <a:lnTo>
                    <a:pt x="2707" y="693"/>
                  </a:lnTo>
                  <a:lnTo>
                    <a:pt x="2662" y="640"/>
                  </a:lnTo>
                  <a:lnTo>
                    <a:pt x="2610" y="589"/>
                  </a:lnTo>
                  <a:lnTo>
                    <a:pt x="2553" y="541"/>
                  </a:lnTo>
                  <a:lnTo>
                    <a:pt x="2488" y="495"/>
                  </a:lnTo>
                  <a:lnTo>
                    <a:pt x="2417" y="453"/>
                  </a:lnTo>
                  <a:lnTo>
                    <a:pt x="2341" y="415"/>
                  </a:lnTo>
                  <a:lnTo>
                    <a:pt x="2262" y="382"/>
                  </a:lnTo>
                  <a:lnTo>
                    <a:pt x="2179" y="354"/>
                  </a:lnTo>
                  <a:lnTo>
                    <a:pt x="2092" y="330"/>
                  </a:lnTo>
                  <a:lnTo>
                    <a:pt x="2002" y="312"/>
                  </a:lnTo>
                  <a:lnTo>
                    <a:pt x="1911" y="298"/>
                  </a:lnTo>
                  <a:lnTo>
                    <a:pt x="1817" y="290"/>
                  </a:lnTo>
                  <a:lnTo>
                    <a:pt x="1721" y="288"/>
                  </a:lnTo>
                  <a:close/>
                  <a:moveTo>
                    <a:pt x="709" y="0"/>
                  </a:moveTo>
                  <a:lnTo>
                    <a:pt x="2735" y="0"/>
                  </a:lnTo>
                  <a:lnTo>
                    <a:pt x="2811" y="4"/>
                  </a:lnTo>
                  <a:lnTo>
                    <a:pt x="2888" y="16"/>
                  </a:lnTo>
                  <a:lnTo>
                    <a:pt x="2960" y="37"/>
                  </a:lnTo>
                  <a:lnTo>
                    <a:pt x="3028" y="64"/>
                  </a:lnTo>
                  <a:lnTo>
                    <a:pt x="3093" y="96"/>
                  </a:lnTo>
                  <a:lnTo>
                    <a:pt x="3154" y="137"/>
                  </a:lnTo>
                  <a:lnTo>
                    <a:pt x="3210" y="183"/>
                  </a:lnTo>
                  <a:lnTo>
                    <a:pt x="3261" y="235"/>
                  </a:lnTo>
                  <a:lnTo>
                    <a:pt x="3308" y="290"/>
                  </a:lnTo>
                  <a:lnTo>
                    <a:pt x="3347" y="351"/>
                  </a:lnTo>
                  <a:lnTo>
                    <a:pt x="3381" y="416"/>
                  </a:lnTo>
                  <a:lnTo>
                    <a:pt x="3408" y="484"/>
                  </a:lnTo>
                  <a:lnTo>
                    <a:pt x="3429" y="556"/>
                  </a:lnTo>
                  <a:lnTo>
                    <a:pt x="3441" y="631"/>
                  </a:lnTo>
                  <a:lnTo>
                    <a:pt x="3445" y="708"/>
                  </a:lnTo>
                  <a:lnTo>
                    <a:pt x="3445" y="3768"/>
                  </a:lnTo>
                  <a:lnTo>
                    <a:pt x="3441" y="3845"/>
                  </a:lnTo>
                  <a:lnTo>
                    <a:pt x="3429" y="3920"/>
                  </a:lnTo>
                  <a:lnTo>
                    <a:pt x="3408" y="3992"/>
                  </a:lnTo>
                  <a:lnTo>
                    <a:pt x="3381" y="4060"/>
                  </a:lnTo>
                  <a:lnTo>
                    <a:pt x="3347" y="4125"/>
                  </a:lnTo>
                  <a:lnTo>
                    <a:pt x="3308" y="4186"/>
                  </a:lnTo>
                  <a:lnTo>
                    <a:pt x="3261" y="4241"/>
                  </a:lnTo>
                  <a:lnTo>
                    <a:pt x="3210" y="4293"/>
                  </a:lnTo>
                  <a:lnTo>
                    <a:pt x="3154" y="4339"/>
                  </a:lnTo>
                  <a:lnTo>
                    <a:pt x="3093" y="4380"/>
                  </a:lnTo>
                  <a:lnTo>
                    <a:pt x="3028" y="4412"/>
                  </a:lnTo>
                  <a:lnTo>
                    <a:pt x="2958" y="4439"/>
                  </a:lnTo>
                  <a:lnTo>
                    <a:pt x="2886" y="4460"/>
                  </a:lnTo>
                  <a:lnTo>
                    <a:pt x="2811" y="4472"/>
                  </a:lnTo>
                  <a:lnTo>
                    <a:pt x="2735" y="4476"/>
                  </a:lnTo>
                  <a:lnTo>
                    <a:pt x="709" y="4476"/>
                  </a:lnTo>
                  <a:lnTo>
                    <a:pt x="632" y="4472"/>
                  </a:lnTo>
                  <a:lnTo>
                    <a:pt x="557" y="4460"/>
                  </a:lnTo>
                  <a:lnTo>
                    <a:pt x="485" y="4439"/>
                  </a:lnTo>
                  <a:lnTo>
                    <a:pt x="417" y="4412"/>
                  </a:lnTo>
                  <a:lnTo>
                    <a:pt x="352" y="4380"/>
                  </a:lnTo>
                  <a:lnTo>
                    <a:pt x="291" y="4339"/>
                  </a:lnTo>
                  <a:lnTo>
                    <a:pt x="235" y="4293"/>
                  </a:lnTo>
                  <a:lnTo>
                    <a:pt x="183" y="4241"/>
                  </a:lnTo>
                  <a:lnTo>
                    <a:pt x="137" y="4186"/>
                  </a:lnTo>
                  <a:lnTo>
                    <a:pt x="96" y="4125"/>
                  </a:lnTo>
                  <a:lnTo>
                    <a:pt x="64" y="4060"/>
                  </a:lnTo>
                  <a:lnTo>
                    <a:pt x="36" y="3992"/>
                  </a:lnTo>
                  <a:lnTo>
                    <a:pt x="16" y="3920"/>
                  </a:lnTo>
                  <a:lnTo>
                    <a:pt x="4" y="3845"/>
                  </a:lnTo>
                  <a:lnTo>
                    <a:pt x="0" y="3768"/>
                  </a:lnTo>
                  <a:lnTo>
                    <a:pt x="0" y="708"/>
                  </a:lnTo>
                  <a:lnTo>
                    <a:pt x="4" y="631"/>
                  </a:lnTo>
                  <a:lnTo>
                    <a:pt x="16" y="556"/>
                  </a:lnTo>
                  <a:lnTo>
                    <a:pt x="36" y="484"/>
                  </a:lnTo>
                  <a:lnTo>
                    <a:pt x="64" y="416"/>
                  </a:lnTo>
                  <a:lnTo>
                    <a:pt x="96" y="351"/>
                  </a:lnTo>
                  <a:lnTo>
                    <a:pt x="137" y="290"/>
                  </a:lnTo>
                  <a:lnTo>
                    <a:pt x="183" y="235"/>
                  </a:lnTo>
                  <a:lnTo>
                    <a:pt x="235" y="183"/>
                  </a:lnTo>
                  <a:lnTo>
                    <a:pt x="291" y="137"/>
                  </a:lnTo>
                  <a:lnTo>
                    <a:pt x="352" y="96"/>
                  </a:lnTo>
                  <a:lnTo>
                    <a:pt x="417" y="64"/>
                  </a:lnTo>
                  <a:lnTo>
                    <a:pt x="485" y="37"/>
                  </a:lnTo>
                  <a:lnTo>
                    <a:pt x="557" y="16"/>
                  </a:lnTo>
                  <a:lnTo>
                    <a:pt x="632" y="4"/>
                  </a:lnTo>
                  <a:lnTo>
                    <a:pt x="7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5" name="Freeform 110"/>
            <p:cNvSpPr>
              <a:spLocks/>
            </p:cNvSpPr>
            <p:nvPr/>
          </p:nvSpPr>
          <p:spPr bwMode="auto">
            <a:xfrm>
              <a:off x="6752" y="597"/>
              <a:ext cx="394" cy="256"/>
            </a:xfrm>
            <a:custGeom>
              <a:avLst/>
              <a:gdLst>
                <a:gd name="T0" fmla="*/ 393 w 789"/>
                <a:gd name="T1" fmla="*/ 0 h 511"/>
                <a:gd name="T2" fmla="*/ 453 w 789"/>
                <a:gd name="T3" fmla="*/ 3 h 511"/>
                <a:gd name="T4" fmla="*/ 509 w 789"/>
                <a:gd name="T5" fmla="*/ 11 h 511"/>
                <a:gd name="T6" fmla="*/ 560 w 789"/>
                <a:gd name="T7" fmla="*/ 24 h 511"/>
                <a:gd name="T8" fmla="*/ 609 w 789"/>
                <a:gd name="T9" fmla="*/ 42 h 511"/>
                <a:gd name="T10" fmla="*/ 653 w 789"/>
                <a:gd name="T11" fmla="*/ 62 h 511"/>
                <a:gd name="T12" fmla="*/ 691 w 789"/>
                <a:gd name="T13" fmla="*/ 88 h 511"/>
                <a:gd name="T14" fmla="*/ 725 w 789"/>
                <a:gd name="T15" fmla="*/ 117 h 511"/>
                <a:gd name="T16" fmla="*/ 752 w 789"/>
                <a:gd name="T17" fmla="*/ 148 h 511"/>
                <a:gd name="T18" fmla="*/ 771 w 789"/>
                <a:gd name="T19" fmla="*/ 182 h 511"/>
                <a:gd name="T20" fmla="*/ 783 w 789"/>
                <a:gd name="T21" fmla="*/ 218 h 511"/>
                <a:gd name="T22" fmla="*/ 789 w 789"/>
                <a:gd name="T23" fmla="*/ 256 h 511"/>
                <a:gd name="T24" fmla="*/ 783 w 789"/>
                <a:gd name="T25" fmla="*/ 294 h 511"/>
                <a:gd name="T26" fmla="*/ 771 w 789"/>
                <a:gd name="T27" fmla="*/ 329 h 511"/>
                <a:gd name="T28" fmla="*/ 752 w 789"/>
                <a:gd name="T29" fmla="*/ 363 h 511"/>
                <a:gd name="T30" fmla="*/ 725 w 789"/>
                <a:gd name="T31" fmla="*/ 395 h 511"/>
                <a:gd name="T32" fmla="*/ 691 w 789"/>
                <a:gd name="T33" fmla="*/ 423 h 511"/>
                <a:gd name="T34" fmla="*/ 653 w 789"/>
                <a:gd name="T35" fmla="*/ 449 h 511"/>
                <a:gd name="T36" fmla="*/ 609 w 789"/>
                <a:gd name="T37" fmla="*/ 471 h 511"/>
                <a:gd name="T38" fmla="*/ 560 w 789"/>
                <a:gd name="T39" fmla="*/ 488 h 511"/>
                <a:gd name="T40" fmla="*/ 509 w 789"/>
                <a:gd name="T41" fmla="*/ 500 h 511"/>
                <a:gd name="T42" fmla="*/ 453 w 789"/>
                <a:gd name="T43" fmla="*/ 509 h 511"/>
                <a:gd name="T44" fmla="*/ 393 w 789"/>
                <a:gd name="T45" fmla="*/ 511 h 511"/>
                <a:gd name="T46" fmla="*/ 336 w 789"/>
                <a:gd name="T47" fmla="*/ 509 h 511"/>
                <a:gd name="T48" fmla="*/ 280 w 789"/>
                <a:gd name="T49" fmla="*/ 500 h 511"/>
                <a:gd name="T50" fmla="*/ 228 w 789"/>
                <a:gd name="T51" fmla="*/ 488 h 511"/>
                <a:gd name="T52" fmla="*/ 179 w 789"/>
                <a:gd name="T53" fmla="*/ 471 h 511"/>
                <a:gd name="T54" fmla="*/ 136 w 789"/>
                <a:gd name="T55" fmla="*/ 449 h 511"/>
                <a:gd name="T56" fmla="*/ 97 w 789"/>
                <a:gd name="T57" fmla="*/ 423 h 511"/>
                <a:gd name="T58" fmla="*/ 64 w 789"/>
                <a:gd name="T59" fmla="*/ 395 h 511"/>
                <a:gd name="T60" fmla="*/ 37 w 789"/>
                <a:gd name="T61" fmla="*/ 363 h 511"/>
                <a:gd name="T62" fmla="*/ 18 w 789"/>
                <a:gd name="T63" fmla="*/ 329 h 511"/>
                <a:gd name="T64" fmla="*/ 4 w 789"/>
                <a:gd name="T65" fmla="*/ 294 h 511"/>
                <a:gd name="T66" fmla="*/ 0 w 789"/>
                <a:gd name="T67" fmla="*/ 256 h 511"/>
                <a:gd name="T68" fmla="*/ 4 w 789"/>
                <a:gd name="T69" fmla="*/ 218 h 511"/>
                <a:gd name="T70" fmla="*/ 18 w 789"/>
                <a:gd name="T71" fmla="*/ 182 h 511"/>
                <a:gd name="T72" fmla="*/ 37 w 789"/>
                <a:gd name="T73" fmla="*/ 148 h 511"/>
                <a:gd name="T74" fmla="*/ 64 w 789"/>
                <a:gd name="T75" fmla="*/ 117 h 511"/>
                <a:gd name="T76" fmla="*/ 97 w 789"/>
                <a:gd name="T77" fmla="*/ 88 h 511"/>
                <a:gd name="T78" fmla="*/ 136 w 789"/>
                <a:gd name="T79" fmla="*/ 62 h 511"/>
                <a:gd name="T80" fmla="*/ 179 w 789"/>
                <a:gd name="T81" fmla="*/ 42 h 511"/>
                <a:gd name="T82" fmla="*/ 228 w 789"/>
                <a:gd name="T83" fmla="*/ 24 h 511"/>
                <a:gd name="T84" fmla="*/ 280 w 789"/>
                <a:gd name="T85" fmla="*/ 11 h 511"/>
                <a:gd name="T86" fmla="*/ 336 w 789"/>
                <a:gd name="T87" fmla="*/ 3 h 511"/>
                <a:gd name="T88" fmla="*/ 393 w 789"/>
                <a:gd name="T8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89" h="511">
                  <a:moveTo>
                    <a:pt x="393" y="0"/>
                  </a:moveTo>
                  <a:lnTo>
                    <a:pt x="453" y="3"/>
                  </a:lnTo>
                  <a:lnTo>
                    <a:pt x="509" y="11"/>
                  </a:lnTo>
                  <a:lnTo>
                    <a:pt x="560" y="24"/>
                  </a:lnTo>
                  <a:lnTo>
                    <a:pt x="609" y="42"/>
                  </a:lnTo>
                  <a:lnTo>
                    <a:pt x="653" y="62"/>
                  </a:lnTo>
                  <a:lnTo>
                    <a:pt x="691" y="88"/>
                  </a:lnTo>
                  <a:lnTo>
                    <a:pt x="725" y="117"/>
                  </a:lnTo>
                  <a:lnTo>
                    <a:pt x="752" y="148"/>
                  </a:lnTo>
                  <a:lnTo>
                    <a:pt x="771" y="182"/>
                  </a:lnTo>
                  <a:lnTo>
                    <a:pt x="783" y="218"/>
                  </a:lnTo>
                  <a:lnTo>
                    <a:pt x="789" y="256"/>
                  </a:lnTo>
                  <a:lnTo>
                    <a:pt x="783" y="294"/>
                  </a:lnTo>
                  <a:lnTo>
                    <a:pt x="771" y="329"/>
                  </a:lnTo>
                  <a:lnTo>
                    <a:pt x="752" y="363"/>
                  </a:lnTo>
                  <a:lnTo>
                    <a:pt x="725" y="395"/>
                  </a:lnTo>
                  <a:lnTo>
                    <a:pt x="691" y="423"/>
                  </a:lnTo>
                  <a:lnTo>
                    <a:pt x="653" y="449"/>
                  </a:lnTo>
                  <a:lnTo>
                    <a:pt x="609" y="471"/>
                  </a:lnTo>
                  <a:lnTo>
                    <a:pt x="560" y="488"/>
                  </a:lnTo>
                  <a:lnTo>
                    <a:pt x="509" y="500"/>
                  </a:lnTo>
                  <a:lnTo>
                    <a:pt x="453" y="509"/>
                  </a:lnTo>
                  <a:lnTo>
                    <a:pt x="393" y="511"/>
                  </a:lnTo>
                  <a:lnTo>
                    <a:pt x="336" y="509"/>
                  </a:lnTo>
                  <a:lnTo>
                    <a:pt x="280" y="500"/>
                  </a:lnTo>
                  <a:lnTo>
                    <a:pt x="228" y="488"/>
                  </a:lnTo>
                  <a:lnTo>
                    <a:pt x="179" y="471"/>
                  </a:lnTo>
                  <a:lnTo>
                    <a:pt x="136" y="449"/>
                  </a:lnTo>
                  <a:lnTo>
                    <a:pt x="97" y="423"/>
                  </a:lnTo>
                  <a:lnTo>
                    <a:pt x="64" y="395"/>
                  </a:lnTo>
                  <a:lnTo>
                    <a:pt x="37" y="363"/>
                  </a:lnTo>
                  <a:lnTo>
                    <a:pt x="18" y="329"/>
                  </a:lnTo>
                  <a:lnTo>
                    <a:pt x="4" y="294"/>
                  </a:lnTo>
                  <a:lnTo>
                    <a:pt x="0" y="256"/>
                  </a:lnTo>
                  <a:lnTo>
                    <a:pt x="4" y="218"/>
                  </a:lnTo>
                  <a:lnTo>
                    <a:pt x="18" y="182"/>
                  </a:lnTo>
                  <a:lnTo>
                    <a:pt x="37" y="148"/>
                  </a:lnTo>
                  <a:lnTo>
                    <a:pt x="64" y="117"/>
                  </a:lnTo>
                  <a:lnTo>
                    <a:pt x="97" y="88"/>
                  </a:lnTo>
                  <a:lnTo>
                    <a:pt x="136" y="62"/>
                  </a:lnTo>
                  <a:lnTo>
                    <a:pt x="179" y="42"/>
                  </a:lnTo>
                  <a:lnTo>
                    <a:pt x="228" y="24"/>
                  </a:lnTo>
                  <a:lnTo>
                    <a:pt x="280" y="11"/>
                  </a:lnTo>
                  <a:lnTo>
                    <a:pt x="336" y="3"/>
                  </a:lnTo>
                  <a:lnTo>
                    <a:pt x="3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74" name="Group 16"/>
          <p:cNvGrpSpPr>
            <a:grpSpLocks noChangeAspect="1"/>
          </p:cNvGrpSpPr>
          <p:nvPr/>
        </p:nvGrpSpPr>
        <p:grpSpPr bwMode="auto">
          <a:xfrm>
            <a:off x="3172328" y="3262184"/>
            <a:ext cx="543554" cy="543554"/>
            <a:chOff x="-783" y="2303"/>
            <a:chExt cx="491" cy="491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175" name="Freeform 18"/>
            <p:cNvSpPr>
              <a:spLocks/>
            </p:cNvSpPr>
            <p:nvPr/>
          </p:nvSpPr>
          <p:spPr bwMode="auto">
            <a:xfrm>
              <a:off x="-415" y="2395"/>
              <a:ext cx="36" cy="29"/>
            </a:xfrm>
            <a:custGeom>
              <a:avLst/>
              <a:gdLst>
                <a:gd name="T0" fmla="*/ 131 w 252"/>
                <a:gd name="T1" fmla="*/ 0 h 201"/>
                <a:gd name="T2" fmla="*/ 146 w 252"/>
                <a:gd name="T3" fmla="*/ 2 h 201"/>
                <a:gd name="T4" fmla="*/ 160 w 252"/>
                <a:gd name="T5" fmla="*/ 5 h 201"/>
                <a:gd name="T6" fmla="*/ 173 w 252"/>
                <a:gd name="T7" fmla="*/ 9 h 201"/>
                <a:gd name="T8" fmla="*/ 181 w 252"/>
                <a:gd name="T9" fmla="*/ 10 h 201"/>
                <a:gd name="T10" fmla="*/ 199 w 252"/>
                <a:gd name="T11" fmla="*/ 22 h 201"/>
                <a:gd name="T12" fmla="*/ 217 w 252"/>
                <a:gd name="T13" fmla="*/ 35 h 201"/>
                <a:gd name="T14" fmla="*/ 232 w 252"/>
                <a:gd name="T15" fmla="*/ 48 h 201"/>
                <a:gd name="T16" fmla="*/ 244 w 252"/>
                <a:gd name="T17" fmla="*/ 63 h 201"/>
                <a:gd name="T18" fmla="*/ 252 w 252"/>
                <a:gd name="T19" fmla="*/ 80 h 201"/>
                <a:gd name="T20" fmla="*/ 252 w 252"/>
                <a:gd name="T21" fmla="*/ 101 h 201"/>
                <a:gd name="T22" fmla="*/ 251 w 252"/>
                <a:gd name="T23" fmla="*/ 120 h 201"/>
                <a:gd name="T24" fmla="*/ 247 w 252"/>
                <a:gd name="T25" fmla="*/ 137 h 201"/>
                <a:gd name="T26" fmla="*/ 240 w 252"/>
                <a:gd name="T27" fmla="*/ 153 h 201"/>
                <a:gd name="T28" fmla="*/ 231 w 252"/>
                <a:gd name="T29" fmla="*/ 167 h 201"/>
                <a:gd name="T30" fmla="*/ 217 w 252"/>
                <a:gd name="T31" fmla="*/ 179 h 201"/>
                <a:gd name="T32" fmla="*/ 199 w 252"/>
                <a:gd name="T33" fmla="*/ 188 h 201"/>
                <a:gd name="T34" fmla="*/ 178 w 252"/>
                <a:gd name="T35" fmla="*/ 195 h 201"/>
                <a:gd name="T36" fmla="*/ 152 w 252"/>
                <a:gd name="T37" fmla="*/ 199 h 201"/>
                <a:gd name="T38" fmla="*/ 121 w 252"/>
                <a:gd name="T39" fmla="*/ 201 h 201"/>
                <a:gd name="T40" fmla="*/ 95 w 252"/>
                <a:gd name="T41" fmla="*/ 199 h 201"/>
                <a:gd name="T42" fmla="*/ 73 w 252"/>
                <a:gd name="T43" fmla="*/ 192 h 201"/>
                <a:gd name="T44" fmla="*/ 51 w 252"/>
                <a:gd name="T45" fmla="*/ 182 h 201"/>
                <a:gd name="T46" fmla="*/ 34 w 252"/>
                <a:gd name="T47" fmla="*/ 169 h 201"/>
                <a:gd name="T48" fmla="*/ 19 w 252"/>
                <a:gd name="T49" fmla="*/ 154 h 201"/>
                <a:gd name="T50" fmla="*/ 9 w 252"/>
                <a:gd name="T51" fmla="*/ 137 h 201"/>
                <a:gd name="T52" fmla="*/ 2 w 252"/>
                <a:gd name="T53" fmla="*/ 119 h 201"/>
                <a:gd name="T54" fmla="*/ 0 w 252"/>
                <a:gd name="T55" fmla="*/ 101 h 201"/>
                <a:gd name="T56" fmla="*/ 3 w 252"/>
                <a:gd name="T57" fmla="*/ 79 h 201"/>
                <a:gd name="T58" fmla="*/ 11 w 252"/>
                <a:gd name="T59" fmla="*/ 60 h 201"/>
                <a:gd name="T60" fmla="*/ 22 w 252"/>
                <a:gd name="T61" fmla="*/ 43 h 201"/>
                <a:gd name="T62" fmla="*/ 40 w 252"/>
                <a:gd name="T63" fmla="*/ 28 h 201"/>
                <a:gd name="T64" fmla="*/ 59 w 252"/>
                <a:gd name="T65" fmla="*/ 16 h 201"/>
                <a:gd name="T66" fmla="*/ 80 w 252"/>
                <a:gd name="T67" fmla="*/ 7 h 201"/>
                <a:gd name="T68" fmla="*/ 105 w 252"/>
                <a:gd name="T69" fmla="*/ 2 h 201"/>
                <a:gd name="T70" fmla="*/ 131 w 252"/>
                <a:gd name="T71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2" h="201">
                  <a:moveTo>
                    <a:pt x="131" y="0"/>
                  </a:moveTo>
                  <a:lnTo>
                    <a:pt x="146" y="2"/>
                  </a:lnTo>
                  <a:lnTo>
                    <a:pt x="160" y="5"/>
                  </a:lnTo>
                  <a:lnTo>
                    <a:pt x="173" y="9"/>
                  </a:lnTo>
                  <a:lnTo>
                    <a:pt x="181" y="10"/>
                  </a:lnTo>
                  <a:lnTo>
                    <a:pt x="199" y="22"/>
                  </a:lnTo>
                  <a:lnTo>
                    <a:pt x="217" y="35"/>
                  </a:lnTo>
                  <a:lnTo>
                    <a:pt x="232" y="48"/>
                  </a:lnTo>
                  <a:lnTo>
                    <a:pt x="244" y="63"/>
                  </a:lnTo>
                  <a:lnTo>
                    <a:pt x="252" y="80"/>
                  </a:lnTo>
                  <a:lnTo>
                    <a:pt x="252" y="101"/>
                  </a:lnTo>
                  <a:lnTo>
                    <a:pt x="251" y="120"/>
                  </a:lnTo>
                  <a:lnTo>
                    <a:pt x="247" y="137"/>
                  </a:lnTo>
                  <a:lnTo>
                    <a:pt x="240" y="153"/>
                  </a:lnTo>
                  <a:lnTo>
                    <a:pt x="231" y="167"/>
                  </a:lnTo>
                  <a:lnTo>
                    <a:pt x="217" y="179"/>
                  </a:lnTo>
                  <a:lnTo>
                    <a:pt x="199" y="188"/>
                  </a:lnTo>
                  <a:lnTo>
                    <a:pt x="178" y="195"/>
                  </a:lnTo>
                  <a:lnTo>
                    <a:pt x="152" y="199"/>
                  </a:lnTo>
                  <a:lnTo>
                    <a:pt x="121" y="201"/>
                  </a:lnTo>
                  <a:lnTo>
                    <a:pt x="95" y="199"/>
                  </a:lnTo>
                  <a:lnTo>
                    <a:pt x="73" y="192"/>
                  </a:lnTo>
                  <a:lnTo>
                    <a:pt x="51" y="182"/>
                  </a:lnTo>
                  <a:lnTo>
                    <a:pt x="34" y="169"/>
                  </a:lnTo>
                  <a:lnTo>
                    <a:pt x="19" y="154"/>
                  </a:lnTo>
                  <a:lnTo>
                    <a:pt x="9" y="137"/>
                  </a:lnTo>
                  <a:lnTo>
                    <a:pt x="2" y="119"/>
                  </a:lnTo>
                  <a:lnTo>
                    <a:pt x="0" y="101"/>
                  </a:lnTo>
                  <a:lnTo>
                    <a:pt x="3" y="79"/>
                  </a:lnTo>
                  <a:lnTo>
                    <a:pt x="11" y="60"/>
                  </a:lnTo>
                  <a:lnTo>
                    <a:pt x="22" y="43"/>
                  </a:lnTo>
                  <a:lnTo>
                    <a:pt x="40" y="28"/>
                  </a:lnTo>
                  <a:lnTo>
                    <a:pt x="59" y="16"/>
                  </a:lnTo>
                  <a:lnTo>
                    <a:pt x="80" y="7"/>
                  </a:lnTo>
                  <a:lnTo>
                    <a:pt x="105" y="2"/>
                  </a:lnTo>
                  <a:lnTo>
                    <a:pt x="1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6" name="Freeform 19"/>
            <p:cNvSpPr>
              <a:spLocks/>
            </p:cNvSpPr>
            <p:nvPr/>
          </p:nvSpPr>
          <p:spPr bwMode="auto">
            <a:xfrm>
              <a:off x="-409" y="2347"/>
              <a:ext cx="25" cy="31"/>
            </a:xfrm>
            <a:custGeom>
              <a:avLst/>
              <a:gdLst>
                <a:gd name="T0" fmla="*/ 73 w 175"/>
                <a:gd name="T1" fmla="*/ 0 h 220"/>
                <a:gd name="T2" fmla="*/ 94 w 175"/>
                <a:gd name="T3" fmla="*/ 3 h 220"/>
                <a:gd name="T4" fmla="*/ 113 w 175"/>
                <a:gd name="T5" fmla="*/ 11 h 220"/>
                <a:gd name="T6" fmla="*/ 130 w 175"/>
                <a:gd name="T7" fmla="*/ 25 h 220"/>
                <a:gd name="T8" fmla="*/ 145 w 175"/>
                <a:gd name="T9" fmla="*/ 42 h 220"/>
                <a:gd name="T10" fmla="*/ 158 w 175"/>
                <a:gd name="T11" fmla="*/ 62 h 220"/>
                <a:gd name="T12" fmla="*/ 168 w 175"/>
                <a:gd name="T13" fmla="*/ 85 h 220"/>
                <a:gd name="T14" fmla="*/ 173 w 175"/>
                <a:gd name="T15" fmla="*/ 110 h 220"/>
                <a:gd name="T16" fmla="*/ 175 w 175"/>
                <a:gd name="T17" fmla="*/ 136 h 220"/>
                <a:gd name="T18" fmla="*/ 171 w 175"/>
                <a:gd name="T19" fmla="*/ 158 h 220"/>
                <a:gd name="T20" fmla="*/ 163 w 175"/>
                <a:gd name="T21" fmla="*/ 179 h 220"/>
                <a:gd name="T22" fmla="*/ 151 w 175"/>
                <a:gd name="T23" fmla="*/ 196 h 220"/>
                <a:gd name="T24" fmla="*/ 137 w 175"/>
                <a:gd name="T25" fmla="*/ 210 h 220"/>
                <a:gd name="T26" fmla="*/ 121 w 175"/>
                <a:gd name="T27" fmla="*/ 218 h 220"/>
                <a:gd name="T28" fmla="*/ 104 w 175"/>
                <a:gd name="T29" fmla="*/ 220 h 220"/>
                <a:gd name="T30" fmla="*/ 82 w 175"/>
                <a:gd name="T31" fmla="*/ 218 h 220"/>
                <a:gd name="T32" fmla="*/ 63 w 175"/>
                <a:gd name="T33" fmla="*/ 210 h 220"/>
                <a:gd name="T34" fmla="*/ 46 w 175"/>
                <a:gd name="T35" fmla="*/ 196 h 220"/>
                <a:gd name="T36" fmla="*/ 31 w 175"/>
                <a:gd name="T37" fmla="*/ 179 h 220"/>
                <a:gd name="T38" fmla="*/ 18 w 175"/>
                <a:gd name="T39" fmla="*/ 158 h 220"/>
                <a:gd name="T40" fmla="*/ 9 w 175"/>
                <a:gd name="T41" fmla="*/ 136 h 220"/>
                <a:gd name="T42" fmla="*/ 3 w 175"/>
                <a:gd name="T43" fmla="*/ 110 h 220"/>
                <a:gd name="T44" fmla="*/ 0 w 175"/>
                <a:gd name="T45" fmla="*/ 89 h 220"/>
                <a:gd name="T46" fmla="*/ 2 w 175"/>
                <a:gd name="T47" fmla="*/ 67 h 220"/>
                <a:gd name="T48" fmla="*/ 7 w 175"/>
                <a:gd name="T49" fmla="*/ 49 h 220"/>
                <a:gd name="T50" fmla="*/ 14 w 175"/>
                <a:gd name="T51" fmla="*/ 32 h 220"/>
                <a:gd name="T52" fmla="*/ 26 w 175"/>
                <a:gd name="T53" fmla="*/ 19 h 220"/>
                <a:gd name="T54" fmla="*/ 39 w 175"/>
                <a:gd name="T55" fmla="*/ 9 h 220"/>
                <a:gd name="T56" fmla="*/ 55 w 175"/>
                <a:gd name="T57" fmla="*/ 2 h 220"/>
                <a:gd name="T58" fmla="*/ 73 w 175"/>
                <a:gd name="T59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75" h="220">
                  <a:moveTo>
                    <a:pt x="73" y="0"/>
                  </a:moveTo>
                  <a:lnTo>
                    <a:pt x="94" y="3"/>
                  </a:lnTo>
                  <a:lnTo>
                    <a:pt x="113" y="11"/>
                  </a:lnTo>
                  <a:lnTo>
                    <a:pt x="130" y="25"/>
                  </a:lnTo>
                  <a:lnTo>
                    <a:pt x="145" y="42"/>
                  </a:lnTo>
                  <a:lnTo>
                    <a:pt x="158" y="62"/>
                  </a:lnTo>
                  <a:lnTo>
                    <a:pt x="168" y="85"/>
                  </a:lnTo>
                  <a:lnTo>
                    <a:pt x="173" y="110"/>
                  </a:lnTo>
                  <a:lnTo>
                    <a:pt x="175" y="136"/>
                  </a:lnTo>
                  <a:lnTo>
                    <a:pt x="171" y="158"/>
                  </a:lnTo>
                  <a:lnTo>
                    <a:pt x="163" y="179"/>
                  </a:lnTo>
                  <a:lnTo>
                    <a:pt x="151" y="196"/>
                  </a:lnTo>
                  <a:lnTo>
                    <a:pt x="137" y="210"/>
                  </a:lnTo>
                  <a:lnTo>
                    <a:pt x="121" y="218"/>
                  </a:lnTo>
                  <a:lnTo>
                    <a:pt x="104" y="220"/>
                  </a:lnTo>
                  <a:lnTo>
                    <a:pt x="82" y="218"/>
                  </a:lnTo>
                  <a:lnTo>
                    <a:pt x="63" y="210"/>
                  </a:lnTo>
                  <a:lnTo>
                    <a:pt x="46" y="196"/>
                  </a:lnTo>
                  <a:lnTo>
                    <a:pt x="31" y="179"/>
                  </a:lnTo>
                  <a:lnTo>
                    <a:pt x="18" y="158"/>
                  </a:lnTo>
                  <a:lnTo>
                    <a:pt x="9" y="136"/>
                  </a:lnTo>
                  <a:lnTo>
                    <a:pt x="3" y="110"/>
                  </a:lnTo>
                  <a:lnTo>
                    <a:pt x="0" y="89"/>
                  </a:lnTo>
                  <a:lnTo>
                    <a:pt x="2" y="67"/>
                  </a:lnTo>
                  <a:lnTo>
                    <a:pt x="7" y="49"/>
                  </a:lnTo>
                  <a:lnTo>
                    <a:pt x="14" y="32"/>
                  </a:lnTo>
                  <a:lnTo>
                    <a:pt x="26" y="19"/>
                  </a:lnTo>
                  <a:lnTo>
                    <a:pt x="39" y="9"/>
                  </a:lnTo>
                  <a:lnTo>
                    <a:pt x="55" y="2"/>
                  </a:lnTo>
                  <a:lnTo>
                    <a:pt x="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7" name="Freeform 20"/>
            <p:cNvSpPr>
              <a:spLocks noEditPoints="1"/>
            </p:cNvSpPr>
            <p:nvPr/>
          </p:nvSpPr>
          <p:spPr bwMode="auto">
            <a:xfrm>
              <a:off x="-461" y="2303"/>
              <a:ext cx="167" cy="167"/>
            </a:xfrm>
            <a:custGeom>
              <a:avLst/>
              <a:gdLst>
                <a:gd name="T0" fmla="*/ 394 w 1169"/>
                <a:gd name="T1" fmla="*/ 292 h 1165"/>
                <a:gd name="T2" fmla="*/ 322 w 1169"/>
                <a:gd name="T3" fmla="*/ 340 h 1165"/>
                <a:gd name="T4" fmla="*/ 292 w 1169"/>
                <a:gd name="T5" fmla="*/ 412 h 1165"/>
                <a:gd name="T6" fmla="*/ 315 w 1169"/>
                <a:gd name="T7" fmla="*/ 485 h 1165"/>
                <a:gd name="T8" fmla="*/ 377 w 1169"/>
                <a:gd name="T9" fmla="*/ 532 h 1165"/>
                <a:gd name="T10" fmla="*/ 453 w 1169"/>
                <a:gd name="T11" fmla="*/ 543 h 1165"/>
                <a:gd name="T12" fmla="*/ 443 w 1169"/>
                <a:gd name="T13" fmla="*/ 572 h 1165"/>
                <a:gd name="T14" fmla="*/ 452 w 1169"/>
                <a:gd name="T15" fmla="*/ 623 h 1165"/>
                <a:gd name="T16" fmla="*/ 386 w 1169"/>
                <a:gd name="T17" fmla="*/ 646 h 1165"/>
                <a:gd name="T18" fmla="*/ 294 w 1169"/>
                <a:gd name="T19" fmla="*/ 681 h 1165"/>
                <a:gd name="T20" fmla="*/ 245 w 1169"/>
                <a:gd name="T21" fmla="*/ 748 h 1165"/>
                <a:gd name="T22" fmla="*/ 252 w 1169"/>
                <a:gd name="T23" fmla="*/ 812 h 1165"/>
                <a:gd name="T24" fmla="*/ 299 w 1169"/>
                <a:gd name="T25" fmla="*/ 855 h 1165"/>
                <a:gd name="T26" fmla="*/ 374 w 1169"/>
                <a:gd name="T27" fmla="*/ 879 h 1165"/>
                <a:gd name="T28" fmla="*/ 468 w 1169"/>
                <a:gd name="T29" fmla="*/ 882 h 1165"/>
                <a:gd name="T30" fmla="*/ 549 w 1169"/>
                <a:gd name="T31" fmla="*/ 858 h 1165"/>
                <a:gd name="T32" fmla="*/ 598 w 1169"/>
                <a:gd name="T33" fmla="*/ 813 h 1165"/>
                <a:gd name="T34" fmla="*/ 614 w 1169"/>
                <a:gd name="T35" fmla="*/ 753 h 1165"/>
                <a:gd name="T36" fmla="*/ 603 w 1169"/>
                <a:gd name="T37" fmla="*/ 686 h 1165"/>
                <a:gd name="T38" fmla="*/ 554 w 1169"/>
                <a:gd name="T39" fmla="*/ 633 h 1165"/>
                <a:gd name="T40" fmla="*/ 521 w 1169"/>
                <a:gd name="T41" fmla="*/ 607 h 1165"/>
                <a:gd name="T42" fmla="*/ 503 w 1169"/>
                <a:gd name="T43" fmla="*/ 572 h 1165"/>
                <a:gd name="T44" fmla="*/ 516 w 1169"/>
                <a:gd name="T45" fmla="*/ 544 h 1165"/>
                <a:gd name="T46" fmla="*/ 560 w 1169"/>
                <a:gd name="T47" fmla="*/ 504 h 1165"/>
                <a:gd name="T48" fmla="*/ 592 w 1169"/>
                <a:gd name="T49" fmla="*/ 445 h 1165"/>
                <a:gd name="T50" fmla="*/ 589 w 1169"/>
                <a:gd name="T51" fmla="*/ 380 h 1165"/>
                <a:gd name="T52" fmla="*/ 563 w 1169"/>
                <a:gd name="T53" fmla="*/ 330 h 1165"/>
                <a:gd name="T54" fmla="*/ 594 w 1169"/>
                <a:gd name="T55" fmla="*/ 312 h 1165"/>
                <a:gd name="T56" fmla="*/ 806 w 1169"/>
                <a:gd name="T57" fmla="*/ 272 h 1165"/>
                <a:gd name="T58" fmla="*/ 694 w 1169"/>
                <a:gd name="T59" fmla="*/ 423 h 1165"/>
                <a:gd name="T60" fmla="*/ 846 w 1169"/>
                <a:gd name="T61" fmla="*/ 533 h 1165"/>
                <a:gd name="T62" fmla="*/ 956 w 1169"/>
                <a:gd name="T63" fmla="*/ 382 h 1165"/>
                <a:gd name="T64" fmla="*/ 806 w 1169"/>
                <a:gd name="T65" fmla="*/ 272 h 1165"/>
                <a:gd name="T66" fmla="*/ 725 w 1169"/>
                <a:gd name="T67" fmla="*/ 13 h 1165"/>
                <a:gd name="T68" fmla="*/ 890 w 1169"/>
                <a:gd name="T69" fmla="*/ 77 h 1165"/>
                <a:gd name="T70" fmla="*/ 1024 w 1169"/>
                <a:gd name="T71" fmla="*/ 185 h 1165"/>
                <a:gd name="T72" fmla="*/ 1118 w 1169"/>
                <a:gd name="T73" fmla="*/ 331 h 1165"/>
                <a:gd name="T74" fmla="*/ 1166 w 1169"/>
                <a:gd name="T75" fmla="*/ 502 h 1165"/>
                <a:gd name="T76" fmla="*/ 1156 w 1169"/>
                <a:gd name="T77" fmla="*/ 684 h 1165"/>
                <a:gd name="T78" fmla="*/ 1092 w 1169"/>
                <a:gd name="T79" fmla="*/ 847 h 1165"/>
                <a:gd name="T80" fmla="*/ 983 w 1169"/>
                <a:gd name="T81" fmla="*/ 980 h 1165"/>
                <a:gd name="T82" fmla="*/ 837 w 1169"/>
                <a:gd name="T83" fmla="*/ 1075 h 1165"/>
                <a:gd name="T84" fmla="*/ 666 w 1169"/>
                <a:gd name="T85" fmla="*/ 1122 h 1165"/>
                <a:gd name="T86" fmla="*/ 495 w 1169"/>
                <a:gd name="T87" fmla="*/ 1113 h 1165"/>
                <a:gd name="T88" fmla="*/ 342 w 1169"/>
                <a:gd name="T89" fmla="*/ 1055 h 1165"/>
                <a:gd name="T90" fmla="*/ 80 w 1169"/>
                <a:gd name="T91" fmla="*/ 1165 h 1165"/>
                <a:gd name="T92" fmla="*/ 22 w 1169"/>
                <a:gd name="T93" fmla="*/ 1107 h 1165"/>
                <a:gd name="T94" fmla="*/ 143 w 1169"/>
                <a:gd name="T95" fmla="*/ 879 h 1165"/>
                <a:gd name="T96" fmla="*/ 75 w 1169"/>
                <a:gd name="T97" fmla="*/ 757 h 1165"/>
                <a:gd name="T98" fmla="*/ 43 w 1169"/>
                <a:gd name="T99" fmla="*/ 614 h 1165"/>
                <a:gd name="T100" fmla="*/ 53 w 1169"/>
                <a:gd name="T101" fmla="*/ 442 h 1165"/>
                <a:gd name="T102" fmla="*/ 117 w 1169"/>
                <a:gd name="T103" fmla="*/ 278 h 1165"/>
                <a:gd name="T104" fmla="*/ 226 w 1169"/>
                <a:gd name="T105" fmla="*/ 145 h 1165"/>
                <a:gd name="T106" fmla="*/ 371 w 1169"/>
                <a:gd name="T107" fmla="*/ 51 h 1165"/>
                <a:gd name="T108" fmla="*/ 543 w 1169"/>
                <a:gd name="T109" fmla="*/ 4 h 1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69" h="1165">
                  <a:moveTo>
                    <a:pt x="453" y="282"/>
                  </a:moveTo>
                  <a:lnTo>
                    <a:pt x="423" y="285"/>
                  </a:lnTo>
                  <a:lnTo>
                    <a:pt x="394" y="292"/>
                  </a:lnTo>
                  <a:lnTo>
                    <a:pt x="367" y="304"/>
                  </a:lnTo>
                  <a:lnTo>
                    <a:pt x="342" y="320"/>
                  </a:lnTo>
                  <a:lnTo>
                    <a:pt x="322" y="340"/>
                  </a:lnTo>
                  <a:lnTo>
                    <a:pt x="306" y="362"/>
                  </a:lnTo>
                  <a:lnTo>
                    <a:pt x="296" y="386"/>
                  </a:lnTo>
                  <a:lnTo>
                    <a:pt x="292" y="412"/>
                  </a:lnTo>
                  <a:lnTo>
                    <a:pt x="295" y="438"/>
                  </a:lnTo>
                  <a:lnTo>
                    <a:pt x="302" y="462"/>
                  </a:lnTo>
                  <a:lnTo>
                    <a:pt x="315" y="485"/>
                  </a:lnTo>
                  <a:lnTo>
                    <a:pt x="333" y="504"/>
                  </a:lnTo>
                  <a:lnTo>
                    <a:pt x="353" y="520"/>
                  </a:lnTo>
                  <a:lnTo>
                    <a:pt x="377" y="532"/>
                  </a:lnTo>
                  <a:lnTo>
                    <a:pt x="403" y="540"/>
                  </a:lnTo>
                  <a:lnTo>
                    <a:pt x="433" y="543"/>
                  </a:lnTo>
                  <a:lnTo>
                    <a:pt x="453" y="543"/>
                  </a:lnTo>
                  <a:lnTo>
                    <a:pt x="446" y="553"/>
                  </a:lnTo>
                  <a:lnTo>
                    <a:pt x="443" y="563"/>
                  </a:lnTo>
                  <a:lnTo>
                    <a:pt x="443" y="572"/>
                  </a:lnTo>
                  <a:lnTo>
                    <a:pt x="444" y="588"/>
                  </a:lnTo>
                  <a:lnTo>
                    <a:pt x="448" y="605"/>
                  </a:lnTo>
                  <a:lnTo>
                    <a:pt x="452" y="623"/>
                  </a:lnTo>
                  <a:lnTo>
                    <a:pt x="453" y="643"/>
                  </a:lnTo>
                  <a:lnTo>
                    <a:pt x="423" y="643"/>
                  </a:lnTo>
                  <a:lnTo>
                    <a:pt x="386" y="646"/>
                  </a:lnTo>
                  <a:lnTo>
                    <a:pt x="352" y="654"/>
                  </a:lnTo>
                  <a:lnTo>
                    <a:pt x="321" y="665"/>
                  </a:lnTo>
                  <a:lnTo>
                    <a:pt x="294" y="681"/>
                  </a:lnTo>
                  <a:lnTo>
                    <a:pt x="272" y="702"/>
                  </a:lnTo>
                  <a:lnTo>
                    <a:pt x="255" y="723"/>
                  </a:lnTo>
                  <a:lnTo>
                    <a:pt x="245" y="748"/>
                  </a:lnTo>
                  <a:lnTo>
                    <a:pt x="241" y="773"/>
                  </a:lnTo>
                  <a:lnTo>
                    <a:pt x="245" y="794"/>
                  </a:lnTo>
                  <a:lnTo>
                    <a:pt x="252" y="812"/>
                  </a:lnTo>
                  <a:lnTo>
                    <a:pt x="264" y="828"/>
                  </a:lnTo>
                  <a:lnTo>
                    <a:pt x="280" y="843"/>
                  </a:lnTo>
                  <a:lnTo>
                    <a:pt x="299" y="855"/>
                  </a:lnTo>
                  <a:lnTo>
                    <a:pt x="322" y="865"/>
                  </a:lnTo>
                  <a:lnTo>
                    <a:pt x="348" y="873"/>
                  </a:lnTo>
                  <a:lnTo>
                    <a:pt x="374" y="879"/>
                  </a:lnTo>
                  <a:lnTo>
                    <a:pt x="403" y="882"/>
                  </a:lnTo>
                  <a:lnTo>
                    <a:pt x="433" y="884"/>
                  </a:lnTo>
                  <a:lnTo>
                    <a:pt x="468" y="882"/>
                  </a:lnTo>
                  <a:lnTo>
                    <a:pt x="498" y="877"/>
                  </a:lnTo>
                  <a:lnTo>
                    <a:pt x="526" y="869"/>
                  </a:lnTo>
                  <a:lnTo>
                    <a:pt x="549" y="858"/>
                  </a:lnTo>
                  <a:lnTo>
                    <a:pt x="569" y="845"/>
                  </a:lnTo>
                  <a:lnTo>
                    <a:pt x="585" y="830"/>
                  </a:lnTo>
                  <a:lnTo>
                    <a:pt x="598" y="813"/>
                  </a:lnTo>
                  <a:lnTo>
                    <a:pt x="607" y="794"/>
                  </a:lnTo>
                  <a:lnTo>
                    <a:pt x="613" y="775"/>
                  </a:lnTo>
                  <a:lnTo>
                    <a:pt x="614" y="753"/>
                  </a:lnTo>
                  <a:lnTo>
                    <a:pt x="613" y="730"/>
                  </a:lnTo>
                  <a:lnTo>
                    <a:pt x="610" y="706"/>
                  </a:lnTo>
                  <a:lnTo>
                    <a:pt x="603" y="686"/>
                  </a:lnTo>
                  <a:lnTo>
                    <a:pt x="591" y="667"/>
                  </a:lnTo>
                  <a:lnTo>
                    <a:pt x="575" y="649"/>
                  </a:lnTo>
                  <a:lnTo>
                    <a:pt x="554" y="633"/>
                  </a:lnTo>
                  <a:lnTo>
                    <a:pt x="543" y="626"/>
                  </a:lnTo>
                  <a:lnTo>
                    <a:pt x="532" y="617"/>
                  </a:lnTo>
                  <a:lnTo>
                    <a:pt x="521" y="607"/>
                  </a:lnTo>
                  <a:lnTo>
                    <a:pt x="512" y="595"/>
                  </a:lnTo>
                  <a:lnTo>
                    <a:pt x="505" y="583"/>
                  </a:lnTo>
                  <a:lnTo>
                    <a:pt x="503" y="572"/>
                  </a:lnTo>
                  <a:lnTo>
                    <a:pt x="504" y="562"/>
                  </a:lnTo>
                  <a:lnTo>
                    <a:pt x="509" y="552"/>
                  </a:lnTo>
                  <a:lnTo>
                    <a:pt x="516" y="544"/>
                  </a:lnTo>
                  <a:lnTo>
                    <a:pt x="528" y="534"/>
                  </a:lnTo>
                  <a:lnTo>
                    <a:pt x="544" y="522"/>
                  </a:lnTo>
                  <a:lnTo>
                    <a:pt x="560" y="504"/>
                  </a:lnTo>
                  <a:lnTo>
                    <a:pt x="574" y="486"/>
                  </a:lnTo>
                  <a:lnTo>
                    <a:pt x="585" y="467"/>
                  </a:lnTo>
                  <a:lnTo>
                    <a:pt x="592" y="445"/>
                  </a:lnTo>
                  <a:lnTo>
                    <a:pt x="594" y="423"/>
                  </a:lnTo>
                  <a:lnTo>
                    <a:pt x="593" y="401"/>
                  </a:lnTo>
                  <a:lnTo>
                    <a:pt x="589" y="380"/>
                  </a:lnTo>
                  <a:lnTo>
                    <a:pt x="583" y="361"/>
                  </a:lnTo>
                  <a:lnTo>
                    <a:pt x="574" y="344"/>
                  </a:lnTo>
                  <a:lnTo>
                    <a:pt x="563" y="330"/>
                  </a:lnTo>
                  <a:lnTo>
                    <a:pt x="549" y="318"/>
                  </a:lnTo>
                  <a:lnTo>
                    <a:pt x="533" y="312"/>
                  </a:lnTo>
                  <a:lnTo>
                    <a:pt x="594" y="312"/>
                  </a:lnTo>
                  <a:lnTo>
                    <a:pt x="634" y="282"/>
                  </a:lnTo>
                  <a:lnTo>
                    <a:pt x="453" y="282"/>
                  </a:lnTo>
                  <a:close/>
                  <a:moveTo>
                    <a:pt x="806" y="272"/>
                  </a:moveTo>
                  <a:lnTo>
                    <a:pt x="806" y="382"/>
                  </a:lnTo>
                  <a:lnTo>
                    <a:pt x="694" y="382"/>
                  </a:lnTo>
                  <a:lnTo>
                    <a:pt x="694" y="423"/>
                  </a:lnTo>
                  <a:lnTo>
                    <a:pt x="806" y="423"/>
                  </a:lnTo>
                  <a:lnTo>
                    <a:pt x="806" y="533"/>
                  </a:lnTo>
                  <a:lnTo>
                    <a:pt x="846" y="533"/>
                  </a:lnTo>
                  <a:lnTo>
                    <a:pt x="846" y="423"/>
                  </a:lnTo>
                  <a:lnTo>
                    <a:pt x="956" y="423"/>
                  </a:lnTo>
                  <a:lnTo>
                    <a:pt x="956" y="382"/>
                  </a:lnTo>
                  <a:lnTo>
                    <a:pt x="846" y="382"/>
                  </a:lnTo>
                  <a:lnTo>
                    <a:pt x="846" y="272"/>
                  </a:lnTo>
                  <a:lnTo>
                    <a:pt x="806" y="272"/>
                  </a:lnTo>
                  <a:close/>
                  <a:moveTo>
                    <a:pt x="604" y="0"/>
                  </a:moveTo>
                  <a:lnTo>
                    <a:pt x="666" y="4"/>
                  </a:lnTo>
                  <a:lnTo>
                    <a:pt x="725" y="13"/>
                  </a:lnTo>
                  <a:lnTo>
                    <a:pt x="783" y="29"/>
                  </a:lnTo>
                  <a:lnTo>
                    <a:pt x="837" y="51"/>
                  </a:lnTo>
                  <a:lnTo>
                    <a:pt x="890" y="77"/>
                  </a:lnTo>
                  <a:lnTo>
                    <a:pt x="938" y="110"/>
                  </a:lnTo>
                  <a:lnTo>
                    <a:pt x="983" y="145"/>
                  </a:lnTo>
                  <a:lnTo>
                    <a:pt x="1024" y="185"/>
                  </a:lnTo>
                  <a:lnTo>
                    <a:pt x="1060" y="230"/>
                  </a:lnTo>
                  <a:lnTo>
                    <a:pt x="1092" y="278"/>
                  </a:lnTo>
                  <a:lnTo>
                    <a:pt x="1118" y="331"/>
                  </a:lnTo>
                  <a:lnTo>
                    <a:pt x="1140" y="385"/>
                  </a:lnTo>
                  <a:lnTo>
                    <a:pt x="1156" y="442"/>
                  </a:lnTo>
                  <a:lnTo>
                    <a:pt x="1166" y="502"/>
                  </a:lnTo>
                  <a:lnTo>
                    <a:pt x="1169" y="563"/>
                  </a:lnTo>
                  <a:lnTo>
                    <a:pt x="1166" y="624"/>
                  </a:lnTo>
                  <a:lnTo>
                    <a:pt x="1156" y="684"/>
                  </a:lnTo>
                  <a:lnTo>
                    <a:pt x="1140" y="740"/>
                  </a:lnTo>
                  <a:lnTo>
                    <a:pt x="1118" y="795"/>
                  </a:lnTo>
                  <a:lnTo>
                    <a:pt x="1092" y="847"/>
                  </a:lnTo>
                  <a:lnTo>
                    <a:pt x="1060" y="895"/>
                  </a:lnTo>
                  <a:lnTo>
                    <a:pt x="1024" y="939"/>
                  </a:lnTo>
                  <a:lnTo>
                    <a:pt x="983" y="980"/>
                  </a:lnTo>
                  <a:lnTo>
                    <a:pt x="938" y="1016"/>
                  </a:lnTo>
                  <a:lnTo>
                    <a:pt x="890" y="1048"/>
                  </a:lnTo>
                  <a:lnTo>
                    <a:pt x="837" y="1075"/>
                  </a:lnTo>
                  <a:lnTo>
                    <a:pt x="783" y="1096"/>
                  </a:lnTo>
                  <a:lnTo>
                    <a:pt x="725" y="1111"/>
                  </a:lnTo>
                  <a:lnTo>
                    <a:pt x="666" y="1122"/>
                  </a:lnTo>
                  <a:lnTo>
                    <a:pt x="604" y="1125"/>
                  </a:lnTo>
                  <a:lnTo>
                    <a:pt x="548" y="1122"/>
                  </a:lnTo>
                  <a:lnTo>
                    <a:pt x="495" y="1113"/>
                  </a:lnTo>
                  <a:lnTo>
                    <a:pt x="442" y="1098"/>
                  </a:lnTo>
                  <a:lnTo>
                    <a:pt x="392" y="1079"/>
                  </a:lnTo>
                  <a:lnTo>
                    <a:pt x="342" y="1055"/>
                  </a:lnTo>
                  <a:lnTo>
                    <a:pt x="296" y="1027"/>
                  </a:lnTo>
                  <a:lnTo>
                    <a:pt x="251" y="994"/>
                  </a:lnTo>
                  <a:lnTo>
                    <a:pt x="80" y="1165"/>
                  </a:lnTo>
                  <a:lnTo>
                    <a:pt x="63" y="1148"/>
                  </a:lnTo>
                  <a:lnTo>
                    <a:pt x="44" y="1128"/>
                  </a:lnTo>
                  <a:lnTo>
                    <a:pt x="22" y="1107"/>
                  </a:lnTo>
                  <a:lnTo>
                    <a:pt x="0" y="1085"/>
                  </a:lnTo>
                  <a:lnTo>
                    <a:pt x="170" y="915"/>
                  </a:lnTo>
                  <a:lnTo>
                    <a:pt x="143" y="879"/>
                  </a:lnTo>
                  <a:lnTo>
                    <a:pt x="117" y="841"/>
                  </a:lnTo>
                  <a:lnTo>
                    <a:pt x="94" y="800"/>
                  </a:lnTo>
                  <a:lnTo>
                    <a:pt x="75" y="757"/>
                  </a:lnTo>
                  <a:lnTo>
                    <a:pt x="60" y="711"/>
                  </a:lnTo>
                  <a:lnTo>
                    <a:pt x="49" y="664"/>
                  </a:lnTo>
                  <a:lnTo>
                    <a:pt x="43" y="614"/>
                  </a:lnTo>
                  <a:lnTo>
                    <a:pt x="39" y="563"/>
                  </a:lnTo>
                  <a:lnTo>
                    <a:pt x="44" y="502"/>
                  </a:lnTo>
                  <a:lnTo>
                    <a:pt x="53" y="442"/>
                  </a:lnTo>
                  <a:lnTo>
                    <a:pt x="68" y="385"/>
                  </a:lnTo>
                  <a:lnTo>
                    <a:pt x="90" y="331"/>
                  </a:lnTo>
                  <a:lnTo>
                    <a:pt x="117" y="278"/>
                  </a:lnTo>
                  <a:lnTo>
                    <a:pt x="149" y="230"/>
                  </a:lnTo>
                  <a:lnTo>
                    <a:pt x="185" y="185"/>
                  </a:lnTo>
                  <a:lnTo>
                    <a:pt x="226" y="145"/>
                  </a:lnTo>
                  <a:lnTo>
                    <a:pt x="270" y="110"/>
                  </a:lnTo>
                  <a:lnTo>
                    <a:pt x="320" y="77"/>
                  </a:lnTo>
                  <a:lnTo>
                    <a:pt x="371" y="51"/>
                  </a:lnTo>
                  <a:lnTo>
                    <a:pt x="426" y="29"/>
                  </a:lnTo>
                  <a:lnTo>
                    <a:pt x="483" y="13"/>
                  </a:lnTo>
                  <a:lnTo>
                    <a:pt x="543" y="4"/>
                  </a:lnTo>
                  <a:lnTo>
                    <a:pt x="60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8" name="Freeform 21"/>
            <p:cNvSpPr>
              <a:spLocks noEditPoints="1"/>
            </p:cNvSpPr>
            <p:nvPr/>
          </p:nvSpPr>
          <p:spPr bwMode="auto">
            <a:xfrm>
              <a:off x="-459" y="2628"/>
              <a:ext cx="167" cy="164"/>
            </a:xfrm>
            <a:custGeom>
              <a:avLst/>
              <a:gdLst>
                <a:gd name="T0" fmla="*/ 434 w 1170"/>
                <a:gd name="T1" fmla="*/ 852 h 1154"/>
                <a:gd name="T2" fmla="*/ 747 w 1170"/>
                <a:gd name="T3" fmla="*/ 492 h 1154"/>
                <a:gd name="T4" fmla="*/ 680 w 1170"/>
                <a:gd name="T5" fmla="*/ 509 h 1154"/>
                <a:gd name="T6" fmla="*/ 641 w 1170"/>
                <a:gd name="T7" fmla="*/ 542 h 1154"/>
                <a:gd name="T8" fmla="*/ 515 w 1170"/>
                <a:gd name="T9" fmla="*/ 502 h 1154"/>
                <a:gd name="T10" fmla="*/ 636 w 1170"/>
                <a:gd name="T11" fmla="*/ 632 h 1154"/>
                <a:gd name="T12" fmla="*/ 665 w 1170"/>
                <a:gd name="T13" fmla="*/ 600 h 1154"/>
                <a:gd name="T14" fmla="*/ 714 w 1170"/>
                <a:gd name="T15" fmla="*/ 595 h 1154"/>
                <a:gd name="T16" fmla="*/ 750 w 1170"/>
                <a:gd name="T17" fmla="*/ 629 h 1154"/>
                <a:gd name="T18" fmla="*/ 756 w 1170"/>
                <a:gd name="T19" fmla="*/ 852 h 1154"/>
                <a:gd name="T20" fmla="*/ 886 w 1170"/>
                <a:gd name="T21" fmla="*/ 621 h 1154"/>
                <a:gd name="T22" fmla="*/ 861 w 1170"/>
                <a:gd name="T23" fmla="*/ 547 h 1154"/>
                <a:gd name="T24" fmla="*/ 812 w 1170"/>
                <a:gd name="T25" fmla="*/ 506 h 1154"/>
                <a:gd name="T26" fmla="*/ 747 w 1170"/>
                <a:gd name="T27" fmla="*/ 492 h 1154"/>
                <a:gd name="T28" fmla="*/ 347 w 1170"/>
                <a:gd name="T29" fmla="*/ 340 h 1154"/>
                <a:gd name="T30" fmla="*/ 315 w 1170"/>
                <a:gd name="T31" fmla="*/ 376 h 1154"/>
                <a:gd name="T32" fmla="*/ 322 w 1170"/>
                <a:gd name="T33" fmla="*/ 420 h 1154"/>
                <a:gd name="T34" fmla="*/ 364 w 1170"/>
                <a:gd name="T35" fmla="*/ 449 h 1154"/>
                <a:gd name="T36" fmla="*/ 418 w 1170"/>
                <a:gd name="T37" fmla="*/ 445 h 1154"/>
                <a:gd name="T38" fmla="*/ 448 w 1170"/>
                <a:gd name="T39" fmla="*/ 410 h 1154"/>
                <a:gd name="T40" fmla="*/ 445 w 1170"/>
                <a:gd name="T41" fmla="*/ 363 h 1154"/>
                <a:gd name="T42" fmla="*/ 403 w 1170"/>
                <a:gd name="T43" fmla="*/ 334 h 1154"/>
                <a:gd name="T44" fmla="*/ 242 w 1170"/>
                <a:gd name="T45" fmla="*/ 170 h 1154"/>
                <a:gd name="T46" fmla="*/ 359 w 1170"/>
                <a:gd name="T47" fmla="*/ 94 h 1154"/>
                <a:gd name="T48" fmla="*/ 497 w 1170"/>
                <a:gd name="T49" fmla="*/ 49 h 1154"/>
                <a:gd name="T50" fmla="*/ 657 w 1170"/>
                <a:gd name="T51" fmla="*/ 43 h 1154"/>
                <a:gd name="T52" fmla="*/ 829 w 1170"/>
                <a:gd name="T53" fmla="*/ 88 h 1154"/>
                <a:gd name="T54" fmla="*/ 975 w 1170"/>
                <a:gd name="T55" fmla="*/ 180 h 1154"/>
                <a:gd name="T56" fmla="*/ 1086 w 1170"/>
                <a:gd name="T57" fmla="*/ 310 h 1154"/>
                <a:gd name="T58" fmla="*/ 1153 w 1170"/>
                <a:gd name="T59" fmla="*/ 472 h 1154"/>
                <a:gd name="T60" fmla="*/ 1166 w 1170"/>
                <a:gd name="T61" fmla="*/ 653 h 1154"/>
                <a:gd name="T62" fmla="*/ 1119 w 1170"/>
                <a:gd name="T63" fmla="*/ 824 h 1154"/>
                <a:gd name="T64" fmla="*/ 1025 w 1170"/>
                <a:gd name="T65" fmla="*/ 969 h 1154"/>
                <a:gd name="T66" fmla="*/ 890 w 1170"/>
                <a:gd name="T67" fmla="*/ 1077 h 1154"/>
                <a:gd name="T68" fmla="*/ 726 w 1170"/>
                <a:gd name="T69" fmla="*/ 1141 h 1154"/>
                <a:gd name="T70" fmla="*/ 544 w 1170"/>
                <a:gd name="T71" fmla="*/ 1150 h 1154"/>
                <a:gd name="T72" fmla="*/ 372 w 1170"/>
                <a:gd name="T73" fmla="*/ 1103 h 1154"/>
                <a:gd name="T74" fmla="*/ 227 w 1170"/>
                <a:gd name="T75" fmla="*/ 1009 h 1154"/>
                <a:gd name="T76" fmla="*/ 117 w 1170"/>
                <a:gd name="T77" fmla="*/ 876 h 1154"/>
                <a:gd name="T78" fmla="*/ 54 w 1170"/>
                <a:gd name="T79" fmla="*/ 712 h 1154"/>
                <a:gd name="T80" fmla="*/ 44 w 1170"/>
                <a:gd name="T81" fmla="*/ 537 h 1154"/>
                <a:gd name="T82" fmla="*/ 86 w 1170"/>
                <a:gd name="T83" fmla="*/ 380 h 1154"/>
                <a:gd name="T84" fmla="*/ 172 w 1170"/>
                <a:gd name="T85" fmla="*/ 241 h 1154"/>
                <a:gd name="T86" fmla="*/ 36 w 1170"/>
                <a:gd name="T87" fmla="*/ 39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70" h="1154">
                  <a:moveTo>
                    <a:pt x="324" y="502"/>
                  </a:moveTo>
                  <a:lnTo>
                    <a:pt x="324" y="852"/>
                  </a:lnTo>
                  <a:lnTo>
                    <a:pt x="434" y="852"/>
                  </a:lnTo>
                  <a:lnTo>
                    <a:pt x="434" y="502"/>
                  </a:lnTo>
                  <a:lnTo>
                    <a:pt x="324" y="502"/>
                  </a:lnTo>
                  <a:close/>
                  <a:moveTo>
                    <a:pt x="747" y="492"/>
                  </a:moveTo>
                  <a:lnTo>
                    <a:pt x="722" y="494"/>
                  </a:lnTo>
                  <a:lnTo>
                    <a:pt x="699" y="500"/>
                  </a:lnTo>
                  <a:lnTo>
                    <a:pt x="680" y="509"/>
                  </a:lnTo>
                  <a:lnTo>
                    <a:pt x="664" y="520"/>
                  </a:lnTo>
                  <a:lnTo>
                    <a:pt x="651" y="531"/>
                  </a:lnTo>
                  <a:lnTo>
                    <a:pt x="641" y="542"/>
                  </a:lnTo>
                  <a:lnTo>
                    <a:pt x="636" y="552"/>
                  </a:lnTo>
                  <a:lnTo>
                    <a:pt x="636" y="502"/>
                  </a:lnTo>
                  <a:lnTo>
                    <a:pt x="515" y="502"/>
                  </a:lnTo>
                  <a:lnTo>
                    <a:pt x="515" y="853"/>
                  </a:lnTo>
                  <a:lnTo>
                    <a:pt x="636" y="853"/>
                  </a:lnTo>
                  <a:lnTo>
                    <a:pt x="636" y="632"/>
                  </a:lnTo>
                  <a:lnTo>
                    <a:pt x="642" y="620"/>
                  </a:lnTo>
                  <a:lnTo>
                    <a:pt x="652" y="609"/>
                  </a:lnTo>
                  <a:lnTo>
                    <a:pt x="665" y="600"/>
                  </a:lnTo>
                  <a:lnTo>
                    <a:pt x="679" y="595"/>
                  </a:lnTo>
                  <a:lnTo>
                    <a:pt x="696" y="592"/>
                  </a:lnTo>
                  <a:lnTo>
                    <a:pt x="714" y="595"/>
                  </a:lnTo>
                  <a:lnTo>
                    <a:pt x="729" y="602"/>
                  </a:lnTo>
                  <a:lnTo>
                    <a:pt x="741" y="613"/>
                  </a:lnTo>
                  <a:lnTo>
                    <a:pt x="750" y="629"/>
                  </a:lnTo>
                  <a:lnTo>
                    <a:pt x="755" y="649"/>
                  </a:lnTo>
                  <a:lnTo>
                    <a:pt x="756" y="673"/>
                  </a:lnTo>
                  <a:lnTo>
                    <a:pt x="756" y="852"/>
                  </a:lnTo>
                  <a:lnTo>
                    <a:pt x="887" y="852"/>
                  </a:lnTo>
                  <a:lnTo>
                    <a:pt x="887" y="652"/>
                  </a:lnTo>
                  <a:lnTo>
                    <a:pt x="886" y="621"/>
                  </a:lnTo>
                  <a:lnTo>
                    <a:pt x="881" y="593"/>
                  </a:lnTo>
                  <a:lnTo>
                    <a:pt x="872" y="569"/>
                  </a:lnTo>
                  <a:lnTo>
                    <a:pt x="861" y="547"/>
                  </a:lnTo>
                  <a:lnTo>
                    <a:pt x="847" y="530"/>
                  </a:lnTo>
                  <a:lnTo>
                    <a:pt x="830" y="516"/>
                  </a:lnTo>
                  <a:lnTo>
                    <a:pt x="812" y="506"/>
                  </a:lnTo>
                  <a:lnTo>
                    <a:pt x="792" y="497"/>
                  </a:lnTo>
                  <a:lnTo>
                    <a:pt x="770" y="493"/>
                  </a:lnTo>
                  <a:lnTo>
                    <a:pt x="747" y="492"/>
                  </a:lnTo>
                  <a:close/>
                  <a:moveTo>
                    <a:pt x="384" y="330"/>
                  </a:moveTo>
                  <a:lnTo>
                    <a:pt x="364" y="334"/>
                  </a:lnTo>
                  <a:lnTo>
                    <a:pt x="347" y="340"/>
                  </a:lnTo>
                  <a:lnTo>
                    <a:pt x="333" y="350"/>
                  </a:lnTo>
                  <a:lnTo>
                    <a:pt x="322" y="363"/>
                  </a:lnTo>
                  <a:lnTo>
                    <a:pt x="315" y="376"/>
                  </a:lnTo>
                  <a:lnTo>
                    <a:pt x="313" y="391"/>
                  </a:lnTo>
                  <a:lnTo>
                    <a:pt x="315" y="406"/>
                  </a:lnTo>
                  <a:lnTo>
                    <a:pt x="322" y="420"/>
                  </a:lnTo>
                  <a:lnTo>
                    <a:pt x="333" y="432"/>
                  </a:lnTo>
                  <a:lnTo>
                    <a:pt x="347" y="443"/>
                  </a:lnTo>
                  <a:lnTo>
                    <a:pt x="364" y="449"/>
                  </a:lnTo>
                  <a:lnTo>
                    <a:pt x="384" y="451"/>
                  </a:lnTo>
                  <a:lnTo>
                    <a:pt x="402" y="449"/>
                  </a:lnTo>
                  <a:lnTo>
                    <a:pt x="418" y="445"/>
                  </a:lnTo>
                  <a:lnTo>
                    <a:pt x="430" y="436"/>
                  </a:lnTo>
                  <a:lnTo>
                    <a:pt x="441" y="425"/>
                  </a:lnTo>
                  <a:lnTo>
                    <a:pt x="448" y="410"/>
                  </a:lnTo>
                  <a:lnTo>
                    <a:pt x="455" y="391"/>
                  </a:lnTo>
                  <a:lnTo>
                    <a:pt x="451" y="376"/>
                  </a:lnTo>
                  <a:lnTo>
                    <a:pt x="445" y="363"/>
                  </a:lnTo>
                  <a:lnTo>
                    <a:pt x="434" y="350"/>
                  </a:lnTo>
                  <a:lnTo>
                    <a:pt x="420" y="340"/>
                  </a:lnTo>
                  <a:lnTo>
                    <a:pt x="403" y="334"/>
                  </a:lnTo>
                  <a:lnTo>
                    <a:pt x="384" y="330"/>
                  </a:lnTo>
                  <a:close/>
                  <a:moveTo>
                    <a:pt x="71" y="0"/>
                  </a:moveTo>
                  <a:lnTo>
                    <a:pt x="242" y="170"/>
                  </a:lnTo>
                  <a:lnTo>
                    <a:pt x="278" y="141"/>
                  </a:lnTo>
                  <a:lnTo>
                    <a:pt x="317" y="116"/>
                  </a:lnTo>
                  <a:lnTo>
                    <a:pt x="359" y="94"/>
                  </a:lnTo>
                  <a:lnTo>
                    <a:pt x="404" y="75"/>
                  </a:lnTo>
                  <a:lnTo>
                    <a:pt x="450" y="60"/>
                  </a:lnTo>
                  <a:lnTo>
                    <a:pt x="497" y="49"/>
                  </a:lnTo>
                  <a:lnTo>
                    <a:pt x="546" y="42"/>
                  </a:lnTo>
                  <a:lnTo>
                    <a:pt x="595" y="40"/>
                  </a:lnTo>
                  <a:lnTo>
                    <a:pt x="657" y="43"/>
                  </a:lnTo>
                  <a:lnTo>
                    <a:pt x="716" y="52"/>
                  </a:lnTo>
                  <a:lnTo>
                    <a:pt x="774" y="67"/>
                  </a:lnTo>
                  <a:lnTo>
                    <a:pt x="829" y="88"/>
                  </a:lnTo>
                  <a:lnTo>
                    <a:pt x="881" y="113"/>
                  </a:lnTo>
                  <a:lnTo>
                    <a:pt x="929" y="144"/>
                  </a:lnTo>
                  <a:lnTo>
                    <a:pt x="975" y="180"/>
                  </a:lnTo>
                  <a:lnTo>
                    <a:pt x="1016" y="219"/>
                  </a:lnTo>
                  <a:lnTo>
                    <a:pt x="1054" y="263"/>
                  </a:lnTo>
                  <a:lnTo>
                    <a:pt x="1086" y="310"/>
                  </a:lnTo>
                  <a:lnTo>
                    <a:pt x="1114" y="361"/>
                  </a:lnTo>
                  <a:lnTo>
                    <a:pt x="1136" y="415"/>
                  </a:lnTo>
                  <a:lnTo>
                    <a:pt x="1153" y="472"/>
                  </a:lnTo>
                  <a:lnTo>
                    <a:pt x="1164" y="530"/>
                  </a:lnTo>
                  <a:lnTo>
                    <a:pt x="1170" y="591"/>
                  </a:lnTo>
                  <a:lnTo>
                    <a:pt x="1166" y="653"/>
                  </a:lnTo>
                  <a:lnTo>
                    <a:pt x="1157" y="712"/>
                  </a:lnTo>
                  <a:lnTo>
                    <a:pt x="1141" y="770"/>
                  </a:lnTo>
                  <a:lnTo>
                    <a:pt x="1119" y="824"/>
                  </a:lnTo>
                  <a:lnTo>
                    <a:pt x="1093" y="876"/>
                  </a:lnTo>
                  <a:lnTo>
                    <a:pt x="1061" y="924"/>
                  </a:lnTo>
                  <a:lnTo>
                    <a:pt x="1025" y="969"/>
                  </a:lnTo>
                  <a:lnTo>
                    <a:pt x="984" y="1009"/>
                  </a:lnTo>
                  <a:lnTo>
                    <a:pt x="939" y="1046"/>
                  </a:lnTo>
                  <a:lnTo>
                    <a:pt x="890" y="1077"/>
                  </a:lnTo>
                  <a:lnTo>
                    <a:pt x="839" y="1103"/>
                  </a:lnTo>
                  <a:lnTo>
                    <a:pt x="784" y="1125"/>
                  </a:lnTo>
                  <a:lnTo>
                    <a:pt x="726" y="1141"/>
                  </a:lnTo>
                  <a:lnTo>
                    <a:pt x="667" y="1150"/>
                  </a:lnTo>
                  <a:lnTo>
                    <a:pt x="605" y="1154"/>
                  </a:lnTo>
                  <a:lnTo>
                    <a:pt x="544" y="1150"/>
                  </a:lnTo>
                  <a:lnTo>
                    <a:pt x="485" y="1141"/>
                  </a:lnTo>
                  <a:lnTo>
                    <a:pt x="427" y="1125"/>
                  </a:lnTo>
                  <a:lnTo>
                    <a:pt x="372" y="1103"/>
                  </a:lnTo>
                  <a:lnTo>
                    <a:pt x="320" y="1077"/>
                  </a:lnTo>
                  <a:lnTo>
                    <a:pt x="272" y="1046"/>
                  </a:lnTo>
                  <a:lnTo>
                    <a:pt x="227" y="1009"/>
                  </a:lnTo>
                  <a:lnTo>
                    <a:pt x="186" y="969"/>
                  </a:lnTo>
                  <a:lnTo>
                    <a:pt x="150" y="924"/>
                  </a:lnTo>
                  <a:lnTo>
                    <a:pt x="117" y="876"/>
                  </a:lnTo>
                  <a:lnTo>
                    <a:pt x="92" y="824"/>
                  </a:lnTo>
                  <a:lnTo>
                    <a:pt x="70" y="770"/>
                  </a:lnTo>
                  <a:lnTo>
                    <a:pt x="54" y="712"/>
                  </a:lnTo>
                  <a:lnTo>
                    <a:pt x="44" y="653"/>
                  </a:lnTo>
                  <a:lnTo>
                    <a:pt x="41" y="591"/>
                  </a:lnTo>
                  <a:lnTo>
                    <a:pt x="44" y="537"/>
                  </a:lnTo>
                  <a:lnTo>
                    <a:pt x="53" y="482"/>
                  </a:lnTo>
                  <a:lnTo>
                    <a:pt x="67" y="430"/>
                  </a:lnTo>
                  <a:lnTo>
                    <a:pt x="86" y="380"/>
                  </a:lnTo>
                  <a:lnTo>
                    <a:pt x="111" y="332"/>
                  </a:lnTo>
                  <a:lnTo>
                    <a:pt x="139" y="284"/>
                  </a:lnTo>
                  <a:lnTo>
                    <a:pt x="172" y="241"/>
                  </a:lnTo>
                  <a:lnTo>
                    <a:pt x="0" y="70"/>
                  </a:lnTo>
                  <a:lnTo>
                    <a:pt x="18" y="55"/>
                  </a:lnTo>
                  <a:lnTo>
                    <a:pt x="36" y="39"/>
                  </a:lnTo>
                  <a:lnTo>
                    <a:pt x="54" y="20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9" name="Freeform 22"/>
            <p:cNvSpPr>
              <a:spLocks noEditPoints="1"/>
            </p:cNvSpPr>
            <p:nvPr/>
          </p:nvSpPr>
          <p:spPr bwMode="auto">
            <a:xfrm>
              <a:off x="-783" y="2628"/>
              <a:ext cx="167" cy="166"/>
            </a:xfrm>
            <a:custGeom>
              <a:avLst/>
              <a:gdLst>
                <a:gd name="T0" fmla="*/ 636 w 1169"/>
                <a:gd name="T1" fmla="*/ 391 h 1164"/>
                <a:gd name="T2" fmla="*/ 578 w 1169"/>
                <a:gd name="T3" fmla="*/ 439 h 1164"/>
                <a:gd name="T4" fmla="*/ 554 w 1169"/>
                <a:gd name="T5" fmla="*/ 511 h 1164"/>
                <a:gd name="T6" fmla="*/ 476 w 1169"/>
                <a:gd name="T7" fmla="*/ 533 h 1164"/>
                <a:gd name="T8" fmla="*/ 372 w 1169"/>
                <a:gd name="T9" fmla="*/ 488 h 1164"/>
                <a:gd name="T10" fmla="*/ 293 w 1169"/>
                <a:gd name="T11" fmla="*/ 411 h 1164"/>
                <a:gd name="T12" fmla="*/ 273 w 1169"/>
                <a:gd name="T13" fmla="*/ 472 h 1164"/>
                <a:gd name="T14" fmla="*/ 298 w 1169"/>
                <a:gd name="T15" fmla="*/ 539 h 1164"/>
                <a:gd name="T16" fmla="*/ 312 w 1169"/>
                <a:gd name="T17" fmla="*/ 569 h 1164"/>
                <a:gd name="T18" fmla="*/ 275 w 1169"/>
                <a:gd name="T19" fmla="*/ 576 h 1164"/>
                <a:gd name="T20" fmla="*/ 308 w 1169"/>
                <a:gd name="T21" fmla="*/ 639 h 1164"/>
                <a:gd name="T22" fmla="*/ 374 w 1169"/>
                <a:gd name="T23" fmla="*/ 673 h 1164"/>
                <a:gd name="T24" fmla="*/ 352 w 1169"/>
                <a:gd name="T25" fmla="*/ 717 h 1164"/>
                <a:gd name="T26" fmla="*/ 419 w 1169"/>
                <a:gd name="T27" fmla="*/ 759 h 1164"/>
                <a:gd name="T28" fmla="*/ 382 w 1169"/>
                <a:gd name="T29" fmla="*/ 793 h 1164"/>
                <a:gd name="T30" fmla="*/ 282 w 1169"/>
                <a:gd name="T31" fmla="*/ 813 h 1164"/>
                <a:gd name="T32" fmla="*/ 308 w 1169"/>
                <a:gd name="T33" fmla="*/ 846 h 1164"/>
                <a:gd name="T34" fmla="*/ 409 w 1169"/>
                <a:gd name="T35" fmla="*/ 871 h 1164"/>
                <a:gd name="T36" fmla="*/ 531 w 1169"/>
                <a:gd name="T37" fmla="*/ 863 h 1164"/>
                <a:gd name="T38" fmla="*/ 641 w 1169"/>
                <a:gd name="T39" fmla="*/ 817 h 1164"/>
                <a:gd name="T40" fmla="*/ 724 w 1169"/>
                <a:gd name="T41" fmla="*/ 742 h 1164"/>
                <a:gd name="T42" fmla="*/ 779 w 1169"/>
                <a:gd name="T43" fmla="*/ 648 h 1164"/>
                <a:gd name="T44" fmla="*/ 805 w 1169"/>
                <a:gd name="T45" fmla="*/ 545 h 1164"/>
                <a:gd name="T46" fmla="*/ 806 w 1169"/>
                <a:gd name="T47" fmla="*/ 502 h 1164"/>
                <a:gd name="T48" fmla="*/ 827 w 1169"/>
                <a:gd name="T49" fmla="*/ 488 h 1164"/>
                <a:gd name="T50" fmla="*/ 851 w 1169"/>
                <a:gd name="T51" fmla="*/ 448 h 1164"/>
                <a:gd name="T52" fmla="*/ 797 w 1169"/>
                <a:gd name="T53" fmla="*/ 461 h 1164"/>
                <a:gd name="T54" fmla="*/ 847 w 1169"/>
                <a:gd name="T55" fmla="*/ 412 h 1164"/>
                <a:gd name="T56" fmla="*/ 806 w 1169"/>
                <a:gd name="T57" fmla="*/ 411 h 1164"/>
                <a:gd name="T58" fmla="*/ 747 w 1169"/>
                <a:gd name="T59" fmla="*/ 398 h 1164"/>
                <a:gd name="T60" fmla="*/ 686 w 1169"/>
                <a:gd name="T61" fmla="*/ 381 h 1164"/>
                <a:gd name="T62" fmla="*/ 1125 w 1169"/>
                <a:gd name="T63" fmla="*/ 36 h 1164"/>
                <a:gd name="T64" fmla="*/ 998 w 1169"/>
                <a:gd name="T65" fmla="*/ 250 h 1164"/>
                <a:gd name="T66" fmla="*/ 1075 w 1169"/>
                <a:gd name="T67" fmla="*/ 367 h 1164"/>
                <a:gd name="T68" fmla="*/ 1120 w 1169"/>
                <a:gd name="T69" fmla="*/ 505 h 1164"/>
                <a:gd name="T70" fmla="*/ 1125 w 1169"/>
                <a:gd name="T71" fmla="*/ 663 h 1164"/>
                <a:gd name="T72" fmla="*/ 1079 w 1169"/>
                <a:gd name="T73" fmla="*/ 834 h 1164"/>
                <a:gd name="T74" fmla="*/ 983 w 1169"/>
                <a:gd name="T75" fmla="*/ 978 h 1164"/>
                <a:gd name="T76" fmla="*/ 849 w 1169"/>
                <a:gd name="T77" fmla="*/ 1087 h 1164"/>
                <a:gd name="T78" fmla="*/ 686 w 1169"/>
                <a:gd name="T79" fmla="*/ 1152 h 1164"/>
                <a:gd name="T80" fmla="*/ 502 w 1169"/>
                <a:gd name="T81" fmla="*/ 1161 h 1164"/>
                <a:gd name="T82" fmla="*/ 331 w 1169"/>
                <a:gd name="T83" fmla="*/ 1114 h 1164"/>
                <a:gd name="T84" fmla="*/ 186 w 1169"/>
                <a:gd name="T85" fmla="*/ 1019 h 1164"/>
                <a:gd name="T86" fmla="*/ 77 w 1169"/>
                <a:gd name="T87" fmla="*/ 886 h 1164"/>
                <a:gd name="T88" fmla="*/ 13 w 1169"/>
                <a:gd name="T89" fmla="*/ 723 h 1164"/>
                <a:gd name="T90" fmla="*/ 3 w 1169"/>
                <a:gd name="T91" fmla="*/ 541 h 1164"/>
                <a:gd name="T92" fmla="*/ 50 w 1169"/>
                <a:gd name="T93" fmla="*/ 370 h 1164"/>
                <a:gd name="T94" fmla="*/ 145 w 1169"/>
                <a:gd name="T95" fmla="*/ 226 h 1164"/>
                <a:gd name="T96" fmla="*/ 279 w 1169"/>
                <a:gd name="T97" fmla="*/ 117 h 1164"/>
                <a:gd name="T98" fmla="*/ 443 w 1169"/>
                <a:gd name="T99" fmla="*/ 52 h 1164"/>
                <a:gd name="T100" fmla="*/ 620 w 1169"/>
                <a:gd name="T101" fmla="*/ 43 h 1164"/>
                <a:gd name="T102" fmla="*/ 777 w 1169"/>
                <a:gd name="T103" fmla="*/ 86 h 1164"/>
                <a:gd name="T104" fmla="*/ 917 w 1169"/>
                <a:gd name="T105" fmla="*/ 170 h 1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69" h="1164">
                  <a:moveTo>
                    <a:pt x="686" y="381"/>
                  </a:moveTo>
                  <a:lnTo>
                    <a:pt x="659" y="384"/>
                  </a:lnTo>
                  <a:lnTo>
                    <a:pt x="636" y="391"/>
                  </a:lnTo>
                  <a:lnTo>
                    <a:pt x="613" y="404"/>
                  </a:lnTo>
                  <a:lnTo>
                    <a:pt x="594" y="420"/>
                  </a:lnTo>
                  <a:lnTo>
                    <a:pt x="578" y="439"/>
                  </a:lnTo>
                  <a:lnTo>
                    <a:pt x="565" y="462"/>
                  </a:lnTo>
                  <a:lnTo>
                    <a:pt x="557" y="485"/>
                  </a:lnTo>
                  <a:lnTo>
                    <a:pt x="554" y="511"/>
                  </a:lnTo>
                  <a:lnTo>
                    <a:pt x="554" y="541"/>
                  </a:lnTo>
                  <a:lnTo>
                    <a:pt x="514" y="539"/>
                  </a:lnTo>
                  <a:lnTo>
                    <a:pt x="476" y="533"/>
                  </a:lnTo>
                  <a:lnTo>
                    <a:pt x="439" y="522"/>
                  </a:lnTo>
                  <a:lnTo>
                    <a:pt x="405" y="507"/>
                  </a:lnTo>
                  <a:lnTo>
                    <a:pt x="372" y="488"/>
                  </a:lnTo>
                  <a:lnTo>
                    <a:pt x="343" y="465"/>
                  </a:lnTo>
                  <a:lnTo>
                    <a:pt x="317" y="439"/>
                  </a:lnTo>
                  <a:lnTo>
                    <a:pt x="293" y="411"/>
                  </a:lnTo>
                  <a:lnTo>
                    <a:pt x="282" y="431"/>
                  </a:lnTo>
                  <a:lnTo>
                    <a:pt x="276" y="451"/>
                  </a:lnTo>
                  <a:lnTo>
                    <a:pt x="273" y="472"/>
                  </a:lnTo>
                  <a:lnTo>
                    <a:pt x="276" y="495"/>
                  </a:lnTo>
                  <a:lnTo>
                    <a:pt x="284" y="519"/>
                  </a:lnTo>
                  <a:lnTo>
                    <a:pt x="298" y="539"/>
                  </a:lnTo>
                  <a:lnTo>
                    <a:pt x="314" y="557"/>
                  </a:lnTo>
                  <a:lnTo>
                    <a:pt x="333" y="572"/>
                  </a:lnTo>
                  <a:lnTo>
                    <a:pt x="312" y="569"/>
                  </a:lnTo>
                  <a:lnTo>
                    <a:pt x="292" y="561"/>
                  </a:lnTo>
                  <a:lnTo>
                    <a:pt x="273" y="552"/>
                  </a:lnTo>
                  <a:lnTo>
                    <a:pt x="275" y="576"/>
                  </a:lnTo>
                  <a:lnTo>
                    <a:pt x="281" y="600"/>
                  </a:lnTo>
                  <a:lnTo>
                    <a:pt x="293" y="621"/>
                  </a:lnTo>
                  <a:lnTo>
                    <a:pt x="308" y="639"/>
                  </a:lnTo>
                  <a:lnTo>
                    <a:pt x="326" y="654"/>
                  </a:lnTo>
                  <a:lnTo>
                    <a:pt x="349" y="665"/>
                  </a:lnTo>
                  <a:lnTo>
                    <a:pt x="374" y="673"/>
                  </a:lnTo>
                  <a:lnTo>
                    <a:pt x="323" y="673"/>
                  </a:lnTo>
                  <a:lnTo>
                    <a:pt x="335" y="696"/>
                  </a:lnTo>
                  <a:lnTo>
                    <a:pt x="352" y="717"/>
                  </a:lnTo>
                  <a:lnTo>
                    <a:pt x="371" y="736"/>
                  </a:lnTo>
                  <a:lnTo>
                    <a:pt x="394" y="750"/>
                  </a:lnTo>
                  <a:lnTo>
                    <a:pt x="419" y="759"/>
                  </a:lnTo>
                  <a:lnTo>
                    <a:pt x="443" y="762"/>
                  </a:lnTo>
                  <a:lnTo>
                    <a:pt x="413" y="779"/>
                  </a:lnTo>
                  <a:lnTo>
                    <a:pt x="382" y="793"/>
                  </a:lnTo>
                  <a:lnTo>
                    <a:pt x="351" y="804"/>
                  </a:lnTo>
                  <a:lnTo>
                    <a:pt x="318" y="810"/>
                  </a:lnTo>
                  <a:lnTo>
                    <a:pt x="282" y="813"/>
                  </a:lnTo>
                  <a:lnTo>
                    <a:pt x="252" y="813"/>
                  </a:lnTo>
                  <a:lnTo>
                    <a:pt x="279" y="831"/>
                  </a:lnTo>
                  <a:lnTo>
                    <a:pt x="308" y="846"/>
                  </a:lnTo>
                  <a:lnTo>
                    <a:pt x="340" y="858"/>
                  </a:lnTo>
                  <a:lnTo>
                    <a:pt x="374" y="866"/>
                  </a:lnTo>
                  <a:lnTo>
                    <a:pt x="409" y="871"/>
                  </a:lnTo>
                  <a:lnTo>
                    <a:pt x="443" y="872"/>
                  </a:lnTo>
                  <a:lnTo>
                    <a:pt x="488" y="870"/>
                  </a:lnTo>
                  <a:lnTo>
                    <a:pt x="531" y="863"/>
                  </a:lnTo>
                  <a:lnTo>
                    <a:pt x="570" y="852"/>
                  </a:lnTo>
                  <a:lnTo>
                    <a:pt x="607" y="836"/>
                  </a:lnTo>
                  <a:lnTo>
                    <a:pt x="641" y="817"/>
                  </a:lnTo>
                  <a:lnTo>
                    <a:pt x="671" y="794"/>
                  </a:lnTo>
                  <a:lnTo>
                    <a:pt x="699" y="770"/>
                  </a:lnTo>
                  <a:lnTo>
                    <a:pt x="724" y="742"/>
                  </a:lnTo>
                  <a:lnTo>
                    <a:pt x="745" y="712"/>
                  </a:lnTo>
                  <a:lnTo>
                    <a:pt x="764" y="681"/>
                  </a:lnTo>
                  <a:lnTo>
                    <a:pt x="779" y="648"/>
                  </a:lnTo>
                  <a:lnTo>
                    <a:pt x="791" y="615"/>
                  </a:lnTo>
                  <a:lnTo>
                    <a:pt x="800" y="581"/>
                  </a:lnTo>
                  <a:lnTo>
                    <a:pt x="805" y="545"/>
                  </a:lnTo>
                  <a:lnTo>
                    <a:pt x="806" y="511"/>
                  </a:lnTo>
                  <a:lnTo>
                    <a:pt x="806" y="503"/>
                  </a:lnTo>
                  <a:lnTo>
                    <a:pt x="806" y="502"/>
                  </a:lnTo>
                  <a:lnTo>
                    <a:pt x="806" y="502"/>
                  </a:lnTo>
                  <a:lnTo>
                    <a:pt x="806" y="502"/>
                  </a:lnTo>
                  <a:lnTo>
                    <a:pt x="827" y="488"/>
                  </a:lnTo>
                  <a:lnTo>
                    <a:pt x="847" y="468"/>
                  </a:lnTo>
                  <a:lnTo>
                    <a:pt x="866" y="441"/>
                  </a:lnTo>
                  <a:lnTo>
                    <a:pt x="851" y="448"/>
                  </a:lnTo>
                  <a:lnTo>
                    <a:pt x="835" y="454"/>
                  </a:lnTo>
                  <a:lnTo>
                    <a:pt x="817" y="460"/>
                  </a:lnTo>
                  <a:lnTo>
                    <a:pt x="797" y="461"/>
                  </a:lnTo>
                  <a:lnTo>
                    <a:pt x="817" y="446"/>
                  </a:lnTo>
                  <a:lnTo>
                    <a:pt x="834" y="430"/>
                  </a:lnTo>
                  <a:lnTo>
                    <a:pt x="847" y="412"/>
                  </a:lnTo>
                  <a:lnTo>
                    <a:pt x="857" y="391"/>
                  </a:lnTo>
                  <a:lnTo>
                    <a:pt x="834" y="401"/>
                  </a:lnTo>
                  <a:lnTo>
                    <a:pt x="806" y="411"/>
                  </a:lnTo>
                  <a:lnTo>
                    <a:pt x="776" y="421"/>
                  </a:lnTo>
                  <a:lnTo>
                    <a:pt x="763" y="410"/>
                  </a:lnTo>
                  <a:lnTo>
                    <a:pt x="747" y="398"/>
                  </a:lnTo>
                  <a:lnTo>
                    <a:pt x="729" y="389"/>
                  </a:lnTo>
                  <a:lnTo>
                    <a:pt x="709" y="383"/>
                  </a:lnTo>
                  <a:lnTo>
                    <a:pt x="686" y="381"/>
                  </a:lnTo>
                  <a:close/>
                  <a:moveTo>
                    <a:pt x="1089" y="0"/>
                  </a:moveTo>
                  <a:lnTo>
                    <a:pt x="1106" y="16"/>
                  </a:lnTo>
                  <a:lnTo>
                    <a:pt x="1125" y="36"/>
                  </a:lnTo>
                  <a:lnTo>
                    <a:pt x="1147" y="58"/>
                  </a:lnTo>
                  <a:lnTo>
                    <a:pt x="1169" y="80"/>
                  </a:lnTo>
                  <a:lnTo>
                    <a:pt x="998" y="250"/>
                  </a:lnTo>
                  <a:lnTo>
                    <a:pt x="1026" y="287"/>
                  </a:lnTo>
                  <a:lnTo>
                    <a:pt x="1052" y="325"/>
                  </a:lnTo>
                  <a:lnTo>
                    <a:pt x="1075" y="367"/>
                  </a:lnTo>
                  <a:lnTo>
                    <a:pt x="1094" y="412"/>
                  </a:lnTo>
                  <a:lnTo>
                    <a:pt x="1109" y="458"/>
                  </a:lnTo>
                  <a:lnTo>
                    <a:pt x="1120" y="505"/>
                  </a:lnTo>
                  <a:lnTo>
                    <a:pt x="1126" y="553"/>
                  </a:lnTo>
                  <a:lnTo>
                    <a:pt x="1128" y="602"/>
                  </a:lnTo>
                  <a:lnTo>
                    <a:pt x="1125" y="663"/>
                  </a:lnTo>
                  <a:lnTo>
                    <a:pt x="1115" y="723"/>
                  </a:lnTo>
                  <a:lnTo>
                    <a:pt x="1100" y="779"/>
                  </a:lnTo>
                  <a:lnTo>
                    <a:pt x="1079" y="834"/>
                  </a:lnTo>
                  <a:lnTo>
                    <a:pt x="1052" y="886"/>
                  </a:lnTo>
                  <a:lnTo>
                    <a:pt x="1020" y="934"/>
                  </a:lnTo>
                  <a:lnTo>
                    <a:pt x="983" y="978"/>
                  </a:lnTo>
                  <a:lnTo>
                    <a:pt x="943" y="1019"/>
                  </a:lnTo>
                  <a:lnTo>
                    <a:pt x="899" y="1055"/>
                  </a:lnTo>
                  <a:lnTo>
                    <a:pt x="849" y="1087"/>
                  </a:lnTo>
                  <a:lnTo>
                    <a:pt x="798" y="1114"/>
                  </a:lnTo>
                  <a:lnTo>
                    <a:pt x="743" y="1135"/>
                  </a:lnTo>
                  <a:lnTo>
                    <a:pt x="686" y="1152"/>
                  </a:lnTo>
                  <a:lnTo>
                    <a:pt x="626" y="1161"/>
                  </a:lnTo>
                  <a:lnTo>
                    <a:pt x="565" y="1164"/>
                  </a:lnTo>
                  <a:lnTo>
                    <a:pt x="502" y="1161"/>
                  </a:lnTo>
                  <a:lnTo>
                    <a:pt x="443" y="1152"/>
                  </a:lnTo>
                  <a:lnTo>
                    <a:pt x="385" y="1135"/>
                  </a:lnTo>
                  <a:lnTo>
                    <a:pt x="331" y="1114"/>
                  </a:lnTo>
                  <a:lnTo>
                    <a:pt x="279" y="1087"/>
                  </a:lnTo>
                  <a:lnTo>
                    <a:pt x="231" y="1055"/>
                  </a:lnTo>
                  <a:lnTo>
                    <a:pt x="186" y="1019"/>
                  </a:lnTo>
                  <a:lnTo>
                    <a:pt x="145" y="978"/>
                  </a:lnTo>
                  <a:lnTo>
                    <a:pt x="108" y="934"/>
                  </a:lnTo>
                  <a:lnTo>
                    <a:pt x="77" y="886"/>
                  </a:lnTo>
                  <a:lnTo>
                    <a:pt x="50" y="834"/>
                  </a:lnTo>
                  <a:lnTo>
                    <a:pt x="29" y="779"/>
                  </a:lnTo>
                  <a:lnTo>
                    <a:pt x="13" y="723"/>
                  </a:lnTo>
                  <a:lnTo>
                    <a:pt x="3" y="663"/>
                  </a:lnTo>
                  <a:lnTo>
                    <a:pt x="0" y="602"/>
                  </a:lnTo>
                  <a:lnTo>
                    <a:pt x="3" y="541"/>
                  </a:lnTo>
                  <a:lnTo>
                    <a:pt x="13" y="481"/>
                  </a:lnTo>
                  <a:lnTo>
                    <a:pt x="29" y="425"/>
                  </a:lnTo>
                  <a:lnTo>
                    <a:pt x="50" y="370"/>
                  </a:lnTo>
                  <a:lnTo>
                    <a:pt x="77" y="318"/>
                  </a:lnTo>
                  <a:lnTo>
                    <a:pt x="108" y="270"/>
                  </a:lnTo>
                  <a:lnTo>
                    <a:pt x="145" y="226"/>
                  </a:lnTo>
                  <a:lnTo>
                    <a:pt x="186" y="185"/>
                  </a:lnTo>
                  <a:lnTo>
                    <a:pt x="231" y="149"/>
                  </a:lnTo>
                  <a:lnTo>
                    <a:pt x="279" y="117"/>
                  </a:lnTo>
                  <a:lnTo>
                    <a:pt x="331" y="90"/>
                  </a:lnTo>
                  <a:lnTo>
                    <a:pt x="385" y="69"/>
                  </a:lnTo>
                  <a:lnTo>
                    <a:pt x="443" y="52"/>
                  </a:lnTo>
                  <a:lnTo>
                    <a:pt x="502" y="43"/>
                  </a:lnTo>
                  <a:lnTo>
                    <a:pt x="565" y="40"/>
                  </a:lnTo>
                  <a:lnTo>
                    <a:pt x="620" y="43"/>
                  </a:lnTo>
                  <a:lnTo>
                    <a:pt x="674" y="51"/>
                  </a:lnTo>
                  <a:lnTo>
                    <a:pt x="727" y="66"/>
                  </a:lnTo>
                  <a:lnTo>
                    <a:pt x="777" y="86"/>
                  </a:lnTo>
                  <a:lnTo>
                    <a:pt x="827" y="109"/>
                  </a:lnTo>
                  <a:lnTo>
                    <a:pt x="873" y="138"/>
                  </a:lnTo>
                  <a:lnTo>
                    <a:pt x="917" y="170"/>
                  </a:lnTo>
                  <a:lnTo>
                    <a:pt x="10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0" name="Freeform 23"/>
            <p:cNvSpPr>
              <a:spLocks noEditPoints="1"/>
            </p:cNvSpPr>
            <p:nvPr/>
          </p:nvSpPr>
          <p:spPr bwMode="auto">
            <a:xfrm>
              <a:off x="-783" y="2305"/>
              <a:ext cx="165" cy="165"/>
            </a:xfrm>
            <a:custGeom>
              <a:avLst/>
              <a:gdLst>
                <a:gd name="T0" fmla="*/ 597 w 1159"/>
                <a:gd name="T1" fmla="*/ 272 h 1154"/>
                <a:gd name="T2" fmla="*/ 552 w 1159"/>
                <a:gd name="T3" fmla="*/ 283 h 1154"/>
                <a:gd name="T4" fmla="*/ 522 w 1159"/>
                <a:gd name="T5" fmla="*/ 306 h 1154"/>
                <a:gd name="T6" fmla="*/ 503 w 1159"/>
                <a:gd name="T7" fmla="*/ 338 h 1154"/>
                <a:gd name="T8" fmla="*/ 495 w 1159"/>
                <a:gd name="T9" fmla="*/ 379 h 1154"/>
                <a:gd name="T10" fmla="*/ 494 w 1159"/>
                <a:gd name="T11" fmla="*/ 461 h 1154"/>
                <a:gd name="T12" fmla="*/ 423 w 1159"/>
                <a:gd name="T13" fmla="*/ 561 h 1154"/>
                <a:gd name="T14" fmla="*/ 484 w 1159"/>
                <a:gd name="T15" fmla="*/ 843 h 1154"/>
                <a:gd name="T16" fmla="*/ 604 w 1159"/>
                <a:gd name="T17" fmla="*/ 561 h 1154"/>
                <a:gd name="T18" fmla="*/ 705 w 1159"/>
                <a:gd name="T19" fmla="*/ 461 h 1154"/>
                <a:gd name="T20" fmla="*/ 615 w 1159"/>
                <a:gd name="T21" fmla="*/ 412 h 1154"/>
                <a:gd name="T22" fmla="*/ 616 w 1159"/>
                <a:gd name="T23" fmla="*/ 387 h 1154"/>
                <a:gd name="T24" fmla="*/ 627 w 1159"/>
                <a:gd name="T25" fmla="*/ 374 h 1154"/>
                <a:gd name="T26" fmla="*/ 655 w 1159"/>
                <a:gd name="T27" fmla="*/ 371 h 1154"/>
                <a:gd name="T28" fmla="*/ 705 w 1159"/>
                <a:gd name="T29" fmla="*/ 271 h 1154"/>
                <a:gd name="T30" fmla="*/ 554 w 1159"/>
                <a:gd name="T31" fmla="*/ 0 h 1154"/>
                <a:gd name="T32" fmla="*/ 675 w 1159"/>
                <a:gd name="T33" fmla="*/ 13 h 1154"/>
                <a:gd name="T34" fmla="*/ 788 w 1159"/>
                <a:gd name="T35" fmla="*/ 49 h 1154"/>
                <a:gd name="T36" fmla="*/ 888 w 1159"/>
                <a:gd name="T37" fmla="*/ 108 h 1154"/>
                <a:gd name="T38" fmla="*/ 974 w 1159"/>
                <a:gd name="T39" fmla="*/ 185 h 1154"/>
                <a:gd name="T40" fmla="*/ 1041 w 1159"/>
                <a:gd name="T41" fmla="*/ 278 h 1154"/>
                <a:gd name="T42" fmla="*/ 1090 w 1159"/>
                <a:gd name="T43" fmla="*/ 384 h 1154"/>
                <a:gd name="T44" fmla="*/ 1115 w 1159"/>
                <a:gd name="T45" fmla="*/ 501 h 1154"/>
                <a:gd name="T46" fmla="*/ 1115 w 1159"/>
                <a:gd name="T47" fmla="*/ 617 h 1154"/>
                <a:gd name="T48" fmla="*/ 1093 w 1159"/>
                <a:gd name="T49" fmla="*/ 723 h 1154"/>
                <a:gd name="T50" fmla="*/ 1049 w 1159"/>
                <a:gd name="T51" fmla="*/ 822 h 1154"/>
                <a:gd name="T52" fmla="*/ 988 w 1159"/>
                <a:gd name="T53" fmla="*/ 913 h 1154"/>
                <a:gd name="T54" fmla="*/ 1142 w 1159"/>
                <a:gd name="T55" fmla="*/ 1099 h 1154"/>
                <a:gd name="T56" fmla="*/ 1106 w 1159"/>
                <a:gd name="T57" fmla="*/ 1133 h 1154"/>
                <a:gd name="T58" fmla="*/ 917 w 1159"/>
                <a:gd name="T59" fmla="*/ 984 h 1154"/>
                <a:gd name="T60" fmla="*/ 843 w 1159"/>
                <a:gd name="T61" fmla="*/ 1037 h 1154"/>
                <a:gd name="T62" fmla="*/ 756 w 1159"/>
                <a:gd name="T63" fmla="*/ 1079 h 1154"/>
                <a:gd name="T64" fmla="*/ 662 w 1159"/>
                <a:gd name="T65" fmla="*/ 1105 h 1154"/>
                <a:gd name="T66" fmla="*/ 565 w 1159"/>
                <a:gd name="T67" fmla="*/ 1114 h 1154"/>
                <a:gd name="T68" fmla="*/ 443 w 1159"/>
                <a:gd name="T69" fmla="*/ 1101 h 1154"/>
                <a:gd name="T70" fmla="*/ 331 w 1159"/>
                <a:gd name="T71" fmla="*/ 1064 h 1154"/>
                <a:gd name="T72" fmla="*/ 231 w 1159"/>
                <a:gd name="T73" fmla="*/ 1006 h 1154"/>
                <a:gd name="T74" fmla="*/ 145 w 1159"/>
                <a:gd name="T75" fmla="*/ 930 h 1154"/>
                <a:gd name="T76" fmla="*/ 77 w 1159"/>
                <a:gd name="T77" fmla="*/ 838 h 1154"/>
                <a:gd name="T78" fmla="*/ 29 w 1159"/>
                <a:gd name="T79" fmla="*/ 735 h 1154"/>
                <a:gd name="T80" fmla="*/ 3 w 1159"/>
                <a:gd name="T81" fmla="*/ 621 h 1154"/>
                <a:gd name="T82" fmla="*/ 3 w 1159"/>
                <a:gd name="T83" fmla="*/ 505 h 1154"/>
                <a:gd name="T84" fmla="*/ 25 w 1159"/>
                <a:gd name="T85" fmla="*/ 395 h 1154"/>
                <a:gd name="T86" fmla="*/ 65 w 1159"/>
                <a:gd name="T87" fmla="*/ 294 h 1154"/>
                <a:gd name="T88" fmla="*/ 124 w 1159"/>
                <a:gd name="T89" fmla="*/ 204 h 1154"/>
                <a:gd name="T90" fmla="*/ 200 w 1159"/>
                <a:gd name="T91" fmla="*/ 128 h 1154"/>
                <a:gd name="T92" fmla="*/ 288 w 1159"/>
                <a:gd name="T93" fmla="*/ 68 h 1154"/>
                <a:gd name="T94" fmla="*/ 387 w 1159"/>
                <a:gd name="T95" fmla="*/ 25 h 1154"/>
                <a:gd name="T96" fmla="*/ 497 w 1159"/>
                <a:gd name="T97" fmla="*/ 2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59" h="1154">
                  <a:moveTo>
                    <a:pt x="625" y="271"/>
                  </a:moveTo>
                  <a:lnTo>
                    <a:pt x="597" y="272"/>
                  </a:lnTo>
                  <a:lnTo>
                    <a:pt x="572" y="277"/>
                  </a:lnTo>
                  <a:lnTo>
                    <a:pt x="552" y="283"/>
                  </a:lnTo>
                  <a:lnTo>
                    <a:pt x="536" y="293"/>
                  </a:lnTo>
                  <a:lnTo>
                    <a:pt x="522" y="306"/>
                  </a:lnTo>
                  <a:lnTo>
                    <a:pt x="511" y="321"/>
                  </a:lnTo>
                  <a:lnTo>
                    <a:pt x="503" y="338"/>
                  </a:lnTo>
                  <a:lnTo>
                    <a:pt x="498" y="357"/>
                  </a:lnTo>
                  <a:lnTo>
                    <a:pt x="495" y="379"/>
                  </a:lnTo>
                  <a:lnTo>
                    <a:pt x="494" y="401"/>
                  </a:lnTo>
                  <a:lnTo>
                    <a:pt x="494" y="461"/>
                  </a:lnTo>
                  <a:lnTo>
                    <a:pt x="423" y="461"/>
                  </a:lnTo>
                  <a:lnTo>
                    <a:pt x="423" y="561"/>
                  </a:lnTo>
                  <a:lnTo>
                    <a:pt x="484" y="561"/>
                  </a:lnTo>
                  <a:lnTo>
                    <a:pt x="484" y="843"/>
                  </a:lnTo>
                  <a:lnTo>
                    <a:pt x="604" y="843"/>
                  </a:lnTo>
                  <a:lnTo>
                    <a:pt x="604" y="561"/>
                  </a:lnTo>
                  <a:lnTo>
                    <a:pt x="696" y="561"/>
                  </a:lnTo>
                  <a:lnTo>
                    <a:pt x="705" y="461"/>
                  </a:lnTo>
                  <a:lnTo>
                    <a:pt x="615" y="461"/>
                  </a:lnTo>
                  <a:lnTo>
                    <a:pt x="615" y="412"/>
                  </a:lnTo>
                  <a:lnTo>
                    <a:pt x="615" y="398"/>
                  </a:lnTo>
                  <a:lnTo>
                    <a:pt x="616" y="387"/>
                  </a:lnTo>
                  <a:lnTo>
                    <a:pt x="619" y="380"/>
                  </a:lnTo>
                  <a:lnTo>
                    <a:pt x="627" y="374"/>
                  </a:lnTo>
                  <a:lnTo>
                    <a:pt x="638" y="372"/>
                  </a:lnTo>
                  <a:lnTo>
                    <a:pt x="655" y="371"/>
                  </a:lnTo>
                  <a:lnTo>
                    <a:pt x="705" y="371"/>
                  </a:lnTo>
                  <a:lnTo>
                    <a:pt x="705" y="271"/>
                  </a:lnTo>
                  <a:lnTo>
                    <a:pt x="625" y="271"/>
                  </a:lnTo>
                  <a:close/>
                  <a:moveTo>
                    <a:pt x="554" y="0"/>
                  </a:moveTo>
                  <a:lnTo>
                    <a:pt x="616" y="3"/>
                  </a:lnTo>
                  <a:lnTo>
                    <a:pt x="675" y="13"/>
                  </a:lnTo>
                  <a:lnTo>
                    <a:pt x="733" y="28"/>
                  </a:lnTo>
                  <a:lnTo>
                    <a:pt x="788" y="49"/>
                  </a:lnTo>
                  <a:lnTo>
                    <a:pt x="839" y="76"/>
                  </a:lnTo>
                  <a:lnTo>
                    <a:pt x="888" y="108"/>
                  </a:lnTo>
                  <a:lnTo>
                    <a:pt x="933" y="145"/>
                  </a:lnTo>
                  <a:lnTo>
                    <a:pt x="974" y="185"/>
                  </a:lnTo>
                  <a:lnTo>
                    <a:pt x="1010" y="230"/>
                  </a:lnTo>
                  <a:lnTo>
                    <a:pt x="1041" y="278"/>
                  </a:lnTo>
                  <a:lnTo>
                    <a:pt x="1068" y="329"/>
                  </a:lnTo>
                  <a:lnTo>
                    <a:pt x="1090" y="384"/>
                  </a:lnTo>
                  <a:lnTo>
                    <a:pt x="1106" y="441"/>
                  </a:lnTo>
                  <a:lnTo>
                    <a:pt x="1115" y="501"/>
                  </a:lnTo>
                  <a:lnTo>
                    <a:pt x="1119" y="561"/>
                  </a:lnTo>
                  <a:lnTo>
                    <a:pt x="1115" y="617"/>
                  </a:lnTo>
                  <a:lnTo>
                    <a:pt x="1107" y="670"/>
                  </a:lnTo>
                  <a:lnTo>
                    <a:pt x="1093" y="723"/>
                  </a:lnTo>
                  <a:lnTo>
                    <a:pt x="1074" y="774"/>
                  </a:lnTo>
                  <a:lnTo>
                    <a:pt x="1049" y="822"/>
                  </a:lnTo>
                  <a:lnTo>
                    <a:pt x="1021" y="869"/>
                  </a:lnTo>
                  <a:lnTo>
                    <a:pt x="988" y="913"/>
                  </a:lnTo>
                  <a:lnTo>
                    <a:pt x="1159" y="1084"/>
                  </a:lnTo>
                  <a:lnTo>
                    <a:pt x="1142" y="1099"/>
                  </a:lnTo>
                  <a:lnTo>
                    <a:pt x="1124" y="1115"/>
                  </a:lnTo>
                  <a:lnTo>
                    <a:pt x="1106" y="1133"/>
                  </a:lnTo>
                  <a:lnTo>
                    <a:pt x="1089" y="1154"/>
                  </a:lnTo>
                  <a:lnTo>
                    <a:pt x="917" y="984"/>
                  </a:lnTo>
                  <a:lnTo>
                    <a:pt x="881" y="1012"/>
                  </a:lnTo>
                  <a:lnTo>
                    <a:pt x="843" y="1037"/>
                  </a:lnTo>
                  <a:lnTo>
                    <a:pt x="801" y="1060"/>
                  </a:lnTo>
                  <a:lnTo>
                    <a:pt x="756" y="1079"/>
                  </a:lnTo>
                  <a:lnTo>
                    <a:pt x="710" y="1094"/>
                  </a:lnTo>
                  <a:lnTo>
                    <a:pt x="662" y="1105"/>
                  </a:lnTo>
                  <a:lnTo>
                    <a:pt x="614" y="1111"/>
                  </a:lnTo>
                  <a:lnTo>
                    <a:pt x="565" y="1114"/>
                  </a:lnTo>
                  <a:lnTo>
                    <a:pt x="502" y="1111"/>
                  </a:lnTo>
                  <a:lnTo>
                    <a:pt x="443" y="1101"/>
                  </a:lnTo>
                  <a:lnTo>
                    <a:pt x="385" y="1085"/>
                  </a:lnTo>
                  <a:lnTo>
                    <a:pt x="331" y="1064"/>
                  </a:lnTo>
                  <a:lnTo>
                    <a:pt x="279" y="1037"/>
                  </a:lnTo>
                  <a:lnTo>
                    <a:pt x="231" y="1006"/>
                  </a:lnTo>
                  <a:lnTo>
                    <a:pt x="186" y="970"/>
                  </a:lnTo>
                  <a:lnTo>
                    <a:pt x="145" y="930"/>
                  </a:lnTo>
                  <a:lnTo>
                    <a:pt x="108" y="886"/>
                  </a:lnTo>
                  <a:lnTo>
                    <a:pt x="77" y="838"/>
                  </a:lnTo>
                  <a:lnTo>
                    <a:pt x="50" y="788"/>
                  </a:lnTo>
                  <a:lnTo>
                    <a:pt x="29" y="735"/>
                  </a:lnTo>
                  <a:lnTo>
                    <a:pt x="13" y="679"/>
                  </a:lnTo>
                  <a:lnTo>
                    <a:pt x="3" y="621"/>
                  </a:lnTo>
                  <a:lnTo>
                    <a:pt x="0" y="561"/>
                  </a:lnTo>
                  <a:lnTo>
                    <a:pt x="3" y="505"/>
                  </a:lnTo>
                  <a:lnTo>
                    <a:pt x="11" y="448"/>
                  </a:lnTo>
                  <a:lnTo>
                    <a:pt x="25" y="395"/>
                  </a:lnTo>
                  <a:lnTo>
                    <a:pt x="43" y="342"/>
                  </a:lnTo>
                  <a:lnTo>
                    <a:pt x="65" y="294"/>
                  </a:lnTo>
                  <a:lnTo>
                    <a:pt x="93" y="247"/>
                  </a:lnTo>
                  <a:lnTo>
                    <a:pt x="124" y="204"/>
                  </a:lnTo>
                  <a:lnTo>
                    <a:pt x="160" y="164"/>
                  </a:lnTo>
                  <a:lnTo>
                    <a:pt x="200" y="128"/>
                  </a:lnTo>
                  <a:lnTo>
                    <a:pt x="241" y="95"/>
                  </a:lnTo>
                  <a:lnTo>
                    <a:pt x="288" y="68"/>
                  </a:lnTo>
                  <a:lnTo>
                    <a:pt x="336" y="44"/>
                  </a:lnTo>
                  <a:lnTo>
                    <a:pt x="387" y="25"/>
                  </a:lnTo>
                  <a:lnTo>
                    <a:pt x="441" y="11"/>
                  </a:lnTo>
                  <a:lnTo>
                    <a:pt x="497" y="2"/>
                  </a:lnTo>
                  <a:lnTo>
                    <a:pt x="5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1" name="Freeform 24"/>
            <p:cNvSpPr>
              <a:spLocks/>
            </p:cNvSpPr>
            <p:nvPr/>
          </p:nvSpPr>
          <p:spPr bwMode="auto">
            <a:xfrm>
              <a:off x="-618" y="2470"/>
              <a:ext cx="160" cy="159"/>
            </a:xfrm>
            <a:custGeom>
              <a:avLst/>
              <a:gdLst>
                <a:gd name="T0" fmla="*/ 659 w 1119"/>
                <a:gd name="T1" fmla="*/ 9 h 1114"/>
                <a:gd name="T2" fmla="*/ 638 w 1119"/>
                <a:gd name="T3" fmla="*/ 40 h 1114"/>
                <a:gd name="T4" fmla="*/ 667 w 1119"/>
                <a:gd name="T5" fmla="*/ 61 h 1114"/>
                <a:gd name="T6" fmla="*/ 718 w 1119"/>
                <a:gd name="T7" fmla="*/ 97 h 1114"/>
                <a:gd name="T8" fmla="*/ 746 w 1119"/>
                <a:gd name="T9" fmla="*/ 160 h 1114"/>
                <a:gd name="T10" fmla="*/ 748 w 1119"/>
                <a:gd name="T11" fmla="*/ 304 h 1114"/>
                <a:gd name="T12" fmla="*/ 770 w 1119"/>
                <a:gd name="T13" fmla="*/ 310 h 1114"/>
                <a:gd name="T14" fmla="*/ 766 w 1119"/>
                <a:gd name="T15" fmla="*/ 351 h 1114"/>
                <a:gd name="T16" fmla="*/ 761 w 1119"/>
                <a:gd name="T17" fmla="*/ 391 h 1114"/>
                <a:gd name="T18" fmla="*/ 753 w 1119"/>
                <a:gd name="T19" fmla="*/ 409 h 1114"/>
                <a:gd name="T20" fmla="*/ 747 w 1119"/>
                <a:gd name="T21" fmla="*/ 411 h 1114"/>
                <a:gd name="T22" fmla="*/ 737 w 1119"/>
                <a:gd name="T23" fmla="*/ 464 h 1114"/>
                <a:gd name="T24" fmla="*/ 704 w 1119"/>
                <a:gd name="T25" fmla="*/ 537 h 1114"/>
                <a:gd name="T26" fmla="*/ 695 w 1119"/>
                <a:gd name="T27" fmla="*/ 559 h 1114"/>
                <a:gd name="T28" fmla="*/ 706 w 1119"/>
                <a:gd name="T29" fmla="*/ 622 h 1114"/>
                <a:gd name="T30" fmla="*/ 710 w 1119"/>
                <a:gd name="T31" fmla="*/ 629 h 1114"/>
                <a:gd name="T32" fmla="*/ 711 w 1119"/>
                <a:gd name="T33" fmla="*/ 632 h 1114"/>
                <a:gd name="T34" fmla="*/ 732 w 1119"/>
                <a:gd name="T35" fmla="*/ 637 h 1114"/>
                <a:gd name="T36" fmla="*/ 737 w 1119"/>
                <a:gd name="T37" fmla="*/ 681 h 1114"/>
                <a:gd name="T38" fmla="*/ 761 w 1119"/>
                <a:gd name="T39" fmla="*/ 720 h 1114"/>
                <a:gd name="T40" fmla="*/ 961 w 1119"/>
                <a:gd name="T41" fmla="*/ 781 h 1114"/>
                <a:gd name="T42" fmla="*/ 1059 w 1119"/>
                <a:gd name="T43" fmla="*/ 820 h 1114"/>
                <a:gd name="T44" fmla="*/ 1041 w 1119"/>
                <a:gd name="T45" fmla="*/ 965 h 1114"/>
                <a:gd name="T46" fmla="*/ 870 w 1119"/>
                <a:gd name="T47" fmla="*/ 1032 h 1114"/>
                <a:gd name="T48" fmla="*/ 671 w 1119"/>
                <a:gd name="T49" fmla="*/ 1103 h 1114"/>
                <a:gd name="T50" fmla="*/ 423 w 1119"/>
                <a:gd name="T51" fmla="*/ 1090 h 1114"/>
                <a:gd name="T52" fmla="*/ 271 w 1119"/>
                <a:gd name="T53" fmla="*/ 1027 h 1114"/>
                <a:gd name="T54" fmla="*/ 126 w 1119"/>
                <a:gd name="T55" fmla="*/ 970 h 1114"/>
                <a:gd name="T56" fmla="*/ 51 w 1119"/>
                <a:gd name="T57" fmla="*/ 833 h 1114"/>
                <a:gd name="T58" fmla="*/ 100 w 1119"/>
                <a:gd name="T59" fmla="*/ 803 h 1114"/>
                <a:gd name="T60" fmla="*/ 197 w 1119"/>
                <a:gd name="T61" fmla="*/ 776 h 1114"/>
                <a:gd name="T62" fmla="*/ 312 w 1119"/>
                <a:gd name="T63" fmla="*/ 737 h 1114"/>
                <a:gd name="T64" fmla="*/ 365 w 1119"/>
                <a:gd name="T65" fmla="*/ 714 h 1114"/>
                <a:gd name="T66" fmla="*/ 383 w 1119"/>
                <a:gd name="T67" fmla="*/ 663 h 1114"/>
                <a:gd name="T68" fmla="*/ 393 w 1119"/>
                <a:gd name="T69" fmla="*/ 634 h 1114"/>
                <a:gd name="T70" fmla="*/ 411 w 1119"/>
                <a:gd name="T71" fmla="*/ 629 h 1114"/>
                <a:gd name="T72" fmla="*/ 414 w 1119"/>
                <a:gd name="T73" fmla="*/ 623 h 1114"/>
                <a:gd name="T74" fmla="*/ 423 w 1119"/>
                <a:gd name="T75" fmla="*/ 568 h 1114"/>
                <a:gd name="T76" fmla="*/ 415 w 1119"/>
                <a:gd name="T77" fmla="*/ 533 h 1114"/>
                <a:gd name="T78" fmla="*/ 389 w 1119"/>
                <a:gd name="T79" fmla="*/ 472 h 1114"/>
                <a:gd name="T80" fmla="*/ 373 w 1119"/>
                <a:gd name="T81" fmla="*/ 411 h 1114"/>
                <a:gd name="T82" fmla="*/ 367 w 1119"/>
                <a:gd name="T83" fmla="*/ 409 h 1114"/>
                <a:gd name="T84" fmla="*/ 356 w 1119"/>
                <a:gd name="T85" fmla="*/ 388 h 1114"/>
                <a:gd name="T86" fmla="*/ 342 w 1119"/>
                <a:gd name="T87" fmla="*/ 346 h 1114"/>
                <a:gd name="T88" fmla="*/ 336 w 1119"/>
                <a:gd name="T89" fmla="*/ 314 h 1114"/>
                <a:gd name="T90" fmla="*/ 356 w 1119"/>
                <a:gd name="T91" fmla="*/ 303 h 1114"/>
                <a:gd name="T92" fmla="*/ 361 w 1119"/>
                <a:gd name="T93" fmla="*/ 303 h 1114"/>
                <a:gd name="T94" fmla="*/ 363 w 1119"/>
                <a:gd name="T95" fmla="*/ 294 h 1114"/>
                <a:gd name="T96" fmla="*/ 372 w 1119"/>
                <a:gd name="T97" fmla="*/ 127 h 1114"/>
                <a:gd name="T98" fmla="*/ 445 w 1119"/>
                <a:gd name="T99" fmla="*/ 60 h 1114"/>
                <a:gd name="T100" fmla="*/ 569 w 1119"/>
                <a:gd name="T101" fmla="*/ 16 h 1114"/>
                <a:gd name="T102" fmla="*/ 636 w 1119"/>
                <a:gd name="T103" fmla="*/ 2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19" h="1114">
                  <a:moveTo>
                    <a:pt x="655" y="0"/>
                  </a:moveTo>
                  <a:lnTo>
                    <a:pt x="665" y="0"/>
                  </a:lnTo>
                  <a:lnTo>
                    <a:pt x="664" y="6"/>
                  </a:lnTo>
                  <a:lnTo>
                    <a:pt x="659" y="9"/>
                  </a:lnTo>
                  <a:lnTo>
                    <a:pt x="652" y="14"/>
                  </a:lnTo>
                  <a:lnTo>
                    <a:pt x="645" y="20"/>
                  </a:lnTo>
                  <a:lnTo>
                    <a:pt x="638" y="30"/>
                  </a:lnTo>
                  <a:lnTo>
                    <a:pt x="638" y="40"/>
                  </a:lnTo>
                  <a:lnTo>
                    <a:pt x="645" y="50"/>
                  </a:lnTo>
                  <a:lnTo>
                    <a:pt x="651" y="51"/>
                  </a:lnTo>
                  <a:lnTo>
                    <a:pt x="659" y="55"/>
                  </a:lnTo>
                  <a:lnTo>
                    <a:pt x="667" y="61"/>
                  </a:lnTo>
                  <a:lnTo>
                    <a:pt x="680" y="69"/>
                  </a:lnTo>
                  <a:lnTo>
                    <a:pt x="695" y="80"/>
                  </a:lnTo>
                  <a:lnTo>
                    <a:pt x="706" y="86"/>
                  </a:lnTo>
                  <a:lnTo>
                    <a:pt x="718" y="97"/>
                  </a:lnTo>
                  <a:lnTo>
                    <a:pt x="728" y="109"/>
                  </a:lnTo>
                  <a:lnTo>
                    <a:pt x="737" y="124"/>
                  </a:lnTo>
                  <a:lnTo>
                    <a:pt x="743" y="141"/>
                  </a:lnTo>
                  <a:lnTo>
                    <a:pt x="746" y="160"/>
                  </a:lnTo>
                  <a:lnTo>
                    <a:pt x="746" y="281"/>
                  </a:lnTo>
                  <a:lnTo>
                    <a:pt x="746" y="292"/>
                  </a:lnTo>
                  <a:lnTo>
                    <a:pt x="747" y="299"/>
                  </a:lnTo>
                  <a:lnTo>
                    <a:pt x="748" y="304"/>
                  </a:lnTo>
                  <a:lnTo>
                    <a:pt x="751" y="304"/>
                  </a:lnTo>
                  <a:lnTo>
                    <a:pt x="756" y="301"/>
                  </a:lnTo>
                  <a:lnTo>
                    <a:pt x="765" y="303"/>
                  </a:lnTo>
                  <a:lnTo>
                    <a:pt x="770" y="310"/>
                  </a:lnTo>
                  <a:lnTo>
                    <a:pt x="772" y="318"/>
                  </a:lnTo>
                  <a:lnTo>
                    <a:pt x="772" y="329"/>
                  </a:lnTo>
                  <a:lnTo>
                    <a:pt x="770" y="341"/>
                  </a:lnTo>
                  <a:lnTo>
                    <a:pt x="766" y="351"/>
                  </a:lnTo>
                  <a:lnTo>
                    <a:pt x="766" y="365"/>
                  </a:lnTo>
                  <a:lnTo>
                    <a:pt x="766" y="376"/>
                  </a:lnTo>
                  <a:lnTo>
                    <a:pt x="764" y="384"/>
                  </a:lnTo>
                  <a:lnTo>
                    <a:pt x="761" y="391"/>
                  </a:lnTo>
                  <a:lnTo>
                    <a:pt x="756" y="402"/>
                  </a:lnTo>
                  <a:lnTo>
                    <a:pt x="755" y="405"/>
                  </a:lnTo>
                  <a:lnTo>
                    <a:pt x="754" y="407"/>
                  </a:lnTo>
                  <a:lnTo>
                    <a:pt x="753" y="409"/>
                  </a:lnTo>
                  <a:lnTo>
                    <a:pt x="751" y="410"/>
                  </a:lnTo>
                  <a:lnTo>
                    <a:pt x="749" y="410"/>
                  </a:lnTo>
                  <a:lnTo>
                    <a:pt x="748" y="411"/>
                  </a:lnTo>
                  <a:lnTo>
                    <a:pt x="747" y="411"/>
                  </a:lnTo>
                  <a:lnTo>
                    <a:pt x="746" y="411"/>
                  </a:lnTo>
                  <a:lnTo>
                    <a:pt x="746" y="424"/>
                  </a:lnTo>
                  <a:lnTo>
                    <a:pt x="742" y="442"/>
                  </a:lnTo>
                  <a:lnTo>
                    <a:pt x="737" y="464"/>
                  </a:lnTo>
                  <a:lnTo>
                    <a:pt x="729" y="487"/>
                  </a:lnTo>
                  <a:lnTo>
                    <a:pt x="719" y="511"/>
                  </a:lnTo>
                  <a:lnTo>
                    <a:pt x="706" y="532"/>
                  </a:lnTo>
                  <a:lnTo>
                    <a:pt x="704" y="537"/>
                  </a:lnTo>
                  <a:lnTo>
                    <a:pt x="700" y="542"/>
                  </a:lnTo>
                  <a:lnTo>
                    <a:pt x="697" y="546"/>
                  </a:lnTo>
                  <a:lnTo>
                    <a:pt x="695" y="551"/>
                  </a:lnTo>
                  <a:lnTo>
                    <a:pt x="695" y="559"/>
                  </a:lnTo>
                  <a:lnTo>
                    <a:pt x="696" y="570"/>
                  </a:lnTo>
                  <a:lnTo>
                    <a:pt x="697" y="582"/>
                  </a:lnTo>
                  <a:lnTo>
                    <a:pt x="700" y="601"/>
                  </a:lnTo>
                  <a:lnTo>
                    <a:pt x="706" y="622"/>
                  </a:lnTo>
                  <a:lnTo>
                    <a:pt x="708" y="625"/>
                  </a:lnTo>
                  <a:lnTo>
                    <a:pt x="709" y="627"/>
                  </a:lnTo>
                  <a:lnTo>
                    <a:pt x="710" y="628"/>
                  </a:lnTo>
                  <a:lnTo>
                    <a:pt x="710" y="629"/>
                  </a:lnTo>
                  <a:lnTo>
                    <a:pt x="710" y="630"/>
                  </a:lnTo>
                  <a:lnTo>
                    <a:pt x="710" y="632"/>
                  </a:lnTo>
                  <a:lnTo>
                    <a:pt x="711" y="632"/>
                  </a:lnTo>
                  <a:lnTo>
                    <a:pt x="711" y="632"/>
                  </a:lnTo>
                  <a:lnTo>
                    <a:pt x="713" y="632"/>
                  </a:lnTo>
                  <a:lnTo>
                    <a:pt x="715" y="632"/>
                  </a:lnTo>
                  <a:lnTo>
                    <a:pt x="725" y="633"/>
                  </a:lnTo>
                  <a:lnTo>
                    <a:pt x="732" y="637"/>
                  </a:lnTo>
                  <a:lnTo>
                    <a:pt x="735" y="643"/>
                  </a:lnTo>
                  <a:lnTo>
                    <a:pt x="736" y="651"/>
                  </a:lnTo>
                  <a:lnTo>
                    <a:pt x="736" y="663"/>
                  </a:lnTo>
                  <a:lnTo>
                    <a:pt x="737" y="681"/>
                  </a:lnTo>
                  <a:lnTo>
                    <a:pt x="741" y="696"/>
                  </a:lnTo>
                  <a:lnTo>
                    <a:pt x="748" y="707"/>
                  </a:lnTo>
                  <a:lnTo>
                    <a:pt x="754" y="716"/>
                  </a:lnTo>
                  <a:lnTo>
                    <a:pt x="761" y="720"/>
                  </a:lnTo>
                  <a:lnTo>
                    <a:pt x="766" y="722"/>
                  </a:lnTo>
                  <a:lnTo>
                    <a:pt x="832" y="744"/>
                  </a:lnTo>
                  <a:lnTo>
                    <a:pt x="897" y="763"/>
                  </a:lnTo>
                  <a:lnTo>
                    <a:pt x="961" y="781"/>
                  </a:lnTo>
                  <a:lnTo>
                    <a:pt x="1028" y="803"/>
                  </a:lnTo>
                  <a:lnTo>
                    <a:pt x="1038" y="805"/>
                  </a:lnTo>
                  <a:lnTo>
                    <a:pt x="1048" y="810"/>
                  </a:lnTo>
                  <a:lnTo>
                    <a:pt x="1059" y="820"/>
                  </a:lnTo>
                  <a:lnTo>
                    <a:pt x="1069" y="833"/>
                  </a:lnTo>
                  <a:lnTo>
                    <a:pt x="1119" y="953"/>
                  </a:lnTo>
                  <a:lnTo>
                    <a:pt x="1079" y="957"/>
                  </a:lnTo>
                  <a:lnTo>
                    <a:pt x="1041" y="965"/>
                  </a:lnTo>
                  <a:lnTo>
                    <a:pt x="1000" y="978"/>
                  </a:lnTo>
                  <a:lnTo>
                    <a:pt x="958" y="994"/>
                  </a:lnTo>
                  <a:lnTo>
                    <a:pt x="915" y="1012"/>
                  </a:lnTo>
                  <a:lnTo>
                    <a:pt x="870" y="1032"/>
                  </a:lnTo>
                  <a:lnTo>
                    <a:pt x="824" y="1053"/>
                  </a:lnTo>
                  <a:lnTo>
                    <a:pt x="776" y="1072"/>
                  </a:lnTo>
                  <a:lnTo>
                    <a:pt x="724" y="1089"/>
                  </a:lnTo>
                  <a:lnTo>
                    <a:pt x="671" y="1103"/>
                  </a:lnTo>
                  <a:lnTo>
                    <a:pt x="615" y="1114"/>
                  </a:lnTo>
                  <a:lnTo>
                    <a:pt x="514" y="1114"/>
                  </a:lnTo>
                  <a:lnTo>
                    <a:pt x="467" y="1103"/>
                  </a:lnTo>
                  <a:lnTo>
                    <a:pt x="423" y="1090"/>
                  </a:lnTo>
                  <a:lnTo>
                    <a:pt x="383" y="1076"/>
                  </a:lnTo>
                  <a:lnTo>
                    <a:pt x="344" y="1060"/>
                  </a:lnTo>
                  <a:lnTo>
                    <a:pt x="307" y="1043"/>
                  </a:lnTo>
                  <a:lnTo>
                    <a:pt x="271" y="1027"/>
                  </a:lnTo>
                  <a:lnTo>
                    <a:pt x="236" y="1011"/>
                  </a:lnTo>
                  <a:lnTo>
                    <a:pt x="200" y="995"/>
                  </a:lnTo>
                  <a:lnTo>
                    <a:pt x="164" y="981"/>
                  </a:lnTo>
                  <a:lnTo>
                    <a:pt x="126" y="970"/>
                  </a:lnTo>
                  <a:lnTo>
                    <a:pt x="86" y="961"/>
                  </a:lnTo>
                  <a:lnTo>
                    <a:pt x="44" y="955"/>
                  </a:lnTo>
                  <a:lnTo>
                    <a:pt x="0" y="953"/>
                  </a:lnTo>
                  <a:lnTo>
                    <a:pt x="51" y="833"/>
                  </a:lnTo>
                  <a:lnTo>
                    <a:pt x="58" y="825"/>
                  </a:lnTo>
                  <a:lnTo>
                    <a:pt x="68" y="818"/>
                  </a:lnTo>
                  <a:lnTo>
                    <a:pt x="82" y="810"/>
                  </a:lnTo>
                  <a:lnTo>
                    <a:pt x="100" y="803"/>
                  </a:lnTo>
                  <a:lnTo>
                    <a:pt x="119" y="798"/>
                  </a:lnTo>
                  <a:lnTo>
                    <a:pt x="141" y="793"/>
                  </a:lnTo>
                  <a:lnTo>
                    <a:pt x="168" y="784"/>
                  </a:lnTo>
                  <a:lnTo>
                    <a:pt x="197" y="776"/>
                  </a:lnTo>
                  <a:lnTo>
                    <a:pt x="227" y="766"/>
                  </a:lnTo>
                  <a:lnTo>
                    <a:pt x="257" y="757"/>
                  </a:lnTo>
                  <a:lnTo>
                    <a:pt x="286" y="747"/>
                  </a:lnTo>
                  <a:lnTo>
                    <a:pt x="312" y="737"/>
                  </a:lnTo>
                  <a:lnTo>
                    <a:pt x="334" y="729"/>
                  </a:lnTo>
                  <a:lnTo>
                    <a:pt x="353" y="722"/>
                  </a:lnTo>
                  <a:lnTo>
                    <a:pt x="359" y="720"/>
                  </a:lnTo>
                  <a:lnTo>
                    <a:pt x="365" y="714"/>
                  </a:lnTo>
                  <a:lnTo>
                    <a:pt x="372" y="704"/>
                  </a:lnTo>
                  <a:lnTo>
                    <a:pt x="377" y="691"/>
                  </a:lnTo>
                  <a:lnTo>
                    <a:pt x="382" y="678"/>
                  </a:lnTo>
                  <a:lnTo>
                    <a:pt x="383" y="663"/>
                  </a:lnTo>
                  <a:lnTo>
                    <a:pt x="384" y="652"/>
                  </a:lnTo>
                  <a:lnTo>
                    <a:pt x="385" y="643"/>
                  </a:lnTo>
                  <a:lnTo>
                    <a:pt x="387" y="637"/>
                  </a:lnTo>
                  <a:lnTo>
                    <a:pt x="393" y="634"/>
                  </a:lnTo>
                  <a:lnTo>
                    <a:pt x="403" y="633"/>
                  </a:lnTo>
                  <a:lnTo>
                    <a:pt x="406" y="632"/>
                  </a:lnTo>
                  <a:lnTo>
                    <a:pt x="409" y="630"/>
                  </a:lnTo>
                  <a:lnTo>
                    <a:pt x="411" y="629"/>
                  </a:lnTo>
                  <a:lnTo>
                    <a:pt x="412" y="627"/>
                  </a:lnTo>
                  <a:lnTo>
                    <a:pt x="413" y="625"/>
                  </a:lnTo>
                  <a:lnTo>
                    <a:pt x="413" y="624"/>
                  </a:lnTo>
                  <a:lnTo>
                    <a:pt x="414" y="623"/>
                  </a:lnTo>
                  <a:lnTo>
                    <a:pt x="414" y="622"/>
                  </a:lnTo>
                  <a:lnTo>
                    <a:pt x="419" y="606"/>
                  </a:lnTo>
                  <a:lnTo>
                    <a:pt x="422" y="587"/>
                  </a:lnTo>
                  <a:lnTo>
                    <a:pt x="423" y="568"/>
                  </a:lnTo>
                  <a:lnTo>
                    <a:pt x="423" y="552"/>
                  </a:lnTo>
                  <a:lnTo>
                    <a:pt x="422" y="545"/>
                  </a:lnTo>
                  <a:lnTo>
                    <a:pt x="418" y="539"/>
                  </a:lnTo>
                  <a:lnTo>
                    <a:pt x="415" y="533"/>
                  </a:lnTo>
                  <a:lnTo>
                    <a:pt x="414" y="532"/>
                  </a:lnTo>
                  <a:lnTo>
                    <a:pt x="404" y="515"/>
                  </a:lnTo>
                  <a:lnTo>
                    <a:pt x="397" y="494"/>
                  </a:lnTo>
                  <a:lnTo>
                    <a:pt x="389" y="472"/>
                  </a:lnTo>
                  <a:lnTo>
                    <a:pt x="384" y="450"/>
                  </a:lnTo>
                  <a:lnTo>
                    <a:pt x="378" y="428"/>
                  </a:lnTo>
                  <a:lnTo>
                    <a:pt x="373" y="411"/>
                  </a:lnTo>
                  <a:lnTo>
                    <a:pt x="373" y="411"/>
                  </a:lnTo>
                  <a:lnTo>
                    <a:pt x="371" y="411"/>
                  </a:lnTo>
                  <a:lnTo>
                    <a:pt x="370" y="411"/>
                  </a:lnTo>
                  <a:lnTo>
                    <a:pt x="368" y="410"/>
                  </a:lnTo>
                  <a:lnTo>
                    <a:pt x="367" y="409"/>
                  </a:lnTo>
                  <a:lnTo>
                    <a:pt x="364" y="407"/>
                  </a:lnTo>
                  <a:lnTo>
                    <a:pt x="363" y="405"/>
                  </a:lnTo>
                  <a:lnTo>
                    <a:pt x="363" y="402"/>
                  </a:lnTo>
                  <a:lnTo>
                    <a:pt x="356" y="388"/>
                  </a:lnTo>
                  <a:lnTo>
                    <a:pt x="349" y="376"/>
                  </a:lnTo>
                  <a:lnTo>
                    <a:pt x="344" y="364"/>
                  </a:lnTo>
                  <a:lnTo>
                    <a:pt x="343" y="351"/>
                  </a:lnTo>
                  <a:lnTo>
                    <a:pt x="342" y="346"/>
                  </a:lnTo>
                  <a:lnTo>
                    <a:pt x="340" y="339"/>
                  </a:lnTo>
                  <a:lnTo>
                    <a:pt x="338" y="331"/>
                  </a:lnTo>
                  <a:lnTo>
                    <a:pt x="336" y="323"/>
                  </a:lnTo>
                  <a:lnTo>
                    <a:pt x="336" y="314"/>
                  </a:lnTo>
                  <a:lnTo>
                    <a:pt x="339" y="308"/>
                  </a:lnTo>
                  <a:lnTo>
                    <a:pt x="344" y="302"/>
                  </a:lnTo>
                  <a:lnTo>
                    <a:pt x="353" y="301"/>
                  </a:lnTo>
                  <a:lnTo>
                    <a:pt x="356" y="303"/>
                  </a:lnTo>
                  <a:lnTo>
                    <a:pt x="358" y="304"/>
                  </a:lnTo>
                  <a:lnTo>
                    <a:pt x="359" y="305"/>
                  </a:lnTo>
                  <a:lnTo>
                    <a:pt x="361" y="304"/>
                  </a:lnTo>
                  <a:lnTo>
                    <a:pt x="361" y="303"/>
                  </a:lnTo>
                  <a:lnTo>
                    <a:pt x="362" y="301"/>
                  </a:lnTo>
                  <a:lnTo>
                    <a:pt x="362" y="299"/>
                  </a:lnTo>
                  <a:lnTo>
                    <a:pt x="362" y="297"/>
                  </a:lnTo>
                  <a:lnTo>
                    <a:pt x="363" y="294"/>
                  </a:lnTo>
                  <a:lnTo>
                    <a:pt x="363" y="291"/>
                  </a:lnTo>
                  <a:lnTo>
                    <a:pt x="363" y="171"/>
                  </a:lnTo>
                  <a:lnTo>
                    <a:pt x="365" y="147"/>
                  </a:lnTo>
                  <a:lnTo>
                    <a:pt x="372" y="127"/>
                  </a:lnTo>
                  <a:lnTo>
                    <a:pt x="383" y="109"/>
                  </a:lnTo>
                  <a:lnTo>
                    <a:pt x="397" y="94"/>
                  </a:lnTo>
                  <a:lnTo>
                    <a:pt x="414" y="80"/>
                  </a:lnTo>
                  <a:lnTo>
                    <a:pt x="445" y="60"/>
                  </a:lnTo>
                  <a:lnTo>
                    <a:pt x="480" y="42"/>
                  </a:lnTo>
                  <a:lnTo>
                    <a:pt x="517" y="30"/>
                  </a:lnTo>
                  <a:lnTo>
                    <a:pt x="554" y="20"/>
                  </a:lnTo>
                  <a:lnTo>
                    <a:pt x="569" y="16"/>
                  </a:lnTo>
                  <a:lnTo>
                    <a:pt x="586" y="11"/>
                  </a:lnTo>
                  <a:lnTo>
                    <a:pt x="604" y="8"/>
                  </a:lnTo>
                  <a:lnTo>
                    <a:pt x="621" y="5"/>
                  </a:lnTo>
                  <a:lnTo>
                    <a:pt x="636" y="2"/>
                  </a:lnTo>
                  <a:lnTo>
                    <a:pt x="648" y="1"/>
                  </a:lnTo>
                  <a:lnTo>
                    <a:pt x="6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3" name="Group 19"/>
          <p:cNvGrpSpPr>
            <a:grpSpLocks noChangeAspect="1"/>
          </p:cNvGrpSpPr>
          <p:nvPr/>
        </p:nvGrpSpPr>
        <p:grpSpPr bwMode="auto">
          <a:xfrm>
            <a:off x="3839598" y="4937360"/>
            <a:ext cx="513844" cy="396224"/>
            <a:chOff x="-1698" y="1247"/>
            <a:chExt cx="2512" cy="1937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64" name="Freeform 21"/>
            <p:cNvSpPr>
              <a:spLocks/>
            </p:cNvSpPr>
            <p:nvPr/>
          </p:nvSpPr>
          <p:spPr bwMode="auto">
            <a:xfrm>
              <a:off x="-1698" y="1629"/>
              <a:ext cx="2512" cy="1555"/>
            </a:xfrm>
            <a:custGeom>
              <a:avLst/>
              <a:gdLst>
                <a:gd name="T0" fmla="*/ 1567 w 5025"/>
                <a:gd name="T1" fmla="*/ 0 h 3111"/>
                <a:gd name="T2" fmla="*/ 687 w 5025"/>
                <a:gd name="T3" fmla="*/ 329 h 3111"/>
                <a:gd name="T4" fmla="*/ 4341 w 5025"/>
                <a:gd name="T5" fmla="*/ 2522 h 3111"/>
                <a:gd name="T6" fmla="*/ 4130 w 5025"/>
                <a:gd name="T7" fmla="*/ 329 h 3111"/>
                <a:gd name="T8" fmla="*/ 4479 w 5025"/>
                <a:gd name="T9" fmla="*/ 0 h 3111"/>
                <a:gd name="T10" fmla="*/ 4554 w 5025"/>
                <a:gd name="T11" fmla="*/ 15 h 3111"/>
                <a:gd name="T12" fmla="*/ 4614 w 5025"/>
                <a:gd name="T13" fmla="*/ 55 h 3111"/>
                <a:gd name="T14" fmla="*/ 4655 w 5025"/>
                <a:gd name="T15" fmla="*/ 116 h 3111"/>
                <a:gd name="T16" fmla="*/ 4670 w 5025"/>
                <a:gd name="T17" fmla="*/ 189 h 3111"/>
                <a:gd name="T18" fmla="*/ 4939 w 5025"/>
                <a:gd name="T19" fmla="*/ 2651 h 3111"/>
                <a:gd name="T20" fmla="*/ 4990 w 5025"/>
                <a:gd name="T21" fmla="*/ 2668 h 3111"/>
                <a:gd name="T22" fmla="*/ 5020 w 5025"/>
                <a:gd name="T23" fmla="*/ 2711 h 3111"/>
                <a:gd name="T24" fmla="*/ 5022 w 5025"/>
                <a:gd name="T25" fmla="*/ 2793 h 3111"/>
                <a:gd name="T26" fmla="*/ 4991 w 5025"/>
                <a:gd name="T27" fmla="*/ 2894 h 3111"/>
                <a:gd name="T28" fmla="*/ 4933 w 5025"/>
                <a:gd name="T29" fmla="*/ 2983 h 3111"/>
                <a:gd name="T30" fmla="*/ 4855 w 5025"/>
                <a:gd name="T31" fmla="*/ 3050 h 3111"/>
                <a:gd name="T32" fmla="*/ 4761 w 5025"/>
                <a:gd name="T33" fmla="*/ 3094 h 3111"/>
                <a:gd name="T34" fmla="*/ 4652 w 5025"/>
                <a:gd name="T35" fmla="*/ 3111 h 3111"/>
                <a:gd name="T36" fmla="*/ 3969 w 5025"/>
                <a:gd name="T37" fmla="*/ 2949 h 3111"/>
                <a:gd name="T38" fmla="*/ 3954 w 5025"/>
                <a:gd name="T39" fmla="*/ 2897 h 3111"/>
                <a:gd name="T40" fmla="*/ 3917 w 5025"/>
                <a:gd name="T41" fmla="*/ 2859 h 3111"/>
                <a:gd name="T42" fmla="*/ 3866 w 5025"/>
                <a:gd name="T43" fmla="*/ 2845 h 3111"/>
                <a:gd name="T44" fmla="*/ 3812 w 5025"/>
                <a:gd name="T45" fmla="*/ 2859 h 3111"/>
                <a:gd name="T46" fmla="*/ 3775 w 5025"/>
                <a:gd name="T47" fmla="*/ 2897 h 3111"/>
                <a:gd name="T48" fmla="*/ 3762 w 5025"/>
                <a:gd name="T49" fmla="*/ 2949 h 3111"/>
                <a:gd name="T50" fmla="*/ 3591 w 5025"/>
                <a:gd name="T51" fmla="*/ 3111 h 3111"/>
                <a:gd name="T52" fmla="*/ 3588 w 5025"/>
                <a:gd name="T53" fmla="*/ 2922 h 3111"/>
                <a:gd name="T54" fmla="*/ 3560 w 5025"/>
                <a:gd name="T55" fmla="*/ 2876 h 3111"/>
                <a:gd name="T56" fmla="*/ 3514 w 5025"/>
                <a:gd name="T57" fmla="*/ 2850 h 3111"/>
                <a:gd name="T58" fmla="*/ 3459 w 5025"/>
                <a:gd name="T59" fmla="*/ 2850 h 3111"/>
                <a:gd name="T60" fmla="*/ 3413 w 5025"/>
                <a:gd name="T61" fmla="*/ 2876 h 3111"/>
                <a:gd name="T62" fmla="*/ 3387 w 5025"/>
                <a:gd name="T63" fmla="*/ 2922 h 3111"/>
                <a:gd name="T64" fmla="*/ 3383 w 5025"/>
                <a:gd name="T65" fmla="*/ 3111 h 3111"/>
                <a:gd name="T66" fmla="*/ 318 w 5025"/>
                <a:gd name="T67" fmla="*/ 3106 h 3111"/>
                <a:gd name="T68" fmla="*/ 215 w 5025"/>
                <a:gd name="T69" fmla="*/ 3076 h 3111"/>
                <a:gd name="T70" fmla="*/ 128 w 5025"/>
                <a:gd name="T71" fmla="*/ 3019 h 3111"/>
                <a:gd name="T72" fmla="*/ 60 w 5025"/>
                <a:gd name="T73" fmla="*/ 2940 h 3111"/>
                <a:gd name="T74" fmla="*/ 15 w 5025"/>
                <a:gd name="T75" fmla="*/ 2845 h 3111"/>
                <a:gd name="T76" fmla="*/ 0 w 5025"/>
                <a:gd name="T77" fmla="*/ 2738 h 3111"/>
                <a:gd name="T78" fmla="*/ 17 w 5025"/>
                <a:gd name="T79" fmla="*/ 2687 h 3111"/>
                <a:gd name="T80" fmla="*/ 60 w 5025"/>
                <a:gd name="T81" fmla="*/ 2656 h 3111"/>
                <a:gd name="T82" fmla="*/ 357 w 5025"/>
                <a:gd name="T83" fmla="*/ 2651 h 3111"/>
                <a:gd name="T84" fmla="*/ 360 w 5025"/>
                <a:gd name="T85" fmla="*/ 151 h 3111"/>
                <a:gd name="T86" fmla="*/ 389 w 5025"/>
                <a:gd name="T87" fmla="*/ 84 h 3111"/>
                <a:gd name="T88" fmla="*/ 441 w 5025"/>
                <a:gd name="T89" fmla="*/ 32 h 3111"/>
                <a:gd name="T90" fmla="*/ 509 w 5025"/>
                <a:gd name="T91" fmla="*/ 3 h 3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025" h="3111">
                  <a:moveTo>
                    <a:pt x="547" y="0"/>
                  </a:moveTo>
                  <a:lnTo>
                    <a:pt x="1567" y="0"/>
                  </a:lnTo>
                  <a:lnTo>
                    <a:pt x="1167" y="329"/>
                  </a:lnTo>
                  <a:lnTo>
                    <a:pt x="687" y="329"/>
                  </a:lnTo>
                  <a:lnTo>
                    <a:pt x="687" y="2522"/>
                  </a:lnTo>
                  <a:lnTo>
                    <a:pt x="4341" y="2522"/>
                  </a:lnTo>
                  <a:lnTo>
                    <a:pt x="4341" y="329"/>
                  </a:lnTo>
                  <a:lnTo>
                    <a:pt x="4130" y="329"/>
                  </a:lnTo>
                  <a:lnTo>
                    <a:pt x="4266" y="0"/>
                  </a:lnTo>
                  <a:lnTo>
                    <a:pt x="4479" y="0"/>
                  </a:lnTo>
                  <a:lnTo>
                    <a:pt x="4518" y="3"/>
                  </a:lnTo>
                  <a:lnTo>
                    <a:pt x="4554" y="15"/>
                  </a:lnTo>
                  <a:lnTo>
                    <a:pt x="4586" y="32"/>
                  </a:lnTo>
                  <a:lnTo>
                    <a:pt x="4614" y="55"/>
                  </a:lnTo>
                  <a:lnTo>
                    <a:pt x="4637" y="84"/>
                  </a:lnTo>
                  <a:lnTo>
                    <a:pt x="4655" y="116"/>
                  </a:lnTo>
                  <a:lnTo>
                    <a:pt x="4666" y="151"/>
                  </a:lnTo>
                  <a:lnTo>
                    <a:pt x="4670" y="189"/>
                  </a:lnTo>
                  <a:lnTo>
                    <a:pt x="4670" y="2651"/>
                  </a:lnTo>
                  <a:lnTo>
                    <a:pt x="4939" y="2651"/>
                  </a:lnTo>
                  <a:lnTo>
                    <a:pt x="4965" y="2656"/>
                  </a:lnTo>
                  <a:lnTo>
                    <a:pt x="4990" y="2668"/>
                  </a:lnTo>
                  <a:lnTo>
                    <a:pt x="5008" y="2687"/>
                  </a:lnTo>
                  <a:lnTo>
                    <a:pt x="5020" y="2711"/>
                  </a:lnTo>
                  <a:lnTo>
                    <a:pt x="5025" y="2738"/>
                  </a:lnTo>
                  <a:lnTo>
                    <a:pt x="5022" y="2793"/>
                  </a:lnTo>
                  <a:lnTo>
                    <a:pt x="5009" y="2845"/>
                  </a:lnTo>
                  <a:lnTo>
                    <a:pt x="4991" y="2894"/>
                  </a:lnTo>
                  <a:lnTo>
                    <a:pt x="4965" y="2940"/>
                  </a:lnTo>
                  <a:lnTo>
                    <a:pt x="4933" y="2983"/>
                  </a:lnTo>
                  <a:lnTo>
                    <a:pt x="4896" y="3019"/>
                  </a:lnTo>
                  <a:lnTo>
                    <a:pt x="4855" y="3050"/>
                  </a:lnTo>
                  <a:lnTo>
                    <a:pt x="4809" y="3076"/>
                  </a:lnTo>
                  <a:lnTo>
                    <a:pt x="4761" y="3094"/>
                  </a:lnTo>
                  <a:lnTo>
                    <a:pt x="4707" y="3106"/>
                  </a:lnTo>
                  <a:lnTo>
                    <a:pt x="4652" y="3111"/>
                  </a:lnTo>
                  <a:lnTo>
                    <a:pt x="3969" y="3111"/>
                  </a:lnTo>
                  <a:lnTo>
                    <a:pt x="3969" y="2949"/>
                  </a:lnTo>
                  <a:lnTo>
                    <a:pt x="3965" y="2922"/>
                  </a:lnTo>
                  <a:lnTo>
                    <a:pt x="3954" y="2897"/>
                  </a:lnTo>
                  <a:lnTo>
                    <a:pt x="3939" y="2876"/>
                  </a:lnTo>
                  <a:lnTo>
                    <a:pt x="3917" y="2859"/>
                  </a:lnTo>
                  <a:lnTo>
                    <a:pt x="3893" y="2850"/>
                  </a:lnTo>
                  <a:lnTo>
                    <a:pt x="3866" y="2845"/>
                  </a:lnTo>
                  <a:lnTo>
                    <a:pt x="3838" y="2850"/>
                  </a:lnTo>
                  <a:lnTo>
                    <a:pt x="3812" y="2859"/>
                  </a:lnTo>
                  <a:lnTo>
                    <a:pt x="3792" y="2876"/>
                  </a:lnTo>
                  <a:lnTo>
                    <a:pt x="3775" y="2897"/>
                  </a:lnTo>
                  <a:lnTo>
                    <a:pt x="3765" y="2922"/>
                  </a:lnTo>
                  <a:lnTo>
                    <a:pt x="3762" y="2949"/>
                  </a:lnTo>
                  <a:lnTo>
                    <a:pt x="3762" y="3111"/>
                  </a:lnTo>
                  <a:lnTo>
                    <a:pt x="3591" y="3111"/>
                  </a:lnTo>
                  <a:lnTo>
                    <a:pt x="3591" y="2949"/>
                  </a:lnTo>
                  <a:lnTo>
                    <a:pt x="3588" y="2922"/>
                  </a:lnTo>
                  <a:lnTo>
                    <a:pt x="3577" y="2897"/>
                  </a:lnTo>
                  <a:lnTo>
                    <a:pt x="3560" y="2876"/>
                  </a:lnTo>
                  <a:lnTo>
                    <a:pt x="3540" y="2859"/>
                  </a:lnTo>
                  <a:lnTo>
                    <a:pt x="3514" y="2850"/>
                  </a:lnTo>
                  <a:lnTo>
                    <a:pt x="3487" y="2845"/>
                  </a:lnTo>
                  <a:lnTo>
                    <a:pt x="3459" y="2850"/>
                  </a:lnTo>
                  <a:lnTo>
                    <a:pt x="3435" y="2859"/>
                  </a:lnTo>
                  <a:lnTo>
                    <a:pt x="3413" y="2876"/>
                  </a:lnTo>
                  <a:lnTo>
                    <a:pt x="3398" y="2897"/>
                  </a:lnTo>
                  <a:lnTo>
                    <a:pt x="3387" y="2922"/>
                  </a:lnTo>
                  <a:lnTo>
                    <a:pt x="3383" y="2949"/>
                  </a:lnTo>
                  <a:lnTo>
                    <a:pt x="3383" y="3111"/>
                  </a:lnTo>
                  <a:lnTo>
                    <a:pt x="373" y="3111"/>
                  </a:lnTo>
                  <a:lnTo>
                    <a:pt x="318" y="3106"/>
                  </a:lnTo>
                  <a:lnTo>
                    <a:pt x="266" y="3094"/>
                  </a:lnTo>
                  <a:lnTo>
                    <a:pt x="215" y="3076"/>
                  </a:lnTo>
                  <a:lnTo>
                    <a:pt x="170" y="3050"/>
                  </a:lnTo>
                  <a:lnTo>
                    <a:pt x="128" y="3019"/>
                  </a:lnTo>
                  <a:lnTo>
                    <a:pt x="92" y="2983"/>
                  </a:lnTo>
                  <a:lnTo>
                    <a:pt x="60" y="2940"/>
                  </a:lnTo>
                  <a:lnTo>
                    <a:pt x="35" y="2894"/>
                  </a:lnTo>
                  <a:lnTo>
                    <a:pt x="15" y="2845"/>
                  </a:lnTo>
                  <a:lnTo>
                    <a:pt x="5" y="2793"/>
                  </a:lnTo>
                  <a:lnTo>
                    <a:pt x="0" y="2738"/>
                  </a:lnTo>
                  <a:lnTo>
                    <a:pt x="5" y="2711"/>
                  </a:lnTo>
                  <a:lnTo>
                    <a:pt x="17" y="2687"/>
                  </a:lnTo>
                  <a:lnTo>
                    <a:pt x="35" y="2668"/>
                  </a:lnTo>
                  <a:lnTo>
                    <a:pt x="60" y="2656"/>
                  </a:lnTo>
                  <a:lnTo>
                    <a:pt x="87" y="2651"/>
                  </a:lnTo>
                  <a:lnTo>
                    <a:pt x="357" y="2651"/>
                  </a:lnTo>
                  <a:lnTo>
                    <a:pt x="357" y="189"/>
                  </a:lnTo>
                  <a:lnTo>
                    <a:pt x="360" y="151"/>
                  </a:lnTo>
                  <a:lnTo>
                    <a:pt x="373" y="116"/>
                  </a:lnTo>
                  <a:lnTo>
                    <a:pt x="389" y="84"/>
                  </a:lnTo>
                  <a:lnTo>
                    <a:pt x="412" y="55"/>
                  </a:lnTo>
                  <a:lnTo>
                    <a:pt x="441" y="32"/>
                  </a:lnTo>
                  <a:lnTo>
                    <a:pt x="473" y="15"/>
                  </a:lnTo>
                  <a:lnTo>
                    <a:pt x="509" y="3"/>
                  </a:lnTo>
                  <a:lnTo>
                    <a:pt x="5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5" name="Freeform 22"/>
            <p:cNvSpPr>
              <a:spLocks/>
            </p:cNvSpPr>
            <p:nvPr/>
          </p:nvSpPr>
          <p:spPr bwMode="auto">
            <a:xfrm>
              <a:off x="-1128" y="1247"/>
              <a:ext cx="1571" cy="825"/>
            </a:xfrm>
            <a:custGeom>
              <a:avLst/>
              <a:gdLst>
                <a:gd name="T0" fmla="*/ 3101 w 3143"/>
                <a:gd name="T1" fmla="*/ 0 h 1651"/>
                <a:gd name="T2" fmla="*/ 3101 w 3143"/>
                <a:gd name="T3" fmla="*/ 0 h 1651"/>
                <a:gd name="T4" fmla="*/ 3113 w 3143"/>
                <a:gd name="T5" fmla="*/ 2 h 1651"/>
                <a:gd name="T6" fmla="*/ 3124 w 3143"/>
                <a:gd name="T7" fmla="*/ 6 h 1651"/>
                <a:gd name="T8" fmla="*/ 3134 w 3143"/>
                <a:gd name="T9" fmla="*/ 15 h 1651"/>
                <a:gd name="T10" fmla="*/ 3142 w 3143"/>
                <a:gd name="T11" fmla="*/ 29 h 1651"/>
                <a:gd name="T12" fmla="*/ 3143 w 3143"/>
                <a:gd name="T13" fmla="*/ 44 h 1651"/>
                <a:gd name="T14" fmla="*/ 3140 w 3143"/>
                <a:gd name="T15" fmla="*/ 60 h 1651"/>
                <a:gd name="T16" fmla="*/ 2752 w 3143"/>
                <a:gd name="T17" fmla="*/ 1001 h 1651"/>
                <a:gd name="T18" fmla="*/ 2745 w 3143"/>
                <a:gd name="T19" fmla="*/ 1015 h 1651"/>
                <a:gd name="T20" fmla="*/ 2733 w 3143"/>
                <a:gd name="T21" fmla="*/ 1022 h 1651"/>
                <a:gd name="T22" fmla="*/ 2719 w 3143"/>
                <a:gd name="T23" fmla="*/ 1029 h 1651"/>
                <a:gd name="T24" fmla="*/ 2713 w 3143"/>
                <a:gd name="T25" fmla="*/ 1029 h 1651"/>
                <a:gd name="T26" fmla="*/ 2701 w 3143"/>
                <a:gd name="T27" fmla="*/ 1027 h 1651"/>
                <a:gd name="T28" fmla="*/ 2688 w 3143"/>
                <a:gd name="T29" fmla="*/ 1021 h 1651"/>
                <a:gd name="T30" fmla="*/ 2679 w 3143"/>
                <a:gd name="T31" fmla="*/ 1013 h 1651"/>
                <a:gd name="T32" fmla="*/ 2484 w 3143"/>
                <a:gd name="T33" fmla="*/ 775 h 1651"/>
                <a:gd name="T34" fmla="*/ 1271 w 3143"/>
                <a:gd name="T35" fmla="*/ 1596 h 1651"/>
                <a:gd name="T36" fmla="*/ 1189 w 3143"/>
                <a:gd name="T37" fmla="*/ 1651 h 1651"/>
                <a:gd name="T38" fmla="*/ 1134 w 3143"/>
                <a:gd name="T39" fmla="*/ 1584 h 1651"/>
                <a:gd name="T40" fmla="*/ 677 w 3143"/>
                <a:gd name="T41" fmla="*/ 1033 h 1651"/>
                <a:gd name="T42" fmla="*/ 40 w 3143"/>
                <a:gd name="T43" fmla="*/ 1492 h 1651"/>
                <a:gd name="T44" fmla="*/ 37 w 3143"/>
                <a:gd name="T45" fmla="*/ 1488 h 1651"/>
                <a:gd name="T46" fmla="*/ 29 w 3143"/>
                <a:gd name="T47" fmla="*/ 1480 h 1651"/>
                <a:gd name="T48" fmla="*/ 20 w 3143"/>
                <a:gd name="T49" fmla="*/ 1471 h 1651"/>
                <a:gd name="T50" fmla="*/ 11 w 3143"/>
                <a:gd name="T51" fmla="*/ 1460 h 1651"/>
                <a:gd name="T52" fmla="*/ 5 w 3143"/>
                <a:gd name="T53" fmla="*/ 1453 h 1651"/>
                <a:gd name="T54" fmla="*/ 0 w 3143"/>
                <a:gd name="T55" fmla="*/ 1448 h 1651"/>
                <a:gd name="T56" fmla="*/ 652 w 3143"/>
                <a:gd name="T57" fmla="*/ 911 h 1651"/>
                <a:gd name="T58" fmla="*/ 689 w 3143"/>
                <a:gd name="T59" fmla="*/ 879 h 1651"/>
                <a:gd name="T60" fmla="*/ 729 w 3143"/>
                <a:gd name="T61" fmla="*/ 917 h 1651"/>
                <a:gd name="T62" fmla="*/ 1211 w 3143"/>
                <a:gd name="T63" fmla="*/ 1379 h 1651"/>
                <a:gd name="T64" fmla="*/ 2245 w 3143"/>
                <a:gd name="T65" fmla="*/ 488 h 1651"/>
                <a:gd name="T66" fmla="*/ 2067 w 3143"/>
                <a:gd name="T67" fmla="*/ 273 h 1651"/>
                <a:gd name="T68" fmla="*/ 2061 w 3143"/>
                <a:gd name="T69" fmla="*/ 260 h 1651"/>
                <a:gd name="T70" fmla="*/ 2058 w 3143"/>
                <a:gd name="T71" fmla="*/ 246 h 1651"/>
                <a:gd name="T72" fmla="*/ 2061 w 3143"/>
                <a:gd name="T73" fmla="*/ 231 h 1651"/>
                <a:gd name="T74" fmla="*/ 2067 w 3143"/>
                <a:gd name="T75" fmla="*/ 218 h 1651"/>
                <a:gd name="T76" fmla="*/ 2079 w 3143"/>
                <a:gd name="T77" fmla="*/ 208 h 1651"/>
                <a:gd name="T78" fmla="*/ 2093 w 3143"/>
                <a:gd name="T79" fmla="*/ 203 h 1651"/>
                <a:gd name="T80" fmla="*/ 3092 w 3143"/>
                <a:gd name="T81" fmla="*/ 0 h 1651"/>
                <a:gd name="T82" fmla="*/ 3101 w 3143"/>
                <a:gd name="T83" fmla="*/ 0 h 1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143" h="1651">
                  <a:moveTo>
                    <a:pt x="3101" y="0"/>
                  </a:moveTo>
                  <a:lnTo>
                    <a:pt x="3101" y="0"/>
                  </a:lnTo>
                  <a:lnTo>
                    <a:pt x="3113" y="2"/>
                  </a:lnTo>
                  <a:lnTo>
                    <a:pt x="3124" y="6"/>
                  </a:lnTo>
                  <a:lnTo>
                    <a:pt x="3134" y="15"/>
                  </a:lnTo>
                  <a:lnTo>
                    <a:pt x="3142" y="29"/>
                  </a:lnTo>
                  <a:lnTo>
                    <a:pt x="3143" y="44"/>
                  </a:lnTo>
                  <a:lnTo>
                    <a:pt x="3140" y="60"/>
                  </a:lnTo>
                  <a:lnTo>
                    <a:pt x="2752" y="1001"/>
                  </a:lnTo>
                  <a:lnTo>
                    <a:pt x="2745" y="1015"/>
                  </a:lnTo>
                  <a:lnTo>
                    <a:pt x="2733" y="1022"/>
                  </a:lnTo>
                  <a:lnTo>
                    <a:pt x="2719" y="1029"/>
                  </a:lnTo>
                  <a:lnTo>
                    <a:pt x="2713" y="1029"/>
                  </a:lnTo>
                  <a:lnTo>
                    <a:pt x="2701" y="1027"/>
                  </a:lnTo>
                  <a:lnTo>
                    <a:pt x="2688" y="1021"/>
                  </a:lnTo>
                  <a:lnTo>
                    <a:pt x="2679" y="1013"/>
                  </a:lnTo>
                  <a:lnTo>
                    <a:pt x="2484" y="775"/>
                  </a:lnTo>
                  <a:lnTo>
                    <a:pt x="1271" y="1596"/>
                  </a:lnTo>
                  <a:lnTo>
                    <a:pt x="1189" y="1651"/>
                  </a:lnTo>
                  <a:lnTo>
                    <a:pt x="1134" y="1584"/>
                  </a:lnTo>
                  <a:lnTo>
                    <a:pt x="677" y="1033"/>
                  </a:lnTo>
                  <a:lnTo>
                    <a:pt x="40" y="1492"/>
                  </a:lnTo>
                  <a:lnTo>
                    <a:pt x="37" y="1488"/>
                  </a:lnTo>
                  <a:lnTo>
                    <a:pt x="29" y="1480"/>
                  </a:lnTo>
                  <a:lnTo>
                    <a:pt x="20" y="1471"/>
                  </a:lnTo>
                  <a:lnTo>
                    <a:pt x="11" y="1460"/>
                  </a:lnTo>
                  <a:lnTo>
                    <a:pt x="5" y="1453"/>
                  </a:lnTo>
                  <a:lnTo>
                    <a:pt x="0" y="1448"/>
                  </a:lnTo>
                  <a:lnTo>
                    <a:pt x="652" y="911"/>
                  </a:lnTo>
                  <a:lnTo>
                    <a:pt x="689" y="879"/>
                  </a:lnTo>
                  <a:lnTo>
                    <a:pt x="729" y="917"/>
                  </a:lnTo>
                  <a:lnTo>
                    <a:pt x="1211" y="1379"/>
                  </a:lnTo>
                  <a:lnTo>
                    <a:pt x="2245" y="488"/>
                  </a:lnTo>
                  <a:lnTo>
                    <a:pt x="2067" y="273"/>
                  </a:lnTo>
                  <a:lnTo>
                    <a:pt x="2061" y="260"/>
                  </a:lnTo>
                  <a:lnTo>
                    <a:pt x="2058" y="246"/>
                  </a:lnTo>
                  <a:lnTo>
                    <a:pt x="2061" y="231"/>
                  </a:lnTo>
                  <a:lnTo>
                    <a:pt x="2067" y="218"/>
                  </a:lnTo>
                  <a:lnTo>
                    <a:pt x="2079" y="208"/>
                  </a:lnTo>
                  <a:lnTo>
                    <a:pt x="2093" y="203"/>
                  </a:lnTo>
                  <a:lnTo>
                    <a:pt x="3092" y="0"/>
                  </a:lnTo>
                  <a:lnTo>
                    <a:pt x="31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6" name="Freeform 23"/>
            <p:cNvSpPr>
              <a:spLocks/>
            </p:cNvSpPr>
            <p:nvPr/>
          </p:nvSpPr>
          <p:spPr bwMode="auto">
            <a:xfrm>
              <a:off x="-394" y="2507"/>
              <a:ext cx="102" cy="270"/>
            </a:xfrm>
            <a:custGeom>
              <a:avLst/>
              <a:gdLst>
                <a:gd name="T0" fmla="*/ 102 w 205"/>
                <a:gd name="T1" fmla="*/ 0 h 540"/>
                <a:gd name="T2" fmla="*/ 128 w 205"/>
                <a:gd name="T3" fmla="*/ 3 h 540"/>
                <a:gd name="T4" fmla="*/ 153 w 205"/>
                <a:gd name="T5" fmla="*/ 14 h 540"/>
                <a:gd name="T6" fmla="*/ 174 w 205"/>
                <a:gd name="T7" fmla="*/ 29 h 540"/>
                <a:gd name="T8" fmla="*/ 191 w 205"/>
                <a:gd name="T9" fmla="*/ 50 h 540"/>
                <a:gd name="T10" fmla="*/ 200 w 205"/>
                <a:gd name="T11" fmla="*/ 75 h 540"/>
                <a:gd name="T12" fmla="*/ 205 w 205"/>
                <a:gd name="T13" fmla="*/ 102 h 540"/>
                <a:gd name="T14" fmla="*/ 205 w 205"/>
                <a:gd name="T15" fmla="*/ 438 h 540"/>
                <a:gd name="T16" fmla="*/ 200 w 205"/>
                <a:gd name="T17" fmla="*/ 465 h 540"/>
                <a:gd name="T18" fmla="*/ 191 w 205"/>
                <a:gd name="T19" fmla="*/ 490 h 540"/>
                <a:gd name="T20" fmla="*/ 174 w 205"/>
                <a:gd name="T21" fmla="*/ 511 h 540"/>
                <a:gd name="T22" fmla="*/ 153 w 205"/>
                <a:gd name="T23" fmla="*/ 526 h 540"/>
                <a:gd name="T24" fmla="*/ 128 w 205"/>
                <a:gd name="T25" fmla="*/ 537 h 540"/>
                <a:gd name="T26" fmla="*/ 102 w 205"/>
                <a:gd name="T27" fmla="*/ 540 h 540"/>
                <a:gd name="T28" fmla="*/ 75 w 205"/>
                <a:gd name="T29" fmla="*/ 537 h 540"/>
                <a:gd name="T30" fmla="*/ 50 w 205"/>
                <a:gd name="T31" fmla="*/ 526 h 540"/>
                <a:gd name="T32" fmla="*/ 29 w 205"/>
                <a:gd name="T33" fmla="*/ 511 h 540"/>
                <a:gd name="T34" fmla="*/ 14 w 205"/>
                <a:gd name="T35" fmla="*/ 490 h 540"/>
                <a:gd name="T36" fmla="*/ 3 w 205"/>
                <a:gd name="T37" fmla="*/ 465 h 540"/>
                <a:gd name="T38" fmla="*/ 0 w 205"/>
                <a:gd name="T39" fmla="*/ 438 h 540"/>
                <a:gd name="T40" fmla="*/ 0 w 205"/>
                <a:gd name="T41" fmla="*/ 102 h 540"/>
                <a:gd name="T42" fmla="*/ 3 w 205"/>
                <a:gd name="T43" fmla="*/ 75 h 540"/>
                <a:gd name="T44" fmla="*/ 14 w 205"/>
                <a:gd name="T45" fmla="*/ 50 h 540"/>
                <a:gd name="T46" fmla="*/ 29 w 205"/>
                <a:gd name="T47" fmla="*/ 29 h 540"/>
                <a:gd name="T48" fmla="*/ 50 w 205"/>
                <a:gd name="T49" fmla="*/ 14 h 540"/>
                <a:gd name="T50" fmla="*/ 75 w 205"/>
                <a:gd name="T51" fmla="*/ 3 h 540"/>
                <a:gd name="T52" fmla="*/ 102 w 205"/>
                <a:gd name="T53" fmla="*/ 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5" h="540">
                  <a:moveTo>
                    <a:pt x="102" y="0"/>
                  </a:moveTo>
                  <a:lnTo>
                    <a:pt x="128" y="3"/>
                  </a:lnTo>
                  <a:lnTo>
                    <a:pt x="153" y="14"/>
                  </a:lnTo>
                  <a:lnTo>
                    <a:pt x="174" y="29"/>
                  </a:lnTo>
                  <a:lnTo>
                    <a:pt x="191" y="50"/>
                  </a:lnTo>
                  <a:lnTo>
                    <a:pt x="200" y="75"/>
                  </a:lnTo>
                  <a:lnTo>
                    <a:pt x="205" y="102"/>
                  </a:lnTo>
                  <a:lnTo>
                    <a:pt x="205" y="438"/>
                  </a:lnTo>
                  <a:lnTo>
                    <a:pt x="200" y="465"/>
                  </a:lnTo>
                  <a:lnTo>
                    <a:pt x="191" y="490"/>
                  </a:lnTo>
                  <a:lnTo>
                    <a:pt x="174" y="511"/>
                  </a:lnTo>
                  <a:lnTo>
                    <a:pt x="153" y="526"/>
                  </a:lnTo>
                  <a:lnTo>
                    <a:pt x="128" y="537"/>
                  </a:lnTo>
                  <a:lnTo>
                    <a:pt x="102" y="540"/>
                  </a:lnTo>
                  <a:lnTo>
                    <a:pt x="75" y="537"/>
                  </a:lnTo>
                  <a:lnTo>
                    <a:pt x="50" y="526"/>
                  </a:lnTo>
                  <a:lnTo>
                    <a:pt x="29" y="511"/>
                  </a:lnTo>
                  <a:lnTo>
                    <a:pt x="14" y="490"/>
                  </a:lnTo>
                  <a:lnTo>
                    <a:pt x="3" y="465"/>
                  </a:lnTo>
                  <a:lnTo>
                    <a:pt x="0" y="438"/>
                  </a:lnTo>
                  <a:lnTo>
                    <a:pt x="0" y="102"/>
                  </a:lnTo>
                  <a:lnTo>
                    <a:pt x="3" y="75"/>
                  </a:lnTo>
                  <a:lnTo>
                    <a:pt x="14" y="50"/>
                  </a:lnTo>
                  <a:lnTo>
                    <a:pt x="29" y="29"/>
                  </a:lnTo>
                  <a:lnTo>
                    <a:pt x="50" y="14"/>
                  </a:lnTo>
                  <a:lnTo>
                    <a:pt x="75" y="3"/>
                  </a:lnTo>
                  <a:lnTo>
                    <a:pt x="10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7" name="Freeform 24"/>
            <p:cNvSpPr>
              <a:spLocks/>
            </p:cNvSpPr>
            <p:nvPr/>
          </p:nvSpPr>
          <p:spPr bwMode="auto">
            <a:xfrm>
              <a:off x="-587" y="2296"/>
              <a:ext cx="102" cy="481"/>
            </a:xfrm>
            <a:custGeom>
              <a:avLst/>
              <a:gdLst>
                <a:gd name="T0" fmla="*/ 103 w 205"/>
                <a:gd name="T1" fmla="*/ 0 h 963"/>
                <a:gd name="T2" fmla="*/ 130 w 205"/>
                <a:gd name="T3" fmla="*/ 3 h 963"/>
                <a:gd name="T4" fmla="*/ 154 w 205"/>
                <a:gd name="T5" fmla="*/ 14 h 963"/>
                <a:gd name="T6" fmla="*/ 176 w 205"/>
                <a:gd name="T7" fmla="*/ 31 h 963"/>
                <a:gd name="T8" fmla="*/ 191 w 205"/>
                <a:gd name="T9" fmla="*/ 51 h 963"/>
                <a:gd name="T10" fmla="*/ 202 w 205"/>
                <a:gd name="T11" fmla="*/ 75 h 963"/>
                <a:gd name="T12" fmla="*/ 205 w 205"/>
                <a:gd name="T13" fmla="*/ 102 h 963"/>
                <a:gd name="T14" fmla="*/ 205 w 205"/>
                <a:gd name="T15" fmla="*/ 861 h 963"/>
                <a:gd name="T16" fmla="*/ 202 w 205"/>
                <a:gd name="T17" fmla="*/ 888 h 963"/>
                <a:gd name="T18" fmla="*/ 191 w 205"/>
                <a:gd name="T19" fmla="*/ 913 h 963"/>
                <a:gd name="T20" fmla="*/ 176 w 205"/>
                <a:gd name="T21" fmla="*/ 934 h 963"/>
                <a:gd name="T22" fmla="*/ 154 w 205"/>
                <a:gd name="T23" fmla="*/ 949 h 963"/>
                <a:gd name="T24" fmla="*/ 130 w 205"/>
                <a:gd name="T25" fmla="*/ 960 h 963"/>
                <a:gd name="T26" fmla="*/ 103 w 205"/>
                <a:gd name="T27" fmla="*/ 963 h 963"/>
                <a:gd name="T28" fmla="*/ 75 w 205"/>
                <a:gd name="T29" fmla="*/ 960 h 963"/>
                <a:gd name="T30" fmla="*/ 51 w 205"/>
                <a:gd name="T31" fmla="*/ 949 h 963"/>
                <a:gd name="T32" fmla="*/ 31 w 205"/>
                <a:gd name="T33" fmla="*/ 934 h 963"/>
                <a:gd name="T34" fmla="*/ 14 w 205"/>
                <a:gd name="T35" fmla="*/ 913 h 963"/>
                <a:gd name="T36" fmla="*/ 5 w 205"/>
                <a:gd name="T37" fmla="*/ 888 h 963"/>
                <a:gd name="T38" fmla="*/ 0 w 205"/>
                <a:gd name="T39" fmla="*/ 861 h 963"/>
                <a:gd name="T40" fmla="*/ 0 w 205"/>
                <a:gd name="T41" fmla="*/ 102 h 963"/>
                <a:gd name="T42" fmla="*/ 5 w 205"/>
                <a:gd name="T43" fmla="*/ 75 h 963"/>
                <a:gd name="T44" fmla="*/ 14 w 205"/>
                <a:gd name="T45" fmla="*/ 51 h 963"/>
                <a:gd name="T46" fmla="*/ 31 w 205"/>
                <a:gd name="T47" fmla="*/ 31 h 963"/>
                <a:gd name="T48" fmla="*/ 51 w 205"/>
                <a:gd name="T49" fmla="*/ 14 h 963"/>
                <a:gd name="T50" fmla="*/ 75 w 205"/>
                <a:gd name="T51" fmla="*/ 3 h 963"/>
                <a:gd name="T52" fmla="*/ 103 w 205"/>
                <a:gd name="T53" fmla="*/ 0 h 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5" h="963">
                  <a:moveTo>
                    <a:pt x="103" y="0"/>
                  </a:moveTo>
                  <a:lnTo>
                    <a:pt x="130" y="3"/>
                  </a:lnTo>
                  <a:lnTo>
                    <a:pt x="154" y="14"/>
                  </a:lnTo>
                  <a:lnTo>
                    <a:pt x="176" y="31"/>
                  </a:lnTo>
                  <a:lnTo>
                    <a:pt x="191" y="51"/>
                  </a:lnTo>
                  <a:lnTo>
                    <a:pt x="202" y="75"/>
                  </a:lnTo>
                  <a:lnTo>
                    <a:pt x="205" y="102"/>
                  </a:lnTo>
                  <a:lnTo>
                    <a:pt x="205" y="861"/>
                  </a:lnTo>
                  <a:lnTo>
                    <a:pt x="202" y="888"/>
                  </a:lnTo>
                  <a:lnTo>
                    <a:pt x="191" y="913"/>
                  </a:lnTo>
                  <a:lnTo>
                    <a:pt x="176" y="934"/>
                  </a:lnTo>
                  <a:lnTo>
                    <a:pt x="154" y="949"/>
                  </a:lnTo>
                  <a:lnTo>
                    <a:pt x="130" y="960"/>
                  </a:lnTo>
                  <a:lnTo>
                    <a:pt x="103" y="963"/>
                  </a:lnTo>
                  <a:lnTo>
                    <a:pt x="75" y="960"/>
                  </a:lnTo>
                  <a:lnTo>
                    <a:pt x="51" y="949"/>
                  </a:lnTo>
                  <a:lnTo>
                    <a:pt x="31" y="934"/>
                  </a:lnTo>
                  <a:lnTo>
                    <a:pt x="14" y="913"/>
                  </a:lnTo>
                  <a:lnTo>
                    <a:pt x="5" y="888"/>
                  </a:lnTo>
                  <a:lnTo>
                    <a:pt x="0" y="861"/>
                  </a:lnTo>
                  <a:lnTo>
                    <a:pt x="0" y="102"/>
                  </a:lnTo>
                  <a:lnTo>
                    <a:pt x="5" y="75"/>
                  </a:lnTo>
                  <a:lnTo>
                    <a:pt x="14" y="51"/>
                  </a:lnTo>
                  <a:lnTo>
                    <a:pt x="31" y="31"/>
                  </a:lnTo>
                  <a:lnTo>
                    <a:pt x="51" y="14"/>
                  </a:lnTo>
                  <a:lnTo>
                    <a:pt x="75" y="3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8" name="Freeform 25"/>
            <p:cNvSpPr>
              <a:spLocks/>
            </p:cNvSpPr>
            <p:nvPr/>
          </p:nvSpPr>
          <p:spPr bwMode="auto">
            <a:xfrm>
              <a:off x="-779" y="2507"/>
              <a:ext cx="103" cy="270"/>
            </a:xfrm>
            <a:custGeom>
              <a:avLst/>
              <a:gdLst>
                <a:gd name="T0" fmla="*/ 102 w 204"/>
                <a:gd name="T1" fmla="*/ 0 h 540"/>
                <a:gd name="T2" fmla="*/ 130 w 204"/>
                <a:gd name="T3" fmla="*/ 3 h 540"/>
                <a:gd name="T4" fmla="*/ 154 w 204"/>
                <a:gd name="T5" fmla="*/ 14 h 540"/>
                <a:gd name="T6" fmla="*/ 174 w 204"/>
                <a:gd name="T7" fmla="*/ 29 h 540"/>
                <a:gd name="T8" fmla="*/ 191 w 204"/>
                <a:gd name="T9" fmla="*/ 50 h 540"/>
                <a:gd name="T10" fmla="*/ 200 w 204"/>
                <a:gd name="T11" fmla="*/ 75 h 540"/>
                <a:gd name="T12" fmla="*/ 204 w 204"/>
                <a:gd name="T13" fmla="*/ 102 h 540"/>
                <a:gd name="T14" fmla="*/ 204 w 204"/>
                <a:gd name="T15" fmla="*/ 438 h 540"/>
                <a:gd name="T16" fmla="*/ 200 w 204"/>
                <a:gd name="T17" fmla="*/ 465 h 540"/>
                <a:gd name="T18" fmla="*/ 191 w 204"/>
                <a:gd name="T19" fmla="*/ 490 h 540"/>
                <a:gd name="T20" fmla="*/ 174 w 204"/>
                <a:gd name="T21" fmla="*/ 511 h 540"/>
                <a:gd name="T22" fmla="*/ 154 w 204"/>
                <a:gd name="T23" fmla="*/ 526 h 540"/>
                <a:gd name="T24" fmla="*/ 130 w 204"/>
                <a:gd name="T25" fmla="*/ 537 h 540"/>
                <a:gd name="T26" fmla="*/ 102 w 204"/>
                <a:gd name="T27" fmla="*/ 540 h 540"/>
                <a:gd name="T28" fmla="*/ 75 w 204"/>
                <a:gd name="T29" fmla="*/ 537 h 540"/>
                <a:gd name="T30" fmla="*/ 50 w 204"/>
                <a:gd name="T31" fmla="*/ 526 h 540"/>
                <a:gd name="T32" fmla="*/ 29 w 204"/>
                <a:gd name="T33" fmla="*/ 511 h 540"/>
                <a:gd name="T34" fmla="*/ 14 w 204"/>
                <a:gd name="T35" fmla="*/ 490 h 540"/>
                <a:gd name="T36" fmla="*/ 3 w 204"/>
                <a:gd name="T37" fmla="*/ 465 h 540"/>
                <a:gd name="T38" fmla="*/ 0 w 204"/>
                <a:gd name="T39" fmla="*/ 438 h 540"/>
                <a:gd name="T40" fmla="*/ 0 w 204"/>
                <a:gd name="T41" fmla="*/ 102 h 540"/>
                <a:gd name="T42" fmla="*/ 3 w 204"/>
                <a:gd name="T43" fmla="*/ 75 h 540"/>
                <a:gd name="T44" fmla="*/ 14 w 204"/>
                <a:gd name="T45" fmla="*/ 50 h 540"/>
                <a:gd name="T46" fmla="*/ 29 w 204"/>
                <a:gd name="T47" fmla="*/ 29 h 540"/>
                <a:gd name="T48" fmla="*/ 50 w 204"/>
                <a:gd name="T49" fmla="*/ 14 h 540"/>
                <a:gd name="T50" fmla="*/ 75 w 204"/>
                <a:gd name="T51" fmla="*/ 3 h 540"/>
                <a:gd name="T52" fmla="*/ 102 w 204"/>
                <a:gd name="T53" fmla="*/ 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4" h="540">
                  <a:moveTo>
                    <a:pt x="102" y="0"/>
                  </a:moveTo>
                  <a:lnTo>
                    <a:pt x="130" y="3"/>
                  </a:lnTo>
                  <a:lnTo>
                    <a:pt x="154" y="14"/>
                  </a:lnTo>
                  <a:lnTo>
                    <a:pt x="174" y="29"/>
                  </a:lnTo>
                  <a:lnTo>
                    <a:pt x="191" y="50"/>
                  </a:lnTo>
                  <a:lnTo>
                    <a:pt x="200" y="75"/>
                  </a:lnTo>
                  <a:lnTo>
                    <a:pt x="204" y="102"/>
                  </a:lnTo>
                  <a:lnTo>
                    <a:pt x="204" y="438"/>
                  </a:lnTo>
                  <a:lnTo>
                    <a:pt x="200" y="465"/>
                  </a:lnTo>
                  <a:lnTo>
                    <a:pt x="191" y="490"/>
                  </a:lnTo>
                  <a:lnTo>
                    <a:pt x="174" y="511"/>
                  </a:lnTo>
                  <a:lnTo>
                    <a:pt x="154" y="526"/>
                  </a:lnTo>
                  <a:lnTo>
                    <a:pt x="130" y="537"/>
                  </a:lnTo>
                  <a:lnTo>
                    <a:pt x="102" y="540"/>
                  </a:lnTo>
                  <a:lnTo>
                    <a:pt x="75" y="537"/>
                  </a:lnTo>
                  <a:lnTo>
                    <a:pt x="50" y="526"/>
                  </a:lnTo>
                  <a:lnTo>
                    <a:pt x="29" y="511"/>
                  </a:lnTo>
                  <a:lnTo>
                    <a:pt x="14" y="490"/>
                  </a:lnTo>
                  <a:lnTo>
                    <a:pt x="3" y="465"/>
                  </a:lnTo>
                  <a:lnTo>
                    <a:pt x="0" y="438"/>
                  </a:lnTo>
                  <a:lnTo>
                    <a:pt x="0" y="102"/>
                  </a:lnTo>
                  <a:lnTo>
                    <a:pt x="3" y="75"/>
                  </a:lnTo>
                  <a:lnTo>
                    <a:pt x="14" y="50"/>
                  </a:lnTo>
                  <a:lnTo>
                    <a:pt x="29" y="29"/>
                  </a:lnTo>
                  <a:lnTo>
                    <a:pt x="50" y="14"/>
                  </a:lnTo>
                  <a:lnTo>
                    <a:pt x="75" y="3"/>
                  </a:lnTo>
                  <a:lnTo>
                    <a:pt x="10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9" name="Freeform 26"/>
            <p:cNvSpPr>
              <a:spLocks/>
            </p:cNvSpPr>
            <p:nvPr/>
          </p:nvSpPr>
          <p:spPr bwMode="auto">
            <a:xfrm>
              <a:off x="-971" y="2296"/>
              <a:ext cx="102" cy="481"/>
            </a:xfrm>
            <a:custGeom>
              <a:avLst/>
              <a:gdLst>
                <a:gd name="T0" fmla="*/ 102 w 205"/>
                <a:gd name="T1" fmla="*/ 0 h 963"/>
                <a:gd name="T2" fmla="*/ 130 w 205"/>
                <a:gd name="T3" fmla="*/ 3 h 963"/>
                <a:gd name="T4" fmla="*/ 154 w 205"/>
                <a:gd name="T5" fmla="*/ 14 h 963"/>
                <a:gd name="T6" fmla="*/ 176 w 205"/>
                <a:gd name="T7" fmla="*/ 31 h 963"/>
                <a:gd name="T8" fmla="*/ 191 w 205"/>
                <a:gd name="T9" fmla="*/ 51 h 963"/>
                <a:gd name="T10" fmla="*/ 202 w 205"/>
                <a:gd name="T11" fmla="*/ 75 h 963"/>
                <a:gd name="T12" fmla="*/ 205 w 205"/>
                <a:gd name="T13" fmla="*/ 102 h 963"/>
                <a:gd name="T14" fmla="*/ 205 w 205"/>
                <a:gd name="T15" fmla="*/ 861 h 963"/>
                <a:gd name="T16" fmla="*/ 202 w 205"/>
                <a:gd name="T17" fmla="*/ 888 h 963"/>
                <a:gd name="T18" fmla="*/ 191 w 205"/>
                <a:gd name="T19" fmla="*/ 913 h 963"/>
                <a:gd name="T20" fmla="*/ 176 w 205"/>
                <a:gd name="T21" fmla="*/ 934 h 963"/>
                <a:gd name="T22" fmla="*/ 154 w 205"/>
                <a:gd name="T23" fmla="*/ 949 h 963"/>
                <a:gd name="T24" fmla="*/ 130 w 205"/>
                <a:gd name="T25" fmla="*/ 960 h 963"/>
                <a:gd name="T26" fmla="*/ 102 w 205"/>
                <a:gd name="T27" fmla="*/ 963 h 963"/>
                <a:gd name="T28" fmla="*/ 76 w 205"/>
                <a:gd name="T29" fmla="*/ 960 h 963"/>
                <a:gd name="T30" fmla="*/ 50 w 205"/>
                <a:gd name="T31" fmla="*/ 949 h 963"/>
                <a:gd name="T32" fmla="*/ 31 w 205"/>
                <a:gd name="T33" fmla="*/ 934 h 963"/>
                <a:gd name="T34" fmla="*/ 14 w 205"/>
                <a:gd name="T35" fmla="*/ 913 h 963"/>
                <a:gd name="T36" fmla="*/ 5 w 205"/>
                <a:gd name="T37" fmla="*/ 888 h 963"/>
                <a:gd name="T38" fmla="*/ 0 w 205"/>
                <a:gd name="T39" fmla="*/ 861 h 963"/>
                <a:gd name="T40" fmla="*/ 0 w 205"/>
                <a:gd name="T41" fmla="*/ 102 h 963"/>
                <a:gd name="T42" fmla="*/ 5 w 205"/>
                <a:gd name="T43" fmla="*/ 75 h 963"/>
                <a:gd name="T44" fmla="*/ 14 w 205"/>
                <a:gd name="T45" fmla="*/ 51 h 963"/>
                <a:gd name="T46" fmla="*/ 31 w 205"/>
                <a:gd name="T47" fmla="*/ 31 h 963"/>
                <a:gd name="T48" fmla="*/ 50 w 205"/>
                <a:gd name="T49" fmla="*/ 14 h 963"/>
                <a:gd name="T50" fmla="*/ 76 w 205"/>
                <a:gd name="T51" fmla="*/ 3 h 963"/>
                <a:gd name="T52" fmla="*/ 102 w 205"/>
                <a:gd name="T53" fmla="*/ 0 h 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5" h="963">
                  <a:moveTo>
                    <a:pt x="102" y="0"/>
                  </a:moveTo>
                  <a:lnTo>
                    <a:pt x="130" y="3"/>
                  </a:lnTo>
                  <a:lnTo>
                    <a:pt x="154" y="14"/>
                  </a:lnTo>
                  <a:lnTo>
                    <a:pt x="176" y="31"/>
                  </a:lnTo>
                  <a:lnTo>
                    <a:pt x="191" y="51"/>
                  </a:lnTo>
                  <a:lnTo>
                    <a:pt x="202" y="75"/>
                  </a:lnTo>
                  <a:lnTo>
                    <a:pt x="205" y="102"/>
                  </a:lnTo>
                  <a:lnTo>
                    <a:pt x="205" y="861"/>
                  </a:lnTo>
                  <a:lnTo>
                    <a:pt x="202" y="888"/>
                  </a:lnTo>
                  <a:lnTo>
                    <a:pt x="191" y="913"/>
                  </a:lnTo>
                  <a:lnTo>
                    <a:pt x="176" y="934"/>
                  </a:lnTo>
                  <a:lnTo>
                    <a:pt x="154" y="949"/>
                  </a:lnTo>
                  <a:lnTo>
                    <a:pt x="130" y="960"/>
                  </a:lnTo>
                  <a:lnTo>
                    <a:pt x="102" y="963"/>
                  </a:lnTo>
                  <a:lnTo>
                    <a:pt x="76" y="960"/>
                  </a:lnTo>
                  <a:lnTo>
                    <a:pt x="50" y="949"/>
                  </a:lnTo>
                  <a:lnTo>
                    <a:pt x="31" y="934"/>
                  </a:lnTo>
                  <a:lnTo>
                    <a:pt x="14" y="913"/>
                  </a:lnTo>
                  <a:lnTo>
                    <a:pt x="5" y="888"/>
                  </a:lnTo>
                  <a:lnTo>
                    <a:pt x="0" y="861"/>
                  </a:lnTo>
                  <a:lnTo>
                    <a:pt x="0" y="102"/>
                  </a:lnTo>
                  <a:lnTo>
                    <a:pt x="5" y="75"/>
                  </a:lnTo>
                  <a:lnTo>
                    <a:pt x="14" y="51"/>
                  </a:lnTo>
                  <a:lnTo>
                    <a:pt x="31" y="31"/>
                  </a:lnTo>
                  <a:lnTo>
                    <a:pt x="50" y="14"/>
                  </a:lnTo>
                  <a:lnTo>
                    <a:pt x="76" y="3"/>
                  </a:lnTo>
                  <a:lnTo>
                    <a:pt x="10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0" name="Freeform 27"/>
            <p:cNvSpPr>
              <a:spLocks/>
            </p:cNvSpPr>
            <p:nvPr/>
          </p:nvSpPr>
          <p:spPr bwMode="auto">
            <a:xfrm>
              <a:off x="-1163" y="2161"/>
              <a:ext cx="103" cy="616"/>
            </a:xfrm>
            <a:custGeom>
              <a:avLst/>
              <a:gdLst>
                <a:gd name="T0" fmla="*/ 102 w 204"/>
                <a:gd name="T1" fmla="*/ 0 h 1231"/>
                <a:gd name="T2" fmla="*/ 129 w 204"/>
                <a:gd name="T3" fmla="*/ 3 h 1231"/>
                <a:gd name="T4" fmla="*/ 154 w 204"/>
                <a:gd name="T5" fmla="*/ 13 h 1231"/>
                <a:gd name="T6" fmla="*/ 174 w 204"/>
                <a:gd name="T7" fmla="*/ 30 h 1231"/>
                <a:gd name="T8" fmla="*/ 191 w 204"/>
                <a:gd name="T9" fmla="*/ 50 h 1231"/>
                <a:gd name="T10" fmla="*/ 201 w 204"/>
                <a:gd name="T11" fmla="*/ 74 h 1231"/>
                <a:gd name="T12" fmla="*/ 204 w 204"/>
                <a:gd name="T13" fmla="*/ 102 h 1231"/>
                <a:gd name="T14" fmla="*/ 204 w 204"/>
                <a:gd name="T15" fmla="*/ 1129 h 1231"/>
                <a:gd name="T16" fmla="*/ 201 w 204"/>
                <a:gd name="T17" fmla="*/ 1156 h 1231"/>
                <a:gd name="T18" fmla="*/ 191 w 204"/>
                <a:gd name="T19" fmla="*/ 1181 h 1231"/>
                <a:gd name="T20" fmla="*/ 174 w 204"/>
                <a:gd name="T21" fmla="*/ 1202 h 1231"/>
                <a:gd name="T22" fmla="*/ 154 w 204"/>
                <a:gd name="T23" fmla="*/ 1217 h 1231"/>
                <a:gd name="T24" fmla="*/ 129 w 204"/>
                <a:gd name="T25" fmla="*/ 1228 h 1231"/>
                <a:gd name="T26" fmla="*/ 102 w 204"/>
                <a:gd name="T27" fmla="*/ 1231 h 1231"/>
                <a:gd name="T28" fmla="*/ 74 w 204"/>
                <a:gd name="T29" fmla="*/ 1228 h 1231"/>
                <a:gd name="T30" fmla="*/ 50 w 204"/>
                <a:gd name="T31" fmla="*/ 1217 h 1231"/>
                <a:gd name="T32" fmla="*/ 29 w 204"/>
                <a:gd name="T33" fmla="*/ 1202 h 1231"/>
                <a:gd name="T34" fmla="*/ 13 w 204"/>
                <a:gd name="T35" fmla="*/ 1181 h 1231"/>
                <a:gd name="T36" fmla="*/ 3 w 204"/>
                <a:gd name="T37" fmla="*/ 1156 h 1231"/>
                <a:gd name="T38" fmla="*/ 0 w 204"/>
                <a:gd name="T39" fmla="*/ 1129 h 1231"/>
                <a:gd name="T40" fmla="*/ 0 w 204"/>
                <a:gd name="T41" fmla="*/ 102 h 1231"/>
                <a:gd name="T42" fmla="*/ 3 w 204"/>
                <a:gd name="T43" fmla="*/ 74 h 1231"/>
                <a:gd name="T44" fmla="*/ 13 w 204"/>
                <a:gd name="T45" fmla="*/ 51 h 1231"/>
                <a:gd name="T46" fmla="*/ 29 w 204"/>
                <a:gd name="T47" fmla="*/ 30 h 1231"/>
                <a:gd name="T48" fmla="*/ 48 w 204"/>
                <a:gd name="T49" fmla="*/ 15 h 1231"/>
                <a:gd name="T50" fmla="*/ 74 w 204"/>
                <a:gd name="T51" fmla="*/ 4 h 1231"/>
                <a:gd name="T52" fmla="*/ 102 w 204"/>
                <a:gd name="T53" fmla="*/ 0 h 1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4" h="1231">
                  <a:moveTo>
                    <a:pt x="102" y="0"/>
                  </a:moveTo>
                  <a:lnTo>
                    <a:pt x="129" y="3"/>
                  </a:lnTo>
                  <a:lnTo>
                    <a:pt x="154" y="13"/>
                  </a:lnTo>
                  <a:lnTo>
                    <a:pt x="174" y="30"/>
                  </a:lnTo>
                  <a:lnTo>
                    <a:pt x="191" y="50"/>
                  </a:lnTo>
                  <a:lnTo>
                    <a:pt x="201" y="74"/>
                  </a:lnTo>
                  <a:lnTo>
                    <a:pt x="204" y="102"/>
                  </a:lnTo>
                  <a:lnTo>
                    <a:pt x="204" y="1129"/>
                  </a:lnTo>
                  <a:lnTo>
                    <a:pt x="201" y="1156"/>
                  </a:lnTo>
                  <a:lnTo>
                    <a:pt x="191" y="1181"/>
                  </a:lnTo>
                  <a:lnTo>
                    <a:pt x="174" y="1202"/>
                  </a:lnTo>
                  <a:lnTo>
                    <a:pt x="154" y="1217"/>
                  </a:lnTo>
                  <a:lnTo>
                    <a:pt x="129" y="1228"/>
                  </a:lnTo>
                  <a:lnTo>
                    <a:pt x="102" y="1231"/>
                  </a:lnTo>
                  <a:lnTo>
                    <a:pt x="74" y="1228"/>
                  </a:lnTo>
                  <a:lnTo>
                    <a:pt x="50" y="1217"/>
                  </a:lnTo>
                  <a:lnTo>
                    <a:pt x="29" y="1202"/>
                  </a:lnTo>
                  <a:lnTo>
                    <a:pt x="13" y="1181"/>
                  </a:lnTo>
                  <a:lnTo>
                    <a:pt x="3" y="1156"/>
                  </a:lnTo>
                  <a:lnTo>
                    <a:pt x="0" y="1129"/>
                  </a:lnTo>
                  <a:lnTo>
                    <a:pt x="0" y="102"/>
                  </a:lnTo>
                  <a:lnTo>
                    <a:pt x="3" y="74"/>
                  </a:lnTo>
                  <a:lnTo>
                    <a:pt x="13" y="51"/>
                  </a:lnTo>
                  <a:lnTo>
                    <a:pt x="29" y="30"/>
                  </a:lnTo>
                  <a:lnTo>
                    <a:pt x="48" y="15"/>
                  </a:lnTo>
                  <a:lnTo>
                    <a:pt x="74" y="4"/>
                  </a:lnTo>
                  <a:lnTo>
                    <a:pt x="10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1" name="Freeform 28"/>
            <p:cNvSpPr>
              <a:spLocks/>
            </p:cNvSpPr>
            <p:nvPr/>
          </p:nvSpPr>
          <p:spPr bwMode="auto">
            <a:xfrm>
              <a:off x="21" y="2418"/>
              <a:ext cx="337" cy="103"/>
            </a:xfrm>
            <a:custGeom>
              <a:avLst/>
              <a:gdLst>
                <a:gd name="T0" fmla="*/ 102 w 675"/>
                <a:gd name="T1" fmla="*/ 0 h 204"/>
                <a:gd name="T2" fmla="*/ 573 w 675"/>
                <a:gd name="T3" fmla="*/ 0 h 204"/>
                <a:gd name="T4" fmla="*/ 600 w 675"/>
                <a:gd name="T5" fmla="*/ 3 h 204"/>
                <a:gd name="T6" fmla="*/ 625 w 675"/>
                <a:gd name="T7" fmla="*/ 14 h 204"/>
                <a:gd name="T8" fmla="*/ 644 w 675"/>
                <a:gd name="T9" fmla="*/ 29 h 204"/>
                <a:gd name="T10" fmla="*/ 661 w 675"/>
                <a:gd name="T11" fmla="*/ 50 h 204"/>
                <a:gd name="T12" fmla="*/ 670 w 675"/>
                <a:gd name="T13" fmla="*/ 75 h 204"/>
                <a:gd name="T14" fmla="*/ 675 w 675"/>
                <a:gd name="T15" fmla="*/ 102 h 204"/>
                <a:gd name="T16" fmla="*/ 670 w 675"/>
                <a:gd name="T17" fmla="*/ 128 h 204"/>
                <a:gd name="T18" fmla="*/ 661 w 675"/>
                <a:gd name="T19" fmla="*/ 152 h 204"/>
                <a:gd name="T20" fmla="*/ 644 w 675"/>
                <a:gd name="T21" fmla="*/ 174 h 204"/>
                <a:gd name="T22" fmla="*/ 625 w 675"/>
                <a:gd name="T23" fmla="*/ 191 h 204"/>
                <a:gd name="T24" fmla="*/ 600 w 675"/>
                <a:gd name="T25" fmla="*/ 200 h 204"/>
                <a:gd name="T26" fmla="*/ 573 w 675"/>
                <a:gd name="T27" fmla="*/ 204 h 204"/>
                <a:gd name="T28" fmla="*/ 102 w 675"/>
                <a:gd name="T29" fmla="*/ 204 h 204"/>
                <a:gd name="T30" fmla="*/ 76 w 675"/>
                <a:gd name="T31" fmla="*/ 200 h 204"/>
                <a:gd name="T32" fmla="*/ 52 w 675"/>
                <a:gd name="T33" fmla="*/ 191 h 204"/>
                <a:gd name="T34" fmla="*/ 30 w 675"/>
                <a:gd name="T35" fmla="*/ 174 h 204"/>
                <a:gd name="T36" fmla="*/ 14 w 675"/>
                <a:gd name="T37" fmla="*/ 152 h 204"/>
                <a:gd name="T38" fmla="*/ 4 w 675"/>
                <a:gd name="T39" fmla="*/ 128 h 204"/>
                <a:gd name="T40" fmla="*/ 0 w 675"/>
                <a:gd name="T41" fmla="*/ 102 h 204"/>
                <a:gd name="T42" fmla="*/ 4 w 675"/>
                <a:gd name="T43" fmla="*/ 75 h 204"/>
                <a:gd name="T44" fmla="*/ 14 w 675"/>
                <a:gd name="T45" fmla="*/ 50 h 204"/>
                <a:gd name="T46" fmla="*/ 30 w 675"/>
                <a:gd name="T47" fmla="*/ 29 h 204"/>
                <a:gd name="T48" fmla="*/ 52 w 675"/>
                <a:gd name="T49" fmla="*/ 14 h 204"/>
                <a:gd name="T50" fmla="*/ 76 w 675"/>
                <a:gd name="T51" fmla="*/ 3 h 204"/>
                <a:gd name="T52" fmla="*/ 102 w 675"/>
                <a:gd name="T5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75" h="204">
                  <a:moveTo>
                    <a:pt x="102" y="0"/>
                  </a:moveTo>
                  <a:lnTo>
                    <a:pt x="573" y="0"/>
                  </a:lnTo>
                  <a:lnTo>
                    <a:pt x="600" y="3"/>
                  </a:lnTo>
                  <a:lnTo>
                    <a:pt x="625" y="14"/>
                  </a:lnTo>
                  <a:lnTo>
                    <a:pt x="644" y="29"/>
                  </a:lnTo>
                  <a:lnTo>
                    <a:pt x="661" y="50"/>
                  </a:lnTo>
                  <a:lnTo>
                    <a:pt x="670" y="75"/>
                  </a:lnTo>
                  <a:lnTo>
                    <a:pt x="675" y="102"/>
                  </a:lnTo>
                  <a:lnTo>
                    <a:pt x="670" y="128"/>
                  </a:lnTo>
                  <a:lnTo>
                    <a:pt x="661" y="152"/>
                  </a:lnTo>
                  <a:lnTo>
                    <a:pt x="644" y="174"/>
                  </a:lnTo>
                  <a:lnTo>
                    <a:pt x="625" y="191"/>
                  </a:lnTo>
                  <a:lnTo>
                    <a:pt x="600" y="200"/>
                  </a:lnTo>
                  <a:lnTo>
                    <a:pt x="573" y="204"/>
                  </a:lnTo>
                  <a:lnTo>
                    <a:pt x="102" y="204"/>
                  </a:lnTo>
                  <a:lnTo>
                    <a:pt x="76" y="200"/>
                  </a:lnTo>
                  <a:lnTo>
                    <a:pt x="52" y="191"/>
                  </a:lnTo>
                  <a:lnTo>
                    <a:pt x="30" y="174"/>
                  </a:lnTo>
                  <a:lnTo>
                    <a:pt x="14" y="152"/>
                  </a:lnTo>
                  <a:lnTo>
                    <a:pt x="4" y="128"/>
                  </a:lnTo>
                  <a:lnTo>
                    <a:pt x="0" y="102"/>
                  </a:lnTo>
                  <a:lnTo>
                    <a:pt x="4" y="75"/>
                  </a:lnTo>
                  <a:lnTo>
                    <a:pt x="14" y="50"/>
                  </a:lnTo>
                  <a:lnTo>
                    <a:pt x="30" y="29"/>
                  </a:lnTo>
                  <a:lnTo>
                    <a:pt x="52" y="14"/>
                  </a:lnTo>
                  <a:lnTo>
                    <a:pt x="76" y="3"/>
                  </a:lnTo>
                  <a:lnTo>
                    <a:pt x="10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2" name="Freeform 29"/>
            <p:cNvSpPr>
              <a:spLocks/>
            </p:cNvSpPr>
            <p:nvPr/>
          </p:nvSpPr>
          <p:spPr bwMode="auto">
            <a:xfrm>
              <a:off x="21" y="2642"/>
              <a:ext cx="337" cy="102"/>
            </a:xfrm>
            <a:custGeom>
              <a:avLst/>
              <a:gdLst>
                <a:gd name="T0" fmla="*/ 102 w 675"/>
                <a:gd name="T1" fmla="*/ 0 h 204"/>
                <a:gd name="T2" fmla="*/ 573 w 675"/>
                <a:gd name="T3" fmla="*/ 0 h 204"/>
                <a:gd name="T4" fmla="*/ 600 w 675"/>
                <a:gd name="T5" fmla="*/ 3 h 204"/>
                <a:gd name="T6" fmla="*/ 625 w 675"/>
                <a:gd name="T7" fmla="*/ 14 h 204"/>
                <a:gd name="T8" fmla="*/ 644 w 675"/>
                <a:gd name="T9" fmla="*/ 30 h 204"/>
                <a:gd name="T10" fmla="*/ 661 w 675"/>
                <a:gd name="T11" fmla="*/ 50 h 204"/>
                <a:gd name="T12" fmla="*/ 670 w 675"/>
                <a:gd name="T13" fmla="*/ 75 h 204"/>
                <a:gd name="T14" fmla="*/ 675 w 675"/>
                <a:gd name="T15" fmla="*/ 102 h 204"/>
                <a:gd name="T16" fmla="*/ 670 w 675"/>
                <a:gd name="T17" fmla="*/ 130 h 204"/>
                <a:gd name="T18" fmla="*/ 661 w 675"/>
                <a:gd name="T19" fmla="*/ 154 h 204"/>
                <a:gd name="T20" fmla="*/ 644 w 675"/>
                <a:gd name="T21" fmla="*/ 174 h 204"/>
                <a:gd name="T22" fmla="*/ 625 w 675"/>
                <a:gd name="T23" fmla="*/ 191 h 204"/>
                <a:gd name="T24" fmla="*/ 600 w 675"/>
                <a:gd name="T25" fmla="*/ 201 h 204"/>
                <a:gd name="T26" fmla="*/ 573 w 675"/>
                <a:gd name="T27" fmla="*/ 204 h 204"/>
                <a:gd name="T28" fmla="*/ 102 w 675"/>
                <a:gd name="T29" fmla="*/ 204 h 204"/>
                <a:gd name="T30" fmla="*/ 76 w 675"/>
                <a:gd name="T31" fmla="*/ 201 h 204"/>
                <a:gd name="T32" fmla="*/ 52 w 675"/>
                <a:gd name="T33" fmla="*/ 191 h 204"/>
                <a:gd name="T34" fmla="*/ 30 w 675"/>
                <a:gd name="T35" fmla="*/ 174 h 204"/>
                <a:gd name="T36" fmla="*/ 14 w 675"/>
                <a:gd name="T37" fmla="*/ 154 h 204"/>
                <a:gd name="T38" fmla="*/ 4 w 675"/>
                <a:gd name="T39" fmla="*/ 130 h 204"/>
                <a:gd name="T40" fmla="*/ 0 w 675"/>
                <a:gd name="T41" fmla="*/ 102 h 204"/>
                <a:gd name="T42" fmla="*/ 4 w 675"/>
                <a:gd name="T43" fmla="*/ 75 h 204"/>
                <a:gd name="T44" fmla="*/ 14 w 675"/>
                <a:gd name="T45" fmla="*/ 50 h 204"/>
                <a:gd name="T46" fmla="*/ 30 w 675"/>
                <a:gd name="T47" fmla="*/ 30 h 204"/>
                <a:gd name="T48" fmla="*/ 52 w 675"/>
                <a:gd name="T49" fmla="*/ 14 h 204"/>
                <a:gd name="T50" fmla="*/ 76 w 675"/>
                <a:gd name="T51" fmla="*/ 3 h 204"/>
                <a:gd name="T52" fmla="*/ 102 w 675"/>
                <a:gd name="T5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75" h="204">
                  <a:moveTo>
                    <a:pt x="102" y="0"/>
                  </a:moveTo>
                  <a:lnTo>
                    <a:pt x="573" y="0"/>
                  </a:lnTo>
                  <a:lnTo>
                    <a:pt x="600" y="3"/>
                  </a:lnTo>
                  <a:lnTo>
                    <a:pt x="625" y="14"/>
                  </a:lnTo>
                  <a:lnTo>
                    <a:pt x="644" y="30"/>
                  </a:lnTo>
                  <a:lnTo>
                    <a:pt x="661" y="50"/>
                  </a:lnTo>
                  <a:lnTo>
                    <a:pt x="670" y="75"/>
                  </a:lnTo>
                  <a:lnTo>
                    <a:pt x="675" y="102"/>
                  </a:lnTo>
                  <a:lnTo>
                    <a:pt x="670" y="130"/>
                  </a:lnTo>
                  <a:lnTo>
                    <a:pt x="661" y="154"/>
                  </a:lnTo>
                  <a:lnTo>
                    <a:pt x="644" y="174"/>
                  </a:lnTo>
                  <a:lnTo>
                    <a:pt x="625" y="191"/>
                  </a:lnTo>
                  <a:lnTo>
                    <a:pt x="600" y="201"/>
                  </a:lnTo>
                  <a:lnTo>
                    <a:pt x="573" y="204"/>
                  </a:lnTo>
                  <a:lnTo>
                    <a:pt x="102" y="204"/>
                  </a:lnTo>
                  <a:lnTo>
                    <a:pt x="76" y="201"/>
                  </a:lnTo>
                  <a:lnTo>
                    <a:pt x="52" y="191"/>
                  </a:lnTo>
                  <a:lnTo>
                    <a:pt x="30" y="174"/>
                  </a:lnTo>
                  <a:lnTo>
                    <a:pt x="14" y="154"/>
                  </a:lnTo>
                  <a:lnTo>
                    <a:pt x="4" y="130"/>
                  </a:lnTo>
                  <a:lnTo>
                    <a:pt x="0" y="102"/>
                  </a:lnTo>
                  <a:lnTo>
                    <a:pt x="4" y="75"/>
                  </a:lnTo>
                  <a:lnTo>
                    <a:pt x="14" y="50"/>
                  </a:lnTo>
                  <a:lnTo>
                    <a:pt x="30" y="30"/>
                  </a:lnTo>
                  <a:lnTo>
                    <a:pt x="52" y="14"/>
                  </a:lnTo>
                  <a:lnTo>
                    <a:pt x="76" y="3"/>
                  </a:lnTo>
                  <a:lnTo>
                    <a:pt x="10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56" name="Group 201"/>
          <p:cNvGrpSpPr>
            <a:grpSpLocks noChangeAspect="1"/>
          </p:cNvGrpSpPr>
          <p:nvPr/>
        </p:nvGrpSpPr>
        <p:grpSpPr bwMode="auto">
          <a:xfrm>
            <a:off x="5478963" y="3296727"/>
            <a:ext cx="423155" cy="474468"/>
            <a:chOff x="4176" y="3243"/>
            <a:chExt cx="602" cy="675"/>
          </a:xfrm>
          <a:solidFill>
            <a:schemeClr val="accent5"/>
          </a:solidFill>
        </p:grpSpPr>
        <p:sp>
          <p:nvSpPr>
            <p:cNvPr id="157" name="Freeform 203"/>
            <p:cNvSpPr>
              <a:spLocks/>
            </p:cNvSpPr>
            <p:nvPr/>
          </p:nvSpPr>
          <p:spPr bwMode="auto">
            <a:xfrm>
              <a:off x="4184" y="3243"/>
              <a:ext cx="594" cy="675"/>
            </a:xfrm>
            <a:custGeom>
              <a:avLst/>
              <a:gdLst>
                <a:gd name="T0" fmla="*/ 2818 w 2971"/>
                <a:gd name="T1" fmla="*/ 0 h 3374"/>
                <a:gd name="T2" fmla="*/ 2877 w 2971"/>
                <a:gd name="T3" fmla="*/ 12 h 3374"/>
                <a:gd name="T4" fmla="*/ 2926 w 2971"/>
                <a:gd name="T5" fmla="*/ 45 h 3374"/>
                <a:gd name="T6" fmla="*/ 2958 w 2971"/>
                <a:gd name="T7" fmla="*/ 93 h 3374"/>
                <a:gd name="T8" fmla="*/ 2971 w 2971"/>
                <a:gd name="T9" fmla="*/ 154 h 3374"/>
                <a:gd name="T10" fmla="*/ 2960 w 2971"/>
                <a:gd name="T11" fmla="*/ 207 h 3374"/>
                <a:gd name="T12" fmla="*/ 2934 w 2971"/>
                <a:gd name="T13" fmla="*/ 252 h 3374"/>
                <a:gd name="T14" fmla="*/ 2894 w 2971"/>
                <a:gd name="T15" fmla="*/ 285 h 3374"/>
                <a:gd name="T16" fmla="*/ 2892 w 2971"/>
                <a:gd name="T17" fmla="*/ 2091 h 3374"/>
                <a:gd name="T18" fmla="*/ 2872 w 2971"/>
                <a:gd name="T19" fmla="*/ 2124 h 3374"/>
                <a:gd name="T20" fmla="*/ 2838 w 2971"/>
                <a:gd name="T21" fmla="*/ 2145 h 3374"/>
                <a:gd name="T22" fmla="*/ 2197 w 2971"/>
                <a:gd name="T23" fmla="*/ 2147 h 3374"/>
                <a:gd name="T24" fmla="*/ 2475 w 2971"/>
                <a:gd name="T25" fmla="*/ 3208 h 3374"/>
                <a:gd name="T26" fmla="*/ 2469 w 2971"/>
                <a:gd name="T27" fmla="*/ 3261 h 3374"/>
                <a:gd name="T28" fmla="*/ 2448 w 2971"/>
                <a:gd name="T29" fmla="*/ 3309 h 3374"/>
                <a:gd name="T30" fmla="*/ 2411 w 2971"/>
                <a:gd name="T31" fmla="*/ 3346 h 3374"/>
                <a:gd name="T32" fmla="*/ 2362 w 2971"/>
                <a:gd name="T33" fmla="*/ 3370 h 3374"/>
                <a:gd name="T34" fmla="*/ 2323 w 2971"/>
                <a:gd name="T35" fmla="*/ 3374 h 3374"/>
                <a:gd name="T36" fmla="*/ 2267 w 2971"/>
                <a:gd name="T37" fmla="*/ 3363 h 3374"/>
                <a:gd name="T38" fmla="*/ 2220 w 2971"/>
                <a:gd name="T39" fmla="*/ 3334 h 3374"/>
                <a:gd name="T40" fmla="*/ 2186 w 2971"/>
                <a:gd name="T41" fmla="*/ 3288 h 3374"/>
                <a:gd name="T42" fmla="*/ 1902 w 2971"/>
                <a:gd name="T43" fmla="*/ 2224 h 3374"/>
                <a:gd name="T44" fmla="*/ 794 w 2971"/>
                <a:gd name="T45" fmla="*/ 3260 h 3374"/>
                <a:gd name="T46" fmla="*/ 771 w 2971"/>
                <a:gd name="T47" fmla="*/ 3309 h 3374"/>
                <a:gd name="T48" fmla="*/ 734 w 2971"/>
                <a:gd name="T49" fmla="*/ 3346 h 3374"/>
                <a:gd name="T50" fmla="*/ 687 w 2971"/>
                <a:gd name="T51" fmla="*/ 3369 h 3374"/>
                <a:gd name="T52" fmla="*/ 635 w 2971"/>
                <a:gd name="T53" fmla="*/ 3374 h 3374"/>
                <a:gd name="T54" fmla="*/ 581 w 2971"/>
                <a:gd name="T55" fmla="*/ 3360 h 3374"/>
                <a:gd name="T56" fmla="*/ 538 w 2971"/>
                <a:gd name="T57" fmla="*/ 3329 h 3374"/>
                <a:gd name="T58" fmla="*/ 509 w 2971"/>
                <a:gd name="T59" fmla="*/ 3286 h 3374"/>
                <a:gd name="T60" fmla="*/ 495 w 2971"/>
                <a:gd name="T61" fmla="*/ 3236 h 3374"/>
                <a:gd name="T62" fmla="*/ 500 w 2971"/>
                <a:gd name="T63" fmla="*/ 3181 h 3374"/>
                <a:gd name="T64" fmla="*/ 639 w 2971"/>
                <a:gd name="T65" fmla="*/ 2147 h 3374"/>
                <a:gd name="T66" fmla="*/ 729 w 2971"/>
                <a:gd name="T67" fmla="*/ 2048 h 3374"/>
                <a:gd name="T68" fmla="*/ 2742 w 2971"/>
                <a:gd name="T69" fmla="*/ 1994 h 3374"/>
                <a:gd name="T70" fmla="*/ 227 w 2971"/>
                <a:gd name="T71" fmla="*/ 307 h 3374"/>
                <a:gd name="T72" fmla="*/ 184 w 2971"/>
                <a:gd name="T73" fmla="*/ 1953 h 3374"/>
                <a:gd name="T74" fmla="*/ 108 w 2971"/>
                <a:gd name="T75" fmla="*/ 2023 h 3374"/>
                <a:gd name="T76" fmla="*/ 76 w 2971"/>
                <a:gd name="T77" fmla="*/ 285 h 3374"/>
                <a:gd name="T78" fmla="*/ 36 w 2971"/>
                <a:gd name="T79" fmla="*/ 252 h 3374"/>
                <a:gd name="T80" fmla="*/ 9 w 2971"/>
                <a:gd name="T81" fmla="*/ 207 h 3374"/>
                <a:gd name="T82" fmla="*/ 0 w 2971"/>
                <a:gd name="T83" fmla="*/ 154 h 3374"/>
                <a:gd name="T84" fmla="*/ 12 w 2971"/>
                <a:gd name="T85" fmla="*/ 93 h 3374"/>
                <a:gd name="T86" fmla="*/ 44 w 2971"/>
                <a:gd name="T87" fmla="*/ 45 h 3374"/>
                <a:gd name="T88" fmla="*/ 93 w 2971"/>
                <a:gd name="T89" fmla="*/ 12 h 3374"/>
                <a:gd name="T90" fmla="*/ 152 w 2971"/>
                <a:gd name="T91" fmla="*/ 0 h 3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71" h="3374">
                  <a:moveTo>
                    <a:pt x="152" y="0"/>
                  </a:moveTo>
                  <a:lnTo>
                    <a:pt x="2818" y="0"/>
                  </a:lnTo>
                  <a:lnTo>
                    <a:pt x="2849" y="3"/>
                  </a:lnTo>
                  <a:lnTo>
                    <a:pt x="2877" y="12"/>
                  </a:lnTo>
                  <a:lnTo>
                    <a:pt x="2904" y="27"/>
                  </a:lnTo>
                  <a:lnTo>
                    <a:pt x="2926" y="45"/>
                  </a:lnTo>
                  <a:lnTo>
                    <a:pt x="2945" y="68"/>
                  </a:lnTo>
                  <a:lnTo>
                    <a:pt x="2958" y="93"/>
                  </a:lnTo>
                  <a:lnTo>
                    <a:pt x="2968" y="123"/>
                  </a:lnTo>
                  <a:lnTo>
                    <a:pt x="2971" y="154"/>
                  </a:lnTo>
                  <a:lnTo>
                    <a:pt x="2968" y="181"/>
                  </a:lnTo>
                  <a:lnTo>
                    <a:pt x="2960" y="207"/>
                  </a:lnTo>
                  <a:lnTo>
                    <a:pt x="2950" y="231"/>
                  </a:lnTo>
                  <a:lnTo>
                    <a:pt x="2934" y="252"/>
                  </a:lnTo>
                  <a:lnTo>
                    <a:pt x="2916" y="271"/>
                  </a:lnTo>
                  <a:lnTo>
                    <a:pt x="2894" y="285"/>
                  </a:lnTo>
                  <a:lnTo>
                    <a:pt x="2894" y="2070"/>
                  </a:lnTo>
                  <a:lnTo>
                    <a:pt x="2892" y="2091"/>
                  </a:lnTo>
                  <a:lnTo>
                    <a:pt x="2883" y="2110"/>
                  </a:lnTo>
                  <a:lnTo>
                    <a:pt x="2872" y="2124"/>
                  </a:lnTo>
                  <a:lnTo>
                    <a:pt x="2856" y="2137"/>
                  </a:lnTo>
                  <a:lnTo>
                    <a:pt x="2838" y="2145"/>
                  </a:lnTo>
                  <a:lnTo>
                    <a:pt x="2818" y="2147"/>
                  </a:lnTo>
                  <a:lnTo>
                    <a:pt x="2197" y="2147"/>
                  </a:lnTo>
                  <a:lnTo>
                    <a:pt x="2470" y="3181"/>
                  </a:lnTo>
                  <a:lnTo>
                    <a:pt x="2475" y="3208"/>
                  </a:lnTo>
                  <a:lnTo>
                    <a:pt x="2475" y="3235"/>
                  </a:lnTo>
                  <a:lnTo>
                    <a:pt x="2469" y="3261"/>
                  </a:lnTo>
                  <a:lnTo>
                    <a:pt x="2461" y="3286"/>
                  </a:lnTo>
                  <a:lnTo>
                    <a:pt x="2448" y="3309"/>
                  </a:lnTo>
                  <a:lnTo>
                    <a:pt x="2432" y="3329"/>
                  </a:lnTo>
                  <a:lnTo>
                    <a:pt x="2411" y="3346"/>
                  </a:lnTo>
                  <a:lnTo>
                    <a:pt x="2388" y="3360"/>
                  </a:lnTo>
                  <a:lnTo>
                    <a:pt x="2362" y="3370"/>
                  </a:lnTo>
                  <a:lnTo>
                    <a:pt x="2343" y="3373"/>
                  </a:lnTo>
                  <a:lnTo>
                    <a:pt x="2323" y="3374"/>
                  </a:lnTo>
                  <a:lnTo>
                    <a:pt x="2295" y="3372"/>
                  </a:lnTo>
                  <a:lnTo>
                    <a:pt x="2267" y="3363"/>
                  </a:lnTo>
                  <a:lnTo>
                    <a:pt x="2243" y="3351"/>
                  </a:lnTo>
                  <a:lnTo>
                    <a:pt x="2220" y="3334"/>
                  </a:lnTo>
                  <a:lnTo>
                    <a:pt x="2201" y="3313"/>
                  </a:lnTo>
                  <a:lnTo>
                    <a:pt x="2186" y="3288"/>
                  </a:lnTo>
                  <a:lnTo>
                    <a:pt x="2176" y="3260"/>
                  </a:lnTo>
                  <a:lnTo>
                    <a:pt x="1902" y="2224"/>
                  </a:lnTo>
                  <a:lnTo>
                    <a:pt x="1069" y="2224"/>
                  </a:lnTo>
                  <a:lnTo>
                    <a:pt x="794" y="3260"/>
                  </a:lnTo>
                  <a:lnTo>
                    <a:pt x="785" y="3287"/>
                  </a:lnTo>
                  <a:lnTo>
                    <a:pt x="771" y="3309"/>
                  </a:lnTo>
                  <a:lnTo>
                    <a:pt x="754" y="3329"/>
                  </a:lnTo>
                  <a:lnTo>
                    <a:pt x="734" y="3346"/>
                  </a:lnTo>
                  <a:lnTo>
                    <a:pt x="712" y="3360"/>
                  </a:lnTo>
                  <a:lnTo>
                    <a:pt x="687" y="3369"/>
                  </a:lnTo>
                  <a:lnTo>
                    <a:pt x="662" y="3374"/>
                  </a:lnTo>
                  <a:lnTo>
                    <a:pt x="635" y="3374"/>
                  </a:lnTo>
                  <a:lnTo>
                    <a:pt x="608" y="3370"/>
                  </a:lnTo>
                  <a:lnTo>
                    <a:pt x="581" y="3360"/>
                  </a:lnTo>
                  <a:lnTo>
                    <a:pt x="558" y="3346"/>
                  </a:lnTo>
                  <a:lnTo>
                    <a:pt x="538" y="3329"/>
                  </a:lnTo>
                  <a:lnTo>
                    <a:pt x="522" y="3309"/>
                  </a:lnTo>
                  <a:lnTo>
                    <a:pt x="509" y="3286"/>
                  </a:lnTo>
                  <a:lnTo>
                    <a:pt x="500" y="3261"/>
                  </a:lnTo>
                  <a:lnTo>
                    <a:pt x="495" y="3236"/>
                  </a:lnTo>
                  <a:lnTo>
                    <a:pt x="495" y="3208"/>
                  </a:lnTo>
                  <a:lnTo>
                    <a:pt x="500" y="3181"/>
                  </a:lnTo>
                  <a:lnTo>
                    <a:pt x="773" y="2147"/>
                  </a:lnTo>
                  <a:lnTo>
                    <a:pt x="639" y="2147"/>
                  </a:lnTo>
                  <a:lnTo>
                    <a:pt x="683" y="2099"/>
                  </a:lnTo>
                  <a:lnTo>
                    <a:pt x="729" y="2048"/>
                  </a:lnTo>
                  <a:lnTo>
                    <a:pt x="778" y="1994"/>
                  </a:lnTo>
                  <a:lnTo>
                    <a:pt x="2742" y="1994"/>
                  </a:lnTo>
                  <a:lnTo>
                    <a:pt x="2742" y="307"/>
                  </a:lnTo>
                  <a:lnTo>
                    <a:pt x="227" y="307"/>
                  </a:lnTo>
                  <a:lnTo>
                    <a:pt x="227" y="1912"/>
                  </a:lnTo>
                  <a:lnTo>
                    <a:pt x="184" y="1953"/>
                  </a:lnTo>
                  <a:lnTo>
                    <a:pt x="144" y="1989"/>
                  </a:lnTo>
                  <a:lnTo>
                    <a:pt x="108" y="2023"/>
                  </a:lnTo>
                  <a:lnTo>
                    <a:pt x="76" y="2052"/>
                  </a:lnTo>
                  <a:lnTo>
                    <a:pt x="76" y="285"/>
                  </a:lnTo>
                  <a:lnTo>
                    <a:pt x="55" y="271"/>
                  </a:lnTo>
                  <a:lnTo>
                    <a:pt x="36" y="252"/>
                  </a:lnTo>
                  <a:lnTo>
                    <a:pt x="21" y="231"/>
                  </a:lnTo>
                  <a:lnTo>
                    <a:pt x="9" y="207"/>
                  </a:lnTo>
                  <a:lnTo>
                    <a:pt x="2" y="181"/>
                  </a:lnTo>
                  <a:lnTo>
                    <a:pt x="0" y="154"/>
                  </a:lnTo>
                  <a:lnTo>
                    <a:pt x="3" y="123"/>
                  </a:lnTo>
                  <a:lnTo>
                    <a:pt x="12" y="93"/>
                  </a:lnTo>
                  <a:lnTo>
                    <a:pt x="25" y="68"/>
                  </a:lnTo>
                  <a:lnTo>
                    <a:pt x="44" y="45"/>
                  </a:lnTo>
                  <a:lnTo>
                    <a:pt x="66" y="27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8" name="Freeform 204"/>
            <p:cNvSpPr>
              <a:spLocks/>
            </p:cNvSpPr>
            <p:nvPr/>
          </p:nvSpPr>
          <p:spPr bwMode="auto">
            <a:xfrm>
              <a:off x="4443" y="3439"/>
              <a:ext cx="60" cy="176"/>
            </a:xfrm>
            <a:custGeom>
              <a:avLst/>
              <a:gdLst>
                <a:gd name="T0" fmla="*/ 153 w 304"/>
                <a:gd name="T1" fmla="*/ 0 h 881"/>
                <a:gd name="T2" fmla="*/ 183 w 304"/>
                <a:gd name="T3" fmla="*/ 3 h 881"/>
                <a:gd name="T4" fmla="*/ 211 w 304"/>
                <a:gd name="T5" fmla="*/ 12 h 881"/>
                <a:gd name="T6" fmla="*/ 237 w 304"/>
                <a:gd name="T7" fmla="*/ 25 h 881"/>
                <a:gd name="T8" fmla="*/ 260 w 304"/>
                <a:gd name="T9" fmla="*/ 44 h 881"/>
                <a:gd name="T10" fmla="*/ 278 w 304"/>
                <a:gd name="T11" fmla="*/ 68 h 881"/>
                <a:gd name="T12" fmla="*/ 293 w 304"/>
                <a:gd name="T13" fmla="*/ 93 h 881"/>
                <a:gd name="T14" fmla="*/ 301 w 304"/>
                <a:gd name="T15" fmla="*/ 122 h 881"/>
                <a:gd name="T16" fmla="*/ 304 w 304"/>
                <a:gd name="T17" fmla="*/ 154 h 881"/>
                <a:gd name="T18" fmla="*/ 304 w 304"/>
                <a:gd name="T19" fmla="*/ 729 h 881"/>
                <a:gd name="T20" fmla="*/ 301 w 304"/>
                <a:gd name="T21" fmla="*/ 759 h 881"/>
                <a:gd name="T22" fmla="*/ 293 w 304"/>
                <a:gd name="T23" fmla="*/ 788 h 881"/>
                <a:gd name="T24" fmla="*/ 278 w 304"/>
                <a:gd name="T25" fmla="*/ 814 h 881"/>
                <a:gd name="T26" fmla="*/ 260 w 304"/>
                <a:gd name="T27" fmla="*/ 837 h 881"/>
                <a:gd name="T28" fmla="*/ 237 w 304"/>
                <a:gd name="T29" fmla="*/ 856 h 881"/>
                <a:gd name="T30" fmla="*/ 211 w 304"/>
                <a:gd name="T31" fmla="*/ 870 h 881"/>
                <a:gd name="T32" fmla="*/ 183 w 304"/>
                <a:gd name="T33" fmla="*/ 878 h 881"/>
                <a:gd name="T34" fmla="*/ 153 w 304"/>
                <a:gd name="T35" fmla="*/ 881 h 881"/>
                <a:gd name="T36" fmla="*/ 121 w 304"/>
                <a:gd name="T37" fmla="*/ 878 h 881"/>
                <a:gd name="T38" fmla="*/ 92 w 304"/>
                <a:gd name="T39" fmla="*/ 870 h 881"/>
                <a:gd name="T40" fmla="*/ 67 w 304"/>
                <a:gd name="T41" fmla="*/ 856 h 881"/>
                <a:gd name="T42" fmla="*/ 44 w 304"/>
                <a:gd name="T43" fmla="*/ 837 h 881"/>
                <a:gd name="T44" fmla="*/ 26 w 304"/>
                <a:gd name="T45" fmla="*/ 814 h 881"/>
                <a:gd name="T46" fmla="*/ 11 w 304"/>
                <a:gd name="T47" fmla="*/ 788 h 881"/>
                <a:gd name="T48" fmla="*/ 3 w 304"/>
                <a:gd name="T49" fmla="*/ 759 h 881"/>
                <a:gd name="T50" fmla="*/ 0 w 304"/>
                <a:gd name="T51" fmla="*/ 729 h 881"/>
                <a:gd name="T52" fmla="*/ 0 w 304"/>
                <a:gd name="T53" fmla="*/ 154 h 881"/>
                <a:gd name="T54" fmla="*/ 3 w 304"/>
                <a:gd name="T55" fmla="*/ 122 h 881"/>
                <a:gd name="T56" fmla="*/ 11 w 304"/>
                <a:gd name="T57" fmla="*/ 93 h 881"/>
                <a:gd name="T58" fmla="*/ 26 w 304"/>
                <a:gd name="T59" fmla="*/ 68 h 881"/>
                <a:gd name="T60" fmla="*/ 44 w 304"/>
                <a:gd name="T61" fmla="*/ 44 h 881"/>
                <a:gd name="T62" fmla="*/ 67 w 304"/>
                <a:gd name="T63" fmla="*/ 25 h 881"/>
                <a:gd name="T64" fmla="*/ 92 w 304"/>
                <a:gd name="T65" fmla="*/ 12 h 881"/>
                <a:gd name="T66" fmla="*/ 121 w 304"/>
                <a:gd name="T67" fmla="*/ 3 h 881"/>
                <a:gd name="T68" fmla="*/ 153 w 304"/>
                <a:gd name="T69" fmla="*/ 0 h 8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4" h="881">
                  <a:moveTo>
                    <a:pt x="153" y="0"/>
                  </a:moveTo>
                  <a:lnTo>
                    <a:pt x="183" y="3"/>
                  </a:lnTo>
                  <a:lnTo>
                    <a:pt x="211" y="12"/>
                  </a:lnTo>
                  <a:lnTo>
                    <a:pt x="237" y="25"/>
                  </a:lnTo>
                  <a:lnTo>
                    <a:pt x="260" y="44"/>
                  </a:lnTo>
                  <a:lnTo>
                    <a:pt x="278" y="68"/>
                  </a:lnTo>
                  <a:lnTo>
                    <a:pt x="293" y="93"/>
                  </a:lnTo>
                  <a:lnTo>
                    <a:pt x="301" y="122"/>
                  </a:lnTo>
                  <a:lnTo>
                    <a:pt x="304" y="154"/>
                  </a:lnTo>
                  <a:lnTo>
                    <a:pt x="304" y="729"/>
                  </a:lnTo>
                  <a:lnTo>
                    <a:pt x="301" y="759"/>
                  </a:lnTo>
                  <a:lnTo>
                    <a:pt x="293" y="788"/>
                  </a:lnTo>
                  <a:lnTo>
                    <a:pt x="278" y="814"/>
                  </a:lnTo>
                  <a:lnTo>
                    <a:pt x="260" y="837"/>
                  </a:lnTo>
                  <a:lnTo>
                    <a:pt x="237" y="856"/>
                  </a:lnTo>
                  <a:lnTo>
                    <a:pt x="211" y="870"/>
                  </a:lnTo>
                  <a:lnTo>
                    <a:pt x="183" y="878"/>
                  </a:lnTo>
                  <a:lnTo>
                    <a:pt x="153" y="881"/>
                  </a:lnTo>
                  <a:lnTo>
                    <a:pt x="121" y="878"/>
                  </a:lnTo>
                  <a:lnTo>
                    <a:pt x="92" y="870"/>
                  </a:lnTo>
                  <a:lnTo>
                    <a:pt x="67" y="856"/>
                  </a:lnTo>
                  <a:lnTo>
                    <a:pt x="44" y="837"/>
                  </a:lnTo>
                  <a:lnTo>
                    <a:pt x="26" y="814"/>
                  </a:lnTo>
                  <a:lnTo>
                    <a:pt x="11" y="788"/>
                  </a:lnTo>
                  <a:lnTo>
                    <a:pt x="3" y="759"/>
                  </a:lnTo>
                  <a:lnTo>
                    <a:pt x="0" y="729"/>
                  </a:lnTo>
                  <a:lnTo>
                    <a:pt x="0" y="154"/>
                  </a:lnTo>
                  <a:lnTo>
                    <a:pt x="3" y="122"/>
                  </a:lnTo>
                  <a:lnTo>
                    <a:pt x="11" y="93"/>
                  </a:lnTo>
                  <a:lnTo>
                    <a:pt x="26" y="68"/>
                  </a:lnTo>
                  <a:lnTo>
                    <a:pt x="44" y="44"/>
                  </a:lnTo>
                  <a:lnTo>
                    <a:pt x="67" y="25"/>
                  </a:lnTo>
                  <a:lnTo>
                    <a:pt x="92" y="12"/>
                  </a:lnTo>
                  <a:lnTo>
                    <a:pt x="121" y="3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9" name="Freeform 205"/>
            <p:cNvSpPr>
              <a:spLocks/>
            </p:cNvSpPr>
            <p:nvPr/>
          </p:nvSpPr>
          <p:spPr bwMode="auto">
            <a:xfrm>
              <a:off x="4542" y="3331"/>
              <a:ext cx="60" cy="284"/>
            </a:xfrm>
            <a:custGeom>
              <a:avLst/>
              <a:gdLst>
                <a:gd name="T0" fmla="*/ 153 w 304"/>
                <a:gd name="T1" fmla="*/ 0 h 1418"/>
                <a:gd name="T2" fmla="*/ 183 w 304"/>
                <a:gd name="T3" fmla="*/ 3 h 1418"/>
                <a:gd name="T4" fmla="*/ 212 w 304"/>
                <a:gd name="T5" fmla="*/ 12 h 1418"/>
                <a:gd name="T6" fmla="*/ 237 w 304"/>
                <a:gd name="T7" fmla="*/ 26 h 1418"/>
                <a:gd name="T8" fmla="*/ 260 w 304"/>
                <a:gd name="T9" fmla="*/ 45 h 1418"/>
                <a:gd name="T10" fmla="*/ 278 w 304"/>
                <a:gd name="T11" fmla="*/ 67 h 1418"/>
                <a:gd name="T12" fmla="*/ 293 w 304"/>
                <a:gd name="T13" fmla="*/ 94 h 1418"/>
                <a:gd name="T14" fmla="*/ 301 w 304"/>
                <a:gd name="T15" fmla="*/ 122 h 1418"/>
                <a:gd name="T16" fmla="*/ 304 w 304"/>
                <a:gd name="T17" fmla="*/ 153 h 1418"/>
                <a:gd name="T18" fmla="*/ 304 w 304"/>
                <a:gd name="T19" fmla="*/ 1266 h 1418"/>
                <a:gd name="T20" fmla="*/ 301 w 304"/>
                <a:gd name="T21" fmla="*/ 1296 h 1418"/>
                <a:gd name="T22" fmla="*/ 293 w 304"/>
                <a:gd name="T23" fmla="*/ 1325 h 1418"/>
                <a:gd name="T24" fmla="*/ 278 w 304"/>
                <a:gd name="T25" fmla="*/ 1351 h 1418"/>
                <a:gd name="T26" fmla="*/ 260 w 304"/>
                <a:gd name="T27" fmla="*/ 1374 h 1418"/>
                <a:gd name="T28" fmla="*/ 237 w 304"/>
                <a:gd name="T29" fmla="*/ 1393 h 1418"/>
                <a:gd name="T30" fmla="*/ 212 w 304"/>
                <a:gd name="T31" fmla="*/ 1407 h 1418"/>
                <a:gd name="T32" fmla="*/ 183 w 304"/>
                <a:gd name="T33" fmla="*/ 1415 h 1418"/>
                <a:gd name="T34" fmla="*/ 153 w 304"/>
                <a:gd name="T35" fmla="*/ 1418 h 1418"/>
                <a:gd name="T36" fmla="*/ 121 w 304"/>
                <a:gd name="T37" fmla="*/ 1415 h 1418"/>
                <a:gd name="T38" fmla="*/ 93 w 304"/>
                <a:gd name="T39" fmla="*/ 1407 h 1418"/>
                <a:gd name="T40" fmla="*/ 67 w 304"/>
                <a:gd name="T41" fmla="*/ 1393 h 1418"/>
                <a:gd name="T42" fmla="*/ 44 w 304"/>
                <a:gd name="T43" fmla="*/ 1374 h 1418"/>
                <a:gd name="T44" fmla="*/ 26 w 304"/>
                <a:gd name="T45" fmla="*/ 1351 h 1418"/>
                <a:gd name="T46" fmla="*/ 11 w 304"/>
                <a:gd name="T47" fmla="*/ 1325 h 1418"/>
                <a:gd name="T48" fmla="*/ 3 w 304"/>
                <a:gd name="T49" fmla="*/ 1296 h 1418"/>
                <a:gd name="T50" fmla="*/ 0 w 304"/>
                <a:gd name="T51" fmla="*/ 1266 h 1418"/>
                <a:gd name="T52" fmla="*/ 0 w 304"/>
                <a:gd name="T53" fmla="*/ 153 h 1418"/>
                <a:gd name="T54" fmla="*/ 3 w 304"/>
                <a:gd name="T55" fmla="*/ 122 h 1418"/>
                <a:gd name="T56" fmla="*/ 11 w 304"/>
                <a:gd name="T57" fmla="*/ 94 h 1418"/>
                <a:gd name="T58" fmla="*/ 26 w 304"/>
                <a:gd name="T59" fmla="*/ 67 h 1418"/>
                <a:gd name="T60" fmla="*/ 44 w 304"/>
                <a:gd name="T61" fmla="*/ 45 h 1418"/>
                <a:gd name="T62" fmla="*/ 67 w 304"/>
                <a:gd name="T63" fmla="*/ 26 h 1418"/>
                <a:gd name="T64" fmla="*/ 93 w 304"/>
                <a:gd name="T65" fmla="*/ 12 h 1418"/>
                <a:gd name="T66" fmla="*/ 121 w 304"/>
                <a:gd name="T67" fmla="*/ 3 h 1418"/>
                <a:gd name="T68" fmla="*/ 153 w 304"/>
                <a:gd name="T69" fmla="*/ 0 h 1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4" h="1418">
                  <a:moveTo>
                    <a:pt x="153" y="0"/>
                  </a:moveTo>
                  <a:lnTo>
                    <a:pt x="183" y="3"/>
                  </a:lnTo>
                  <a:lnTo>
                    <a:pt x="212" y="12"/>
                  </a:lnTo>
                  <a:lnTo>
                    <a:pt x="237" y="26"/>
                  </a:lnTo>
                  <a:lnTo>
                    <a:pt x="260" y="45"/>
                  </a:lnTo>
                  <a:lnTo>
                    <a:pt x="278" y="67"/>
                  </a:lnTo>
                  <a:lnTo>
                    <a:pt x="293" y="94"/>
                  </a:lnTo>
                  <a:lnTo>
                    <a:pt x="301" y="122"/>
                  </a:lnTo>
                  <a:lnTo>
                    <a:pt x="304" y="153"/>
                  </a:lnTo>
                  <a:lnTo>
                    <a:pt x="304" y="1266"/>
                  </a:lnTo>
                  <a:lnTo>
                    <a:pt x="301" y="1296"/>
                  </a:lnTo>
                  <a:lnTo>
                    <a:pt x="293" y="1325"/>
                  </a:lnTo>
                  <a:lnTo>
                    <a:pt x="278" y="1351"/>
                  </a:lnTo>
                  <a:lnTo>
                    <a:pt x="260" y="1374"/>
                  </a:lnTo>
                  <a:lnTo>
                    <a:pt x="237" y="1393"/>
                  </a:lnTo>
                  <a:lnTo>
                    <a:pt x="212" y="1407"/>
                  </a:lnTo>
                  <a:lnTo>
                    <a:pt x="183" y="1415"/>
                  </a:lnTo>
                  <a:lnTo>
                    <a:pt x="153" y="1418"/>
                  </a:lnTo>
                  <a:lnTo>
                    <a:pt x="121" y="1415"/>
                  </a:lnTo>
                  <a:lnTo>
                    <a:pt x="93" y="1407"/>
                  </a:lnTo>
                  <a:lnTo>
                    <a:pt x="67" y="1393"/>
                  </a:lnTo>
                  <a:lnTo>
                    <a:pt x="44" y="1374"/>
                  </a:lnTo>
                  <a:lnTo>
                    <a:pt x="26" y="1351"/>
                  </a:lnTo>
                  <a:lnTo>
                    <a:pt x="11" y="1325"/>
                  </a:lnTo>
                  <a:lnTo>
                    <a:pt x="3" y="1296"/>
                  </a:lnTo>
                  <a:lnTo>
                    <a:pt x="0" y="1266"/>
                  </a:lnTo>
                  <a:lnTo>
                    <a:pt x="0" y="153"/>
                  </a:lnTo>
                  <a:lnTo>
                    <a:pt x="3" y="122"/>
                  </a:lnTo>
                  <a:lnTo>
                    <a:pt x="11" y="94"/>
                  </a:lnTo>
                  <a:lnTo>
                    <a:pt x="26" y="67"/>
                  </a:lnTo>
                  <a:lnTo>
                    <a:pt x="44" y="45"/>
                  </a:lnTo>
                  <a:lnTo>
                    <a:pt x="67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0" name="Freeform 206"/>
            <p:cNvSpPr>
              <a:spLocks/>
            </p:cNvSpPr>
            <p:nvPr/>
          </p:nvSpPr>
          <p:spPr bwMode="auto">
            <a:xfrm>
              <a:off x="4641" y="3393"/>
              <a:ext cx="61" cy="222"/>
            </a:xfrm>
            <a:custGeom>
              <a:avLst/>
              <a:gdLst>
                <a:gd name="T0" fmla="*/ 153 w 305"/>
                <a:gd name="T1" fmla="*/ 0 h 1111"/>
                <a:gd name="T2" fmla="*/ 183 w 305"/>
                <a:gd name="T3" fmla="*/ 3 h 1111"/>
                <a:gd name="T4" fmla="*/ 212 w 305"/>
                <a:gd name="T5" fmla="*/ 11 h 1111"/>
                <a:gd name="T6" fmla="*/ 237 w 305"/>
                <a:gd name="T7" fmla="*/ 26 h 1111"/>
                <a:gd name="T8" fmla="*/ 260 w 305"/>
                <a:gd name="T9" fmla="*/ 44 h 1111"/>
                <a:gd name="T10" fmla="*/ 278 w 305"/>
                <a:gd name="T11" fmla="*/ 68 h 1111"/>
                <a:gd name="T12" fmla="*/ 293 w 305"/>
                <a:gd name="T13" fmla="*/ 93 h 1111"/>
                <a:gd name="T14" fmla="*/ 301 w 305"/>
                <a:gd name="T15" fmla="*/ 122 h 1111"/>
                <a:gd name="T16" fmla="*/ 305 w 305"/>
                <a:gd name="T17" fmla="*/ 153 h 1111"/>
                <a:gd name="T18" fmla="*/ 305 w 305"/>
                <a:gd name="T19" fmla="*/ 959 h 1111"/>
                <a:gd name="T20" fmla="*/ 301 w 305"/>
                <a:gd name="T21" fmla="*/ 989 h 1111"/>
                <a:gd name="T22" fmla="*/ 293 w 305"/>
                <a:gd name="T23" fmla="*/ 1018 h 1111"/>
                <a:gd name="T24" fmla="*/ 278 w 305"/>
                <a:gd name="T25" fmla="*/ 1044 h 1111"/>
                <a:gd name="T26" fmla="*/ 260 w 305"/>
                <a:gd name="T27" fmla="*/ 1067 h 1111"/>
                <a:gd name="T28" fmla="*/ 237 w 305"/>
                <a:gd name="T29" fmla="*/ 1086 h 1111"/>
                <a:gd name="T30" fmla="*/ 212 w 305"/>
                <a:gd name="T31" fmla="*/ 1100 h 1111"/>
                <a:gd name="T32" fmla="*/ 183 w 305"/>
                <a:gd name="T33" fmla="*/ 1108 h 1111"/>
                <a:gd name="T34" fmla="*/ 153 w 305"/>
                <a:gd name="T35" fmla="*/ 1111 h 1111"/>
                <a:gd name="T36" fmla="*/ 121 w 305"/>
                <a:gd name="T37" fmla="*/ 1108 h 1111"/>
                <a:gd name="T38" fmla="*/ 93 w 305"/>
                <a:gd name="T39" fmla="*/ 1100 h 1111"/>
                <a:gd name="T40" fmla="*/ 67 w 305"/>
                <a:gd name="T41" fmla="*/ 1086 h 1111"/>
                <a:gd name="T42" fmla="*/ 44 w 305"/>
                <a:gd name="T43" fmla="*/ 1067 h 1111"/>
                <a:gd name="T44" fmla="*/ 26 w 305"/>
                <a:gd name="T45" fmla="*/ 1044 h 1111"/>
                <a:gd name="T46" fmla="*/ 12 w 305"/>
                <a:gd name="T47" fmla="*/ 1018 h 1111"/>
                <a:gd name="T48" fmla="*/ 3 w 305"/>
                <a:gd name="T49" fmla="*/ 989 h 1111"/>
                <a:gd name="T50" fmla="*/ 0 w 305"/>
                <a:gd name="T51" fmla="*/ 959 h 1111"/>
                <a:gd name="T52" fmla="*/ 0 w 305"/>
                <a:gd name="T53" fmla="*/ 153 h 1111"/>
                <a:gd name="T54" fmla="*/ 3 w 305"/>
                <a:gd name="T55" fmla="*/ 122 h 1111"/>
                <a:gd name="T56" fmla="*/ 12 w 305"/>
                <a:gd name="T57" fmla="*/ 93 h 1111"/>
                <a:gd name="T58" fmla="*/ 26 w 305"/>
                <a:gd name="T59" fmla="*/ 68 h 1111"/>
                <a:gd name="T60" fmla="*/ 44 w 305"/>
                <a:gd name="T61" fmla="*/ 44 h 1111"/>
                <a:gd name="T62" fmla="*/ 67 w 305"/>
                <a:gd name="T63" fmla="*/ 26 h 1111"/>
                <a:gd name="T64" fmla="*/ 93 w 305"/>
                <a:gd name="T65" fmla="*/ 11 h 1111"/>
                <a:gd name="T66" fmla="*/ 121 w 305"/>
                <a:gd name="T67" fmla="*/ 3 h 1111"/>
                <a:gd name="T68" fmla="*/ 153 w 305"/>
                <a:gd name="T69" fmla="*/ 0 h 1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5" h="1111">
                  <a:moveTo>
                    <a:pt x="153" y="0"/>
                  </a:moveTo>
                  <a:lnTo>
                    <a:pt x="183" y="3"/>
                  </a:lnTo>
                  <a:lnTo>
                    <a:pt x="212" y="11"/>
                  </a:lnTo>
                  <a:lnTo>
                    <a:pt x="237" y="26"/>
                  </a:lnTo>
                  <a:lnTo>
                    <a:pt x="260" y="44"/>
                  </a:lnTo>
                  <a:lnTo>
                    <a:pt x="278" y="68"/>
                  </a:lnTo>
                  <a:lnTo>
                    <a:pt x="293" y="93"/>
                  </a:lnTo>
                  <a:lnTo>
                    <a:pt x="301" y="122"/>
                  </a:lnTo>
                  <a:lnTo>
                    <a:pt x="305" y="153"/>
                  </a:lnTo>
                  <a:lnTo>
                    <a:pt x="305" y="959"/>
                  </a:lnTo>
                  <a:lnTo>
                    <a:pt x="301" y="989"/>
                  </a:lnTo>
                  <a:lnTo>
                    <a:pt x="293" y="1018"/>
                  </a:lnTo>
                  <a:lnTo>
                    <a:pt x="278" y="1044"/>
                  </a:lnTo>
                  <a:lnTo>
                    <a:pt x="260" y="1067"/>
                  </a:lnTo>
                  <a:lnTo>
                    <a:pt x="237" y="1086"/>
                  </a:lnTo>
                  <a:lnTo>
                    <a:pt x="212" y="1100"/>
                  </a:lnTo>
                  <a:lnTo>
                    <a:pt x="183" y="1108"/>
                  </a:lnTo>
                  <a:lnTo>
                    <a:pt x="153" y="1111"/>
                  </a:lnTo>
                  <a:lnTo>
                    <a:pt x="121" y="1108"/>
                  </a:lnTo>
                  <a:lnTo>
                    <a:pt x="93" y="1100"/>
                  </a:lnTo>
                  <a:lnTo>
                    <a:pt x="67" y="1086"/>
                  </a:lnTo>
                  <a:lnTo>
                    <a:pt x="44" y="1067"/>
                  </a:lnTo>
                  <a:lnTo>
                    <a:pt x="26" y="1044"/>
                  </a:lnTo>
                  <a:lnTo>
                    <a:pt x="12" y="1018"/>
                  </a:lnTo>
                  <a:lnTo>
                    <a:pt x="3" y="989"/>
                  </a:lnTo>
                  <a:lnTo>
                    <a:pt x="0" y="959"/>
                  </a:lnTo>
                  <a:lnTo>
                    <a:pt x="0" y="153"/>
                  </a:lnTo>
                  <a:lnTo>
                    <a:pt x="3" y="122"/>
                  </a:lnTo>
                  <a:lnTo>
                    <a:pt x="12" y="93"/>
                  </a:lnTo>
                  <a:lnTo>
                    <a:pt x="26" y="68"/>
                  </a:lnTo>
                  <a:lnTo>
                    <a:pt x="44" y="44"/>
                  </a:lnTo>
                  <a:lnTo>
                    <a:pt x="67" y="26"/>
                  </a:lnTo>
                  <a:lnTo>
                    <a:pt x="93" y="11"/>
                  </a:lnTo>
                  <a:lnTo>
                    <a:pt x="121" y="3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1" name="Freeform 207"/>
            <p:cNvSpPr>
              <a:spLocks/>
            </p:cNvSpPr>
            <p:nvPr/>
          </p:nvSpPr>
          <p:spPr bwMode="auto">
            <a:xfrm>
              <a:off x="4176" y="3520"/>
              <a:ext cx="223" cy="225"/>
            </a:xfrm>
            <a:custGeom>
              <a:avLst/>
              <a:gdLst>
                <a:gd name="T0" fmla="*/ 1085 w 1117"/>
                <a:gd name="T1" fmla="*/ 0 h 1123"/>
                <a:gd name="T2" fmla="*/ 1106 w 1117"/>
                <a:gd name="T3" fmla="*/ 10 h 1123"/>
                <a:gd name="T4" fmla="*/ 1117 w 1117"/>
                <a:gd name="T5" fmla="*/ 31 h 1123"/>
                <a:gd name="T6" fmla="*/ 1113 w 1117"/>
                <a:gd name="T7" fmla="*/ 53 h 1123"/>
                <a:gd name="T8" fmla="*/ 1104 w 1117"/>
                <a:gd name="T9" fmla="*/ 66 h 1123"/>
                <a:gd name="T10" fmla="*/ 1089 w 1117"/>
                <a:gd name="T11" fmla="*/ 82 h 1123"/>
                <a:gd name="T12" fmla="*/ 1062 w 1117"/>
                <a:gd name="T13" fmla="*/ 112 h 1123"/>
                <a:gd name="T14" fmla="*/ 1023 w 1117"/>
                <a:gd name="T15" fmla="*/ 155 h 1123"/>
                <a:gd name="T16" fmla="*/ 973 w 1117"/>
                <a:gd name="T17" fmla="*/ 209 h 1123"/>
                <a:gd name="T18" fmla="*/ 917 w 1117"/>
                <a:gd name="T19" fmla="*/ 272 h 1123"/>
                <a:gd name="T20" fmla="*/ 853 w 1117"/>
                <a:gd name="T21" fmla="*/ 342 h 1123"/>
                <a:gd name="T22" fmla="*/ 785 w 1117"/>
                <a:gd name="T23" fmla="*/ 417 h 1123"/>
                <a:gd name="T24" fmla="*/ 712 w 1117"/>
                <a:gd name="T25" fmla="*/ 497 h 1123"/>
                <a:gd name="T26" fmla="*/ 640 w 1117"/>
                <a:gd name="T27" fmla="*/ 577 h 1123"/>
                <a:gd name="T28" fmla="*/ 566 w 1117"/>
                <a:gd name="T29" fmla="*/ 658 h 1123"/>
                <a:gd name="T30" fmla="*/ 494 w 1117"/>
                <a:gd name="T31" fmla="*/ 737 h 1123"/>
                <a:gd name="T32" fmla="*/ 425 w 1117"/>
                <a:gd name="T33" fmla="*/ 813 h 1123"/>
                <a:gd name="T34" fmla="*/ 361 w 1117"/>
                <a:gd name="T35" fmla="*/ 884 h 1123"/>
                <a:gd name="T36" fmla="*/ 303 w 1117"/>
                <a:gd name="T37" fmla="*/ 946 h 1123"/>
                <a:gd name="T38" fmla="*/ 254 w 1117"/>
                <a:gd name="T39" fmla="*/ 1001 h 1123"/>
                <a:gd name="T40" fmla="*/ 215 w 1117"/>
                <a:gd name="T41" fmla="*/ 1045 h 1123"/>
                <a:gd name="T42" fmla="*/ 186 w 1117"/>
                <a:gd name="T43" fmla="*/ 1076 h 1123"/>
                <a:gd name="T44" fmla="*/ 171 w 1117"/>
                <a:gd name="T45" fmla="*/ 1093 h 1123"/>
                <a:gd name="T46" fmla="*/ 151 w 1117"/>
                <a:gd name="T47" fmla="*/ 1110 h 1123"/>
                <a:gd name="T48" fmla="*/ 110 w 1117"/>
                <a:gd name="T49" fmla="*/ 1123 h 1123"/>
                <a:gd name="T50" fmla="*/ 66 w 1117"/>
                <a:gd name="T51" fmla="*/ 1119 h 1123"/>
                <a:gd name="T52" fmla="*/ 28 w 1117"/>
                <a:gd name="T53" fmla="*/ 1095 h 1123"/>
                <a:gd name="T54" fmla="*/ 5 w 1117"/>
                <a:gd name="T55" fmla="*/ 1057 h 1123"/>
                <a:gd name="T56" fmla="*/ 0 w 1117"/>
                <a:gd name="T57" fmla="*/ 1013 h 1123"/>
                <a:gd name="T58" fmla="*/ 14 w 1117"/>
                <a:gd name="T59" fmla="*/ 972 h 1123"/>
                <a:gd name="T60" fmla="*/ 31 w 1117"/>
                <a:gd name="T61" fmla="*/ 952 h 1123"/>
                <a:gd name="T62" fmla="*/ 47 w 1117"/>
                <a:gd name="T63" fmla="*/ 936 h 1123"/>
                <a:gd name="T64" fmla="*/ 78 w 1117"/>
                <a:gd name="T65" fmla="*/ 908 h 1123"/>
                <a:gd name="T66" fmla="*/ 122 w 1117"/>
                <a:gd name="T67" fmla="*/ 868 h 1123"/>
                <a:gd name="T68" fmla="*/ 176 w 1117"/>
                <a:gd name="T69" fmla="*/ 818 h 1123"/>
                <a:gd name="T70" fmla="*/ 238 w 1117"/>
                <a:gd name="T71" fmla="*/ 761 h 1123"/>
                <a:gd name="T72" fmla="*/ 309 w 1117"/>
                <a:gd name="T73" fmla="*/ 696 h 1123"/>
                <a:gd name="T74" fmla="*/ 383 w 1117"/>
                <a:gd name="T75" fmla="*/ 627 h 1123"/>
                <a:gd name="T76" fmla="*/ 463 w 1117"/>
                <a:gd name="T77" fmla="*/ 554 h 1123"/>
                <a:gd name="T78" fmla="*/ 543 w 1117"/>
                <a:gd name="T79" fmla="*/ 481 h 1123"/>
                <a:gd name="T80" fmla="*/ 623 w 1117"/>
                <a:gd name="T81" fmla="*/ 406 h 1123"/>
                <a:gd name="T82" fmla="*/ 702 w 1117"/>
                <a:gd name="T83" fmla="*/ 334 h 1123"/>
                <a:gd name="T84" fmla="*/ 776 w 1117"/>
                <a:gd name="T85" fmla="*/ 265 h 1123"/>
                <a:gd name="T86" fmla="*/ 846 w 1117"/>
                <a:gd name="T87" fmla="*/ 201 h 1123"/>
                <a:gd name="T88" fmla="*/ 908 w 1117"/>
                <a:gd name="T89" fmla="*/ 143 h 1123"/>
                <a:gd name="T90" fmla="*/ 962 w 1117"/>
                <a:gd name="T91" fmla="*/ 95 h 1123"/>
                <a:gd name="T92" fmla="*/ 1005 w 1117"/>
                <a:gd name="T93" fmla="*/ 54 h 1123"/>
                <a:gd name="T94" fmla="*/ 1036 w 1117"/>
                <a:gd name="T95" fmla="*/ 27 h 1123"/>
                <a:gd name="T96" fmla="*/ 1051 w 1117"/>
                <a:gd name="T97" fmla="*/ 12 h 1123"/>
                <a:gd name="T98" fmla="*/ 1063 w 1117"/>
                <a:gd name="T99" fmla="*/ 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17" h="1123">
                  <a:moveTo>
                    <a:pt x="1074" y="0"/>
                  </a:moveTo>
                  <a:lnTo>
                    <a:pt x="1085" y="0"/>
                  </a:lnTo>
                  <a:lnTo>
                    <a:pt x="1096" y="3"/>
                  </a:lnTo>
                  <a:lnTo>
                    <a:pt x="1106" y="10"/>
                  </a:lnTo>
                  <a:lnTo>
                    <a:pt x="1113" y="20"/>
                  </a:lnTo>
                  <a:lnTo>
                    <a:pt x="1117" y="31"/>
                  </a:lnTo>
                  <a:lnTo>
                    <a:pt x="1117" y="43"/>
                  </a:lnTo>
                  <a:lnTo>
                    <a:pt x="1113" y="53"/>
                  </a:lnTo>
                  <a:lnTo>
                    <a:pt x="1106" y="64"/>
                  </a:lnTo>
                  <a:lnTo>
                    <a:pt x="1104" y="66"/>
                  </a:lnTo>
                  <a:lnTo>
                    <a:pt x="1099" y="71"/>
                  </a:lnTo>
                  <a:lnTo>
                    <a:pt x="1089" y="82"/>
                  </a:lnTo>
                  <a:lnTo>
                    <a:pt x="1077" y="96"/>
                  </a:lnTo>
                  <a:lnTo>
                    <a:pt x="1062" y="112"/>
                  </a:lnTo>
                  <a:lnTo>
                    <a:pt x="1043" y="132"/>
                  </a:lnTo>
                  <a:lnTo>
                    <a:pt x="1023" y="155"/>
                  </a:lnTo>
                  <a:lnTo>
                    <a:pt x="999" y="181"/>
                  </a:lnTo>
                  <a:lnTo>
                    <a:pt x="973" y="209"/>
                  </a:lnTo>
                  <a:lnTo>
                    <a:pt x="946" y="240"/>
                  </a:lnTo>
                  <a:lnTo>
                    <a:pt x="917" y="272"/>
                  </a:lnTo>
                  <a:lnTo>
                    <a:pt x="885" y="306"/>
                  </a:lnTo>
                  <a:lnTo>
                    <a:pt x="853" y="342"/>
                  </a:lnTo>
                  <a:lnTo>
                    <a:pt x="820" y="379"/>
                  </a:lnTo>
                  <a:lnTo>
                    <a:pt x="785" y="417"/>
                  </a:lnTo>
                  <a:lnTo>
                    <a:pt x="749" y="456"/>
                  </a:lnTo>
                  <a:lnTo>
                    <a:pt x="712" y="497"/>
                  </a:lnTo>
                  <a:lnTo>
                    <a:pt x="676" y="537"/>
                  </a:lnTo>
                  <a:lnTo>
                    <a:pt x="640" y="577"/>
                  </a:lnTo>
                  <a:lnTo>
                    <a:pt x="603" y="617"/>
                  </a:lnTo>
                  <a:lnTo>
                    <a:pt x="566" y="658"/>
                  </a:lnTo>
                  <a:lnTo>
                    <a:pt x="529" y="698"/>
                  </a:lnTo>
                  <a:lnTo>
                    <a:pt x="494" y="737"/>
                  </a:lnTo>
                  <a:lnTo>
                    <a:pt x="458" y="776"/>
                  </a:lnTo>
                  <a:lnTo>
                    <a:pt x="425" y="813"/>
                  </a:lnTo>
                  <a:lnTo>
                    <a:pt x="392" y="849"/>
                  </a:lnTo>
                  <a:lnTo>
                    <a:pt x="361" y="884"/>
                  </a:lnTo>
                  <a:lnTo>
                    <a:pt x="332" y="917"/>
                  </a:lnTo>
                  <a:lnTo>
                    <a:pt x="303" y="946"/>
                  </a:lnTo>
                  <a:lnTo>
                    <a:pt x="278" y="975"/>
                  </a:lnTo>
                  <a:lnTo>
                    <a:pt x="254" y="1001"/>
                  </a:lnTo>
                  <a:lnTo>
                    <a:pt x="233" y="1024"/>
                  </a:lnTo>
                  <a:lnTo>
                    <a:pt x="215" y="1045"/>
                  </a:lnTo>
                  <a:lnTo>
                    <a:pt x="199" y="1062"/>
                  </a:lnTo>
                  <a:lnTo>
                    <a:pt x="186" y="1076"/>
                  </a:lnTo>
                  <a:lnTo>
                    <a:pt x="177" y="1086"/>
                  </a:lnTo>
                  <a:lnTo>
                    <a:pt x="171" y="1093"/>
                  </a:lnTo>
                  <a:lnTo>
                    <a:pt x="169" y="1095"/>
                  </a:lnTo>
                  <a:lnTo>
                    <a:pt x="151" y="1110"/>
                  </a:lnTo>
                  <a:lnTo>
                    <a:pt x="131" y="1119"/>
                  </a:lnTo>
                  <a:lnTo>
                    <a:pt x="110" y="1123"/>
                  </a:lnTo>
                  <a:lnTo>
                    <a:pt x="87" y="1123"/>
                  </a:lnTo>
                  <a:lnTo>
                    <a:pt x="66" y="1119"/>
                  </a:lnTo>
                  <a:lnTo>
                    <a:pt x="46" y="1110"/>
                  </a:lnTo>
                  <a:lnTo>
                    <a:pt x="28" y="1095"/>
                  </a:lnTo>
                  <a:lnTo>
                    <a:pt x="14" y="1077"/>
                  </a:lnTo>
                  <a:lnTo>
                    <a:pt x="5" y="1057"/>
                  </a:lnTo>
                  <a:lnTo>
                    <a:pt x="0" y="1035"/>
                  </a:lnTo>
                  <a:lnTo>
                    <a:pt x="0" y="1013"/>
                  </a:lnTo>
                  <a:lnTo>
                    <a:pt x="5" y="992"/>
                  </a:lnTo>
                  <a:lnTo>
                    <a:pt x="14" y="972"/>
                  </a:lnTo>
                  <a:lnTo>
                    <a:pt x="28" y="954"/>
                  </a:lnTo>
                  <a:lnTo>
                    <a:pt x="31" y="952"/>
                  </a:lnTo>
                  <a:lnTo>
                    <a:pt x="37" y="945"/>
                  </a:lnTo>
                  <a:lnTo>
                    <a:pt x="47" y="936"/>
                  </a:lnTo>
                  <a:lnTo>
                    <a:pt x="61" y="924"/>
                  </a:lnTo>
                  <a:lnTo>
                    <a:pt x="78" y="908"/>
                  </a:lnTo>
                  <a:lnTo>
                    <a:pt x="99" y="889"/>
                  </a:lnTo>
                  <a:lnTo>
                    <a:pt x="122" y="868"/>
                  </a:lnTo>
                  <a:lnTo>
                    <a:pt x="147" y="844"/>
                  </a:lnTo>
                  <a:lnTo>
                    <a:pt x="176" y="818"/>
                  </a:lnTo>
                  <a:lnTo>
                    <a:pt x="206" y="790"/>
                  </a:lnTo>
                  <a:lnTo>
                    <a:pt x="238" y="761"/>
                  </a:lnTo>
                  <a:lnTo>
                    <a:pt x="273" y="729"/>
                  </a:lnTo>
                  <a:lnTo>
                    <a:pt x="309" y="696"/>
                  </a:lnTo>
                  <a:lnTo>
                    <a:pt x="346" y="662"/>
                  </a:lnTo>
                  <a:lnTo>
                    <a:pt x="383" y="627"/>
                  </a:lnTo>
                  <a:lnTo>
                    <a:pt x="422" y="591"/>
                  </a:lnTo>
                  <a:lnTo>
                    <a:pt x="463" y="554"/>
                  </a:lnTo>
                  <a:lnTo>
                    <a:pt x="503" y="518"/>
                  </a:lnTo>
                  <a:lnTo>
                    <a:pt x="543" y="481"/>
                  </a:lnTo>
                  <a:lnTo>
                    <a:pt x="583" y="444"/>
                  </a:lnTo>
                  <a:lnTo>
                    <a:pt x="623" y="406"/>
                  </a:lnTo>
                  <a:lnTo>
                    <a:pt x="663" y="369"/>
                  </a:lnTo>
                  <a:lnTo>
                    <a:pt x="702" y="334"/>
                  </a:lnTo>
                  <a:lnTo>
                    <a:pt x="740" y="299"/>
                  </a:lnTo>
                  <a:lnTo>
                    <a:pt x="776" y="265"/>
                  </a:lnTo>
                  <a:lnTo>
                    <a:pt x="812" y="232"/>
                  </a:lnTo>
                  <a:lnTo>
                    <a:pt x="846" y="201"/>
                  </a:lnTo>
                  <a:lnTo>
                    <a:pt x="879" y="171"/>
                  </a:lnTo>
                  <a:lnTo>
                    <a:pt x="908" y="143"/>
                  </a:lnTo>
                  <a:lnTo>
                    <a:pt x="937" y="118"/>
                  </a:lnTo>
                  <a:lnTo>
                    <a:pt x="962" y="95"/>
                  </a:lnTo>
                  <a:lnTo>
                    <a:pt x="985" y="73"/>
                  </a:lnTo>
                  <a:lnTo>
                    <a:pt x="1005" y="54"/>
                  </a:lnTo>
                  <a:lnTo>
                    <a:pt x="1022" y="39"/>
                  </a:lnTo>
                  <a:lnTo>
                    <a:pt x="1036" y="27"/>
                  </a:lnTo>
                  <a:lnTo>
                    <a:pt x="1045" y="18"/>
                  </a:lnTo>
                  <a:lnTo>
                    <a:pt x="1051" y="12"/>
                  </a:lnTo>
                  <a:lnTo>
                    <a:pt x="1054" y="10"/>
                  </a:lnTo>
                  <a:lnTo>
                    <a:pt x="1063" y="3"/>
                  </a:lnTo>
                  <a:lnTo>
                    <a:pt x="10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28" name="Freeform 4831"/>
          <p:cNvSpPr>
            <a:spLocks noEditPoints="1"/>
          </p:cNvSpPr>
          <p:nvPr/>
        </p:nvSpPr>
        <p:spPr bwMode="auto">
          <a:xfrm>
            <a:off x="4752206" y="5020423"/>
            <a:ext cx="571660" cy="308470"/>
          </a:xfrm>
          <a:custGeom>
            <a:avLst/>
            <a:gdLst>
              <a:gd name="T0" fmla="*/ 300 w 404"/>
              <a:gd name="T1" fmla="*/ 166 h 218"/>
              <a:gd name="T2" fmla="*/ 288 w 404"/>
              <a:gd name="T3" fmla="*/ 172 h 218"/>
              <a:gd name="T4" fmla="*/ 272 w 404"/>
              <a:gd name="T5" fmla="*/ 184 h 218"/>
              <a:gd name="T6" fmla="*/ 252 w 404"/>
              <a:gd name="T7" fmla="*/ 170 h 218"/>
              <a:gd name="T8" fmla="*/ 244 w 404"/>
              <a:gd name="T9" fmla="*/ 186 h 218"/>
              <a:gd name="T10" fmla="*/ 232 w 404"/>
              <a:gd name="T11" fmla="*/ 188 h 218"/>
              <a:gd name="T12" fmla="*/ 226 w 404"/>
              <a:gd name="T13" fmla="*/ 188 h 218"/>
              <a:gd name="T14" fmla="*/ 216 w 404"/>
              <a:gd name="T15" fmla="*/ 166 h 218"/>
              <a:gd name="T16" fmla="*/ 192 w 404"/>
              <a:gd name="T17" fmla="*/ 154 h 218"/>
              <a:gd name="T18" fmla="*/ 178 w 404"/>
              <a:gd name="T19" fmla="*/ 142 h 218"/>
              <a:gd name="T20" fmla="*/ 160 w 404"/>
              <a:gd name="T21" fmla="*/ 138 h 218"/>
              <a:gd name="T22" fmla="*/ 134 w 404"/>
              <a:gd name="T23" fmla="*/ 120 h 218"/>
              <a:gd name="T24" fmla="*/ 106 w 404"/>
              <a:gd name="T25" fmla="*/ 136 h 218"/>
              <a:gd name="T26" fmla="*/ 74 w 404"/>
              <a:gd name="T27" fmla="*/ 124 h 218"/>
              <a:gd name="T28" fmla="*/ 94 w 404"/>
              <a:gd name="T29" fmla="*/ 42 h 218"/>
              <a:gd name="T30" fmla="*/ 138 w 404"/>
              <a:gd name="T31" fmla="*/ 38 h 218"/>
              <a:gd name="T32" fmla="*/ 134 w 404"/>
              <a:gd name="T33" fmla="*/ 66 h 218"/>
              <a:gd name="T34" fmla="*/ 150 w 404"/>
              <a:gd name="T35" fmla="*/ 88 h 218"/>
              <a:gd name="T36" fmla="*/ 178 w 404"/>
              <a:gd name="T37" fmla="*/ 92 h 218"/>
              <a:gd name="T38" fmla="*/ 288 w 404"/>
              <a:gd name="T39" fmla="*/ 92 h 218"/>
              <a:gd name="T40" fmla="*/ 294 w 404"/>
              <a:gd name="T41" fmla="*/ 100 h 218"/>
              <a:gd name="T42" fmla="*/ 320 w 404"/>
              <a:gd name="T43" fmla="*/ 144 h 218"/>
              <a:gd name="T44" fmla="*/ 134 w 404"/>
              <a:gd name="T45" fmla="*/ 132 h 218"/>
              <a:gd name="T46" fmla="*/ 118 w 404"/>
              <a:gd name="T47" fmla="*/ 142 h 218"/>
              <a:gd name="T48" fmla="*/ 102 w 404"/>
              <a:gd name="T49" fmla="*/ 190 h 218"/>
              <a:gd name="T50" fmla="*/ 118 w 404"/>
              <a:gd name="T51" fmla="*/ 198 h 218"/>
              <a:gd name="T52" fmla="*/ 130 w 404"/>
              <a:gd name="T53" fmla="*/ 204 h 218"/>
              <a:gd name="T54" fmla="*/ 146 w 404"/>
              <a:gd name="T55" fmla="*/ 214 h 218"/>
              <a:gd name="T56" fmla="*/ 162 w 404"/>
              <a:gd name="T57" fmla="*/ 204 h 218"/>
              <a:gd name="T58" fmla="*/ 174 w 404"/>
              <a:gd name="T59" fmla="*/ 216 h 218"/>
              <a:gd name="T60" fmla="*/ 188 w 404"/>
              <a:gd name="T61" fmla="*/ 218 h 218"/>
              <a:gd name="T62" fmla="*/ 208 w 404"/>
              <a:gd name="T63" fmla="*/ 194 h 218"/>
              <a:gd name="T64" fmla="*/ 202 w 404"/>
              <a:gd name="T65" fmla="*/ 168 h 218"/>
              <a:gd name="T66" fmla="*/ 182 w 404"/>
              <a:gd name="T67" fmla="*/ 170 h 218"/>
              <a:gd name="T68" fmla="*/ 172 w 404"/>
              <a:gd name="T69" fmla="*/ 152 h 218"/>
              <a:gd name="T70" fmla="*/ 156 w 404"/>
              <a:gd name="T71" fmla="*/ 150 h 218"/>
              <a:gd name="T72" fmla="*/ 146 w 404"/>
              <a:gd name="T73" fmla="*/ 138 h 218"/>
              <a:gd name="T74" fmla="*/ 378 w 404"/>
              <a:gd name="T75" fmla="*/ 0 h 218"/>
              <a:gd name="T76" fmla="*/ 394 w 404"/>
              <a:gd name="T77" fmla="*/ 160 h 218"/>
              <a:gd name="T78" fmla="*/ 402 w 404"/>
              <a:gd name="T79" fmla="*/ 70 h 218"/>
              <a:gd name="T80" fmla="*/ 26 w 404"/>
              <a:gd name="T81" fmla="*/ 0 h 218"/>
              <a:gd name="T82" fmla="*/ 0 w 404"/>
              <a:gd name="T83" fmla="*/ 96 h 218"/>
              <a:gd name="T84" fmla="*/ 18 w 404"/>
              <a:gd name="T85" fmla="*/ 178 h 218"/>
              <a:gd name="T86" fmla="*/ 96 w 404"/>
              <a:gd name="T87" fmla="*/ 154 h 218"/>
              <a:gd name="T88" fmla="*/ 68 w 404"/>
              <a:gd name="T89" fmla="*/ 142 h 218"/>
              <a:gd name="T90" fmla="*/ 74 w 404"/>
              <a:gd name="T91" fmla="*/ 170 h 218"/>
              <a:gd name="T92" fmla="*/ 88 w 404"/>
              <a:gd name="T93" fmla="*/ 172 h 218"/>
              <a:gd name="T94" fmla="*/ 306 w 404"/>
              <a:gd name="T95" fmla="*/ 34 h 218"/>
              <a:gd name="T96" fmla="*/ 230 w 404"/>
              <a:gd name="T97" fmla="*/ 8 h 218"/>
              <a:gd name="T98" fmla="*/ 192 w 404"/>
              <a:gd name="T99" fmla="*/ 2 h 218"/>
              <a:gd name="T100" fmla="*/ 190 w 404"/>
              <a:gd name="T101" fmla="*/ 0 h 218"/>
              <a:gd name="T102" fmla="*/ 182 w 404"/>
              <a:gd name="T103" fmla="*/ 2 h 218"/>
              <a:gd name="T104" fmla="*/ 148 w 404"/>
              <a:gd name="T105" fmla="*/ 44 h 218"/>
              <a:gd name="T106" fmla="*/ 156 w 404"/>
              <a:gd name="T107" fmla="*/ 78 h 218"/>
              <a:gd name="T108" fmla="*/ 180 w 404"/>
              <a:gd name="T109" fmla="*/ 78 h 218"/>
              <a:gd name="T110" fmla="*/ 292 w 404"/>
              <a:gd name="T111" fmla="*/ 82 h 218"/>
              <a:gd name="T112" fmla="*/ 304 w 404"/>
              <a:gd name="T113" fmla="*/ 94 h 218"/>
              <a:gd name="T114" fmla="*/ 328 w 404"/>
              <a:gd name="T115" fmla="*/ 116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04" h="218">
                <a:moveTo>
                  <a:pt x="310" y="162"/>
                </a:moveTo>
                <a:lnTo>
                  <a:pt x="310" y="162"/>
                </a:lnTo>
                <a:lnTo>
                  <a:pt x="306" y="164"/>
                </a:lnTo>
                <a:lnTo>
                  <a:pt x="300" y="166"/>
                </a:lnTo>
                <a:lnTo>
                  <a:pt x="300" y="166"/>
                </a:lnTo>
                <a:lnTo>
                  <a:pt x="296" y="164"/>
                </a:lnTo>
                <a:lnTo>
                  <a:pt x="290" y="162"/>
                </a:lnTo>
                <a:lnTo>
                  <a:pt x="290" y="162"/>
                </a:lnTo>
                <a:lnTo>
                  <a:pt x="290" y="168"/>
                </a:lnTo>
                <a:lnTo>
                  <a:pt x="288" y="172"/>
                </a:lnTo>
                <a:lnTo>
                  <a:pt x="286" y="176"/>
                </a:lnTo>
                <a:lnTo>
                  <a:pt x="282" y="180"/>
                </a:lnTo>
                <a:lnTo>
                  <a:pt x="282" y="180"/>
                </a:lnTo>
                <a:lnTo>
                  <a:pt x="276" y="182"/>
                </a:lnTo>
                <a:lnTo>
                  <a:pt x="272" y="184"/>
                </a:lnTo>
                <a:lnTo>
                  <a:pt x="272" y="184"/>
                </a:lnTo>
                <a:lnTo>
                  <a:pt x="262" y="180"/>
                </a:lnTo>
                <a:lnTo>
                  <a:pt x="258" y="178"/>
                </a:lnTo>
                <a:lnTo>
                  <a:pt x="256" y="174"/>
                </a:lnTo>
                <a:lnTo>
                  <a:pt x="252" y="170"/>
                </a:lnTo>
                <a:lnTo>
                  <a:pt x="252" y="170"/>
                </a:lnTo>
                <a:lnTo>
                  <a:pt x="250" y="178"/>
                </a:lnTo>
                <a:lnTo>
                  <a:pt x="248" y="182"/>
                </a:lnTo>
                <a:lnTo>
                  <a:pt x="244" y="186"/>
                </a:lnTo>
                <a:lnTo>
                  <a:pt x="244" y="186"/>
                </a:lnTo>
                <a:lnTo>
                  <a:pt x="238" y="188"/>
                </a:lnTo>
                <a:lnTo>
                  <a:pt x="234" y="188"/>
                </a:lnTo>
                <a:lnTo>
                  <a:pt x="234" y="188"/>
                </a:lnTo>
                <a:lnTo>
                  <a:pt x="232" y="188"/>
                </a:lnTo>
                <a:lnTo>
                  <a:pt x="232" y="188"/>
                </a:lnTo>
                <a:lnTo>
                  <a:pt x="230" y="188"/>
                </a:lnTo>
                <a:lnTo>
                  <a:pt x="230" y="188"/>
                </a:lnTo>
                <a:lnTo>
                  <a:pt x="228" y="188"/>
                </a:lnTo>
                <a:lnTo>
                  <a:pt x="228" y="188"/>
                </a:lnTo>
                <a:lnTo>
                  <a:pt x="226" y="188"/>
                </a:lnTo>
                <a:lnTo>
                  <a:pt x="222" y="188"/>
                </a:lnTo>
                <a:lnTo>
                  <a:pt x="222" y="188"/>
                </a:lnTo>
                <a:lnTo>
                  <a:pt x="222" y="176"/>
                </a:lnTo>
                <a:lnTo>
                  <a:pt x="222" y="176"/>
                </a:lnTo>
                <a:lnTo>
                  <a:pt x="216" y="166"/>
                </a:lnTo>
                <a:lnTo>
                  <a:pt x="208" y="158"/>
                </a:lnTo>
                <a:lnTo>
                  <a:pt x="208" y="158"/>
                </a:lnTo>
                <a:lnTo>
                  <a:pt x="200" y="156"/>
                </a:lnTo>
                <a:lnTo>
                  <a:pt x="192" y="154"/>
                </a:lnTo>
                <a:lnTo>
                  <a:pt x="192" y="154"/>
                </a:lnTo>
                <a:lnTo>
                  <a:pt x="190" y="154"/>
                </a:lnTo>
                <a:lnTo>
                  <a:pt x="190" y="154"/>
                </a:lnTo>
                <a:lnTo>
                  <a:pt x="186" y="146"/>
                </a:lnTo>
                <a:lnTo>
                  <a:pt x="178" y="142"/>
                </a:lnTo>
                <a:lnTo>
                  <a:pt x="178" y="142"/>
                </a:lnTo>
                <a:lnTo>
                  <a:pt x="170" y="138"/>
                </a:lnTo>
                <a:lnTo>
                  <a:pt x="162" y="138"/>
                </a:lnTo>
                <a:lnTo>
                  <a:pt x="162" y="138"/>
                </a:lnTo>
                <a:lnTo>
                  <a:pt x="160" y="138"/>
                </a:lnTo>
                <a:lnTo>
                  <a:pt x="160" y="138"/>
                </a:lnTo>
                <a:lnTo>
                  <a:pt x="156" y="130"/>
                </a:lnTo>
                <a:lnTo>
                  <a:pt x="148" y="124"/>
                </a:lnTo>
                <a:lnTo>
                  <a:pt x="148" y="124"/>
                </a:lnTo>
                <a:lnTo>
                  <a:pt x="142" y="122"/>
                </a:lnTo>
                <a:lnTo>
                  <a:pt x="134" y="120"/>
                </a:lnTo>
                <a:lnTo>
                  <a:pt x="134" y="120"/>
                </a:lnTo>
                <a:lnTo>
                  <a:pt x="126" y="122"/>
                </a:lnTo>
                <a:lnTo>
                  <a:pt x="118" y="124"/>
                </a:lnTo>
                <a:lnTo>
                  <a:pt x="112" y="130"/>
                </a:lnTo>
                <a:lnTo>
                  <a:pt x="106" y="136"/>
                </a:lnTo>
                <a:lnTo>
                  <a:pt x="102" y="144"/>
                </a:lnTo>
                <a:lnTo>
                  <a:pt x="80" y="132"/>
                </a:lnTo>
                <a:lnTo>
                  <a:pt x="80" y="132"/>
                </a:lnTo>
                <a:lnTo>
                  <a:pt x="76" y="128"/>
                </a:lnTo>
                <a:lnTo>
                  <a:pt x="74" y="124"/>
                </a:lnTo>
                <a:lnTo>
                  <a:pt x="72" y="120"/>
                </a:lnTo>
                <a:lnTo>
                  <a:pt x="74" y="114"/>
                </a:lnTo>
                <a:lnTo>
                  <a:pt x="92" y="46"/>
                </a:lnTo>
                <a:lnTo>
                  <a:pt x="92" y="46"/>
                </a:lnTo>
                <a:lnTo>
                  <a:pt x="94" y="42"/>
                </a:lnTo>
                <a:lnTo>
                  <a:pt x="98" y="38"/>
                </a:lnTo>
                <a:lnTo>
                  <a:pt x="102" y="36"/>
                </a:lnTo>
                <a:lnTo>
                  <a:pt x="106" y="36"/>
                </a:lnTo>
                <a:lnTo>
                  <a:pt x="140" y="34"/>
                </a:lnTo>
                <a:lnTo>
                  <a:pt x="138" y="38"/>
                </a:lnTo>
                <a:lnTo>
                  <a:pt x="138" y="38"/>
                </a:lnTo>
                <a:lnTo>
                  <a:pt x="134" y="46"/>
                </a:lnTo>
                <a:lnTo>
                  <a:pt x="132" y="52"/>
                </a:lnTo>
                <a:lnTo>
                  <a:pt x="132" y="60"/>
                </a:lnTo>
                <a:lnTo>
                  <a:pt x="134" y="66"/>
                </a:lnTo>
                <a:lnTo>
                  <a:pt x="134" y="66"/>
                </a:lnTo>
                <a:lnTo>
                  <a:pt x="136" y="72"/>
                </a:lnTo>
                <a:lnTo>
                  <a:pt x="140" y="78"/>
                </a:lnTo>
                <a:lnTo>
                  <a:pt x="144" y="84"/>
                </a:lnTo>
                <a:lnTo>
                  <a:pt x="150" y="88"/>
                </a:lnTo>
                <a:lnTo>
                  <a:pt x="150" y="88"/>
                </a:lnTo>
                <a:lnTo>
                  <a:pt x="158" y="92"/>
                </a:lnTo>
                <a:lnTo>
                  <a:pt x="168" y="92"/>
                </a:lnTo>
                <a:lnTo>
                  <a:pt x="168" y="92"/>
                </a:lnTo>
                <a:lnTo>
                  <a:pt x="178" y="92"/>
                </a:lnTo>
                <a:lnTo>
                  <a:pt x="186" y="88"/>
                </a:lnTo>
                <a:lnTo>
                  <a:pt x="194" y="82"/>
                </a:lnTo>
                <a:lnTo>
                  <a:pt x="198" y="74"/>
                </a:lnTo>
                <a:lnTo>
                  <a:pt x="212" y="52"/>
                </a:lnTo>
                <a:lnTo>
                  <a:pt x="288" y="92"/>
                </a:lnTo>
                <a:lnTo>
                  <a:pt x="288" y="92"/>
                </a:lnTo>
                <a:lnTo>
                  <a:pt x="290" y="94"/>
                </a:lnTo>
                <a:lnTo>
                  <a:pt x="294" y="98"/>
                </a:lnTo>
                <a:lnTo>
                  <a:pt x="294" y="98"/>
                </a:lnTo>
                <a:lnTo>
                  <a:pt x="294" y="100"/>
                </a:lnTo>
                <a:lnTo>
                  <a:pt x="294" y="100"/>
                </a:lnTo>
                <a:lnTo>
                  <a:pt x="296" y="100"/>
                </a:lnTo>
                <a:lnTo>
                  <a:pt x="318" y="136"/>
                </a:lnTo>
                <a:lnTo>
                  <a:pt x="318" y="136"/>
                </a:lnTo>
                <a:lnTo>
                  <a:pt x="320" y="144"/>
                </a:lnTo>
                <a:lnTo>
                  <a:pt x="320" y="150"/>
                </a:lnTo>
                <a:lnTo>
                  <a:pt x="316" y="158"/>
                </a:lnTo>
                <a:lnTo>
                  <a:pt x="310" y="162"/>
                </a:lnTo>
                <a:lnTo>
                  <a:pt x="310" y="162"/>
                </a:lnTo>
                <a:close/>
                <a:moveTo>
                  <a:pt x="134" y="132"/>
                </a:moveTo>
                <a:lnTo>
                  <a:pt x="134" y="132"/>
                </a:lnTo>
                <a:lnTo>
                  <a:pt x="128" y="132"/>
                </a:lnTo>
                <a:lnTo>
                  <a:pt x="124" y="134"/>
                </a:lnTo>
                <a:lnTo>
                  <a:pt x="120" y="138"/>
                </a:lnTo>
                <a:lnTo>
                  <a:pt x="118" y="142"/>
                </a:lnTo>
                <a:lnTo>
                  <a:pt x="102" y="170"/>
                </a:lnTo>
                <a:lnTo>
                  <a:pt x="102" y="170"/>
                </a:lnTo>
                <a:lnTo>
                  <a:pt x="98" y="176"/>
                </a:lnTo>
                <a:lnTo>
                  <a:pt x="100" y="184"/>
                </a:lnTo>
                <a:lnTo>
                  <a:pt x="102" y="190"/>
                </a:lnTo>
                <a:lnTo>
                  <a:pt x="108" y="194"/>
                </a:lnTo>
                <a:lnTo>
                  <a:pt x="108" y="194"/>
                </a:lnTo>
                <a:lnTo>
                  <a:pt x="112" y="196"/>
                </a:lnTo>
                <a:lnTo>
                  <a:pt x="118" y="198"/>
                </a:lnTo>
                <a:lnTo>
                  <a:pt x="118" y="198"/>
                </a:lnTo>
                <a:lnTo>
                  <a:pt x="122" y="196"/>
                </a:lnTo>
                <a:lnTo>
                  <a:pt x="128" y="194"/>
                </a:lnTo>
                <a:lnTo>
                  <a:pt x="128" y="194"/>
                </a:lnTo>
                <a:lnTo>
                  <a:pt x="128" y="198"/>
                </a:lnTo>
                <a:lnTo>
                  <a:pt x="130" y="204"/>
                </a:lnTo>
                <a:lnTo>
                  <a:pt x="132" y="208"/>
                </a:lnTo>
                <a:lnTo>
                  <a:pt x="138" y="212"/>
                </a:lnTo>
                <a:lnTo>
                  <a:pt x="138" y="212"/>
                </a:lnTo>
                <a:lnTo>
                  <a:pt x="142" y="214"/>
                </a:lnTo>
                <a:lnTo>
                  <a:pt x="146" y="214"/>
                </a:lnTo>
                <a:lnTo>
                  <a:pt x="146" y="214"/>
                </a:lnTo>
                <a:lnTo>
                  <a:pt x="152" y="214"/>
                </a:lnTo>
                <a:lnTo>
                  <a:pt x="156" y="212"/>
                </a:lnTo>
                <a:lnTo>
                  <a:pt x="160" y="208"/>
                </a:lnTo>
                <a:lnTo>
                  <a:pt x="162" y="204"/>
                </a:lnTo>
                <a:lnTo>
                  <a:pt x="166" y="200"/>
                </a:lnTo>
                <a:lnTo>
                  <a:pt x="166" y="200"/>
                </a:lnTo>
                <a:lnTo>
                  <a:pt x="168" y="208"/>
                </a:lnTo>
                <a:lnTo>
                  <a:pt x="170" y="212"/>
                </a:lnTo>
                <a:lnTo>
                  <a:pt x="174" y="216"/>
                </a:lnTo>
                <a:lnTo>
                  <a:pt x="174" y="216"/>
                </a:lnTo>
                <a:lnTo>
                  <a:pt x="178" y="218"/>
                </a:lnTo>
                <a:lnTo>
                  <a:pt x="184" y="218"/>
                </a:lnTo>
                <a:lnTo>
                  <a:pt x="184" y="218"/>
                </a:lnTo>
                <a:lnTo>
                  <a:pt x="188" y="218"/>
                </a:lnTo>
                <a:lnTo>
                  <a:pt x="192" y="216"/>
                </a:lnTo>
                <a:lnTo>
                  <a:pt x="196" y="212"/>
                </a:lnTo>
                <a:lnTo>
                  <a:pt x="200" y="208"/>
                </a:lnTo>
                <a:lnTo>
                  <a:pt x="208" y="194"/>
                </a:lnTo>
                <a:lnTo>
                  <a:pt x="208" y="194"/>
                </a:lnTo>
                <a:lnTo>
                  <a:pt x="210" y="188"/>
                </a:lnTo>
                <a:lnTo>
                  <a:pt x="210" y="180"/>
                </a:lnTo>
                <a:lnTo>
                  <a:pt x="206" y="174"/>
                </a:lnTo>
                <a:lnTo>
                  <a:pt x="202" y="168"/>
                </a:lnTo>
                <a:lnTo>
                  <a:pt x="202" y="168"/>
                </a:lnTo>
                <a:lnTo>
                  <a:pt x="196" y="166"/>
                </a:lnTo>
                <a:lnTo>
                  <a:pt x="192" y="166"/>
                </a:lnTo>
                <a:lnTo>
                  <a:pt x="192" y="166"/>
                </a:lnTo>
                <a:lnTo>
                  <a:pt x="186" y="168"/>
                </a:lnTo>
                <a:lnTo>
                  <a:pt x="182" y="170"/>
                </a:lnTo>
                <a:lnTo>
                  <a:pt x="182" y="170"/>
                </a:lnTo>
                <a:lnTo>
                  <a:pt x="180" y="164"/>
                </a:lnTo>
                <a:lnTo>
                  <a:pt x="180" y="160"/>
                </a:lnTo>
                <a:lnTo>
                  <a:pt x="176" y="156"/>
                </a:lnTo>
                <a:lnTo>
                  <a:pt x="172" y="152"/>
                </a:lnTo>
                <a:lnTo>
                  <a:pt x="172" y="152"/>
                </a:lnTo>
                <a:lnTo>
                  <a:pt x="168" y="150"/>
                </a:lnTo>
                <a:lnTo>
                  <a:pt x="162" y="150"/>
                </a:lnTo>
                <a:lnTo>
                  <a:pt x="162" y="150"/>
                </a:lnTo>
                <a:lnTo>
                  <a:pt x="156" y="150"/>
                </a:lnTo>
                <a:lnTo>
                  <a:pt x="152" y="152"/>
                </a:lnTo>
                <a:lnTo>
                  <a:pt x="152" y="152"/>
                </a:lnTo>
                <a:lnTo>
                  <a:pt x="152" y="148"/>
                </a:lnTo>
                <a:lnTo>
                  <a:pt x="150" y="142"/>
                </a:lnTo>
                <a:lnTo>
                  <a:pt x="146" y="138"/>
                </a:lnTo>
                <a:lnTo>
                  <a:pt x="142" y="134"/>
                </a:lnTo>
                <a:lnTo>
                  <a:pt x="142" y="134"/>
                </a:lnTo>
                <a:lnTo>
                  <a:pt x="138" y="132"/>
                </a:lnTo>
                <a:lnTo>
                  <a:pt x="134" y="132"/>
                </a:lnTo>
                <a:close/>
                <a:moveTo>
                  <a:pt x="378" y="0"/>
                </a:moveTo>
                <a:lnTo>
                  <a:pt x="316" y="18"/>
                </a:lnTo>
                <a:lnTo>
                  <a:pt x="366" y="184"/>
                </a:lnTo>
                <a:lnTo>
                  <a:pt x="386" y="178"/>
                </a:lnTo>
                <a:lnTo>
                  <a:pt x="386" y="178"/>
                </a:lnTo>
                <a:lnTo>
                  <a:pt x="394" y="160"/>
                </a:lnTo>
                <a:lnTo>
                  <a:pt x="398" y="140"/>
                </a:lnTo>
                <a:lnTo>
                  <a:pt x="402" y="118"/>
                </a:lnTo>
                <a:lnTo>
                  <a:pt x="404" y="96"/>
                </a:lnTo>
                <a:lnTo>
                  <a:pt x="404" y="96"/>
                </a:lnTo>
                <a:lnTo>
                  <a:pt x="402" y="70"/>
                </a:lnTo>
                <a:lnTo>
                  <a:pt x="398" y="46"/>
                </a:lnTo>
                <a:lnTo>
                  <a:pt x="390" y="22"/>
                </a:lnTo>
                <a:lnTo>
                  <a:pt x="378" y="0"/>
                </a:lnTo>
                <a:lnTo>
                  <a:pt x="378" y="0"/>
                </a:lnTo>
                <a:close/>
                <a:moveTo>
                  <a:pt x="26" y="0"/>
                </a:moveTo>
                <a:lnTo>
                  <a:pt x="26" y="0"/>
                </a:lnTo>
                <a:lnTo>
                  <a:pt x="14" y="22"/>
                </a:lnTo>
                <a:lnTo>
                  <a:pt x="6" y="46"/>
                </a:lnTo>
                <a:lnTo>
                  <a:pt x="2" y="70"/>
                </a:lnTo>
                <a:lnTo>
                  <a:pt x="0" y="96"/>
                </a:lnTo>
                <a:lnTo>
                  <a:pt x="0" y="96"/>
                </a:lnTo>
                <a:lnTo>
                  <a:pt x="2" y="118"/>
                </a:lnTo>
                <a:lnTo>
                  <a:pt x="6" y="140"/>
                </a:lnTo>
                <a:lnTo>
                  <a:pt x="10" y="160"/>
                </a:lnTo>
                <a:lnTo>
                  <a:pt x="18" y="178"/>
                </a:lnTo>
                <a:lnTo>
                  <a:pt x="40" y="184"/>
                </a:lnTo>
                <a:lnTo>
                  <a:pt x="88" y="18"/>
                </a:lnTo>
                <a:lnTo>
                  <a:pt x="26" y="0"/>
                </a:lnTo>
                <a:close/>
                <a:moveTo>
                  <a:pt x="90" y="164"/>
                </a:moveTo>
                <a:lnTo>
                  <a:pt x="96" y="154"/>
                </a:lnTo>
                <a:lnTo>
                  <a:pt x="74" y="142"/>
                </a:lnTo>
                <a:lnTo>
                  <a:pt x="74" y="142"/>
                </a:lnTo>
                <a:lnTo>
                  <a:pt x="70" y="138"/>
                </a:lnTo>
                <a:lnTo>
                  <a:pt x="68" y="142"/>
                </a:lnTo>
                <a:lnTo>
                  <a:pt x="68" y="142"/>
                </a:lnTo>
                <a:lnTo>
                  <a:pt x="64" y="150"/>
                </a:lnTo>
                <a:lnTo>
                  <a:pt x="66" y="158"/>
                </a:lnTo>
                <a:lnTo>
                  <a:pt x="68" y="164"/>
                </a:lnTo>
                <a:lnTo>
                  <a:pt x="74" y="170"/>
                </a:lnTo>
                <a:lnTo>
                  <a:pt x="74" y="170"/>
                </a:lnTo>
                <a:lnTo>
                  <a:pt x="80" y="172"/>
                </a:lnTo>
                <a:lnTo>
                  <a:pt x="84" y="172"/>
                </a:lnTo>
                <a:lnTo>
                  <a:pt x="84" y="172"/>
                </a:lnTo>
                <a:lnTo>
                  <a:pt x="88" y="172"/>
                </a:lnTo>
                <a:lnTo>
                  <a:pt x="88" y="172"/>
                </a:lnTo>
                <a:lnTo>
                  <a:pt x="90" y="164"/>
                </a:lnTo>
                <a:lnTo>
                  <a:pt x="90" y="164"/>
                </a:lnTo>
                <a:close/>
                <a:moveTo>
                  <a:pt x="328" y="106"/>
                </a:moveTo>
                <a:lnTo>
                  <a:pt x="306" y="34"/>
                </a:lnTo>
                <a:lnTo>
                  <a:pt x="306" y="34"/>
                </a:lnTo>
                <a:lnTo>
                  <a:pt x="304" y="30"/>
                </a:lnTo>
                <a:lnTo>
                  <a:pt x="300" y="26"/>
                </a:lnTo>
                <a:lnTo>
                  <a:pt x="296" y="24"/>
                </a:lnTo>
                <a:lnTo>
                  <a:pt x="292" y="22"/>
                </a:lnTo>
                <a:lnTo>
                  <a:pt x="230" y="8"/>
                </a:lnTo>
                <a:lnTo>
                  <a:pt x="230" y="8"/>
                </a:lnTo>
                <a:lnTo>
                  <a:pt x="230" y="8"/>
                </a:lnTo>
                <a:lnTo>
                  <a:pt x="194" y="2"/>
                </a:lnTo>
                <a:lnTo>
                  <a:pt x="194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0"/>
                </a:lnTo>
                <a:lnTo>
                  <a:pt x="190" y="0"/>
                </a:lnTo>
                <a:lnTo>
                  <a:pt x="190" y="0"/>
                </a:lnTo>
                <a:lnTo>
                  <a:pt x="190" y="0"/>
                </a:lnTo>
                <a:lnTo>
                  <a:pt x="188" y="0"/>
                </a:lnTo>
                <a:lnTo>
                  <a:pt x="188" y="0"/>
                </a:lnTo>
                <a:lnTo>
                  <a:pt x="182" y="2"/>
                </a:lnTo>
                <a:lnTo>
                  <a:pt x="176" y="4"/>
                </a:lnTo>
                <a:lnTo>
                  <a:pt x="170" y="8"/>
                </a:lnTo>
                <a:lnTo>
                  <a:pt x="166" y="12"/>
                </a:lnTo>
                <a:lnTo>
                  <a:pt x="148" y="44"/>
                </a:lnTo>
                <a:lnTo>
                  <a:pt x="148" y="44"/>
                </a:lnTo>
                <a:lnTo>
                  <a:pt x="144" y="54"/>
                </a:lnTo>
                <a:lnTo>
                  <a:pt x="146" y="62"/>
                </a:lnTo>
                <a:lnTo>
                  <a:pt x="150" y="72"/>
                </a:lnTo>
                <a:lnTo>
                  <a:pt x="156" y="78"/>
                </a:lnTo>
                <a:lnTo>
                  <a:pt x="156" y="78"/>
                </a:lnTo>
                <a:lnTo>
                  <a:pt x="162" y="80"/>
                </a:lnTo>
                <a:lnTo>
                  <a:pt x="168" y="80"/>
                </a:lnTo>
                <a:lnTo>
                  <a:pt x="168" y="80"/>
                </a:lnTo>
                <a:lnTo>
                  <a:pt x="174" y="80"/>
                </a:lnTo>
                <a:lnTo>
                  <a:pt x="180" y="78"/>
                </a:lnTo>
                <a:lnTo>
                  <a:pt x="184" y="74"/>
                </a:lnTo>
                <a:lnTo>
                  <a:pt x="188" y="68"/>
                </a:lnTo>
                <a:lnTo>
                  <a:pt x="208" y="36"/>
                </a:lnTo>
                <a:lnTo>
                  <a:pt x="292" y="82"/>
                </a:lnTo>
                <a:lnTo>
                  <a:pt x="292" y="82"/>
                </a:lnTo>
                <a:lnTo>
                  <a:pt x="298" y="86"/>
                </a:lnTo>
                <a:lnTo>
                  <a:pt x="304" y="90"/>
                </a:lnTo>
                <a:lnTo>
                  <a:pt x="304" y="90"/>
                </a:lnTo>
                <a:lnTo>
                  <a:pt x="304" y="94"/>
                </a:lnTo>
                <a:lnTo>
                  <a:pt x="304" y="94"/>
                </a:lnTo>
                <a:lnTo>
                  <a:pt x="306" y="94"/>
                </a:lnTo>
                <a:lnTo>
                  <a:pt x="324" y="124"/>
                </a:lnTo>
                <a:lnTo>
                  <a:pt x="324" y="124"/>
                </a:lnTo>
                <a:lnTo>
                  <a:pt x="326" y="120"/>
                </a:lnTo>
                <a:lnTo>
                  <a:pt x="328" y="116"/>
                </a:lnTo>
                <a:lnTo>
                  <a:pt x="330" y="110"/>
                </a:lnTo>
                <a:lnTo>
                  <a:pt x="328" y="106"/>
                </a:lnTo>
                <a:lnTo>
                  <a:pt x="328" y="106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29" name="Group 157"/>
          <p:cNvGrpSpPr>
            <a:grpSpLocks noChangeAspect="1"/>
          </p:cNvGrpSpPr>
          <p:nvPr/>
        </p:nvGrpSpPr>
        <p:grpSpPr bwMode="auto">
          <a:xfrm>
            <a:off x="3203976" y="4222489"/>
            <a:ext cx="532868" cy="503441"/>
            <a:chOff x="3815" y="1810"/>
            <a:chExt cx="2354" cy="2224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230" name="Freeform 159"/>
            <p:cNvSpPr>
              <a:spLocks noEditPoints="1"/>
            </p:cNvSpPr>
            <p:nvPr/>
          </p:nvSpPr>
          <p:spPr bwMode="auto">
            <a:xfrm>
              <a:off x="3815" y="1810"/>
              <a:ext cx="2021" cy="1982"/>
            </a:xfrm>
            <a:custGeom>
              <a:avLst/>
              <a:gdLst>
                <a:gd name="T0" fmla="*/ 3423 w 4043"/>
                <a:gd name="T1" fmla="*/ 409 h 3965"/>
                <a:gd name="T2" fmla="*/ 3363 w 4043"/>
                <a:gd name="T3" fmla="*/ 435 h 3965"/>
                <a:gd name="T4" fmla="*/ 3317 w 4043"/>
                <a:gd name="T5" fmla="*/ 481 h 3965"/>
                <a:gd name="T6" fmla="*/ 3291 w 4043"/>
                <a:gd name="T7" fmla="*/ 542 h 3965"/>
                <a:gd name="T8" fmla="*/ 3291 w 4043"/>
                <a:gd name="T9" fmla="*/ 611 h 3965"/>
                <a:gd name="T10" fmla="*/ 3317 w 4043"/>
                <a:gd name="T11" fmla="*/ 671 h 3965"/>
                <a:gd name="T12" fmla="*/ 3363 w 4043"/>
                <a:gd name="T13" fmla="*/ 716 h 3965"/>
                <a:gd name="T14" fmla="*/ 3423 w 4043"/>
                <a:gd name="T15" fmla="*/ 742 h 3965"/>
                <a:gd name="T16" fmla="*/ 3491 w 4043"/>
                <a:gd name="T17" fmla="*/ 742 h 3965"/>
                <a:gd name="T18" fmla="*/ 3553 w 4043"/>
                <a:gd name="T19" fmla="*/ 716 h 3965"/>
                <a:gd name="T20" fmla="*/ 3598 w 4043"/>
                <a:gd name="T21" fmla="*/ 671 h 3965"/>
                <a:gd name="T22" fmla="*/ 3624 w 4043"/>
                <a:gd name="T23" fmla="*/ 611 h 3965"/>
                <a:gd name="T24" fmla="*/ 3624 w 4043"/>
                <a:gd name="T25" fmla="*/ 542 h 3965"/>
                <a:gd name="T26" fmla="*/ 3598 w 4043"/>
                <a:gd name="T27" fmla="*/ 481 h 3965"/>
                <a:gd name="T28" fmla="*/ 3553 w 4043"/>
                <a:gd name="T29" fmla="*/ 435 h 3965"/>
                <a:gd name="T30" fmla="*/ 3491 w 4043"/>
                <a:gd name="T31" fmla="*/ 409 h 3965"/>
                <a:gd name="T32" fmla="*/ 2924 w 4043"/>
                <a:gd name="T33" fmla="*/ 406 h 3965"/>
                <a:gd name="T34" fmla="*/ 2858 w 4043"/>
                <a:gd name="T35" fmla="*/ 419 h 3965"/>
                <a:gd name="T36" fmla="*/ 2804 w 4043"/>
                <a:gd name="T37" fmla="*/ 456 h 3965"/>
                <a:gd name="T38" fmla="*/ 2768 w 4043"/>
                <a:gd name="T39" fmla="*/ 511 h 3965"/>
                <a:gd name="T40" fmla="*/ 2755 w 4043"/>
                <a:gd name="T41" fmla="*/ 576 h 3965"/>
                <a:gd name="T42" fmla="*/ 2768 w 4043"/>
                <a:gd name="T43" fmla="*/ 642 h 3965"/>
                <a:gd name="T44" fmla="*/ 2804 w 4043"/>
                <a:gd name="T45" fmla="*/ 696 h 3965"/>
                <a:gd name="T46" fmla="*/ 2858 w 4043"/>
                <a:gd name="T47" fmla="*/ 732 h 3965"/>
                <a:gd name="T48" fmla="*/ 2924 w 4043"/>
                <a:gd name="T49" fmla="*/ 746 h 3965"/>
                <a:gd name="T50" fmla="*/ 2991 w 4043"/>
                <a:gd name="T51" fmla="*/ 732 h 3965"/>
                <a:gd name="T52" fmla="*/ 3045 w 4043"/>
                <a:gd name="T53" fmla="*/ 696 h 3965"/>
                <a:gd name="T54" fmla="*/ 3081 w 4043"/>
                <a:gd name="T55" fmla="*/ 642 h 3965"/>
                <a:gd name="T56" fmla="*/ 3094 w 4043"/>
                <a:gd name="T57" fmla="*/ 576 h 3965"/>
                <a:gd name="T58" fmla="*/ 3081 w 4043"/>
                <a:gd name="T59" fmla="*/ 511 h 3965"/>
                <a:gd name="T60" fmla="*/ 3045 w 4043"/>
                <a:gd name="T61" fmla="*/ 456 h 3965"/>
                <a:gd name="T62" fmla="*/ 2991 w 4043"/>
                <a:gd name="T63" fmla="*/ 419 h 3965"/>
                <a:gd name="T64" fmla="*/ 2924 w 4043"/>
                <a:gd name="T65" fmla="*/ 406 h 3965"/>
                <a:gd name="T66" fmla="*/ 3924 w 4043"/>
                <a:gd name="T67" fmla="*/ 0 h 3965"/>
                <a:gd name="T68" fmla="*/ 3984 w 4043"/>
                <a:gd name="T69" fmla="*/ 18 h 3965"/>
                <a:gd name="T70" fmla="*/ 4027 w 4043"/>
                <a:gd name="T71" fmla="*/ 60 h 3965"/>
                <a:gd name="T72" fmla="*/ 4043 w 4043"/>
                <a:gd name="T73" fmla="*/ 120 h 3965"/>
                <a:gd name="T74" fmla="*/ 4026 w 4043"/>
                <a:gd name="T75" fmla="*/ 1778 h 3965"/>
                <a:gd name="T76" fmla="*/ 3943 w 4043"/>
                <a:gd name="T77" fmla="*/ 1795 h 3965"/>
                <a:gd name="T78" fmla="*/ 3874 w 4043"/>
                <a:gd name="T79" fmla="*/ 1841 h 3965"/>
                <a:gd name="T80" fmla="*/ 3809 w 4043"/>
                <a:gd name="T81" fmla="*/ 1868 h 3965"/>
                <a:gd name="T82" fmla="*/ 3744 w 4043"/>
                <a:gd name="T83" fmla="*/ 1878 h 3965"/>
                <a:gd name="T84" fmla="*/ 3686 w 4043"/>
                <a:gd name="T85" fmla="*/ 1908 h 3965"/>
                <a:gd name="T86" fmla="*/ 357 w 4043"/>
                <a:gd name="T87" fmla="*/ 1095 h 3965"/>
                <a:gd name="T88" fmla="*/ 2587 w 4043"/>
                <a:gd name="T89" fmla="*/ 3608 h 3965"/>
                <a:gd name="T90" fmla="*/ 2585 w 4043"/>
                <a:gd name="T91" fmla="*/ 3839 h 3965"/>
                <a:gd name="T92" fmla="*/ 2602 w 4043"/>
                <a:gd name="T93" fmla="*/ 3926 h 3965"/>
                <a:gd name="T94" fmla="*/ 119 w 4043"/>
                <a:gd name="T95" fmla="*/ 3965 h 3965"/>
                <a:gd name="T96" fmla="*/ 59 w 4043"/>
                <a:gd name="T97" fmla="*/ 3949 h 3965"/>
                <a:gd name="T98" fmla="*/ 16 w 4043"/>
                <a:gd name="T99" fmla="*/ 3906 h 3965"/>
                <a:gd name="T100" fmla="*/ 0 w 4043"/>
                <a:gd name="T101" fmla="*/ 3846 h 3965"/>
                <a:gd name="T102" fmla="*/ 4 w 4043"/>
                <a:gd name="T103" fmla="*/ 88 h 3965"/>
                <a:gd name="T104" fmla="*/ 34 w 4043"/>
                <a:gd name="T105" fmla="*/ 36 h 3965"/>
                <a:gd name="T106" fmla="*/ 87 w 4043"/>
                <a:gd name="T107" fmla="*/ 5 h 3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43" h="3965">
                  <a:moveTo>
                    <a:pt x="3457" y="406"/>
                  </a:moveTo>
                  <a:lnTo>
                    <a:pt x="3423" y="409"/>
                  </a:lnTo>
                  <a:lnTo>
                    <a:pt x="3391" y="419"/>
                  </a:lnTo>
                  <a:lnTo>
                    <a:pt x="3363" y="435"/>
                  </a:lnTo>
                  <a:lnTo>
                    <a:pt x="3337" y="456"/>
                  </a:lnTo>
                  <a:lnTo>
                    <a:pt x="3317" y="481"/>
                  </a:lnTo>
                  <a:lnTo>
                    <a:pt x="3301" y="511"/>
                  </a:lnTo>
                  <a:lnTo>
                    <a:pt x="3291" y="542"/>
                  </a:lnTo>
                  <a:lnTo>
                    <a:pt x="3287" y="576"/>
                  </a:lnTo>
                  <a:lnTo>
                    <a:pt x="3291" y="611"/>
                  </a:lnTo>
                  <a:lnTo>
                    <a:pt x="3301" y="642"/>
                  </a:lnTo>
                  <a:lnTo>
                    <a:pt x="3317" y="671"/>
                  </a:lnTo>
                  <a:lnTo>
                    <a:pt x="3337" y="696"/>
                  </a:lnTo>
                  <a:lnTo>
                    <a:pt x="3363" y="716"/>
                  </a:lnTo>
                  <a:lnTo>
                    <a:pt x="3391" y="732"/>
                  </a:lnTo>
                  <a:lnTo>
                    <a:pt x="3423" y="742"/>
                  </a:lnTo>
                  <a:lnTo>
                    <a:pt x="3457" y="746"/>
                  </a:lnTo>
                  <a:lnTo>
                    <a:pt x="3491" y="742"/>
                  </a:lnTo>
                  <a:lnTo>
                    <a:pt x="3524" y="732"/>
                  </a:lnTo>
                  <a:lnTo>
                    <a:pt x="3553" y="716"/>
                  </a:lnTo>
                  <a:lnTo>
                    <a:pt x="3577" y="696"/>
                  </a:lnTo>
                  <a:lnTo>
                    <a:pt x="3598" y="671"/>
                  </a:lnTo>
                  <a:lnTo>
                    <a:pt x="3614" y="642"/>
                  </a:lnTo>
                  <a:lnTo>
                    <a:pt x="3624" y="611"/>
                  </a:lnTo>
                  <a:lnTo>
                    <a:pt x="3627" y="576"/>
                  </a:lnTo>
                  <a:lnTo>
                    <a:pt x="3624" y="542"/>
                  </a:lnTo>
                  <a:lnTo>
                    <a:pt x="3614" y="511"/>
                  </a:lnTo>
                  <a:lnTo>
                    <a:pt x="3598" y="481"/>
                  </a:lnTo>
                  <a:lnTo>
                    <a:pt x="3577" y="456"/>
                  </a:lnTo>
                  <a:lnTo>
                    <a:pt x="3553" y="435"/>
                  </a:lnTo>
                  <a:lnTo>
                    <a:pt x="3524" y="419"/>
                  </a:lnTo>
                  <a:lnTo>
                    <a:pt x="3491" y="409"/>
                  </a:lnTo>
                  <a:lnTo>
                    <a:pt x="3457" y="406"/>
                  </a:lnTo>
                  <a:close/>
                  <a:moveTo>
                    <a:pt x="2924" y="406"/>
                  </a:moveTo>
                  <a:lnTo>
                    <a:pt x="2890" y="409"/>
                  </a:lnTo>
                  <a:lnTo>
                    <a:pt x="2858" y="419"/>
                  </a:lnTo>
                  <a:lnTo>
                    <a:pt x="2830" y="435"/>
                  </a:lnTo>
                  <a:lnTo>
                    <a:pt x="2804" y="456"/>
                  </a:lnTo>
                  <a:lnTo>
                    <a:pt x="2784" y="481"/>
                  </a:lnTo>
                  <a:lnTo>
                    <a:pt x="2768" y="511"/>
                  </a:lnTo>
                  <a:lnTo>
                    <a:pt x="2758" y="542"/>
                  </a:lnTo>
                  <a:lnTo>
                    <a:pt x="2755" y="576"/>
                  </a:lnTo>
                  <a:lnTo>
                    <a:pt x="2758" y="611"/>
                  </a:lnTo>
                  <a:lnTo>
                    <a:pt x="2768" y="642"/>
                  </a:lnTo>
                  <a:lnTo>
                    <a:pt x="2784" y="671"/>
                  </a:lnTo>
                  <a:lnTo>
                    <a:pt x="2804" y="696"/>
                  </a:lnTo>
                  <a:lnTo>
                    <a:pt x="2830" y="716"/>
                  </a:lnTo>
                  <a:lnTo>
                    <a:pt x="2858" y="732"/>
                  </a:lnTo>
                  <a:lnTo>
                    <a:pt x="2890" y="742"/>
                  </a:lnTo>
                  <a:lnTo>
                    <a:pt x="2924" y="746"/>
                  </a:lnTo>
                  <a:lnTo>
                    <a:pt x="2958" y="742"/>
                  </a:lnTo>
                  <a:lnTo>
                    <a:pt x="2991" y="732"/>
                  </a:lnTo>
                  <a:lnTo>
                    <a:pt x="3020" y="716"/>
                  </a:lnTo>
                  <a:lnTo>
                    <a:pt x="3045" y="696"/>
                  </a:lnTo>
                  <a:lnTo>
                    <a:pt x="3065" y="671"/>
                  </a:lnTo>
                  <a:lnTo>
                    <a:pt x="3081" y="642"/>
                  </a:lnTo>
                  <a:lnTo>
                    <a:pt x="3091" y="611"/>
                  </a:lnTo>
                  <a:lnTo>
                    <a:pt x="3094" y="576"/>
                  </a:lnTo>
                  <a:lnTo>
                    <a:pt x="3091" y="542"/>
                  </a:lnTo>
                  <a:lnTo>
                    <a:pt x="3081" y="511"/>
                  </a:lnTo>
                  <a:lnTo>
                    <a:pt x="3065" y="481"/>
                  </a:lnTo>
                  <a:lnTo>
                    <a:pt x="3045" y="456"/>
                  </a:lnTo>
                  <a:lnTo>
                    <a:pt x="3020" y="435"/>
                  </a:lnTo>
                  <a:lnTo>
                    <a:pt x="2991" y="419"/>
                  </a:lnTo>
                  <a:lnTo>
                    <a:pt x="2958" y="409"/>
                  </a:lnTo>
                  <a:lnTo>
                    <a:pt x="2924" y="406"/>
                  </a:lnTo>
                  <a:close/>
                  <a:moveTo>
                    <a:pt x="119" y="0"/>
                  </a:moveTo>
                  <a:lnTo>
                    <a:pt x="3924" y="0"/>
                  </a:lnTo>
                  <a:lnTo>
                    <a:pt x="3956" y="5"/>
                  </a:lnTo>
                  <a:lnTo>
                    <a:pt x="3984" y="18"/>
                  </a:lnTo>
                  <a:lnTo>
                    <a:pt x="4009" y="36"/>
                  </a:lnTo>
                  <a:lnTo>
                    <a:pt x="4027" y="60"/>
                  </a:lnTo>
                  <a:lnTo>
                    <a:pt x="4039" y="88"/>
                  </a:lnTo>
                  <a:lnTo>
                    <a:pt x="4043" y="120"/>
                  </a:lnTo>
                  <a:lnTo>
                    <a:pt x="4043" y="1778"/>
                  </a:lnTo>
                  <a:lnTo>
                    <a:pt x="4026" y="1778"/>
                  </a:lnTo>
                  <a:lnTo>
                    <a:pt x="3983" y="1783"/>
                  </a:lnTo>
                  <a:lnTo>
                    <a:pt x="3943" y="1795"/>
                  </a:lnTo>
                  <a:lnTo>
                    <a:pt x="3907" y="1815"/>
                  </a:lnTo>
                  <a:lnTo>
                    <a:pt x="3874" y="1841"/>
                  </a:lnTo>
                  <a:lnTo>
                    <a:pt x="3849" y="1873"/>
                  </a:lnTo>
                  <a:lnTo>
                    <a:pt x="3809" y="1868"/>
                  </a:lnTo>
                  <a:lnTo>
                    <a:pt x="3776" y="1871"/>
                  </a:lnTo>
                  <a:lnTo>
                    <a:pt x="3744" y="1878"/>
                  </a:lnTo>
                  <a:lnTo>
                    <a:pt x="3713" y="1891"/>
                  </a:lnTo>
                  <a:lnTo>
                    <a:pt x="3686" y="1908"/>
                  </a:lnTo>
                  <a:lnTo>
                    <a:pt x="3686" y="1095"/>
                  </a:lnTo>
                  <a:lnTo>
                    <a:pt x="357" y="1095"/>
                  </a:lnTo>
                  <a:lnTo>
                    <a:pt x="357" y="3608"/>
                  </a:lnTo>
                  <a:lnTo>
                    <a:pt x="2587" y="3608"/>
                  </a:lnTo>
                  <a:lnTo>
                    <a:pt x="2585" y="3640"/>
                  </a:lnTo>
                  <a:lnTo>
                    <a:pt x="2585" y="3839"/>
                  </a:lnTo>
                  <a:lnTo>
                    <a:pt x="2590" y="3885"/>
                  </a:lnTo>
                  <a:lnTo>
                    <a:pt x="2602" y="3926"/>
                  </a:lnTo>
                  <a:lnTo>
                    <a:pt x="2622" y="3965"/>
                  </a:lnTo>
                  <a:lnTo>
                    <a:pt x="119" y="3965"/>
                  </a:lnTo>
                  <a:lnTo>
                    <a:pt x="87" y="3961"/>
                  </a:lnTo>
                  <a:lnTo>
                    <a:pt x="59" y="3949"/>
                  </a:lnTo>
                  <a:lnTo>
                    <a:pt x="34" y="3931"/>
                  </a:lnTo>
                  <a:lnTo>
                    <a:pt x="16" y="3906"/>
                  </a:lnTo>
                  <a:lnTo>
                    <a:pt x="4" y="3878"/>
                  </a:lnTo>
                  <a:lnTo>
                    <a:pt x="0" y="3846"/>
                  </a:lnTo>
                  <a:lnTo>
                    <a:pt x="0" y="120"/>
                  </a:lnTo>
                  <a:lnTo>
                    <a:pt x="4" y="88"/>
                  </a:lnTo>
                  <a:lnTo>
                    <a:pt x="16" y="60"/>
                  </a:lnTo>
                  <a:lnTo>
                    <a:pt x="34" y="36"/>
                  </a:lnTo>
                  <a:lnTo>
                    <a:pt x="59" y="18"/>
                  </a:lnTo>
                  <a:lnTo>
                    <a:pt x="87" y="5"/>
                  </a:lnTo>
                  <a:lnTo>
                    <a:pt x="1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1" name="Freeform 160"/>
            <p:cNvSpPr>
              <a:spLocks noEditPoints="1"/>
            </p:cNvSpPr>
            <p:nvPr/>
          </p:nvSpPr>
          <p:spPr bwMode="auto">
            <a:xfrm>
              <a:off x="4491" y="2507"/>
              <a:ext cx="895" cy="895"/>
            </a:xfrm>
            <a:custGeom>
              <a:avLst/>
              <a:gdLst>
                <a:gd name="T0" fmla="*/ 727 w 1791"/>
                <a:gd name="T1" fmla="*/ 498 h 1790"/>
                <a:gd name="T2" fmla="*/ 554 w 1791"/>
                <a:gd name="T3" fmla="*/ 632 h 1790"/>
                <a:gd name="T4" fmla="*/ 469 w 1791"/>
                <a:gd name="T5" fmla="*/ 836 h 1790"/>
                <a:gd name="T6" fmla="*/ 499 w 1791"/>
                <a:gd name="T7" fmla="*/ 1062 h 1790"/>
                <a:gd name="T8" fmla="*/ 632 w 1791"/>
                <a:gd name="T9" fmla="*/ 1236 h 1790"/>
                <a:gd name="T10" fmla="*/ 837 w 1791"/>
                <a:gd name="T11" fmla="*/ 1322 h 1790"/>
                <a:gd name="T12" fmla="*/ 1063 w 1791"/>
                <a:gd name="T13" fmla="*/ 1292 h 1790"/>
                <a:gd name="T14" fmla="*/ 1236 w 1791"/>
                <a:gd name="T15" fmla="*/ 1158 h 1790"/>
                <a:gd name="T16" fmla="*/ 1323 w 1791"/>
                <a:gd name="T17" fmla="*/ 953 h 1790"/>
                <a:gd name="T18" fmla="*/ 1293 w 1791"/>
                <a:gd name="T19" fmla="*/ 728 h 1790"/>
                <a:gd name="T20" fmla="*/ 1159 w 1791"/>
                <a:gd name="T21" fmla="*/ 553 h 1790"/>
                <a:gd name="T22" fmla="*/ 955 w 1791"/>
                <a:gd name="T23" fmla="*/ 468 h 1790"/>
                <a:gd name="T24" fmla="*/ 1052 w 1791"/>
                <a:gd name="T25" fmla="*/ 3 h 1790"/>
                <a:gd name="T26" fmla="*/ 1139 w 1791"/>
                <a:gd name="T27" fmla="*/ 73 h 1790"/>
                <a:gd name="T28" fmla="*/ 1192 w 1791"/>
                <a:gd name="T29" fmla="*/ 180 h 1790"/>
                <a:gd name="T30" fmla="*/ 1303 w 1791"/>
                <a:gd name="T31" fmla="*/ 142 h 1790"/>
                <a:gd name="T32" fmla="*/ 1416 w 1791"/>
                <a:gd name="T33" fmla="*/ 155 h 1790"/>
                <a:gd name="T34" fmla="*/ 1649 w 1791"/>
                <a:gd name="T35" fmla="*/ 402 h 1790"/>
                <a:gd name="T36" fmla="*/ 1636 w 1791"/>
                <a:gd name="T37" fmla="*/ 513 h 1790"/>
                <a:gd name="T38" fmla="*/ 1625 w 1791"/>
                <a:gd name="T39" fmla="*/ 638 h 1790"/>
                <a:gd name="T40" fmla="*/ 1741 w 1791"/>
                <a:gd name="T41" fmla="*/ 666 h 1790"/>
                <a:gd name="T42" fmla="*/ 1791 w 1791"/>
                <a:gd name="T43" fmla="*/ 769 h 1790"/>
                <a:gd name="T44" fmla="*/ 1762 w 1791"/>
                <a:gd name="T45" fmla="*/ 1104 h 1790"/>
                <a:gd name="T46" fmla="*/ 1659 w 1791"/>
                <a:gd name="T47" fmla="*/ 1152 h 1790"/>
                <a:gd name="T48" fmla="*/ 1618 w 1791"/>
                <a:gd name="T49" fmla="*/ 1252 h 1790"/>
                <a:gd name="T50" fmla="*/ 1655 w 1791"/>
                <a:gd name="T51" fmla="*/ 1361 h 1790"/>
                <a:gd name="T52" fmla="*/ 1439 w 1791"/>
                <a:gd name="T53" fmla="*/ 1617 h 1790"/>
                <a:gd name="T54" fmla="*/ 1332 w 1791"/>
                <a:gd name="T55" fmla="*/ 1655 h 1790"/>
                <a:gd name="T56" fmla="*/ 1229 w 1791"/>
                <a:gd name="T57" fmla="*/ 1592 h 1790"/>
                <a:gd name="T58" fmla="*/ 1149 w 1791"/>
                <a:gd name="T59" fmla="*/ 1688 h 1790"/>
                <a:gd name="T60" fmla="*/ 1079 w 1791"/>
                <a:gd name="T61" fmla="*/ 1777 h 1790"/>
                <a:gd name="T62" fmla="*/ 740 w 1791"/>
                <a:gd name="T63" fmla="*/ 1787 h 1790"/>
                <a:gd name="T64" fmla="*/ 652 w 1791"/>
                <a:gd name="T65" fmla="*/ 1717 h 1790"/>
                <a:gd name="T66" fmla="*/ 600 w 1791"/>
                <a:gd name="T67" fmla="*/ 1609 h 1790"/>
                <a:gd name="T68" fmla="*/ 487 w 1791"/>
                <a:gd name="T69" fmla="*/ 1648 h 1790"/>
                <a:gd name="T70" fmla="*/ 374 w 1791"/>
                <a:gd name="T71" fmla="*/ 1635 h 1790"/>
                <a:gd name="T72" fmla="*/ 141 w 1791"/>
                <a:gd name="T73" fmla="*/ 1389 h 1790"/>
                <a:gd name="T74" fmla="*/ 154 w 1791"/>
                <a:gd name="T75" fmla="*/ 1276 h 1790"/>
                <a:gd name="T76" fmla="*/ 167 w 1791"/>
                <a:gd name="T77" fmla="*/ 1152 h 1790"/>
                <a:gd name="T78" fmla="*/ 50 w 1791"/>
                <a:gd name="T79" fmla="*/ 1124 h 1790"/>
                <a:gd name="T80" fmla="*/ 0 w 1791"/>
                <a:gd name="T81" fmla="*/ 1021 h 1790"/>
                <a:gd name="T82" fmla="*/ 29 w 1791"/>
                <a:gd name="T83" fmla="*/ 686 h 1790"/>
                <a:gd name="T84" fmla="*/ 133 w 1791"/>
                <a:gd name="T85" fmla="*/ 638 h 1790"/>
                <a:gd name="T86" fmla="*/ 174 w 1791"/>
                <a:gd name="T87" fmla="*/ 538 h 1790"/>
                <a:gd name="T88" fmla="*/ 136 w 1791"/>
                <a:gd name="T89" fmla="*/ 429 h 1790"/>
                <a:gd name="T90" fmla="*/ 351 w 1791"/>
                <a:gd name="T91" fmla="*/ 173 h 1790"/>
                <a:gd name="T92" fmla="*/ 459 w 1791"/>
                <a:gd name="T93" fmla="*/ 135 h 1790"/>
                <a:gd name="T94" fmla="*/ 562 w 1791"/>
                <a:gd name="T95" fmla="*/ 197 h 1790"/>
                <a:gd name="T96" fmla="*/ 642 w 1791"/>
                <a:gd name="T97" fmla="*/ 102 h 1790"/>
                <a:gd name="T98" fmla="*/ 712 w 1791"/>
                <a:gd name="T99" fmla="*/ 13 h 1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91" h="1790">
                  <a:moveTo>
                    <a:pt x="896" y="463"/>
                  </a:moveTo>
                  <a:lnTo>
                    <a:pt x="837" y="468"/>
                  </a:lnTo>
                  <a:lnTo>
                    <a:pt x="780" y="479"/>
                  </a:lnTo>
                  <a:lnTo>
                    <a:pt x="727" y="498"/>
                  </a:lnTo>
                  <a:lnTo>
                    <a:pt x="677" y="523"/>
                  </a:lnTo>
                  <a:lnTo>
                    <a:pt x="632" y="553"/>
                  </a:lnTo>
                  <a:lnTo>
                    <a:pt x="590" y="590"/>
                  </a:lnTo>
                  <a:lnTo>
                    <a:pt x="554" y="632"/>
                  </a:lnTo>
                  <a:lnTo>
                    <a:pt x="523" y="678"/>
                  </a:lnTo>
                  <a:lnTo>
                    <a:pt x="499" y="728"/>
                  </a:lnTo>
                  <a:lnTo>
                    <a:pt x="480" y="781"/>
                  </a:lnTo>
                  <a:lnTo>
                    <a:pt x="469" y="836"/>
                  </a:lnTo>
                  <a:lnTo>
                    <a:pt x="464" y="895"/>
                  </a:lnTo>
                  <a:lnTo>
                    <a:pt x="469" y="953"/>
                  </a:lnTo>
                  <a:lnTo>
                    <a:pt x="480" y="1009"/>
                  </a:lnTo>
                  <a:lnTo>
                    <a:pt x="499" y="1062"/>
                  </a:lnTo>
                  <a:lnTo>
                    <a:pt x="523" y="1112"/>
                  </a:lnTo>
                  <a:lnTo>
                    <a:pt x="554" y="1158"/>
                  </a:lnTo>
                  <a:lnTo>
                    <a:pt x="590" y="1199"/>
                  </a:lnTo>
                  <a:lnTo>
                    <a:pt x="632" y="1236"/>
                  </a:lnTo>
                  <a:lnTo>
                    <a:pt x="677" y="1268"/>
                  </a:lnTo>
                  <a:lnTo>
                    <a:pt x="727" y="1292"/>
                  </a:lnTo>
                  <a:lnTo>
                    <a:pt x="780" y="1311"/>
                  </a:lnTo>
                  <a:lnTo>
                    <a:pt x="837" y="1322"/>
                  </a:lnTo>
                  <a:lnTo>
                    <a:pt x="896" y="1326"/>
                  </a:lnTo>
                  <a:lnTo>
                    <a:pt x="955" y="1322"/>
                  </a:lnTo>
                  <a:lnTo>
                    <a:pt x="1010" y="1311"/>
                  </a:lnTo>
                  <a:lnTo>
                    <a:pt x="1063" y="1292"/>
                  </a:lnTo>
                  <a:lnTo>
                    <a:pt x="1113" y="1268"/>
                  </a:lnTo>
                  <a:lnTo>
                    <a:pt x="1159" y="1236"/>
                  </a:lnTo>
                  <a:lnTo>
                    <a:pt x="1200" y="1199"/>
                  </a:lnTo>
                  <a:lnTo>
                    <a:pt x="1236" y="1158"/>
                  </a:lnTo>
                  <a:lnTo>
                    <a:pt x="1268" y="1112"/>
                  </a:lnTo>
                  <a:lnTo>
                    <a:pt x="1293" y="1062"/>
                  </a:lnTo>
                  <a:lnTo>
                    <a:pt x="1310" y="1009"/>
                  </a:lnTo>
                  <a:lnTo>
                    <a:pt x="1323" y="953"/>
                  </a:lnTo>
                  <a:lnTo>
                    <a:pt x="1326" y="895"/>
                  </a:lnTo>
                  <a:lnTo>
                    <a:pt x="1323" y="836"/>
                  </a:lnTo>
                  <a:lnTo>
                    <a:pt x="1310" y="781"/>
                  </a:lnTo>
                  <a:lnTo>
                    <a:pt x="1293" y="728"/>
                  </a:lnTo>
                  <a:lnTo>
                    <a:pt x="1268" y="678"/>
                  </a:lnTo>
                  <a:lnTo>
                    <a:pt x="1236" y="632"/>
                  </a:lnTo>
                  <a:lnTo>
                    <a:pt x="1200" y="590"/>
                  </a:lnTo>
                  <a:lnTo>
                    <a:pt x="1159" y="553"/>
                  </a:lnTo>
                  <a:lnTo>
                    <a:pt x="1113" y="523"/>
                  </a:lnTo>
                  <a:lnTo>
                    <a:pt x="1063" y="498"/>
                  </a:lnTo>
                  <a:lnTo>
                    <a:pt x="1010" y="479"/>
                  </a:lnTo>
                  <a:lnTo>
                    <a:pt x="955" y="468"/>
                  </a:lnTo>
                  <a:lnTo>
                    <a:pt x="896" y="463"/>
                  </a:lnTo>
                  <a:close/>
                  <a:moveTo>
                    <a:pt x="770" y="0"/>
                  </a:moveTo>
                  <a:lnTo>
                    <a:pt x="1020" y="0"/>
                  </a:lnTo>
                  <a:lnTo>
                    <a:pt x="1052" y="3"/>
                  </a:lnTo>
                  <a:lnTo>
                    <a:pt x="1079" y="13"/>
                  </a:lnTo>
                  <a:lnTo>
                    <a:pt x="1103" y="29"/>
                  </a:lnTo>
                  <a:lnTo>
                    <a:pt x="1125" y="49"/>
                  </a:lnTo>
                  <a:lnTo>
                    <a:pt x="1139" y="73"/>
                  </a:lnTo>
                  <a:lnTo>
                    <a:pt x="1149" y="102"/>
                  </a:lnTo>
                  <a:lnTo>
                    <a:pt x="1153" y="132"/>
                  </a:lnTo>
                  <a:lnTo>
                    <a:pt x="1153" y="166"/>
                  </a:lnTo>
                  <a:lnTo>
                    <a:pt x="1192" y="180"/>
                  </a:lnTo>
                  <a:lnTo>
                    <a:pt x="1229" y="197"/>
                  </a:lnTo>
                  <a:lnTo>
                    <a:pt x="1253" y="173"/>
                  </a:lnTo>
                  <a:lnTo>
                    <a:pt x="1276" y="155"/>
                  </a:lnTo>
                  <a:lnTo>
                    <a:pt x="1303" y="142"/>
                  </a:lnTo>
                  <a:lnTo>
                    <a:pt x="1332" y="135"/>
                  </a:lnTo>
                  <a:lnTo>
                    <a:pt x="1360" y="135"/>
                  </a:lnTo>
                  <a:lnTo>
                    <a:pt x="1389" y="142"/>
                  </a:lnTo>
                  <a:lnTo>
                    <a:pt x="1416" y="155"/>
                  </a:lnTo>
                  <a:lnTo>
                    <a:pt x="1439" y="173"/>
                  </a:lnTo>
                  <a:lnTo>
                    <a:pt x="1618" y="350"/>
                  </a:lnTo>
                  <a:lnTo>
                    <a:pt x="1636" y="375"/>
                  </a:lnTo>
                  <a:lnTo>
                    <a:pt x="1649" y="402"/>
                  </a:lnTo>
                  <a:lnTo>
                    <a:pt x="1655" y="429"/>
                  </a:lnTo>
                  <a:lnTo>
                    <a:pt x="1655" y="459"/>
                  </a:lnTo>
                  <a:lnTo>
                    <a:pt x="1649" y="488"/>
                  </a:lnTo>
                  <a:lnTo>
                    <a:pt x="1636" y="513"/>
                  </a:lnTo>
                  <a:lnTo>
                    <a:pt x="1618" y="538"/>
                  </a:lnTo>
                  <a:lnTo>
                    <a:pt x="1593" y="562"/>
                  </a:lnTo>
                  <a:lnTo>
                    <a:pt x="1609" y="599"/>
                  </a:lnTo>
                  <a:lnTo>
                    <a:pt x="1625" y="638"/>
                  </a:lnTo>
                  <a:lnTo>
                    <a:pt x="1659" y="638"/>
                  </a:lnTo>
                  <a:lnTo>
                    <a:pt x="1689" y="640"/>
                  </a:lnTo>
                  <a:lnTo>
                    <a:pt x="1716" y="651"/>
                  </a:lnTo>
                  <a:lnTo>
                    <a:pt x="1741" y="666"/>
                  </a:lnTo>
                  <a:lnTo>
                    <a:pt x="1762" y="686"/>
                  </a:lnTo>
                  <a:lnTo>
                    <a:pt x="1778" y="712"/>
                  </a:lnTo>
                  <a:lnTo>
                    <a:pt x="1788" y="739"/>
                  </a:lnTo>
                  <a:lnTo>
                    <a:pt x="1791" y="769"/>
                  </a:lnTo>
                  <a:lnTo>
                    <a:pt x="1791" y="1021"/>
                  </a:lnTo>
                  <a:lnTo>
                    <a:pt x="1788" y="1051"/>
                  </a:lnTo>
                  <a:lnTo>
                    <a:pt x="1778" y="1079"/>
                  </a:lnTo>
                  <a:lnTo>
                    <a:pt x="1762" y="1104"/>
                  </a:lnTo>
                  <a:lnTo>
                    <a:pt x="1741" y="1124"/>
                  </a:lnTo>
                  <a:lnTo>
                    <a:pt x="1716" y="1139"/>
                  </a:lnTo>
                  <a:lnTo>
                    <a:pt x="1689" y="1149"/>
                  </a:lnTo>
                  <a:lnTo>
                    <a:pt x="1659" y="1152"/>
                  </a:lnTo>
                  <a:lnTo>
                    <a:pt x="1625" y="1152"/>
                  </a:lnTo>
                  <a:lnTo>
                    <a:pt x="1609" y="1191"/>
                  </a:lnTo>
                  <a:lnTo>
                    <a:pt x="1593" y="1228"/>
                  </a:lnTo>
                  <a:lnTo>
                    <a:pt x="1618" y="1252"/>
                  </a:lnTo>
                  <a:lnTo>
                    <a:pt x="1636" y="1276"/>
                  </a:lnTo>
                  <a:lnTo>
                    <a:pt x="1649" y="1304"/>
                  </a:lnTo>
                  <a:lnTo>
                    <a:pt x="1655" y="1331"/>
                  </a:lnTo>
                  <a:lnTo>
                    <a:pt x="1655" y="1361"/>
                  </a:lnTo>
                  <a:lnTo>
                    <a:pt x="1649" y="1389"/>
                  </a:lnTo>
                  <a:lnTo>
                    <a:pt x="1636" y="1415"/>
                  </a:lnTo>
                  <a:lnTo>
                    <a:pt x="1618" y="1439"/>
                  </a:lnTo>
                  <a:lnTo>
                    <a:pt x="1439" y="1617"/>
                  </a:lnTo>
                  <a:lnTo>
                    <a:pt x="1416" y="1635"/>
                  </a:lnTo>
                  <a:lnTo>
                    <a:pt x="1389" y="1648"/>
                  </a:lnTo>
                  <a:lnTo>
                    <a:pt x="1360" y="1655"/>
                  </a:lnTo>
                  <a:lnTo>
                    <a:pt x="1332" y="1655"/>
                  </a:lnTo>
                  <a:lnTo>
                    <a:pt x="1303" y="1648"/>
                  </a:lnTo>
                  <a:lnTo>
                    <a:pt x="1276" y="1635"/>
                  </a:lnTo>
                  <a:lnTo>
                    <a:pt x="1253" y="1617"/>
                  </a:lnTo>
                  <a:lnTo>
                    <a:pt x="1229" y="1592"/>
                  </a:lnTo>
                  <a:lnTo>
                    <a:pt x="1192" y="1609"/>
                  </a:lnTo>
                  <a:lnTo>
                    <a:pt x="1153" y="1624"/>
                  </a:lnTo>
                  <a:lnTo>
                    <a:pt x="1153" y="1658"/>
                  </a:lnTo>
                  <a:lnTo>
                    <a:pt x="1149" y="1688"/>
                  </a:lnTo>
                  <a:lnTo>
                    <a:pt x="1139" y="1717"/>
                  </a:lnTo>
                  <a:lnTo>
                    <a:pt x="1125" y="1741"/>
                  </a:lnTo>
                  <a:lnTo>
                    <a:pt x="1103" y="1761"/>
                  </a:lnTo>
                  <a:lnTo>
                    <a:pt x="1079" y="1777"/>
                  </a:lnTo>
                  <a:lnTo>
                    <a:pt x="1052" y="1787"/>
                  </a:lnTo>
                  <a:lnTo>
                    <a:pt x="1020" y="1790"/>
                  </a:lnTo>
                  <a:lnTo>
                    <a:pt x="770" y="1790"/>
                  </a:lnTo>
                  <a:lnTo>
                    <a:pt x="740" y="1787"/>
                  </a:lnTo>
                  <a:lnTo>
                    <a:pt x="712" y="1777"/>
                  </a:lnTo>
                  <a:lnTo>
                    <a:pt x="687" y="1761"/>
                  </a:lnTo>
                  <a:lnTo>
                    <a:pt x="667" y="1741"/>
                  </a:lnTo>
                  <a:lnTo>
                    <a:pt x="652" y="1717"/>
                  </a:lnTo>
                  <a:lnTo>
                    <a:pt x="642" y="1688"/>
                  </a:lnTo>
                  <a:lnTo>
                    <a:pt x="637" y="1658"/>
                  </a:lnTo>
                  <a:lnTo>
                    <a:pt x="637" y="1624"/>
                  </a:lnTo>
                  <a:lnTo>
                    <a:pt x="600" y="1609"/>
                  </a:lnTo>
                  <a:lnTo>
                    <a:pt x="562" y="1592"/>
                  </a:lnTo>
                  <a:lnTo>
                    <a:pt x="537" y="1617"/>
                  </a:lnTo>
                  <a:lnTo>
                    <a:pt x="514" y="1635"/>
                  </a:lnTo>
                  <a:lnTo>
                    <a:pt x="487" y="1648"/>
                  </a:lnTo>
                  <a:lnTo>
                    <a:pt x="459" y="1655"/>
                  </a:lnTo>
                  <a:lnTo>
                    <a:pt x="430" y="1655"/>
                  </a:lnTo>
                  <a:lnTo>
                    <a:pt x="401" y="1648"/>
                  </a:lnTo>
                  <a:lnTo>
                    <a:pt x="374" y="1635"/>
                  </a:lnTo>
                  <a:lnTo>
                    <a:pt x="351" y="1617"/>
                  </a:lnTo>
                  <a:lnTo>
                    <a:pt x="174" y="1439"/>
                  </a:lnTo>
                  <a:lnTo>
                    <a:pt x="154" y="1415"/>
                  </a:lnTo>
                  <a:lnTo>
                    <a:pt x="141" y="1389"/>
                  </a:lnTo>
                  <a:lnTo>
                    <a:pt x="136" y="1361"/>
                  </a:lnTo>
                  <a:lnTo>
                    <a:pt x="136" y="1331"/>
                  </a:lnTo>
                  <a:lnTo>
                    <a:pt x="141" y="1304"/>
                  </a:lnTo>
                  <a:lnTo>
                    <a:pt x="154" y="1276"/>
                  </a:lnTo>
                  <a:lnTo>
                    <a:pt x="174" y="1252"/>
                  </a:lnTo>
                  <a:lnTo>
                    <a:pt x="199" y="1228"/>
                  </a:lnTo>
                  <a:lnTo>
                    <a:pt x="181" y="1191"/>
                  </a:lnTo>
                  <a:lnTo>
                    <a:pt x="167" y="1152"/>
                  </a:lnTo>
                  <a:lnTo>
                    <a:pt x="133" y="1152"/>
                  </a:lnTo>
                  <a:lnTo>
                    <a:pt x="101" y="1149"/>
                  </a:lnTo>
                  <a:lnTo>
                    <a:pt x="74" y="1139"/>
                  </a:lnTo>
                  <a:lnTo>
                    <a:pt x="50" y="1124"/>
                  </a:lnTo>
                  <a:lnTo>
                    <a:pt x="29" y="1104"/>
                  </a:lnTo>
                  <a:lnTo>
                    <a:pt x="14" y="1079"/>
                  </a:lnTo>
                  <a:lnTo>
                    <a:pt x="4" y="1051"/>
                  </a:lnTo>
                  <a:lnTo>
                    <a:pt x="0" y="1021"/>
                  </a:lnTo>
                  <a:lnTo>
                    <a:pt x="0" y="769"/>
                  </a:lnTo>
                  <a:lnTo>
                    <a:pt x="4" y="739"/>
                  </a:lnTo>
                  <a:lnTo>
                    <a:pt x="14" y="712"/>
                  </a:lnTo>
                  <a:lnTo>
                    <a:pt x="29" y="686"/>
                  </a:lnTo>
                  <a:lnTo>
                    <a:pt x="50" y="666"/>
                  </a:lnTo>
                  <a:lnTo>
                    <a:pt x="74" y="651"/>
                  </a:lnTo>
                  <a:lnTo>
                    <a:pt x="101" y="640"/>
                  </a:lnTo>
                  <a:lnTo>
                    <a:pt x="133" y="638"/>
                  </a:lnTo>
                  <a:lnTo>
                    <a:pt x="167" y="638"/>
                  </a:lnTo>
                  <a:lnTo>
                    <a:pt x="181" y="599"/>
                  </a:lnTo>
                  <a:lnTo>
                    <a:pt x="199" y="562"/>
                  </a:lnTo>
                  <a:lnTo>
                    <a:pt x="174" y="538"/>
                  </a:lnTo>
                  <a:lnTo>
                    <a:pt x="154" y="513"/>
                  </a:lnTo>
                  <a:lnTo>
                    <a:pt x="141" y="488"/>
                  </a:lnTo>
                  <a:lnTo>
                    <a:pt x="136" y="459"/>
                  </a:lnTo>
                  <a:lnTo>
                    <a:pt x="136" y="429"/>
                  </a:lnTo>
                  <a:lnTo>
                    <a:pt x="141" y="402"/>
                  </a:lnTo>
                  <a:lnTo>
                    <a:pt x="154" y="375"/>
                  </a:lnTo>
                  <a:lnTo>
                    <a:pt x="174" y="350"/>
                  </a:lnTo>
                  <a:lnTo>
                    <a:pt x="351" y="173"/>
                  </a:lnTo>
                  <a:lnTo>
                    <a:pt x="376" y="155"/>
                  </a:lnTo>
                  <a:lnTo>
                    <a:pt x="401" y="142"/>
                  </a:lnTo>
                  <a:lnTo>
                    <a:pt x="430" y="135"/>
                  </a:lnTo>
                  <a:lnTo>
                    <a:pt x="459" y="135"/>
                  </a:lnTo>
                  <a:lnTo>
                    <a:pt x="487" y="142"/>
                  </a:lnTo>
                  <a:lnTo>
                    <a:pt x="514" y="155"/>
                  </a:lnTo>
                  <a:lnTo>
                    <a:pt x="537" y="173"/>
                  </a:lnTo>
                  <a:lnTo>
                    <a:pt x="562" y="197"/>
                  </a:lnTo>
                  <a:lnTo>
                    <a:pt x="600" y="180"/>
                  </a:lnTo>
                  <a:lnTo>
                    <a:pt x="637" y="166"/>
                  </a:lnTo>
                  <a:lnTo>
                    <a:pt x="637" y="132"/>
                  </a:lnTo>
                  <a:lnTo>
                    <a:pt x="642" y="102"/>
                  </a:lnTo>
                  <a:lnTo>
                    <a:pt x="652" y="73"/>
                  </a:lnTo>
                  <a:lnTo>
                    <a:pt x="667" y="49"/>
                  </a:lnTo>
                  <a:lnTo>
                    <a:pt x="687" y="29"/>
                  </a:lnTo>
                  <a:lnTo>
                    <a:pt x="712" y="13"/>
                  </a:lnTo>
                  <a:lnTo>
                    <a:pt x="740" y="3"/>
                  </a:lnTo>
                  <a:lnTo>
                    <a:pt x="7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2" name="Freeform 161"/>
            <p:cNvSpPr>
              <a:spLocks noEditPoints="1"/>
            </p:cNvSpPr>
            <p:nvPr/>
          </p:nvSpPr>
          <p:spPr bwMode="auto">
            <a:xfrm>
              <a:off x="5171" y="3325"/>
              <a:ext cx="710" cy="709"/>
            </a:xfrm>
            <a:custGeom>
              <a:avLst/>
              <a:gdLst>
                <a:gd name="T0" fmla="*/ 602 w 1421"/>
                <a:gd name="T1" fmla="*/ 385 h 1419"/>
                <a:gd name="T2" fmla="*/ 469 w 1421"/>
                <a:gd name="T3" fmla="*/ 467 h 1419"/>
                <a:gd name="T4" fmla="*/ 386 w 1421"/>
                <a:gd name="T5" fmla="*/ 602 h 1419"/>
                <a:gd name="T6" fmla="*/ 373 w 1421"/>
                <a:gd name="T7" fmla="*/ 765 h 1419"/>
                <a:gd name="T8" fmla="*/ 435 w 1421"/>
                <a:gd name="T9" fmla="*/ 912 h 1419"/>
                <a:gd name="T10" fmla="*/ 553 w 1421"/>
                <a:gd name="T11" fmla="*/ 1013 h 1419"/>
                <a:gd name="T12" fmla="*/ 711 w 1421"/>
                <a:gd name="T13" fmla="*/ 1051 h 1419"/>
                <a:gd name="T14" fmla="*/ 868 w 1421"/>
                <a:gd name="T15" fmla="*/ 1013 h 1419"/>
                <a:gd name="T16" fmla="*/ 986 w 1421"/>
                <a:gd name="T17" fmla="*/ 912 h 1419"/>
                <a:gd name="T18" fmla="*/ 1048 w 1421"/>
                <a:gd name="T19" fmla="*/ 765 h 1419"/>
                <a:gd name="T20" fmla="*/ 1035 w 1421"/>
                <a:gd name="T21" fmla="*/ 602 h 1419"/>
                <a:gd name="T22" fmla="*/ 952 w 1421"/>
                <a:gd name="T23" fmla="*/ 467 h 1419"/>
                <a:gd name="T24" fmla="*/ 819 w 1421"/>
                <a:gd name="T25" fmla="*/ 385 h 1419"/>
                <a:gd name="T26" fmla="*/ 611 w 1421"/>
                <a:gd name="T27" fmla="*/ 0 h 1419"/>
                <a:gd name="T28" fmla="*/ 864 w 1421"/>
                <a:gd name="T29" fmla="*/ 14 h 1419"/>
                <a:gd name="T30" fmla="*/ 911 w 1421"/>
                <a:gd name="T31" fmla="*/ 76 h 1419"/>
                <a:gd name="T32" fmla="*/ 975 w 1421"/>
                <a:gd name="T33" fmla="*/ 156 h 1419"/>
                <a:gd name="T34" fmla="*/ 1032 w 1421"/>
                <a:gd name="T35" fmla="*/ 113 h 1419"/>
                <a:gd name="T36" fmla="*/ 1085 w 1421"/>
                <a:gd name="T37" fmla="*/ 107 h 1419"/>
                <a:gd name="T38" fmla="*/ 1142 w 1421"/>
                <a:gd name="T39" fmla="*/ 137 h 1419"/>
                <a:gd name="T40" fmla="*/ 1311 w 1421"/>
                <a:gd name="T41" fmla="*/ 326 h 1419"/>
                <a:gd name="T42" fmla="*/ 1299 w 1421"/>
                <a:gd name="T43" fmla="*/ 403 h 1419"/>
                <a:gd name="T44" fmla="*/ 1288 w 1421"/>
                <a:gd name="T45" fmla="*/ 505 h 1419"/>
                <a:gd name="T46" fmla="*/ 1368 w 1421"/>
                <a:gd name="T47" fmla="*/ 519 h 1419"/>
                <a:gd name="T48" fmla="*/ 1417 w 1421"/>
                <a:gd name="T49" fmla="*/ 582 h 1419"/>
                <a:gd name="T50" fmla="*/ 1417 w 1421"/>
                <a:gd name="T51" fmla="*/ 836 h 1419"/>
                <a:gd name="T52" fmla="*/ 1368 w 1421"/>
                <a:gd name="T53" fmla="*/ 899 h 1419"/>
                <a:gd name="T54" fmla="*/ 1288 w 1421"/>
                <a:gd name="T55" fmla="*/ 913 h 1419"/>
                <a:gd name="T56" fmla="*/ 1299 w 1421"/>
                <a:gd name="T57" fmla="*/ 1015 h 1419"/>
                <a:gd name="T58" fmla="*/ 1311 w 1421"/>
                <a:gd name="T59" fmla="*/ 1093 h 1419"/>
                <a:gd name="T60" fmla="*/ 1142 w 1421"/>
                <a:gd name="T61" fmla="*/ 1282 h 1419"/>
                <a:gd name="T62" fmla="*/ 1068 w 1421"/>
                <a:gd name="T63" fmla="*/ 1312 h 1419"/>
                <a:gd name="T64" fmla="*/ 994 w 1421"/>
                <a:gd name="T65" fmla="*/ 1282 h 1419"/>
                <a:gd name="T66" fmla="*/ 915 w 1421"/>
                <a:gd name="T67" fmla="*/ 1315 h 1419"/>
                <a:gd name="T68" fmla="*/ 884 w 1421"/>
                <a:gd name="T69" fmla="*/ 1388 h 1419"/>
                <a:gd name="T70" fmla="*/ 811 w 1421"/>
                <a:gd name="T71" fmla="*/ 1419 h 1419"/>
                <a:gd name="T72" fmla="*/ 558 w 1421"/>
                <a:gd name="T73" fmla="*/ 1405 h 1419"/>
                <a:gd name="T74" fmla="*/ 511 w 1421"/>
                <a:gd name="T75" fmla="*/ 1342 h 1419"/>
                <a:gd name="T76" fmla="*/ 446 w 1421"/>
                <a:gd name="T77" fmla="*/ 1262 h 1419"/>
                <a:gd name="T78" fmla="*/ 379 w 1421"/>
                <a:gd name="T79" fmla="*/ 1309 h 1419"/>
                <a:gd name="T80" fmla="*/ 302 w 1421"/>
                <a:gd name="T81" fmla="*/ 1299 h 1419"/>
                <a:gd name="T82" fmla="*/ 122 w 1421"/>
                <a:gd name="T83" fmla="*/ 1119 h 1419"/>
                <a:gd name="T84" fmla="*/ 110 w 1421"/>
                <a:gd name="T85" fmla="*/ 1041 h 1419"/>
                <a:gd name="T86" fmla="*/ 158 w 1421"/>
                <a:gd name="T87" fmla="*/ 973 h 1419"/>
                <a:gd name="T88" fmla="*/ 78 w 1421"/>
                <a:gd name="T89" fmla="*/ 911 h 1419"/>
                <a:gd name="T90" fmla="*/ 15 w 1421"/>
                <a:gd name="T91" fmla="*/ 862 h 1419"/>
                <a:gd name="T92" fmla="*/ 0 w 1421"/>
                <a:gd name="T93" fmla="*/ 610 h 1419"/>
                <a:gd name="T94" fmla="*/ 32 w 1421"/>
                <a:gd name="T95" fmla="*/ 536 h 1419"/>
                <a:gd name="T96" fmla="*/ 106 w 1421"/>
                <a:gd name="T97" fmla="*/ 505 h 1419"/>
                <a:gd name="T98" fmla="*/ 139 w 1421"/>
                <a:gd name="T99" fmla="*/ 426 h 1419"/>
                <a:gd name="T100" fmla="*/ 108 w 1421"/>
                <a:gd name="T101" fmla="*/ 352 h 1419"/>
                <a:gd name="T102" fmla="*/ 139 w 1421"/>
                <a:gd name="T103" fmla="*/ 277 h 1419"/>
                <a:gd name="T104" fmla="*/ 326 w 1421"/>
                <a:gd name="T105" fmla="*/ 110 h 1419"/>
                <a:gd name="T106" fmla="*/ 405 w 1421"/>
                <a:gd name="T107" fmla="*/ 120 h 1419"/>
                <a:gd name="T108" fmla="*/ 506 w 1421"/>
                <a:gd name="T109" fmla="*/ 132 h 1419"/>
                <a:gd name="T110" fmla="*/ 521 w 1421"/>
                <a:gd name="T111" fmla="*/ 52 h 1419"/>
                <a:gd name="T112" fmla="*/ 583 w 1421"/>
                <a:gd name="T113" fmla="*/ 3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21" h="1419">
                  <a:moveTo>
                    <a:pt x="711" y="367"/>
                  </a:moveTo>
                  <a:lnTo>
                    <a:pt x="655" y="372"/>
                  </a:lnTo>
                  <a:lnTo>
                    <a:pt x="602" y="385"/>
                  </a:lnTo>
                  <a:lnTo>
                    <a:pt x="553" y="406"/>
                  </a:lnTo>
                  <a:lnTo>
                    <a:pt x="509" y="433"/>
                  </a:lnTo>
                  <a:lnTo>
                    <a:pt x="469" y="467"/>
                  </a:lnTo>
                  <a:lnTo>
                    <a:pt x="435" y="508"/>
                  </a:lnTo>
                  <a:lnTo>
                    <a:pt x="406" y="552"/>
                  </a:lnTo>
                  <a:lnTo>
                    <a:pt x="386" y="602"/>
                  </a:lnTo>
                  <a:lnTo>
                    <a:pt x="373" y="653"/>
                  </a:lnTo>
                  <a:lnTo>
                    <a:pt x="369" y="709"/>
                  </a:lnTo>
                  <a:lnTo>
                    <a:pt x="373" y="765"/>
                  </a:lnTo>
                  <a:lnTo>
                    <a:pt x="386" y="818"/>
                  </a:lnTo>
                  <a:lnTo>
                    <a:pt x="406" y="866"/>
                  </a:lnTo>
                  <a:lnTo>
                    <a:pt x="435" y="912"/>
                  </a:lnTo>
                  <a:lnTo>
                    <a:pt x="469" y="951"/>
                  </a:lnTo>
                  <a:lnTo>
                    <a:pt x="509" y="985"/>
                  </a:lnTo>
                  <a:lnTo>
                    <a:pt x="553" y="1013"/>
                  </a:lnTo>
                  <a:lnTo>
                    <a:pt x="602" y="1033"/>
                  </a:lnTo>
                  <a:lnTo>
                    <a:pt x="655" y="1046"/>
                  </a:lnTo>
                  <a:lnTo>
                    <a:pt x="711" y="1051"/>
                  </a:lnTo>
                  <a:lnTo>
                    <a:pt x="766" y="1046"/>
                  </a:lnTo>
                  <a:lnTo>
                    <a:pt x="819" y="1033"/>
                  </a:lnTo>
                  <a:lnTo>
                    <a:pt x="868" y="1013"/>
                  </a:lnTo>
                  <a:lnTo>
                    <a:pt x="912" y="985"/>
                  </a:lnTo>
                  <a:lnTo>
                    <a:pt x="952" y="951"/>
                  </a:lnTo>
                  <a:lnTo>
                    <a:pt x="986" y="912"/>
                  </a:lnTo>
                  <a:lnTo>
                    <a:pt x="1014" y="866"/>
                  </a:lnTo>
                  <a:lnTo>
                    <a:pt x="1035" y="818"/>
                  </a:lnTo>
                  <a:lnTo>
                    <a:pt x="1048" y="765"/>
                  </a:lnTo>
                  <a:lnTo>
                    <a:pt x="1052" y="709"/>
                  </a:lnTo>
                  <a:lnTo>
                    <a:pt x="1048" y="653"/>
                  </a:lnTo>
                  <a:lnTo>
                    <a:pt x="1035" y="602"/>
                  </a:lnTo>
                  <a:lnTo>
                    <a:pt x="1014" y="552"/>
                  </a:lnTo>
                  <a:lnTo>
                    <a:pt x="986" y="508"/>
                  </a:lnTo>
                  <a:lnTo>
                    <a:pt x="952" y="467"/>
                  </a:lnTo>
                  <a:lnTo>
                    <a:pt x="912" y="433"/>
                  </a:lnTo>
                  <a:lnTo>
                    <a:pt x="868" y="406"/>
                  </a:lnTo>
                  <a:lnTo>
                    <a:pt x="819" y="385"/>
                  </a:lnTo>
                  <a:lnTo>
                    <a:pt x="766" y="372"/>
                  </a:lnTo>
                  <a:lnTo>
                    <a:pt x="711" y="367"/>
                  </a:lnTo>
                  <a:close/>
                  <a:moveTo>
                    <a:pt x="611" y="0"/>
                  </a:moveTo>
                  <a:lnTo>
                    <a:pt x="811" y="0"/>
                  </a:lnTo>
                  <a:lnTo>
                    <a:pt x="838" y="3"/>
                  </a:lnTo>
                  <a:lnTo>
                    <a:pt x="864" y="14"/>
                  </a:lnTo>
                  <a:lnTo>
                    <a:pt x="884" y="30"/>
                  </a:lnTo>
                  <a:lnTo>
                    <a:pt x="901" y="52"/>
                  </a:lnTo>
                  <a:lnTo>
                    <a:pt x="911" y="76"/>
                  </a:lnTo>
                  <a:lnTo>
                    <a:pt x="915" y="104"/>
                  </a:lnTo>
                  <a:lnTo>
                    <a:pt x="915" y="132"/>
                  </a:lnTo>
                  <a:lnTo>
                    <a:pt x="975" y="156"/>
                  </a:lnTo>
                  <a:lnTo>
                    <a:pt x="994" y="137"/>
                  </a:lnTo>
                  <a:lnTo>
                    <a:pt x="1014" y="122"/>
                  </a:lnTo>
                  <a:lnTo>
                    <a:pt x="1032" y="113"/>
                  </a:lnTo>
                  <a:lnTo>
                    <a:pt x="1052" y="107"/>
                  </a:lnTo>
                  <a:lnTo>
                    <a:pt x="1069" y="107"/>
                  </a:lnTo>
                  <a:lnTo>
                    <a:pt x="1085" y="107"/>
                  </a:lnTo>
                  <a:lnTo>
                    <a:pt x="1095" y="110"/>
                  </a:lnTo>
                  <a:lnTo>
                    <a:pt x="1121" y="120"/>
                  </a:lnTo>
                  <a:lnTo>
                    <a:pt x="1142" y="137"/>
                  </a:lnTo>
                  <a:lnTo>
                    <a:pt x="1282" y="277"/>
                  </a:lnTo>
                  <a:lnTo>
                    <a:pt x="1299" y="300"/>
                  </a:lnTo>
                  <a:lnTo>
                    <a:pt x="1311" y="326"/>
                  </a:lnTo>
                  <a:lnTo>
                    <a:pt x="1314" y="352"/>
                  </a:lnTo>
                  <a:lnTo>
                    <a:pt x="1311" y="379"/>
                  </a:lnTo>
                  <a:lnTo>
                    <a:pt x="1299" y="403"/>
                  </a:lnTo>
                  <a:lnTo>
                    <a:pt x="1282" y="426"/>
                  </a:lnTo>
                  <a:lnTo>
                    <a:pt x="1264" y="445"/>
                  </a:lnTo>
                  <a:lnTo>
                    <a:pt x="1288" y="505"/>
                  </a:lnTo>
                  <a:lnTo>
                    <a:pt x="1315" y="505"/>
                  </a:lnTo>
                  <a:lnTo>
                    <a:pt x="1344" y="509"/>
                  </a:lnTo>
                  <a:lnTo>
                    <a:pt x="1368" y="519"/>
                  </a:lnTo>
                  <a:lnTo>
                    <a:pt x="1389" y="536"/>
                  </a:lnTo>
                  <a:lnTo>
                    <a:pt x="1407" y="558"/>
                  </a:lnTo>
                  <a:lnTo>
                    <a:pt x="1417" y="582"/>
                  </a:lnTo>
                  <a:lnTo>
                    <a:pt x="1421" y="610"/>
                  </a:lnTo>
                  <a:lnTo>
                    <a:pt x="1421" y="809"/>
                  </a:lnTo>
                  <a:lnTo>
                    <a:pt x="1417" y="836"/>
                  </a:lnTo>
                  <a:lnTo>
                    <a:pt x="1407" y="862"/>
                  </a:lnTo>
                  <a:lnTo>
                    <a:pt x="1389" y="883"/>
                  </a:lnTo>
                  <a:lnTo>
                    <a:pt x="1368" y="899"/>
                  </a:lnTo>
                  <a:lnTo>
                    <a:pt x="1344" y="911"/>
                  </a:lnTo>
                  <a:lnTo>
                    <a:pt x="1315" y="913"/>
                  </a:lnTo>
                  <a:lnTo>
                    <a:pt x="1288" y="913"/>
                  </a:lnTo>
                  <a:lnTo>
                    <a:pt x="1264" y="973"/>
                  </a:lnTo>
                  <a:lnTo>
                    <a:pt x="1282" y="993"/>
                  </a:lnTo>
                  <a:lnTo>
                    <a:pt x="1299" y="1015"/>
                  </a:lnTo>
                  <a:lnTo>
                    <a:pt x="1311" y="1041"/>
                  </a:lnTo>
                  <a:lnTo>
                    <a:pt x="1314" y="1066"/>
                  </a:lnTo>
                  <a:lnTo>
                    <a:pt x="1311" y="1093"/>
                  </a:lnTo>
                  <a:lnTo>
                    <a:pt x="1299" y="1119"/>
                  </a:lnTo>
                  <a:lnTo>
                    <a:pt x="1282" y="1141"/>
                  </a:lnTo>
                  <a:lnTo>
                    <a:pt x="1142" y="1282"/>
                  </a:lnTo>
                  <a:lnTo>
                    <a:pt x="1119" y="1299"/>
                  </a:lnTo>
                  <a:lnTo>
                    <a:pt x="1095" y="1309"/>
                  </a:lnTo>
                  <a:lnTo>
                    <a:pt x="1068" y="1312"/>
                  </a:lnTo>
                  <a:lnTo>
                    <a:pt x="1042" y="1309"/>
                  </a:lnTo>
                  <a:lnTo>
                    <a:pt x="1016" y="1299"/>
                  </a:lnTo>
                  <a:lnTo>
                    <a:pt x="994" y="1282"/>
                  </a:lnTo>
                  <a:lnTo>
                    <a:pt x="975" y="1262"/>
                  </a:lnTo>
                  <a:lnTo>
                    <a:pt x="915" y="1288"/>
                  </a:lnTo>
                  <a:lnTo>
                    <a:pt x="915" y="1315"/>
                  </a:lnTo>
                  <a:lnTo>
                    <a:pt x="911" y="1342"/>
                  </a:lnTo>
                  <a:lnTo>
                    <a:pt x="901" y="1368"/>
                  </a:lnTo>
                  <a:lnTo>
                    <a:pt x="884" y="1388"/>
                  </a:lnTo>
                  <a:lnTo>
                    <a:pt x="864" y="1405"/>
                  </a:lnTo>
                  <a:lnTo>
                    <a:pt x="838" y="1415"/>
                  </a:lnTo>
                  <a:lnTo>
                    <a:pt x="811" y="1419"/>
                  </a:lnTo>
                  <a:lnTo>
                    <a:pt x="611" y="1419"/>
                  </a:lnTo>
                  <a:lnTo>
                    <a:pt x="583" y="1415"/>
                  </a:lnTo>
                  <a:lnTo>
                    <a:pt x="558" y="1405"/>
                  </a:lnTo>
                  <a:lnTo>
                    <a:pt x="538" y="1388"/>
                  </a:lnTo>
                  <a:lnTo>
                    <a:pt x="521" y="1368"/>
                  </a:lnTo>
                  <a:lnTo>
                    <a:pt x="511" y="1342"/>
                  </a:lnTo>
                  <a:lnTo>
                    <a:pt x="506" y="1315"/>
                  </a:lnTo>
                  <a:lnTo>
                    <a:pt x="506" y="1288"/>
                  </a:lnTo>
                  <a:lnTo>
                    <a:pt x="446" y="1262"/>
                  </a:lnTo>
                  <a:lnTo>
                    <a:pt x="428" y="1282"/>
                  </a:lnTo>
                  <a:lnTo>
                    <a:pt x="405" y="1299"/>
                  </a:lnTo>
                  <a:lnTo>
                    <a:pt x="379" y="1309"/>
                  </a:lnTo>
                  <a:lnTo>
                    <a:pt x="353" y="1312"/>
                  </a:lnTo>
                  <a:lnTo>
                    <a:pt x="326" y="1309"/>
                  </a:lnTo>
                  <a:lnTo>
                    <a:pt x="302" y="1299"/>
                  </a:lnTo>
                  <a:lnTo>
                    <a:pt x="279" y="1282"/>
                  </a:lnTo>
                  <a:lnTo>
                    <a:pt x="139" y="1141"/>
                  </a:lnTo>
                  <a:lnTo>
                    <a:pt x="122" y="1119"/>
                  </a:lnTo>
                  <a:lnTo>
                    <a:pt x="110" y="1093"/>
                  </a:lnTo>
                  <a:lnTo>
                    <a:pt x="108" y="1066"/>
                  </a:lnTo>
                  <a:lnTo>
                    <a:pt x="110" y="1041"/>
                  </a:lnTo>
                  <a:lnTo>
                    <a:pt x="122" y="1015"/>
                  </a:lnTo>
                  <a:lnTo>
                    <a:pt x="139" y="993"/>
                  </a:lnTo>
                  <a:lnTo>
                    <a:pt x="158" y="973"/>
                  </a:lnTo>
                  <a:lnTo>
                    <a:pt x="133" y="913"/>
                  </a:lnTo>
                  <a:lnTo>
                    <a:pt x="106" y="913"/>
                  </a:lnTo>
                  <a:lnTo>
                    <a:pt x="78" y="911"/>
                  </a:lnTo>
                  <a:lnTo>
                    <a:pt x="53" y="899"/>
                  </a:lnTo>
                  <a:lnTo>
                    <a:pt x="32" y="883"/>
                  </a:lnTo>
                  <a:lnTo>
                    <a:pt x="15" y="862"/>
                  </a:lnTo>
                  <a:lnTo>
                    <a:pt x="5" y="836"/>
                  </a:lnTo>
                  <a:lnTo>
                    <a:pt x="0" y="809"/>
                  </a:lnTo>
                  <a:lnTo>
                    <a:pt x="0" y="610"/>
                  </a:lnTo>
                  <a:lnTo>
                    <a:pt x="5" y="582"/>
                  </a:lnTo>
                  <a:lnTo>
                    <a:pt x="15" y="558"/>
                  </a:lnTo>
                  <a:lnTo>
                    <a:pt x="32" y="536"/>
                  </a:lnTo>
                  <a:lnTo>
                    <a:pt x="53" y="519"/>
                  </a:lnTo>
                  <a:lnTo>
                    <a:pt x="78" y="509"/>
                  </a:lnTo>
                  <a:lnTo>
                    <a:pt x="106" y="505"/>
                  </a:lnTo>
                  <a:lnTo>
                    <a:pt x="133" y="505"/>
                  </a:lnTo>
                  <a:lnTo>
                    <a:pt x="158" y="445"/>
                  </a:lnTo>
                  <a:lnTo>
                    <a:pt x="139" y="426"/>
                  </a:lnTo>
                  <a:lnTo>
                    <a:pt x="122" y="403"/>
                  </a:lnTo>
                  <a:lnTo>
                    <a:pt x="110" y="379"/>
                  </a:lnTo>
                  <a:lnTo>
                    <a:pt x="108" y="352"/>
                  </a:lnTo>
                  <a:lnTo>
                    <a:pt x="110" y="326"/>
                  </a:lnTo>
                  <a:lnTo>
                    <a:pt x="122" y="300"/>
                  </a:lnTo>
                  <a:lnTo>
                    <a:pt x="139" y="277"/>
                  </a:lnTo>
                  <a:lnTo>
                    <a:pt x="279" y="137"/>
                  </a:lnTo>
                  <a:lnTo>
                    <a:pt x="302" y="120"/>
                  </a:lnTo>
                  <a:lnTo>
                    <a:pt x="326" y="110"/>
                  </a:lnTo>
                  <a:lnTo>
                    <a:pt x="353" y="106"/>
                  </a:lnTo>
                  <a:lnTo>
                    <a:pt x="379" y="110"/>
                  </a:lnTo>
                  <a:lnTo>
                    <a:pt x="405" y="120"/>
                  </a:lnTo>
                  <a:lnTo>
                    <a:pt x="428" y="137"/>
                  </a:lnTo>
                  <a:lnTo>
                    <a:pt x="446" y="156"/>
                  </a:lnTo>
                  <a:lnTo>
                    <a:pt x="506" y="132"/>
                  </a:lnTo>
                  <a:lnTo>
                    <a:pt x="506" y="104"/>
                  </a:lnTo>
                  <a:lnTo>
                    <a:pt x="511" y="76"/>
                  </a:lnTo>
                  <a:lnTo>
                    <a:pt x="521" y="52"/>
                  </a:lnTo>
                  <a:lnTo>
                    <a:pt x="538" y="30"/>
                  </a:lnTo>
                  <a:lnTo>
                    <a:pt x="558" y="14"/>
                  </a:lnTo>
                  <a:lnTo>
                    <a:pt x="583" y="3"/>
                  </a:lnTo>
                  <a:lnTo>
                    <a:pt x="6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3" name="Freeform 162"/>
            <p:cNvSpPr>
              <a:spLocks noEditPoints="1"/>
            </p:cNvSpPr>
            <p:nvPr/>
          </p:nvSpPr>
          <p:spPr bwMode="auto">
            <a:xfrm>
              <a:off x="5571" y="2763"/>
              <a:ext cx="598" cy="598"/>
            </a:xfrm>
            <a:custGeom>
              <a:avLst/>
              <a:gdLst>
                <a:gd name="T0" fmla="*/ 506 w 1194"/>
                <a:gd name="T1" fmla="*/ 324 h 1196"/>
                <a:gd name="T2" fmla="*/ 393 w 1194"/>
                <a:gd name="T3" fmla="*/ 394 h 1196"/>
                <a:gd name="T4" fmla="*/ 324 w 1194"/>
                <a:gd name="T5" fmla="*/ 507 h 1196"/>
                <a:gd name="T6" fmla="*/ 313 w 1194"/>
                <a:gd name="T7" fmla="*/ 644 h 1196"/>
                <a:gd name="T8" fmla="*/ 364 w 1194"/>
                <a:gd name="T9" fmla="*/ 767 h 1196"/>
                <a:gd name="T10" fmla="*/ 464 w 1194"/>
                <a:gd name="T11" fmla="*/ 853 h 1196"/>
                <a:gd name="T12" fmla="*/ 597 w 1194"/>
                <a:gd name="T13" fmla="*/ 886 h 1196"/>
                <a:gd name="T14" fmla="*/ 729 w 1194"/>
                <a:gd name="T15" fmla="*/ 853 h 1196"/>
                <a:gd name="T16" fmla="*/ 829 w 1194"/>
                <a:gd name="T17" fmla="*/ 767 h 1196"/>
                <a:gd name="T18" fmla="*/ 881 w 1194"/>
                <a:gd name="T19" fmla="*/ 644 h 1196"/>
                <a:gd name="T20" fmla="*/ 870 w 1194"/>
                <a:gd name="T21" fmla="*/ 507 h 1196"/>
                <a:gd name="T22" fmla="*/ 800 w 1194"/>
                <a:gd name="T23" fmla="*/ 394 h 1196"/>
                <a:gd name="T24" fmla="*/ 689 w 1194"/>
                <a:gd name="T25" fmla="*/ 324 h 1196"/>
                <a:gd name="T26" fmla="*/ 513 w 1194"/>
                <a:gd name="T27" fmla="*/ 0 h 1196"/>
                <a:gd name="T28" fmla="*/ 726 w 1194"/>
                <a:gd name="T29" fmla="*/ 11 h 1196"/>
                <a:gd name="T30" fmla="*/ 766 w 1194"/>
                <a:gd name="T31" fmla="*/ 64 h 1196"/>
                <a:gd name="T32" fmla="*/ 820 w 1194"/>
                <a:gd name="T33" fmla="*/ 131 h 1196"/>
                <a:gd name="T34" fmla="*/ 876 w 1194"/>
                <a:gd name="T35" fmla="*/ 93 h 1196"/>
                <a:gd name="T36" fmla="*/ 941 w 1194"/>
                <a:gd name="T37" fmla="*/ 101 h 1196"/>
                <a:gd name="T38" fmla="*/ 1093 w 1194"/>
                <a:gd name="T39" fmla="*/ 253 h 1196"/>
                <a:gd name="T40" fmla="*/ 1102 w 1194"/>
                <a:gd name="T41" fmla="*/ 319 h 1196"/>
                <a:gd name="T42" fmla="*/ 1063 w 1194"/>
                <a:gd name="T43" fmla="*/ 376 h 1196"/>
                <a:gd name="T44" fmla="*/ 1130 w 1194"/>
                <a:gd name="T45" fmla="*/ 429 h 1196"/>
                <a:gd name="T46" fmla="*/ 1183 w 1194"/>
                <a:gd name="T47" fmla="*/ 469 h 1196"/>
                <a:gd name="T48" fmla="*/ 1194 w 1194"/>
                <a:gd name="T49" fmla="*/ 682 h 1196"/>
                <a:gd name="T50" fmla="*/ 1169 w 1194"/>
                <a:gd name="T51" fmla="*/ 743 h 1196"/>
                <a:gd name="T52" fmla="*/ 1106 w 1194"/>
                <a:gd name="T53" fmla="*/ 770 h 1196"/>
                <a:gd name="T54" fmla="*/ 1079 w 1194"/>
                <a:gd name="T55" fmla="*/ 836 h 1196"/>
                <a:gd name="T56" fmla="*/ 1104 w 1194"/>
                <a:gd name="T57" fmla="*/ 899 h 1196"/>
                <a:gd name="T58" fmla="*/ 1079 w 1194"/>
                <a:gd name="T59" fmla="*/ 962 h 1196"/>
                <a:gd name="T60" fmla="*/ 920 w 1194"/>
                <a:gd name="T61" fmla="*/ 1103 h 1196"/>
                <a:gd name="T62" fmla="*/ 854 w 1194"/>
                <a:gd name="T63" fmla="*/ 1095 h 1196"/>
                <a:gd name="T64" fmla="*/ 769 w 1194"/>
                <a:gd name="T65" fmla="*/ 1085 h 1196"/>
                <a:gd name="T66" fmla="*/ 757 w 1194"/>
                <a:gd name="T67" fmla="*/ 1152 h 1196"/>
                <a:gd name="T68" fmla="*/ 704 w 1194"/>
                <a:gd name="T69" fmla="*/ 1192 h 1196"/>
                <a:gd name="T70" fmla="*/ 490 w 1194"/>
                <a:gd name="T71" fmla="*/ 1192 h 1196"/>
                <a:gd name="T72" fmla="*/ 437 w 1194"/>
                <a:gd name="T73" fmla="*/ 1152 h 1196"/>
                <a:gd name="T74" fmla="*/ 426 w 1194"/>
                <a:gd name="T75" fmla="*/ 1085 h 1196"/>
                <a:gd name="T76" fmla="*/ 340 w 1194"/>
                <a:gd name="T77" fmla="*/ 1095 h 1196"/>
                <a:gd name="T78" fmla="*/ 274 w 1194"/>
                <a:gd name="T79" fmla="*/ 1103 h 1196"/>
                <a:gd name="T80" fmla="*/ 115 w 1194"/>
                <a:gd name="T81" fmla="*/ 962 h 1196"/>
                <a:gd name="T82" fmla="*/ 90 w 1194"/>
                <a:gd name="T83" fmla="*/ 899 h 1196"/>
                <a:gd name="T84" fmla="*/ 115 w 1194"/>
                <a:gd name="T85" fmla="*/ 836 h 1196"/>
                <a:gd name="T86" fmla="*/ 87 w 1194"/>
                <a:gd name="T87" fmla="*/ 770 h 1196"/>
                <a:gd name="T88" fmla="*/ 25 w 1194"/>
                <a:gd name="T89" fmla="*/ 743 h 1196"/>
                <a:gd name="T90" fmla="*/ 0 w 1194"/>
                <a:gd name="T91" fmla="*/ 682 h 1196"/>
                <a:gd name="T92" fmla="*/ 11 w 1194"/>
                <a:gd name="T93" fmla="*/ 469 h 1196"/>
                <a:gd name="T94" fmla="*/ 64 w 1194"/>
                <a:gd name="T95" fmla="*/ 429 h 1196"/>
                <a:gd name="T96" fmla="*/ 131 w 1194"/>
                <a:gd name="T97" fmla="*/ 376 h 1196"/>
                <a:gd name="T98" fmla="*/ 93 w 1194"/>
                <a:gd name="T99" fmla="*/ 319 h 1196"/>
                <a:gd name="T100" fmla="*/ 101 w 1194"/>
                <a:gd name="T101" fmla="*/ 253 h 1196"/>
                <a:gd name="T102" fmla="*/ 253 w 1194"/>
                <a:gd name="T103" fmla="*/ 101 h 1196"/>
                <a:gd name="T104" fmla="*/ 318 w 1194"/>
                <a:gd name="T105" fmla="*/ 93 h 1196"/>
                <a:gd name="T106" fmla="*/ 374 w 1194"/>
                <a:gd name="T107" fmla="*/ 131 h 1196"/>
                <a:gd name="T108" fmla="*/ 428 w 1194"/>
                <a:gd name="T109" fmla="*/ 64 h 1196"/>
                <a:gd name="T110" fmla="*/ 468 w 1194"/>
                <a:gd name="T111" fmla="*/ 11 h 1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94" h="1196">
                  <a:moveTo>
                    <a:pt x="597" y="310"/>
                  </a:moveTo>
                  <a:lnTo>
                    <a:pt x="550" y="313"/>
                  </a:lnTo>
                  <a:lnTo>
                    <a:pt x="506" y="324"/>
                  </a:lnTo>
                  <a:lnTo>
                    <a:pt x="464" y="341"/>
                  </a:lnTo>
                  <a:lnTo>
                    <a:pt x="427" y="366"/>
                  </a:lnTo>
                  <a:lnTo>
                    <a:pt x="393" y="394"/>
                  </a:lnTo>
                  <a:lnTo>
                    <a:pt x="364" y="427"/>
                  </a:lnTo>
                  <a:lnTo>
                    <a:pt x="341" y="466"/>
                  </a:lnTo>
                  <a:lnTo>
                    <a:pt x="324" y="507"/>
                  </a:lnTo>
                  <a:lnTo>
                    <a:pt x="313" y="552"/>
                  </a:lnTo>
                  <a:lnTo>
                    <a:pt x="308" y="597"/>
                  </a:lnTo>
                  <a:lnTo>
                    <a:pt x="313" y="644"/>
                  </a:lnTo>
                  <a:lnTo>
                    <a:pt x="324" y="689"/>
                  </a:lnTo>
                  <a:lnTo>
                    <a:pt x="341" y="730"/>
                  </a:lnTo>
                  <a:lnTo>
                    <a:pt x="364" y="767"/>
                  </a:lnTo>
                  <a:lnTo>
                    <a:pt x="393" y="802"/>
                  </a:lnTo>
                  <a:lnTo>
                    <a:pt x="427" y="830"/>
                  </a:lnTo>
                  <a:lnTo>
                    <a:pt x="464" y="853"/>
                  </a:lnTo>
                  <a:lnTo>
                    <a:pt x="506" y="870"/>
                  </a:lnTo>
                  <a:lnTo>
                    <a:pt x="550" y="882"/>
                  </a:lnTo>
                  <a:lnTo>
                    <a:pt x="597" y="886"/>
                  </a:lnTo>
                  <a:lnTo>
                    <a:pt x="644" y="882"/>
                  </a:lnTo>
                  <a:lnTo>
                    <a:pt x="689" y="870"/>
                  </a:lnTo>
                  <a:lnTo>
                    <a:pt x="729" y="853"/>
                  </a:lnTo>
                  <a:lnTo>
                    <a:pt x="767" y="830"/>
                  </a:lnTo>
                  <a:lnTo>
                    <a:pt x="800" y="802"/>
                  </a:lnTo>
                  <a:lnTo>
                    <a:pt x="829" y="767"/>
                  </a:lnTo>
                  <a:lnTo>
                    <a:pt x="853" y="730"/>
                  </a:lnTo>
                  <a:lnTo>
                    <a:pt x="870" y="689"/>
                  </a:lnTo>
                  <a:lnTo>
                    <a:pt x="881" y="644"/>
                  </a:lnTo>
                  <a:lnTo>
                    <a:pt x="884" y="597"/>
                  </a:lnTo>
                  <a:lnTo>
                    <a:pt x="881" y="552"/>
                  </a:lnTo>
                  <a:lnTo>
                    <a:pt x="870" y="507"/>
                  </a:lnTo>
                  <a:lnTo>
                    <a:pt x="853" y="466"/>
                  </a:lnTo>
                  <a:lnTo>
                    <a:pt x="829" y="427"/>
                  </a:lnTo>
                  <a:lnTo>
                    <a:pt x="800" y="394"/>
                  </a:lnTo>
                  <a:lnTo>
                    <a:pt x="767" y="366"/>
                  </a:lnTo>
                  <a:lnTo>
                    <a:pt x="729" y="341"/>
                  </a:lnTo>
                  <a:lnTo>
                    <a:pt x="689" y="324"/>
                  </a:lnTo>
                  <a:lnTo>
                    <a:pt x="644" y="313"/>
                  </a:lnTo>
                  <a:lnTo>
                    <a:pt x="597" y="310"/>
                  </a:lnTo>
                  <a:close/>
                  <a:moveTo>
                    <a:pt x="513" y="0"/>
                  </a:moveTo>
                  <a:lnTo>
                    <a:pt x="681" y="0"/>
                  </a:lnTo>
                  <a:lnTo>
                    <a:pt x="704" y="3"/>
                  </a:lnTo>
                  <a:lnTo>
                    <a:pt x="726" y="11"/>
                  </a:lnTo>
                  <a:lnTo>
                    <a:pt x="743" y="26"/>
                  </a:lnTo>
                  <a:lnTo>
                    <a:pt x="757" y="43"/>
                  </a:lnTo>
                  <a:lnTo>
                    <a:pt x="766" y="64"/>
                  </a:lnTo>
                  <a:lnTo>
                    <a:pt x="769" y="88"/>
                  </a:lnTo>
                  <a:lnTo>
                    <a:pt x="769" y="111"/>
                  </a:lnTo>
                  <a:lnTo>
                    <a:pt x="820" y="131"/>
                  </a:lnTo>
                  <a:lnTo>
                    <a:pt x="836" y="116"/>
                  </a:lnTo>
                  <a:lnTo>
                    <a:pt x="854" y="101"/>
                  </a:lnTo>
                  <a:lnTo>
                    <a:pt x="876" y="93"/>
                  </a:lnTo>
                  <a:lnTo>
                    <a:pt x="899" y="90"/>
                  </a:lnTo>
                  <a:lnTo>
                    <a:pt x="920" y="93"/>
                  </a:lnTo>
                  <a:lnTo>
                    <a:pt x="941" y="101"/>
                  </a:lnTo>
                  <a:lnTo>
                    <a:pt x="960" y="116"/>
                  </a:lnTo>
                  <a:lnTo>
                    <a:pt x="1079" y="234"/>
                  </a:lnTo>
                  <a:lnTo>
                    <a:pt x="1093" y="253"/>
                  </a:lnTo>
                  <a:lnTo>
                    <a:pt x="1102" y="274"/>
                  </a:lnTo>
                  <a:lnTo>
                    <a:pt x="1104" y="297"/>
                  </a:lnTo>
                  <a:lnTo>
                    <a:pt x="1102" y="319"/>
                  </a:lnTo>
                  <a:lnTo>
                    <a:pt x="1093" y="340"/>
                  </a:lnTo>
                  <a:lnTo>
                    <a:pt x="1079" y="359"/>
                  </a:lnTo>
                  <a:lnTo>
                    <a:pt x="1063" y="376"/>
                  </a:lnTo>
                  <a:lnTo>
                    <a:pt x="1083" y="426"/>
                  </a:lnTo>
                  <a:lnTo>
                    <a:pt x="1106" y="426"/>
                  </a:lnTo>
                  <a:lnTo>
                    <a:pt x="1130" y="429"/>
                  </a:lnTo>
                  <a:lnTo>
                    <a:pt x="1152" y="437"/>
                  </a:lnTo>
                  <a:lnTo>
                    <a:pt x="1169" y="451"/>
                  </a:lnTo>
                  <a:lnTo>
                    <a:pt x="1183" y="469"/>
                  </a:lnTo>
                  <a:lnTo>
                    <a:pt x="1192" y="490"/>
                  </a:lnTo>
                  <a:lnTo>
                    <a:pt x="1194" y="514"/>
                  </a:lnTo>
                  <a:lnTo>
                    <a:pt x="1194" y="682"/>
                  </a:lnTo>
                  <a:lnTo>
                    <a:pt x="1192" y="704"/>
                  </a:lnTo>
                  <a:lnTo>
                    <a:pt x="1183" y="726"/>
                  </a:lnTo>
                  <a:lnTo>
                    <a:pt x="1169" y="743"/>
                  </a:lnTo>
                  <a:lnTo>
                    <a:pt x="1152" y="757"/>
                  </a:lnTo>
                  <a:lnTo>
                    <a:pt x="1130" y="766"/>
                  </a:lnTo>
                  <a:lnTo>
                    <a:pt x="1106" y="770"/>
                  </a:lnTo>
                  <a:lnTo>
                    <a:pt x="1083" y="770"/>
                  </a:lnTo>
                  <a:lnTo>
                    <a:pt x="1063" y="820"/>
                  </a:lnTo>
                  <a:lnTo>
                    <a:pt x="1079" y="836"/>
                  </a:lnTo>
                  <a:lnTo>
                    <a:pt x="1093" y="854"/>
                  </a:lnTo>
                  <a:lnTo>
                    <a:pt x="1102" y="876"/>
                  </a:lnTo>
                  <a:lnTo>
                    <a:pt x="1104" y="899"/>
                  </a:lnTo>
                  <a:lnTo>
                    <a:pt x="1102" y="922"/>
                  </a:lnTo>
                  <a:lnTo>
                    <a:pt x="1093" y="942"/>
                  </a:lnTo>
                  <a:lnTo>
                    <a:pt x="1079" y="962"/>
                  </a:lnTo>
                  <a:lnTo>
                    <a:pt x="960" y="1079"/>
                  </a:lnTo>
                  <a:lnTo>
                    <a:pt x="941" y="1095"/>
                  </a:lnTo>
                  <a:lnTo>
                    <a:pt x="920" y="1103"/>
                  </a:lnTo>
                  <a:lnTo>
                    <a:pt x="899" y="1106"/>
                  </a:lnTo>
                  <a:lnTo>
                    <a:pt x="876" y="1103"/>
                  </a:lnTo>
                  <a:lnTo>
                    <a:pt x="854" y="1095"/>
                  </a:lnTo>
                  <a:lnTo>
                    <a:pt x="836" y="1079"/>
                  </a:lnTo>
                  <a:lnTo>
                    <a:pt x="820" y="1063"/>
                  </a:lnTo>
                  <a:lnTo>
                    <a:pt x="769" y="1085"/>
                  </a:lnTo>
                  <a:lnTo>
                    <a:pt x="769" y="1107"/>
                  </a:lnTo>
                  <a:lnTo>
                    <a:pt x="766" y="1130"/>
                  </a:lnTo>
                  <a:lnTo>
                    <a:pt x="757" y="1152"/>
                  </a:lnTo>
                  <a:lnTo>
                    <a:pt x="743" y="1169"/>
                  </a:lnTo>
                  <a:lnTo>
                    <a:pt x="726" y="1183"/>
                  </a:lnTo>
                  <a:lnTo>
                    <a:pt x="704" y="1192"/>
                  </a:lnTo>
                  <a:lnTo>
                    <a:pt x="681" y="1196"/>
                  </a:lnTo>
                  <a:lnTo>
                    <a:pt x="513" y="1196"/>
                  </a:lnTo>
                  <a:lnTo>
                    <a:pt x="490" y="1192"/>
                  </a:lnTo>
                  <a:lnTo>
                    <a:pt x="468" y="1183"/>
                  </a:lnTo>
                  <a:lnTo>
                    <a:pt x="451" y="1169"/>
                  </a:lnTo>
                  <a:lnTo>
                    <a:pt x="437" y="1152"/>
                  </a:lnTo>
                  <a:lnTo>
                    <a:pt x="428" y="1130"/>
                  </a:lnTo>
                  <a:lnTo>
                    <a:pt x="426" y="1107"/>
                  </a:lnTo>
                  <a:lnTo>
                    <a:pt x="426" y="1085"/>
                  </a:lnTo>
                  <a:lnTo>
                    <a:pt x="374" y="1063"/>
                  </a:lnTo>
                  <a:lnTo>
                    <a:pt x="358" y="1079"/>
                  </a:lnTo>
                  <a:lnTo>
                    <a:pt x="340" y="1095"/>
                  </a:lnTo>
                  <a:lnTo>
                    <a:pt x="318" y="1103"/>
                  </a:lnTo>
                  <a:lnTo>
                    <a:pt x="296" y="1106"/>
                  </a:lnTo>
                  <a:lnTo>
                    <a:pt x="274" y="1103"/>
                  </a:lnTo>
                  <a:lnTo>
                    <a:pt x="253" y="1095"/>
                  </a:lnTo>
                  <a:lnTo>
                    <a:pt x="234" y="1079"/>
                  </a:lnTo>
                  <a:lnTo>
                    <a:pt x="115" y="962"/>
                  </a:lnTo>
                  <a:lnTo>
                    <a:pt x="101" y="942"/>
                  </a:lnTo>
                  <a:lnTo>
                    <a:pt x="93" y="922"/>
                  </a:lnTo>
                  <a:lnTo>
                    <a:pt x="90" y="899"/>
                  </a:lnTo>
                  <a:lnTo>
                    <a:pt x="93" y="876"/>
                  </a:lnTo>
                  <a:lnTo>
                    <a:pt x="101" y="854"/>
                  </a:lnTo>
                  <a:lnTo>
                    <a:pt x="115" y="836"/>
                  </a:lnTo>
                  <a:lnTo>
                    <a:pt x="131" y="820"/>
                  </a:lnTo>
                  <a:lnTo>
                    <a:pt x="110" y="770"/>
                  </a:lnTo>
                  <a:lnTo>
                    <a:pt x="87" y="770"/>
                  </a:lnTo>
                  <a:lnTo>
                    <a:pt x="64" y="766"/>
                  </a:lnTo>
                  <a:lnTo>
                    <a:pt x="43" y="757"/>
                  </a:lnTo>
                  <a:lnTo>
                    <a:pt x="25" y="743"/>
                  </a:lnTo>
                  <a:lnTo>
                    <a:pt x="11" y="726"/>
                  </a:lnTo>
                  <a:lnTo>
                    <a:pt x="3" y="704"/>
                  </a:lnTo>
                  <a:lnTo>
                    <a:pt x="0" y="682"/>
                  </a:lnTo>
                  <a:lnTo>
                    <a:pt x="0" y="514"/>
                  </a:lnTo>
                  <a:lnTo>
                    <a:pt x="3" y="490"/>
                  </a:lnTo>
                  <a:lnTo>
                    <a:pt x="11" y="469"/>
                  </a:lnTo>
                  <a:lnTo>
                    <a:pt x="25" y="451"/>
                  </a:lnTo>
                  <a:lnTo>
                    <a:pt x="43" y="437"/>
                  </a:lnTo>
                  <a:lnTo>
                    <a:pt x="64" y="429"/>
                  </a:lnTo>
                  <a:lnTo>
                    <a:pt x="87" y="426"/>
                  </a:lnTo>
                  <a:lnTo>
                    <a:pt x="110" y="426"/>
                  </a:lnTo>
                  <a:lnTo>
                    <a:pt x="131" y="376"/>
                  </a:lnTo>
                  <a:lnTo>
                    <a:pt x="115" y="359"/>
                  </a:lnTo>
                  <a:lnTo>
                    <a:pt x="101" y="340"/>
                  </a:lnTo>
                  <a:lnTo>
                    <a:pt x="93" y="319"/>
                  </a:lnTo>
                  <a:lnTo>
                    <a:pt x="90" y="297"/>
                  </a:lnTo>
                  <a:lnTo>
                    <a:pt x="93" y="274"/>
                  </a:lnTo>
                  <a:lnTo>
                    <a:pt x="101" y="253"/>
                  </a:lnTo>
                  <a:lnTo>
                    <a:pt x="115" y="234"/>
                  </a:lnTo>
                  <a:lnTo>
                    <a:pt x="234" y="116"/>
                  </a:lnTo>
                  <a:lnTo>
                    <a:pt x="253" y="101"/>
                  </a:lnTo>
                  <a:lnTo>
                    <a:pt x="274" y="93"/>
                  </a:lnTo>
                  <a:lnTo>
                    <a:pt x="296" y="90"/>
                  </a:lnTo>
                  <a:lnTo>
                    <a:pt x="318" y="93"/>
                  </a:lnTo>
                  <a:lnTo>
                    <a:pt x="340" y="101"/>
                  </a:lnTo>
                  <a:lnTo>
                    <a:pt x="358" y="116"/>
                  </a:lnTo>
                  <a:lnTo>
                    <a:pt x="374" y="131"/>
                  </a:lnTo>
                  <a:lnTo>
                    <a:pt x="426" y="111"/>
                  </a:lnTo>
                  <a:lnTo>
                    <a:pt x="426" y="88"/>
                  </a:lnTo>
                  <a:lnTo>
                    <a:pt x="428" y="64"/>
                  </a:lnTo>
                  <a:lnTo>
                    <a:pt x="437" y="43"/>
                  </a:lnTo>
                  <a:lnTo>
                    <a:pt x="451" y="26"/>
                  </a:lnTo>
                  <a:lnTo>
                    <a:pt x="468" y="11"/>
                  </a:lnTo>
                  <a:lnTo>
                    <a:pt x="490" y="3"/>
                  </a:lnTo>
                  <a:lnTo>
                    <a:pt x="51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временные аналитические решения успешно используют внешние источники данных для повышения точности прогнозов</a:t>
            </a:r>
            <a:r>
              <a:rPr dirty="0"/>
              <a:t/>
            </a:r>
            <a:br>
              <a:rPr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2152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Наш инструментарий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 bwMode="ltGray">
          <a:xfrm>
            <a:off x="6716890" y="1042593"/>
            <a:ext cx="1893711" cy="255627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802526" y="1646473"/>
            <a:ext cx="1722438" cy="13234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Microsoft SQL Server – система управления базами данных, разработанная Microsoft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Позволяет </a:t>
            </a:r>
            <a:r>
              <a:rPr lang="ru-RU" sz="900" b="1" dirty="0" smtClean="0">
                <a:solidFill>
                  <a:srgbClr val="FFFFFF"/>
                </a:solidFill>
                <a:latin typeface="Georgia"/>
              </a:rPr>
              <a:t>хранить, преобразовывать данные и обмениваться ими с другими пользователями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Очень высокопроизводительная база данных</a:t>
            </a:r>
          </a:p>
        </p:txBody>
      </p:sp>
      <p:sp>
        <p:nvSpPr>
          <p:cNvPr id="34" name="Rectangle 33"/>
          <p:cNvSpPr/>
          <p:nvPr/>
        </p:nvSpPr>
        <p:spPr bwMode="ltGray">
          <a:xfrm>
            <a:off x="6716888" y="3741241"/>
            <a:ext cx="1893711" cy="277969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788955" y="4240097"/>
            <a:ext cx="1722438" cy="18543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b="1" dirty="0" smtClean="0">
                <a:solidFill>
                  <a:srgbClr val="FFFFFF"/>
                </a:solidFill>
                <a:latin typeface="Georgia"/>
              </a:rPr>
              <a:t>Современная архитектура больших данных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b="1" dirty="0" smtClean="0">
                <a:solidFill>
                  <a:srgbClr val="FFFFFF"/>
                </a:solidFill>
                <a:latin typeface="Georgia"/>
              </a:rPr>
              <a:t>Параллельная обработка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Возможность обрабатывать все имеющиеся данных (в зависимости от имеющейся памяти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Аналитика в режиме реального времени с использованием Storm 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Множество вспомогательных технологий, включая базовые решения Pig&amp;Hive, Presto, Splunk или Cassandra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Распределение Hortonworks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914" y="3595776"/>
            <a:ext cx="1177050" cy="70623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4389" y="764417"/>
            <a:ext cx="790575" cy="64162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ltGray">
          <a:xfrm>
            <a:off x="4410246" y="1042593"/>
            <a:ext cx="2161690" cy="255627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 bwMode="ltGray">
          <a:xfrm>
            <a:off x="4410246" y="3741241"/>
            <a:ext cx="2161690" cy="277969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497702" y="1585513"/>
            <a:ext cx="1966180" cy="18774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Microsoft Visual Studio – интегрированная среда разработки от Microsoft. Используется для </a:t>
            </a:r>
            <a:r>
              <a:rPr lang="ru-RU" sz="900" b="1" dirty="0" smtClean="0">
                <a:solidFill>
                  <a:srgbClr val="FFFFFF"/>
                </a:solidFill>
                <a:latin typeface="Georgia"/>
              </a:rPr>
              <a:t>разработки компьютерных программ для Microsoft Windows, а также веб-сайтов, веб-приложений и веб-сервисов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Большинство наших решений, которые были или буду созданы нашими специалистами, написаны на C#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Наши решения разработаны на платформе .NET </a:t>
            </a:r>
            <a:endParaRPr lang="ru-RU" sz="900" dirty="0">
              <a:solidFill>
                <a:srgbClr val="FFFFFF"/>
              </a:solidFill>
              <a:latin typeface="Georgia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497702" y="4550227"/>
            <a:ext cx="1966180" cy="16773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Tableau – </a:t>
            </a:r>
            <a:r>
              <a:rPr lang="ru-RU" sz="900" b="1" dirty="0" smtClean="0">
                <a:solidFill>
                  <a:srgbClr val="FFFFFF"/>
                </a:solidFill>
                <a:latin typeface="Georgia"/>
              </a:rPr>
              <a:t>интерактивная визуализация данных </a:t>
            </a: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с акцентом на бизнес-аналитику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Программное обеспечение, производящее</a:t>
            </a:r>
            <a:r>
              <a:rPr lang="ru-RU" sz="900" b="1" dirty="0" smtClean="0">
                <a:solidFill>
                  <a:srgbClr val="FFFFFF"/>
                </a:solidFill>
                <a:latin typeface="Georgia"/>
              </a:rPr>
              <a:t> сногсшибательный эффект</a:t>
            </a: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 («вау-эффект») на важных клиентских презентациях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Совместимо со всеми основными источниками данных 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b="1" dirty="0" smtClean="0">
                <a:solidFill>
                  <a:srgbClr val="FFFFFF"/>
                </a:solidFill>
                <a:latin typeface="Georgia"/>
              </a:rPr>
              <a:t>Лучший инструмент бизнес-аналитики </a:t>
            </a: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(по данным Gartner)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ru-RU" sz="900" dirty="0" smtClean="0">
              <a:solidFill>
                <a:srgbClr val="FFFFFF"/>
              </a:solidFill>
              <a:latin typeface="Georgia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536" y="852085"/>
            <a:ext cx="819957" cy="71830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ltGray">
          <a:xfrm>
            <a:off x="533399" y="1042592"/>
            <a:ext cx="1774019" cy="255627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/>
        </p:nvSpPr>
        <p:spPr bwMode="ltGray">
          <a:xfrm>
            <a:off x="2464285" y="1042593"/>
            <a:ext cx="1774019" cy="25562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 bwMode="ltGray">
          <a:xfrm>
            <a:off x="533399" y="3741241"/>
            <a:ext cx="3700162" cy="277969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Georgia" pitchFamily="18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649" y="3819722"/>
            <a:ext cx="692679" cy="561710"/>
          </a:xfrm>
          <a:prstGeom prst="rect">
            <a:avLst/>
          </a:prstGeom>
        </p:spPr>
      </p:pic>
      <p:pic>
        <p:nvPicPr>
          <p:cNvPr id="19" name="Picture 1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050" y="3934031"/>
            <a:ext cx="721589" cy="333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613429" y="1646473"/>
            <a:ext cx="1613960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Обработка географических данных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Визуализация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Созданы высокотехнологичные геопространственные решения на базе QGIS+Python и PostGIS</a:t>
            </a:r>
            <a:endParaRPr lang="ru-RU" sz="900" dirty="0">
              <a:solidFill>
                <a:srgbClr val="FFFFFF"/>
              </a:solidFill>
              <a:latin typeface="Georgia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544509" y="1646473"/>
            <a:ext cx="1613571" cy="61555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Лучший в своей категории инструмент для различных видов моделирования, включая агентное моделирование</a:t>
            </a:r>
            <a:endParaRPr lang="ru-RU" sz="900" dirty="0">
              <a:solidFill>
                <a:srgbClr val="FFFFFF"/>
              </a:solidFill>
              <a:latin typeface="Georgia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65244" y="4550227"/>
            <a:ext cx="3544457" cy="14003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[R] – бесплатный язык программирования и программная среда для </a:t>
            </a:r>
            <a:r>
              <a:rPr lang="ru-RU" sz="900" b="1" dirty="0" smtClean="0">
                <a:solidFill>
                  <a:srgbClr val="FFFFFF"/>
                </a:solidFill>
                <a:latin typeface="Georgia"/>
              </a:rPr>
              <a:t>статистических вычислений и составления графиков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Она позволяет проводить </a:t>
            </a:r>
            <a:r>
              <a:rPr lang="ru-RU" sz="900" b="1" dirty="0" smtClean="0">
                <a:solidFill>
                  <a:srgbClr val="FFFFFF"/>
                </a:solidFill>
                <a:latin typeface="Georgia"/>
              </a:rPr>
              <a:t>эконометрические вычисления и расчеты на базе анализа больших массивов данных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b="1" dirty="0" smtClean="0">
                <a:solidFill>
                  <a:srgbClr val="FFFFFF"/>
                </a:solidFill>
                <a:latin typeface="Georgia"/>
              </a:rPr>
              <a:t>Мы используем SAS для обеспечения соответствия стандартной ИТ-архитектуре банков и телекоммуникационных компаний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Для быстрого создания прототипов мы используем Python</a:t>
            </a:r>
          </a:p>
          <a:p>
            <a:pPr marL="92075" indent="-920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FFFFFF"/>
                </a:solidFill>
                <a:latin typeface="Georgia"/>
              </a:rPr>
              <a:t>Настоящие решения в области больших данных, обрабатывающие большие объемы высокоскоростных данных, построены с использованием Spark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278"/>
          <a:stretch/>
        </p:blipFill>
        <p:spPr>
          <a:xfrm>
            <a:off x="2857105" y="980940"/>
            <a:ext cx="1290672" cy="355107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138" y="926769"/>
            <a:ext cx="1067752" cy="506068"/>
          </a:xfrm>
          <a:prstGeom prst="rect">
            <a:avLst/>
          </a:prstGeom>
        </p:spPr>
      </p:pic>
      <p:pic>
        <p:nvPicPr>
          <p:cNvPr id="36" name="Picture 6" descr="https://spark.apache.org/images/spark-logo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8509" y="3947259"/>
            <a:ext cx="577462" cy="306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085" name="Picture 117" descr="http://www.itworks.rs/assets/img/python_logo.png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24" r="27560"/>
          <a:stretch/>
        </p:blipFill>
        <p:spPr bwMode="auto">
          <a:xfrm>
            <a:off x="1616197" y="3817385"/>
            <a:ext cx="518984" cy="566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109" name="Picture 141" descr="http://www.affecto.pl/var/ezwebin_site/storage/images/media/poland/images/logo2/220950-1-pol-PL/logo_medium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0902" y="3911820"/>
            <a:ext cx="1594333" cy="334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111" name="Picture 143" descr="https://storm.apache.org/images/logocontest/storm_logo_winner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2842" y="3993839"/>
            <a:ext cx="825480" cy="301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296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/>
          <p:cNvGrpSpPr/>
          <p:nvPr/>
        </p:nvGrpSpPr>
        <p:grpSpPr>
          <a:xfrm>
            <a:off x="621904" y="4798485"/>
            <a:ext cx="7685253" cy="1711990"/>
            <a:chOff x="1385175" y="1669784"/>
            <a:chExt cx="6452734" cy="3220225"/>
          </a:xfrm>
        </p:grpSpPr>
        <p:grpSp>
          <p:nvGrpSpPr>
            <p:cNvPr id="155" name="Group 154"/>
            <p:cNvGrpSpPr/>
            <p:nvPr/>
          </p:nvGrpSpPr>
          <p:grpSpPr>
            <a:xfrm>
              <a:off x="1385175" y="1669784"/>
              <a:ext cx="2990768" cy="3142380"/>
              <a:chOff x="1385175" y="1669784"/>
              <a:chExt cx="2990768" cy="3142380"/>
            </a:xfrm>
          </p:grpSpPr>
          <p:cxnSp>
            <p:nvCxnSpPr>
              <p:cNvPr id="187" name="Straight Connector 186"/>
              <p:cNvCxnSpPr/>
              <p:nvPr/>
            </p:nvCxnSpPr>
            <p:spPr>
              <a:xfrm flipH="1">
                <a:off x="4285820" y="1669784"/>
                <a:ext cx="3543" cy="210094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tangle 187"/>
              <p:cNvSpPr/>
              <p:nvPr/>
            </p:nvSpPr>
            <p:spPr bwMode="ltGray">
              <a:xfrm>
                <a:off x="4207879" y="2108566"/>
                <a:ext cx="166509" cy="867504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9" name="Rectangle 188"/>
              <p:cNvSpPr/>
              <p:nvPr/>
            </p:nvSpPr>
            <p:spPr bwMode="ltGray">
              <a:xfrm>
                <a:off x="4209434" y="2965183"/>
                <a:ext cx="166509" cy="551883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90" name="Straight Connector 189"/>
              <p:cNvCxnSpPr/>
              <p:nvPr/>
            </p:nvCxnSpPr>
            <p:spPr>
              <a:xfrm>
                <a:off x="4232678" y="1669784"/>
                <a:ext cx="1221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/>
              <p:cNvCxnSpPr/>
              <p:nvPr/>
            </p:nvCxnSpPr>
            <p:spPr>
              <a:xfrm>
                <a:off x="4224730" y="3770727"/>
                <a:ext cx="1221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/>
              <p:cNvCxnSpPr/>
              <p:nvPr/>
            </p:nvCxnSpPr>
            <p:spPr>
              <a:xfrm flipH="1">
                <a:off x="2714027" y="3189677"/>
                <a:ext cx="3213" cy="1604418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3" name="Rectangle 192"/>
              <p:cNvSpPr/>
              <p:nvPr/>
            </p:nvSpPr>
            <p:spPr bwMode="ltGray">
              <a:xfrm>
                <a:off x="2643206" y="3524761"/>
                <a:ext cx="151135" cy="662482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94" name="Rectangle 193"/>
              <p:cNvSpPr/>
              <p:nvPr/>
            </p:nvSpPr>
            <p:spPr bwMode="ltGray">
              <a:xfrm>
                <a:off x="2643206" y="4178929"/>
                <a:ext cx="152545" cy="421454"/>
              </a:xfrm>
              <a:prstGeom prst="rect">
                <a:avLst/>
              </a:prstGeom>
              <a:solidFill>
                <a:schemeClr val="accent2">
                  <a:lumMod val="9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95" name="Straight Connector 194"/>
              <p:cNvCxnSpPr/>
              <p:nvPr/>
            </p:nvCxnSpPr>
            <p:spPr>
              <a:xfrm>
                <a:off x="2665839" y="3189677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Straight Connector 195"/>
              <p:cNvCxnSpPr/>
              <p:nvPr/>
            </p:nvCxnSpPr>
            <p:spPr>
              <a:xfrm>
                <a:off x="2658631" y="4794095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Straight Connector 196"/>
              <p:cNvCxnSpPr/>
              <p:nvPr/>
            </p:nvCxnSpPr>
            <p:spPr>
              <a:xfrm flipH="1">
                <a:off x="3191175" y="2023420"/>
                <a:ext cx="3543" cy="210094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8" name="Rectangle 197"/>
              <p:cNvSpPr/>
              <p:nvPr/>
            </p:nvSpPr>
            <p:spPr bwMode="ltGray">
              <a:xfrm>
                <a:off x="3113234" y="2462202"/>
                <a:ext cx="166509" cy="867504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99" name="Rectangle 198"/>
              <p:cNvSpPr/>
              <p:nvPr/>
            </p:nvSpPr>
            <p:spPr bwMode="ltGray">
              <a:xfrm>
                <a:off x="3114789" y="3318819"/>
                <a:ext cx="166509" cy="551883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200" name="Straight Connector 199"/>
              <p:cNvCxnSpPr/>
              <p:nvPr/>
            </p:nvCxnSpPr>
            <p:spPr>
              <a:xfrm>
                <a:off x="3138033" y="2023420"/>
                <a:ext cx="1221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1" name="Straight Connector 200"/>
              <p:cNvCxnSpPr/>
              <p:nvPr/>
            </p:nvCxnSpPr>
            <p:spPr>
              <a:xfrm>
                <a:off x="3130085" y="4124363"/>
                <a:ext cx="1221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Straight Connector 201"/>
              <p:cNvCxnSpPr/>
              <p:nvPr/>
            </p:nvCxnSpPr>
            <p:spPr>
              <a:xfrm flipH="1">
                <a:off x="1458845" y="2193680"/>
                <a:ext cx="3342" cy="252781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3" name="Rectangle 202"/>
              <p:cNvSpPr/>
              <p:nvPr/>
            </p:nvSpPr>
            <p:spPr bwMode="ltGray">
              <a:xfrm>
                <a:off x="1385175" y="2721613"/>
                <a:ext cx="157215" cy="1043763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04" name="Rectangle 203"/>
              <p:cNvSpPr/>
              <p:nvPr/>
            </p:nvSpPr>
            <p:spPr bwMode="ltGray">
              <a:xfrm>
                <a:off x="1385175" y="3752277"/>
                <a:ext cx="158681" cy="664014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205" name="Straight Connector 204"/>
              <p:cNvCxnSpPr/>
              <p:nvPr/>
            </p:nvCxnSpPr>
            <p:spPr>
              <a:xfrm>
                <a:off x="1408718" y="2193680"/>
                <a:ext cx="115248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6" name="Straight Connector 205"/>
              <p:cNvCxnSpPr/>
              <p:nvPr/>
            </p:nvCxnSpPr>
            <p:spPr>
              <a:xfrm>
                <a:off x="1401221" y="4721491"/>
                <a:ext cx="115248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7" name="Straight Connector 206"/>
              <p:cNvCxnSpPr/>
              <p:nvPr/>
            </p:nvCxnSpPr>
            <p:spPr>
              <a:xfrm flipH="1">
                <a:off x="3780584" y="3207746"/>
                <a:ext cx="3213" cy="1604418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8" name="Rectangle 207"/>
              <p:cNvSpPr/>
              <p:nvPr/>
            </p:nvSpPr>
            <p:spPr bwMode="ltGray">
              <a:xfrm>
                <a:off x="3709763" y="3542829"/>
                <a:ext cx="151135" cy="662483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09" name="Rectangle 208"/>
              <p:cNvSpPr/>
              <p:nvPr/>
            </p:nvSpPr>
            <p:spPr bwMode="ltGray">
              <a:xfrm>
                <a:off x="3709763" y="4196998"/>
                <a:ext cx="152545" cy="421454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210" name="Straight Connector 209"/>
              <p:cNvCxnSpPr/>
              <p:nvPr/>
            </p:nvCxnSpPr>
            <p:spPr>
              <a:xfrm>
                <a:off x="3732396" y="3207746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Straight Connector 210"/>
              <p:cNvCxnSpPr/>
              <p:nvPr/>
            </p:nvCxnSpPr>
            <p:spPr>
              <a:xfrm>
                <a:off x="3725188" y="4812164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Straight Connector 211"/>
              <p:cNvCxnSpPr/>
              <p:nvPr/>
            </p:nvCxnSpPr>
            <p:spPr>
              <a:xfrm flipH="1">
                <a:off x="2103354" y="2519945"/>
                <a:ext cx="3213" cy="1604418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3" name="Rectangle 212"/>
              <p:cNvSpPr/>
              <p:nvPr/>
            </p:nvSpPr>
            <p:spPr bwMode="ltGray">
              <a:xfrm>
                <a:off x="2032533" y="2855028"/>
                <a:ext cx="151135" cy="662483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14" name="Rectangle 213"/>
              <p:cNvSpPr/>
              <p:nvPr/>
            </p:nvSpPr>
            <p:spPr bwMode="ltGray">
              <a:xfrm>
                <a:off x="2032533" y="3509197"/>
                <a:ext cx="152545" cy="421454"/>
              </a:xfrm>
              <a:prstGeom prst="rect">
                <a:avLst/>
              </a:prstGeom>
              <a:solidFill>
                <a:schemeClr val="accent4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215" name="Straight Connector 214"/>
              <p:cNvCxnSpPr/>
              <p:nvPr/>
            </p:nvCxnSpPr>
            <p:spPr>
              <a:xfrm>
                <a:off x="2055166" y="2519945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Straight Connector 215"/>
              <p:cNvCxnSpPr/>
              <p:nvPr/>
            </p:nvCxnSpPr>
            <p:spPr>
              <a:xfrm>
                <a:off x="2047958" y="4124363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6" name="Group 155"/>
            <p:cNvGrpSpPr/>
            <p:nvPr/>
          </p:nvGrpSpPr>
          <p:grpSpPr>
            <a:xfrm>
              <a:off x="4847141" y="1747629"/>
              <a:ext cx="2990768" cy="3142380"/>
              <a:chOff x="1385175" y="1669784"/>
              <a:chExt cx="2990768" cy="3142380"/>
            </a:xfrm>
          </p:grpSpPr>
          <p:cxnSp>
            <p:nvCxnSpPr>
              <p:cNvPr id="157" name="Straight Connector 156"/>
              <p:cNvCxnSpPr/>
              <p:nvPr/>
            </p:nvCxnSpPr>
            <p:spPr>
              <a:xfrm flipH="1">
                <a:off x="4285820" y="1669784"/>
                <a:ext cx="3543" cy="210094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8" name="Rectangle 157"/>
              <p:cNvSpPr/>
              <p:nvPr/>
            </p:nvSpPr>
            <p:spPr bwMode="ltGray">
              <a:xfrm>
                <a:off x="4207879" y="2108566"/>
                <a:ext cx="166509" cy="867504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9" name="Rectangle 158"/>
              <p:cNvSpPr/>
              <p:nvPr/>
            </p:nvSpPr>
            <p:spPr bwMode="ltGray">
              <a:xfrm>
                <a:off x="4209434" y="2965183"/>
                <a:ext cx="166509" cy="551883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60" name="Straight Connector 159"/>
              <p:cNvCxnSpPr/>
              <p:nvPr/>
            </p:nvCxnSpPr>
            <p:spPr>
              <a:xfrm>
                <a:off x="4232678" y="1669784"/>
                <a:ext cx="1221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/>
            </p:nvCxnSpPr>
            <p:spPr>
              <a:xfrm>
                <a:off x="4224730" y="3770727"/>
                <a:ext cx="1221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 flipH="1">
                <a:off x="2714027" y="3189677"/>
                <a:ext cx="3213" cy="1604418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3" name="Rectangle 162"/>
              <p:cNvSpPr/>
              <p:nvPr/>
            </p:nvSpPr>
            <p:spPr bwMode="ltGray">
              <a:xfrm>
                <a:off x="2643206" y="3524760"/>
                <a:ext cx="151135" cy="662483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4" name="Rectangle 163"/>
              <p:cNvSpPr/>
              <p:nvPr/>
            </p:nvSpPr>
            <p:spPr bwMode="ltGray">
              <a:xfrm>
                <a:off x="2643206" y="4178929"/>
                <a:ext cx="152545" cy="421454"/>
              </a:xfrm>
              <a:prstGeom prst="rect">
                <a:avLst/>
              </a:prstGeom>
              <a:solidFill>
                <a:schemeClr val="accent2">
                  <a:lumMod val="9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65" name="Straight Connector 164"/>
              <p:cNvCxnSpPr/>
              <p:nvPr/>
            </p:nvCxnSpPr>
            <p:spPr>
              <a:xfrm>
                <a:off x="2665839" y="3189677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/>
            </p:nvCxnSpPr>
            <p:spPr>
              <a:xfrm>
                <a:off x="2658631" y="4794095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/>
            </p:nvCxnSpPr>
            <p:spPr>
              <a:xfrm flipH="1">
                <a:off x="3191175" y="2023420"/>
                <a:ext cx="3543" cy="210094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8" name="Rectangle 167"/>
              <p:cNvSpPr/>
              <p:nvPr/>
            </p:nvSpPr>
            <p:spPr bwMode="ltGray">
              <a:xfrm>
                <a:off x="3113234" y="2462202"/>
                <a:ext cx="166509" cy="867504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9" name="Rectangle 168"/>
              <p:cNvSpPr/>
              <p:nvPr/>
            </p:nvSpPr>
            <p:spPr bwMode="ltGray">
              <a:xfrm>
                <a:off x="3114789" y="3318819"/>
                <a:ext cx="166509" cy="551883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70" name="Straight Connector 169"/>
              <p:cNvCxnSpPr/>
              <p:nvPr/>
            </p:nvCxnSpPr>
            <p:spPr>
              <a:xfrm>
                <a:off x="3138033" y="2023420"/>
                <a:ext cx="1221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3130085" y="4124363"/>
                <a:ext cx="1221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 flipH="1">
                <a:off x="1458845" y="2193680"/>
                <a:ext cx="3342" cy="252781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tangle 172"/>
              <p:cNvSpPr/>
              <p:nvPr/>
            </p:nvSpPr>
            <p:spPr bwMode="ltGray">
              <a:xfrm>
                <a:off x="1385175" y="2721613"/>
                <a:ext cx="157215" cy="1043763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4" name="Rectangle 173"/>
              <p:cNvSpPr/>
              <p:nvPr/>
            </p:nvSpPr>
            <p:spPr bwMode="ltGray">
              <a:xfrm>
                <a:off x="1385175" y="3752277"/>
                <a:ext cx="158681" cy="664014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75" name="Straight Connector 174"/>
              <p:cNvCxnSpPr/>
              <p:nvPr/>
            </p:nvCxnSpPr>
            <p:spPr>
              <a:xfrm>
                <a:off x="1408718" y="2193680"/>
                <a:ext cx="115248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401221" y="4721491"/>
                <a:ext cx="115248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 flipH="1">
                <a:off x="3780584" y="3207746"/>
                <a:ext cx="3213" cy="1604418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8" name="Rectangle 177"/>
              <p:cNvSpPr/>
              <p:nvPr/>
            </p:nvSpPr>
            <p:spPr bwMode="ltGray">
              <a:xfrm>
                <a:off x="3709763" y="3542829"/>
                <a:ext cx="151135" cy="662483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9" name="Rectangle 178"/>
              <p:cNvSpPr/>
              <p:nvPr/>
            </p:nvSpPr>
            <p:spPr bwMode="ltGray">
              <a:xfrm>
                <a:off x="3709763" y="4196998"/>
                <a:ext cx="152545" cy="421454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80" name="Straight Connector 179"/>
              <p:cNvCxnSpPr/>
              <p:nvPr/>
            </p:nvCxnSpPr>
            <p:spPr>
              <a:xfrm>
                <a:off x="3732396" y="3207746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3725188" y="4812164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 flipH="1">
                <a:off x="2103354" y="2519945"/>
                <a:ext cx="3213" cy="1604418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3" name="Rectangle 182"/>
              <p:cNvSpPr/>
              <p:nvPr/>
            </p:nvSpPr>
            <p:spPr bwMode="ltGray">
              <a:xfrm>
                <a:off x="2032533" y="2855028"/>
                <a:ext cx="151135" cy="662483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4" name="Rectangle 183"/>
              <p:cNvSpPr/>
              <p:nvPr/>
            </p:nvSpPr>
            <p:spPr bwMode="ltGray">
              <a:xfrm>
                <a:off x="2032533" y="3509197"/>
                <a:ext cx="152545" cy="421454"/>
              </a:xfrm>
              <a:prstGeom prst="rect">
                <a:avLst/>
              </a:prstGeom>
              <a:solidFill>
                <a:schemeClr val="accent4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85" name="Straight Connector 184"/>
              <p:cNvCxnSpPr/>
              <p:nvPr/>
            </p:nvCxnSpPr>
            <p:spPr>
              <a:xfrm>
                <a:off x="2055166" y="2519945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2047958" y="4124363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91" name="Group 90"/>
          <p:cNvGrpSpPr/>
          <p:nvPr/>
        </p:nvGrpSpPr>
        <p:grpSpPr>
          <a:xfrm>
            <a:off x="729242" y="3424196"/>
            <a:ext cx="7685253" cy="1711990"/>
            <a:chOff x="1385175" y="1669784"/>
            <a:chExt cx="6452734" cy="3220225"/>
          </a:xfrm>
        </p:grpSpPr>
        <p:grpSp>
          <p:nvGrpSpPr>
            <p:cNvPr id="92" name="Group 91"/>
            <p:cNvGrpSpPr/>
            <p:nvPr/>
          </p:nvGrpSpPr>
          <p:grpSpPr>
            <a:xfrm>
              <a:off x="1385175" y="1669784"/>
              <a:ext cx="2990768" cy="3142380"/>
              <a:chOff x="1385175" y="1669784"/>
              <a:chExt cx="2990768" cy="3142380"/>
            </a:xfrm>
          </p:grpSpPr>
          <p:cxnSp>
            <p:nvCxnSpPr>
              <p:cNvPr id="124" name="Straight Connector 123"/>
              <p:cNvCxnSpPr/>
              <p:nvPr/>
            </p:nvCxnSpPr>
            <p:spPr>
              <a:xfrm flipH="1">
                <a:off x="4285820" y="1669784"/>
                <a:ext cx="3543" cy="210094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5" name="Rectangle 124"/>
              <p:cNvSpPr/>
              <p:nvPr/>
            </p:nvSpPr>
            <p:spPr bwMode="ltGray">
              <a:xfrm>
                <a:off x="4207879" y="2108566"/>
                <a:ext cx="166509" cy="867504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6" name="Rectangle 125"/>
              <p:cNvSpPr/>
              <p:nvPr/>
            </p:nvSpPr>
            <p:spPr bwMode="ltGray">
              <a:xfrm>
                <a:off x="4209434" y="2965183"/>
                <a:ext cx="166509" cy="551883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27" name="Straight Connector 126"/>
              <p:cNvCxnSpPr/>
              <p:nvPr/>
            </p:nvCxnSpPr>
            <p:spPr>
              <a:xfrm>
                <a:off x="4232678" y="1669784"/>
                <a:ext cx="1221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4224730" y="3770727"/>
                <a:ext cx="1221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 flipH="1">
                <a:off x="2714027" y="3189677"/>
                <a:ext cx="3213" cy="1604418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0" name="Rectangle 129"/>
              <p:cNvSpPr/>
              <p:nvPr/>
            </p:nvSpPr>
            <p:spPr bwMode="ltGray">
              <a:xfrm>
                <a:off x="2643206" y="3524760"/>
                <a:ext cx="151135" cy="662483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1" name="Rectangle 130"/>
              <p:cNvSpPr/>
              <p:nvPr/>
            </p:nvSpPr>
            <p:spPr bwMode="ltGray">
              <a:xfrm>
                <a:off x="2643206" y="4178929"/>
                <a:ext cx="152545" cy="421454"/>
              </a:xfrm>
              <a:prstGeom prst="rect">
                <a:avLst/>
              </a:prstGeom>
              <a:solidFill>
                <a:schemeClr val="accent2">
                  <a:lumMod val="9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32" name="Straight Connector 131"/>
              <p:cNvCxnSpPr/>
              <p:nvPr/>
            </p:nvCxnSpPr>
            <p:spPr>
              <a:xfrm>
                <a:off x="2665839" y="3189677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2658631" y="4794095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 flipH="1">
                <a:off x="3191175" y="2023420"/>
                <a:ext cx="3543" cy="210094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5" name="Rectangle 134"/>
              <p:cNvSpPr/>
              <p:nvPr/>
            </p:nvSpPr>
            <p:spPr bwMode="ltGray">
              <a:xfrm>
                <a:off x="3113234" y="2462202"/>
                <a:ext cx="166509" cy="867504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6" name="Rectangle 135"/>
              <p:cNvSpPr/>
              <p:nvPr/>
            </p:nvSpPr>
            <p:spPr bwMode="ltGray">
              <a:xfrm>
                <a:off x="3114789" y="3318819"/>
                <a:ext cx="166509" cy="551883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37" name="Straight Connector 136"/>
              <p:cNvCxnSpPr/>
              <p:nvPr/>
            </p:nvCxnSpPr>
            <p:spPr>
              <a:xfrm>
                <a:off x="3138033" y="2023420"/>
                <a:ext cx="1221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3130085" y="4124363"/>
                <a:ext cx="1221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/>
            </p:nvCxnSpPr>
            <p:spPr>
              <a:xfrm flipH="1">
                <a:off x="1458845" y="2193680"/>
                <a:ext cx="3342" cy="252781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0" name="Rectangle 139"/>
              <p:cNvSpPr/>
              <p:nvPr/>
            </p:nvSpPr>
            <p:spPr bwMode="ltGray">
              <a:xfrm>
                <a:off x="1385175" y="2721613"/>
                <a:ext cx="157215" cy="1043763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 bwMode="ltGray">
              <a:xfrm>
                <a:off x="1385175" y="3752277"/>
                <a:ext cx="158681" cy="664014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42" name="Straight Connector 141"/>
              <p:cNvCxnSpPr/>
              <p:nvPr/>
            </p:nvCxnSpPr>
            <p:spPr>
              <a:xfrm>
                <a:off x="1408718" y="2193680"/>
                <a:ext cx="115248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/>
            </p:nvCxnSpPr>
            <p:spPr>
              <a:xfrm>
                <a:off x="1401221" y="4721491"/>
                <a:ext cx="115248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 flipH="1">
                <a:off x="3780584" y="3207746"/>
                <a:ext cx="3213" cy="1604418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5" name="Rectangle 144"/>
              <p:cNvSpPr/>
              <p:nvPr/>
            </p:nvSpPr>
            <p:spPr bwMode="ltGray">
              <a:xfrm>
                <a:off x="3709763" y="3542829"/>
                <a:ext cx="151135" cy="662483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6" name="Rectangle 145"/>
              <p:cNvSpPr/>
              <p:nvPr/>
            </p:nvSpPr>
            <p:spPr bwMode="ltGray">
              <a:xfrm>
                <a:off x="3709763" y="4196998"/>
                <a:ext cx="152545" cy="421454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47" name="Straight Connector 146"/>
              <p:cNvCxnSpPr/>
              <p:nvPr/>
            </p:nvCxnSpPr>
            <p:spPr>
              <a:xfrm>
                <a:off x="3732396" y="3207746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/>
            </p:nvCxnSpPr>
            <p:spPr>
              <a:xfrm>
                <a:off x="3725188" y="4812164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/>
            </p:nvCxnSpPr>
            <p:spPr>
              <a:xfrm flipH="1">
                <a:off x="2103354" y="2519945"/>
                <a:ext cx="3213" cy="1604418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0" name="Rectangle 149"/>
              <p:cNvSpPr/>
              <p:nvPr/>
            </p:nvSpPr>
            <p:spPr bwMode="ltGray">
              <a:xfrm>
                <a:off x="2032533" y="2855028"/>
                <a:ext cx="151135" cy="662483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1" name="Rectangle 150"/>
              <p:cNvSpPr/>
              <p:nvPr/>
            </p:nvSpPr>
            <p:spPr bwMode="ltGray">
              <a:xfrm>
                <a:off x="2032533" y="3509197"/>
                <a:ext cx="152545" cy="421454"/>
              </a:xfrm>
              <a:prstGeom prst="rect">
                <a:avLst/>
              </a:prstGeom>
              <a:solidFill>
                <a:schemeClr val="accent4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52" name="Straight Connector 151"/>
              <p:cNvCxnSpPr/>
              <p:nvPr/>
            </p:nvCxnSpPr>
            <p:spPr>
              <a:xfrm>
                <a:off x="2055166" y="2519945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/>
            </p:nvCxnSpPr>
            <p:spPr>
              <a:xfrm>
                <a:off x="2047958" y="4124363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/>
            <p:cNvGrpSpPr/>
            <p:nvPr/>
          </p:nvGrpSpPr>
          <p:grpSpPr>
            <a:xfrm>
              <a:off x="4847141" y="1747629"/>
              <a:ext cx="2990768" cy="3142380"/>
              <a:chOff x="1385175" y="1669784"/>
              <a:chExt cx="2990768" cy="3142380"/>
            </a:xfrm>
          </p:grpSpPr>
          <p:cxnSp>
            <p:nvCxnSpPr>
              <p:cNvPr id="94" name="Straight Connector 93"/>
              <p:cNvCxnSpPr/>
              <p:nvPr/>
            </p:nvCxnSpPr>
            <p:spPr>
              <a:xfrm flipH="1">
                <a:off x="4285820" y="1669784"/>
                <a:ext cx="3543" cy="210094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Rectangle 94"/>
              <p:cNvSpPr/>
              <p:nvPr/>
            </p:nvSpPr>
            <p:spPr bwMode="ltGray">
              <a:xfrm>
                <a:off x="4207879" y="2108566"/>
                <a:ext cx="166509" cy="867504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6" name="Rectangle 95"/>
              <p:cNvSpPr/>
              <p:nvPr/>
            </p:nvSpPr>
            <p:spPr bwMode="ltGray">
              <a:xfrm>
                <a:off x="4209434" y="2965183"/>
                <a:ext cx="166509" cy="551883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97" name="Straight Connector 96"/>
              <p:cNvCxnSpPr/>
              <p:nvPr/>
            </p:nvCxnSpPr>
            <p:spPr>
              <a:xfrm>
                <a:off x="4232678" y="1669784"/>
                <a:ext cx="1221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/>
            </p:nvCxnSpPr>
            <p:spPr>
              <a:xfrm>
                <a:off x="4224730" y="3770727"/>
                <a:ext cx="1221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/>
            </p:nvCxnSpPr>
            <p:spPr>
              <a:xfrm flipH="1">
                <a:off x="2714027" y="3189677"/>
                <a:ext cx="3213" cy="1604418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0" name="Rectangle 99"/>
              <p:cNvSpPr/>
              <p:nvPr/>
            </p:nvSpPr>
            <p:spPr bwMode="ltGray">
              <a:xfrm>
                <a:off x="2643206" y="3524760"/>
                <a:ext cx="151135" cy="662483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1" name="Rectangle 100"/>
              <p:cNvSpPr/>
              <p:nvPr/>
            </p:nvSpPr>
            <p:spPr bwMode="ltGray">
              <a:xfrm>
                <a:off x="2643206" y="4178929"/>
                <a:ext cx="152545" cy="421454"/>
              </a:xfrm>
              <a:prstGeom prst="rect">
                <a:avLst/>
              </a:prstGeom>
              <a:solidFill>
                <a:schemeClr val="accent2">
                  <a:lumMod val="9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02" name="Straight Connector 101"/>
              <p:cNvCxnSpPr/>
              <p:nvPr/>
            </p:nvCxnSpPr>
            <p:spPr>
              <a:xfrm>
                <a:off x="2665839" y="3189677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/>
            </p:nvCxnSpPr>
            <p:spPr>
              <a:xfrm>
                <a:off x="2658631" y="4794095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/>
            </p:nvCxnSpPr>
            <p:spPr>
              <a:xfrm flipH="1">
                <a:off x="3191175" y="2023420"/>
                <a:ext cx="3543" cy="210094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5" name="Rectangle 104"/>
              <p:cNvSpPr/>
              <p:nvPr/>
            </p:nvSpPr>
            <p:spPr bwMode="ltGray">
              <a:xfrm>
                <a:off x="3113234" y="2462202"/>
                <a:ext cx="166509" cy="867504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6" name="Rectangle 105"/>
              <p:cNvSpPr/>
              <p:nvPr/>
            </p:nvSpPr>
            <p:spPr bwMode="ltGray">
              <a:xfrm>
                <a:off x="3114789" y="3318819"/>
                <a:ext cx="166509" cy="551883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07" name="Straight Connector 106"/>
              <p:cNvCxnSpPr/>
              <p:nvPr/>
            </p:nvCxnSpPr>
            <p:spPr>
              <a:xfrm>
                <a:off x="3138033" y="2023420"/>
                <a:ext cx="1221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/>
            </p:nvCxnSpPr>
            <p:spPr>
              <a:xfrm>
                <a:off x="3130085" y="4124363"/>
                <a:ext cx="12217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/>
            </p:nvCxnSpPr>
            <p:spPr>
              <a:xfrm flipH="1">
                <a:off x="1458845" y="2193680"/>
                <a:ext cx="3342" cy="252781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0" name="Rectangle 109"/>
              <p:cNvSpPr/>
              <p:nvPr/>
            </p:nvSpPr>
            <p:spPr bwMode="ltGray">
              <a:xfrm>
                <a:off x="1385175" y="2721613"/>
                <a:ext cx="157215" cy="1043763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1" name="Rectangle 110"/>
              <p:cNvSpPr/>
              <p:nvPr/>
            </p:nvSpPr>
            <p:spPr bwMode="ltGray">
              <a:xfrm>
                <a:off x="1385175" y="3752277"/>
                <a:ext cx="158681" cy="664014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12" name="Straight Connector 111"/>
              <p:cNvCxnSpPr/>
              <p:nvPr/>
            </p:nvCxnSpPr>
            <p:spPr>
              <a:xfrm>
                <a:off x="1408718" y="2193680"/>
                <a:ext cx="115248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/>
            </p:nvCxnSpPr>
            <p:spPr>
              <a:xfrm>
                <a:off x="1401221" y="4721491"/>
                <a:ext cx="115248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/>
            </p:nvCxnSpPr>
            <p:spPr>
              <a:xfrm flipH="1">
                <a:off x="3780584" y="3207746"/>
                <a:ext cx="3213" cy="1604418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5" name="Rectangle 114"/>
              <p:cNvSpPr/>
              <p:nvPr/>
            </p:nvSpPr>
            <p:spPr bwMode="ltGray">
              <a:xfrm>
                <a:off x="3709763" y="3542829"/>
                <a:ext cx="151135" cy="662483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6" name="Rectangle 115"/>
              <p:cNvSpPr/>
              <p:nvPr/>
            </p:nvSpPr>
            <p:spPr bwMode="ltGray">
              <a:xfrm>
                <a:off x="3709763" y="4196998"/>
                <a:ext cx="152545" cy="421454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17" name="Straight Connector 116"/>
              <p:cNvCxnSpPr/>
              <p:nvPr/>
            </p:nvCxnSpPr>
            <p:spPr>
              <a:xfrm>
                <a:off x="3732396" y="3207746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3725188" y="4812164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 flipH="1">
                <a:off x="2103354" y="2519945"/>
                <a:ext cx="3213" cy="1604418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0" name="Rectangle 119"/>
              <p:cNvSpPr/>
              <p:nvPr/>
            </p:nvSpPr>
            <p:spPr bwMode="ltGray">
              <a:xfrm>
                <a:off x="2032533" y="2855028"/>
                <a:ext cx="151135" cy="662483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1" name="Rectangle 120"/>
              <p:cNvSpPr/>
              <p:nvPr/>
            </p:nvSpPr>
            <p:spPr bwMode="ltGray">
              <a:xfrm>
                <a:off x="2032533" y="3509197"/>
                <a:ext cx="152545" cy="421454"/>
              </a:xfrm>
              <a:prstGeom prst="rect">
                <a:avLst/>
              </a:prstGeom>
              <a:solidFill>
                <a:schemeClr val="accent4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 err="1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cxnSp>
            <p:nvCxnSpPr>
              <p:cNvPr id="122" name="Straight Connector 121"/>
              <p:cNvCxnSpPr/>
              <p:nvPr/>
            </p:nvCxnSpPr>
            <p:spPr>
              <a:xfrm>
                <a:off x="2055166" y="2519945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2047958" y="4124363"/>
                <a:ext cx="11079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5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/>
          <p:cNvSpPr/>
          <p:nvPr/>
        </p:nvSpPr>
        <p:spPr bwMode="ltGray">
          <a:xfrm>
            <a:off x="352986" y="1917781"/>
            <a:ext cx="8202761" cy="4895337"/>
          </a:xfrm>
          <a:prstGeom prst="rect">
            <a:avLst/>
          </a:prstGeom>
          <a:solidFill>
            <a:srgbClr val="747066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 err="1" smtClean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2480442" y="84148"/>
            <a:ext cx="6521766" cy="4846593"/>
            <a:chOff x="3309500" y="30254"/>
            <a:chExt cx="5815013" cy="4229100"/>
          </a:xfrm>
        </p:grpSpPr>
        <p:pic>
          <p:nvPicPr>
            <p:cNvPr id="53" name="Picture 102" descr="http://vnfa8y5n3zndutm1.zippykid.netdna-cdn.com/wp-content/uploads/2013/02/Sample-Programming-Code.jpg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9500" y="30254"/>
              <a:ext cx="5814947" cy="4228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ctangle 10"/>
            <p:cNvSpPr/>
            <p:nvPr/>
          </p:nvSpPr>
          <p:spPr bwMode="ltGray">
            <a:xfrm>
              <a:off x="3309500" y="30254"/>
              <a:ext cx="5815013" cy="4229100"/>
            </a:xfrm>
            <a:prstGeom prst="rect">
              <a:avLst/>
            </a:prstGeom>
            <a:solidFill>
              <a:srgbClr val="747066">
                <a:alpha val="80000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rgbClr val="FFFFFF"/>
                </a:solidFill>
                <a:latin typeface="Georgia" pitchFamily="18" charset="0"/>
              </a:endParaRPr>
            </a:p>
          </p:txBody>
        </p:sp>
      </p:grpSp>
      <p:sp>
        <p:nvSpPr>
          <p:cNvPr id="58" name="Title 1"/>
          <p:cNvSpPr txBox="1">
            <a:spLocks/>
          </p:cNvSpPr>
          <p:nvPr/>
        </p:nvSpPr>
        <p:spPr>
          <a:xfrm>
            <a:off x="529817" y="620587"/>
            <a:ext cx="7239066" cy="914400"/>
          </a:xfrm>
          <a:prstGeom prst="rect">
            <a:avLst/>
          </a:prstGeom>
          <a:solidFill>
            <a:srgbClr val="747066">
              <a:alpha val="33000"/>
            </a:srgbClr>
          </a:solidFill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i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200" dirty="0" smtClean="0">
                <a:solidFill>
                  <a:srgbClr val="FFFFFF"/>
                </a:solidFill>
              </a:rPr>
              <a:t>Наши инструменты и методы работы позволяют внедрять модели, обучающиеся на базе поступающих данных в режиме реального времени и способные к самокалибровке. Таким образом, по завершении проекта клиент получает комплексное решение.</a:t>
            </a: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81940"/>
            <a:ext cx="8077201" cy="914400"/>
          </a:xfrm>
        </p:spPr>
        <p:txBody>
          <a:bodyPr/>
          <a:lstStyle/>
          <a:p>
            <a:r>
              <a:rPr lang="ru-RU" dirty="0" smtClean="0"/>
              <a:t>Наши методы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533334" y="1814467"/>
            <a:ext cx="2660650" cy="33007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Интеллектуальный анализ текста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33334" y="2610525"/>
            <a:ext cx="2660650" cy="33007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tx1"/>
                </a:solidFill>
                <a:latin typeface="+mj-lt"/>
              </a:rPr>
              <a:t>Обработка в режиме реального времени</a:t>
            </a:r>
            <a:r>
              <a:rPr lang="ru-RU" sz="1200" smtClean="0"/>
              <a:t>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33334" y="3008554"/>
            <a:ext cx="2660650" cy="3300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tx1"/>
                </a:solidFill>
                <a:latin typeface="+mj-lt"/>
              </a:rPr>
              <a:t>Анализ потребительских настроений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949886" y="2610525"/>
            <a:ext cx="2660650" cy="3300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tx1"/>
                </a:solidFill>
                <a:latin typeface="+mj-lt"/>
              </a:rPr>
              <a:t>Пространственные модели для геоаналитики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33334" y="3406583"/>
            <a:ext cx="2660650" cy="33007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tx1"/>
                </a:solidFill>
                <a:latin typeface="+mj-lt"/>
              </a:rPr>
              <a:t>Контролируемое обучение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33334" y="3804612"/>
            <a:ext cx="2660650" cy="33007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Неконтролируемое обучение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33334" y="5396728"/>
            <a:ext cx="2660650" cy="330072"/>
          </a:xfrm>
          <a:prstGeom prst="rect">
            <a:avLst/>
          </a:prstGeom>
          <a:solidFill>
            <a:schemeClr val="accent5">
              <a:lumMod val="75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Изучение ассоциативных правил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33334" y="6192781"/>
            <a:ext cx="2660650" cy="33007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Моделирование цепи Маркова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241544" y="1814467"/>
            <a:ext cx="2660650" cy="330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Параллельная обработка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241544" y="2212496"/>
            <a:ext cx="2660650" cy="33007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Программирование: C#, Python, C++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241544" y="2610525"/>
            <a:ext cx="2660650" cy="3300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tx1"/>
                </a:solidFill>
                <a:latin typeface="+mj-lt"/>
              </a:rPr>
              <a:t>Усовершенствованный язык SQL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241544" y="3804612"/>
            <a:ext cx="2660650" cy="33007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Разбивка моделей поведения на кластеры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241544" y="4202641"/>
            <a:ext cx="2660650" cy="330072"/>
          </a:xfrm>
          <a:prstGeom prst="rect">
            <a:avLst/>
          </a:prstGeom>
          <a:solidFill>
            <a:schemeClr val="accent5">
              <a:lumMod val="75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Анализ графика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241544" y="4600670"/>
            <a:ext cx="2660650" cy="330072"/>
          </a:xfrm>
          <a:prstGeom prst="rect">
            <a:avLst/>
          </a:prstGeom>
          <a:solidFill>
            <a:schemeClr val="accent5"/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Расчет распределения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241544" y="4998699"/>
            <a:ext cx="2660650" cy="33007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Исследования / совместный анализ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241544" y="5396728"/>
            <a:ext cx="2660650" cy="330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Оптимизация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241544" y="5794757"/>
            <a:ext cx="2660650" cy="33007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tx1"/>
                </a:solidFill>
                <a:latin typeface="+mj-lt"/>
              </a:rPr>
              <a:t>Сегментация / разбивка на кластеры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949886" y="3008554"/>
            <a:ext cx="2660650" cy="33007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Логистическая регрессия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949886" y="3804612"/>
            <a:ext cx="2660650" cy="33007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Регуляризация ( L1-регуляризация и регуляризация Тихонова)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949886" y="4600670"/>
            <a:ext cx="2660650" cy="330072"/>
          </a:xfrm>
          <a:prstGeom prst="rect">
            <a:avLst/>
          </a:prstGeom>
          <a:solidFill>
            <a:schemeClr val="accent5">
              <a:lumMod val="75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Агентное моделирование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5949886" y="4998699"/>
            <a:ext cx="2660650" cy="330072"/>
          </a:xfrm>
          <a:prstGeom prst="rect">
            <a:avLst/>
          </a:prstGeom>
          <a:solidFill>
            <a:schemeClr val="accent5"/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Моделирование системной динамики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5949886" y="5396728"/>
            <a:ext cx="2660650" cy="33007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Дискретно-событийное моделирование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533335" y="2212496"/>
            <a:ext cx="2660650" cy="330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Текстовая аналитика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5949886" y="6192781"/>
            <a:ext cx="2660650" cy="330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Анализ временных рядов 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33334" y="5794757"/>
            <a:ext cx="2660650" cy="330072"/>
          </a:xfrm>
          <a:prstGeom prst="rect">
            <a:avLst/>
          </a:prstGeom>
          <a:solidFill>
            <a:schemeClr val="accent5"/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Моделирование методом Монте-Карло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241544" y="3406583"/>
            <a:ext cx="2660650" cy="33007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z="1000" dirty="0" smtClean="0">
                <a:solidFill>
                  <a:schemeClr val="tx1"/>
                </a:solidFill>
                <a:latin typeface="+mj-lt"/>
              </a:rPr>
              <a:t>A/B- и многовариативное тестирование</a:t>
            </a:r>
            <a:endParaRPr lang="ru-RU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Rectangle 5"/>
          <p:cNvSpPr/>
          <p:nvPr/>
        </p:nvSpPr>
        <p:spPr bwMode="ltGray">
          <a:xfrm>
            <a:off x="533334" y="1393244"/>
            <a:ext cx="8077200" cy="353265"/>
          </a:xfrm>
          <a:prstGeom prst="rect">
            <a:avLst/>
          </a:prstGeom>
          <a:solidFill>
            <a:srgbClr val="8A867A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1" name="Freeform 4846"/>
          <p:cNvSpPr>
            <a:spLocks noEditPoints="1"/>
          </p:cNvSpPr>
          <p:nvPr/>
        </p:nvSpPr>
        <p:spPr bwMode="auto">
          <a:xfrm flipH="1">
            <a:off x="7280211" y="867249"/>
            <a:ext cx="1275536" cy="1051990"/>
          </a:xfrm>
          <a:custGeom>
            <a:avLst/>
            <a:gdLst>
              <a:gd name="T0" fmla="*/ 234 w 388"/>
              <a:gd name="T1" fmla="*/ 108 h 320"/>
              <a:gd name="T2" fmla="*/ 206 w 388"/>
              <a:gd name="T3" fmla="*/ 22 h 320"/>
              <a:gd name="T4" fmla="*/ 150 w 388"/>
              <a:gd name="T5" fmla="*/ 24 h 320"/>
              <a:gd name="T6" fmla="*/ 110 w 388"/>
              <a:gd name="T7" fmla="*/ 24 h 320"/>
              <a:gd name="T8" fmla="*/ 24 w 388"/>
              <a:gd name="T9" fmla="*/ 52 h 320"/>
              <a:gd name="T10" fmla="*/ 26 w 388"/>
              <a:gd name="T11" fmla="*/ 108 h 320"/>
              <a:gd name="T12" fmla="*/ 26 w 388"/>
              <a:gd name="T13" fmla="*/ 148 h 320"/>
              <a:gd name="T14" fmla="*/ 52 w 388"/>
              <a:gd name="T15" fmla="*/ 234 h 320"/>
              <a:gd name="T16" fmla="*/ 110 w 388"/>
              <a:gd name="T17" fmla="*/ 232 h 320"/>
              <a:gd name="T18" fmla="*/ 150 w 388"/>
              <a:gd name="T19" fmla="*/ 232 h 320"/>
              <a:gd name="T20" fmla="*/ 236 w 388"/>
              <a:gd name="T21" fmla="*/ 206 h 320"/>
              <a:gd name="T22" fmla="*/ 234 w 388"/>
              <a:gd name="T23" fmla="*/ 148 h 320"/>
              <a:gd name="T24" fmla="*/ 114 w 388"/>
              <a:gd name="T25" fmla="*/ 208 h 320"/>
              <a:gd name="T26" fmla="*/ 62 w 388"/>
              <a:gd name="T27" fmla="*/ 174 h 320"/>
              <a:gd name="T28" fmla="*/ 48 w 388"/>
              <a:gd name="T29" fmla="*/ 128 h 320"/>
              <a:gd name="T30" fmla="*/ 72 w 388"/>
              <a:gd name="T31" fmla="*/ 70 h 320"/>
              <a:gd name="T32" fmla="*/ 130 w 388"/>
              <a:gd name="T33" fmla="*/ 46 h 320"/>
              <a:gd name="T34" fmla="*/ 176 w 388"/>
              <a:gd name="T35" fmla="*/ 60 h 320"/>
              <a:gd name="T36" fmla="*/ 210 w 388"/>
              <a:gd name="T37" fmla="*/ 112 h 320"/>
              <a:gd name="T38" fmla="*/ 206 w 388"/>
              <a:gd name="T39" fmla="*/ 160 h 320"/>
              <a:gd name="T40" fmla="*/ 162 w 388"/>
              <a:gd name="T41" fmla="*/ 204 h 320"/>
              <a:gd name="T42" fmla="*/ 130 w 388"/>
              <a:gd name="T43" fmla="*/ 66 h 320"/>
              <a:gd name="T44" fmla="*/ 94 w 388"/>
              <a:gd name="T45" fmla="*/ 76 h 320"/>
              <a:gd name="T46" fmla="*/ 68 w 388"/>
              <a:gd name="T47" fmla="*/ 116 h 320"/>
              <a:gd name="T48" fmla="*/ 72 w 388"/>
              <a:gd name="T49" fmla="*/ 152 h 320"/>
              <a:gd name="T50" fmla="*/ 106 w 388"/>
              <a:gd name="T51" fmla="*/ 186 h 320"/>
              <a:gd name="T52" fmla="*/ 142 w 388"/>
              <a:gd name="T53" fmla="*/ 190 h 320"/>
              <a:gd name="T54" fmla="*/ 182 w 388"/>
              <a:gd name="T55" fmla="*/ 162 h 320"/>
              <a:gd name="T56" fmla="*/ 192 w 388"/>
              <a:gd name="T57" fmla="*/ 128 h 320"/>
              <a:gd name="T58" fmla="*/ 174 w 388"/>
              <a:gd name="T59" fmla="*/ 84 h 320"/>
              <a:gd name="T60" fmla="*/ 130 w 388"/>
              <a:gd name="T61" fmla="*/ 66 h 320"/>
              <a:gd name="T62" fmla="*/ 120 w 388"/>
              <a:gd name="T63" fmla="*/ 152 h 320"/>
              <a:gd name="T64" fmla="*/ 102 w 388"/>
              <a:gd name="T65" fmla="*/ 128 h 320"/>
              <a:gd name="T66" fmla="*/ 130 w 388"/>
              <a:gd name="T67" fmla="*/ 102 h 320"/>
              <a:gd name="T68" fmla="*/ 154 w 388"/>
              <a:gd name="T69" fmla="*/ 118 h 320"/>
              <a:gd name="T70" fmla="*/ 148 w 388"/>
              <a:gd name="T71" fmla="*/ 148 h 320"/>
              <a:gd name="T72" fmla="*/ 370 w 388"/>
              <a:gd name="T73" fmla="*/ 248 h 320"/>
              <a:gd name="T74" fmla="*/ 364 w 388"/>
              <a:gd name="T75" fmla="*/ 214 h 320"/>
              <a:gd name="T76" fmla="*/ 320 w 388"/>
              <a:gd name="T77" fmla="*/ 162 h 320"/>
              <a:gd name="T78" fmla="*/ 286 w 388"/>
              <a:gd name="T79" fmla="*/ 186 h 320"/>
              <a:gd name="T80" fmla="*/ 260 w 388"/>
              <a:gd name="T81" fmla="*/ 208 h 320"/>
              <a:gd name="T82" fmla="*/ 236 w 388"/>
              <a:gd name="T83" fmla="*/ 272 h 320"/>
              <a:gd name="T84" fmla="*/ 274 w 388"/>
              <a:gd name="T85" fmla="*/ 290 h 320"/>
              <a:gd name="T86" fmla="*/ 306 w 388"/>
              <a:gd name="T87" fmla="*/ 302 h 320"/>
              <a:gd name="T88" fmla="*/ 372 w 388"/>
              <a:gd name="T89" fmla="*/ 290 h 320"/>
              <a:gd name="T90" fmla="*/ 370 w 388"/>
              <a:gd name="T91" fmla="*/ 248 h 320"/>
              <a:gd name="T92" fmla="*/ 310 w 388"/>
              <a:gd name="T93" fmla="*/ 266 h 320"/>
              <a:gd name="T94" fmla="*/ 288 w 388"/>
              <a:gd name="T95" fmla="*/ 252 h 320"/>
              <a:gd name="T96" fmla="*/ 300 w 388"/>
              <a:gd name="T97" fmla="*/ 220 h 320"/>
              <a:gd name="T98" fmla="*/ 326 w 388"/>
              <a:gd name="T99" fmla="*/ 224 h 320"/>
              <a:gd name="T100" fmla="*/ 332 w 388"/>
              <a:gd name="T101" fmla="*/ 250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88" h="320">
                <a:moveTo>
                  <a:pt x="258" y="148"/>
                </a:moveTo>
                <a:lnTo>
                  <a:pt x="258" y="108"/>
                </a:lnTo>
                <a:lnTo>
                  <a:pt x="234" y="108"/>
                </a:lnTo>
                <a:lnTo>
                  <a:pt x="234" y="108"/>
                </a:lnTo>
                <a:lnTo>
                  <a:pt x="226" y="88"/>
                </a:lnTo>
                <a:lnTo>
                  <a:pt x="216" y="70"/>
                </a:lnTo>
                <a:lnTo>
                  <a:pt x="236" y="52"/>
                </a:lnTo>
                <a:lnTo>
                  <a:pt x="206" y="22"/>
                </a:lnTo>
                <a:lnTo>
                  <a:pt x="188" y="40"/>
                </a:lnTo>
                <a:lnTo>
                  <a:pt x="188" y="40"/>
                </a:lnTo>
                <a:lnTo>
                  <a:pt x="170" y="30"/>
                </a:lnTo>
                <a:lnTo>
                  <a:pt x="150" y="24"/>
                </a:lnTo>
                <a:lnTo>
                  <a:pt x="150" y="0"/>
                </a:lnTo>
                <a:lnTo>
                  <a:pt x="110" y="0"/>
                </a:lnTo>
                <a:lnTo>
                  <a:pt x="110" y="24"/>
                </a:lnTo>
                <a:lnTo>
                  <a:pt x="110" y="24"/>
                </a:lnTo>
                <a:lnTo>
                  <a:pt x="90" y="30"/>
                </a:lnTo>
                <a:lnTo>
                  <a:pt x="70" y="40"/>
                </a:lnTo>
                <a:lnTo>
                  <a:pt x="52" y="22"/>
                </a:lnTo>
                <a:lnTo>
                  <a:pt x="24" y="52"/>
                </a:lnTo>
                <a:lnTo>
                  <a:pt x="42" y="70"/>
                </a:lnTo>
                <a:lnTo>
                  <a:pt x="42" y="70"/>
                </a:lnTo>
                <a:lnTo>
                  <a:pt x="32" y="88"/>
                </a:lnTo>
                <a:lnTo>
                  <a:pt x="26" y="108"/>
                </a:lnTo>
                <a:lnTo>
                  <a:pt x="0" y="108"/>
                </a:lnTo>
                <a:lnTo>
                  <a:pt x="0" y="148"/>
                </a:lnTo>
                <a:lnTo>
                  <a:pt x="26" y="148"/>
                </a:lnTo>
                <a:lnTo>
                  <a:pt x="26" y="148"/>
                </a:lnTo>
                <a:lnTo>
                  <a:pt x="32" y="168"/>
                </a:lnTo>
                <a:lnTo>
                  <a:pt x="42" y="188"/>
                </a:lnTo>
                <a:lnTo>
                  <a:pt x="24" y="206"/>
                </a:lnTo>
                <a:lnTo>
                  <a:pt x="52" y="234"/>
                </a:lnTo>
                <a:lnTo>
                  <a:pt x="70" y="216"/>
                </a:lnTo>
                <a:lnTo>
                  <a:pt x="70" y="216"/>
                </a:lnTo>
                <a:lnTo>
                  <a:pt x="90" y="226"/>
                </a:lnTo>
                <a:lnTo>
                  <a:pt x="110" y="232"/>
                </a:lnTo>
                <a:lnTo>
                  <a:pt x="110" y="258"/>
                </a:lnTo>
                <a:lnTo>
                  <a:pt x="150" y="258"/>
                </a:lnTo>
                <a:lnTo>
                  <a:pt x="150" y="232"/>
                </a:lnTo>
                <a:lnTo>
                  <a:pt x="150" y="232"/>
                </a:lnTo>
                <a:lnTo>
                  <a:pt x="170" y="226"/>
                </a:lnTo>
                <a:lnTo>
                  <a:pt x="188" y="216"/>
                </a:lnTo>
                <a:lnTo>
                  <a:pt x="206" y="234"/>
                </a:lnTo>
                <a:lnTo>
                  <a:pt x="236" y="206"/>
                </a:lnTo>
                <a:lnTo>
                  <a:pt x="216" y="188"/>
                </a:lnTo>
                <a:lnTo>
                  <a:pt x="216" y="188"/>
                </a:lnTo>
                <a:lnTo>
                  <a:pt x="226" y="168"/>
                </a:lnTo>
                <a:lnTo>
                  <a:pt x="234" y="148"/>
                </a:lnTo>
                <a:lnTo>
                  <a:pt x="258" y="148"/>
                </a:lnTo>
                <a:close/>
                <a:moveTo>
                  <a:pt x="130" y="210"/>
                </a:moveTo>
                <a:lnTo>
                  <a:pt x="130" y="210"/>
                </a:lnTo>
                <a:lnTo>
                  <a:pt x="114" y="208"/>
                </a:lnTo>
                <a:lnTo>
                  <a:pt x="98" y="204"/>
                </a:lnTo>
                <a:lnTo>
                  <a:pt x="84" y="196"/>
                </a:lnTo>
                <a:lnTo>
                  <a:pt x="72" y="186"/>
                </a:lnTo>
                <a:lnTo>
                  <a:pt x="62" y="174"/>
                </a:lnTo>
                <a:lnTo>
                  <a:pt x="54" y="160"/>
                </a:lnTo>
                <a:lnTo>
                  <a:pt x="50" y="144"/>
                </a:lnTo>
                <a:lnTo>
                  <a:pt x="48" y="128"/>
                </a:lnTo>
                <a:lnTo>
                  <a:pt x="48" y="128"/>
                </a:lnTo>
                <a:lnTo>
                  <a:pt x="50" y="112"/>
                </a:lnTo>
                <a:lnTo>
                  <a:pt x="54" y="96"/>
                </a:lnTo>
                <a:lnTo>
                  <a:pt x="62" y="82"/>
                </a:lnTo>
                <a:lnTo>
                  <a:pt x="72" y="70"/>
                </a:lnTo>
                <a:lnTo>
                  <a:pt x="84" y="60"/>
                </a:lnTo>
                <a:lnTo>
                  <a:pt x="98" y="52"/>
                </a:lnTo>
                <a:lnTo>
                  <a:pt x="114" y="48"/>
                </a:lnTo>
                <a:lnTo>
                  <a:pt x="130" y="46"/>
                </a:lnTo>
                <a:lnTo>
                  <a:pt x="130" y="46"/>
                </a:lnTo>
                <a:lnTo>
                  <a:pt x="146" y="48"/>
                </a:lnTo>
                <a:lnTo>
                  <a:pt x="162" y="52"/>
                </a:lnTo>
                <a:lnTo>
                  <a:pt x="176" y="60"/>
                </a:lnTo>
                <a:lnTo>
                  <a:pt x="188" y="70"/>
                </a:lnTo>
                <a:lnTo>
                  <a:pt x="198" y="82"/>
                </a:lnTo>
                <a:lnTo>
                  <a:pt x="206" y="96"/>
                </a:lnTo>
                <a:lnTo>
                  <a:pt x="210" y="112"/>
                </a:lnTo>
                <a:lnTo>
                  <a:pt x="212" y="128"/>
                </a:lnTo>
                <a:lnTo>
                  <a:pt x="212" y="128"/>
                </a:lnTo>
                <a:lnTo>
                  <a:pt x="210" y="144"/>
                </a:lnTo>
                <a:lnTo>
                  <a:pt x="206" y="160"/>
                </a:lnTo>
                <a:lnTo>
                  <a:pt x="198" y="174"/>
                </a:lnTo>
                <a:lnTo>
                  <a:pt x="188" y="186"/>
                </a:lnTo>
                <a:lnTo>
                  <a:pt x="176" y="196"/>
                </a:lnTo>
                <a:lnTo>
                  <a:pt x="162" y="204"/>
                </a:lnTo>
                <a:lnTo>
                  <a:pt x="146" y="208"/>
                </a:lnTo>
                <a:lnTo>
                  <a:pt x="130" y="210"/>
                </a:lnTo>
                <a:lnTo>
                  <a:pt x="130" y="210"/>
                </a:lnTo>
                <a:close/>
                <a:moveTo>
                  <a:pt x="130" y="66"/>
                </a:moveTo>
                <a:lnTo>
                  <a:pt x="130" y="66"/>
                </a:lnTo>
                <a:lnTo>
                  <a:pt x="118" y="68"/>
                </a:lnTo>
                <a:lnTo>
                  <a:pt x="106" y="70"/>
                </a:lnTo>
                <a:lnTo>
                  <a:pt x="94" y="76"/>
                </a:lnTo>
                <a:lnTo>
                  <a:pt x="86" y="84"/>
                </a:lnTo>
                <a:lnTo>
                  <a:pt x="78" y="94"/>
                </a:lnTo>
                <a:lnTo>
                  <a:pt x="72" y="104"/>
                </a:lnTo>
                <a:lnTo>
                  <a:pt x="68" y="116"/>
                </a:lnTo>
                <a:lnTo>
                  <a:pt x="68" y="128"/>
                </a:lnTo>
                <a:lnTo>
                  <a:pt x="68" y="128"/>
                </a:lnTo>
                <a:lnTo>
                  <a:pt x="68" y="140"/>
                </a:lnTo>
                <a:lnTo>
                  <a:pt x="72" y="152"/>
                </a:lnTo>
                <a:lnTo>
                  <a:pt x="78" y="162"/>
                </a:lnTo>
                <a:lnTo>
                  <a:pt x="86" y="172"/>
                </a:lnTo>
                <a:lnTo>
                  <a:pt x="94" y="180"/>
                </a:lnTo>
                <a:lnTo>
                  <a:pt x="106" y="186"/>
                </a:lnTo>
                <a:lnTo>
                  <a:pt x="118" y="190"/>
                </a:lnTo>
                <a:lnTo>
                  <a:pt x="130" y="190"/>
                </a:lnTo>
                <a:lnTo>
                  <a:pt x="130" y="190"/>
                </a:lnTo>
                <a:lnTo>
                  <a:pt x="142" y="190"/>
                </a:lnTo>
                <a:lnTo>
                  <a:pt x="154" y="186"/>
                </a:lnTo>
                <a:lnTo>
                  <a:pt x="164" y="180"/>
                </a:lnTo>
                <a:lnTo>
                  <a:pt x="174" y="172"/>
                </a:lnTo>
                <a:lnTo>
                  <a:pt x="182" y="162"/>
                </a:lnTo>
                <a:lnTo>
                  <a:pt x="188" y="152"/>
                </a:lnTo>
                <a:lnTo>
                  <a:pt x="190" y="140"/>
                </a:lnTo>
                <a:lnTo>
                  <a:pt x="192" y="128"/>
                </a:lnTo>
                <a:lnTo>
                  <a:pt x="192" y="128"/>
                </a:lnTo>
                <a:lnTo>
                  <a:pt x="190" y="116"/>
                </a:lnTo>
                <a:lnTo>
                  <a:pt x="188" y="104"/>
                </a:lnTo>
                <a:lnTo>
                  <a:pt x="182" y="94"/>
                </a:lnTo>
                <a:lnTo>
                  <a:pt x="174" y="84"/>
                </a:lnTo>
                <a:lnTo>
                  <a:pt x="164" y="76"/>
                </a:lnTo>
                <a:lnTo>
                  <a:pt x="154" y="70"/>
                </a:lnTo>
                <a:lnTo>
                  <a:pt x="142" y="68"/>
                </a:lnTo>
                <a:lnTo>
                  <a:pt x="130" y="66"/>
                </a:lnTo>
                <a:lnTo>
                  <a:pt x="130" y="66"/>
                </a:lnTo>
                <a:close/>
                <a:moveTo>
                  <a:pt x="130" y="156"/>
                </a:moveTo>
                <a:lnTo>
                  <a:pt x="130" y="156"/>
                </a:lnTo>
                <a:lnTo>
                  <a:pt x="120" y="152"/>
                </a:lnTo>
                <a:lnTo>
                  <a:pt x="110" y="148"/>
                </a:lnTo>
                <a:lnTo>
                  <a:pt x="104" y="138"/>
                </a:lnTo>
                <a:lnTo>
                  <a:pt x="102" y="128"/>
                </a:lnTo>
                <a:lnTo>
                  <a:pt x="102" y="128"/>
                </a:lnTo>
                <a:lnTo>
                  <a:pt x="104" y="118"/>
                </a:lnTo>
                <a:lnTo>
                  <a:pt x="110" y="110"/>
                </a:lnTo>
                <a:lnTo>
                  <a:pt x="120" y="104"/>
                </a:lnTo>
                <a:lnTo>
                  <a:pt x="130" y="102"/>
                </a:lnTo>
                <a:lnTo>
                  <a:pt x="130" y="102"/>
                </a:lnTo>
                <a:lnTo>
                  <a:pt x="140" y="104"/>
                </a:lnTo>
                <a:lnTo>
                  <a:pt x="148" y="110"/>
                </a:lnTo>
                <a:lnTo>
                  <a:pt x="154" y="118"/>
                </a:lnTo>
                <a:lnTo>
                  <a:pt x="156" y="128"/>
                </a:lnTo>
                <a:lnTo>
                  <a:pt x="156" y="128"/>
                </a:lnTo>
                <a:lnTo>
                  <a:pt x="154" y="138"/>
                </a:lnTo>
                <a:lnTo>
                  <a:pt x="148" y="148"/>
                </a:lnTo>
                <a:lnTo>
                  <a:pt x="140" y="152"/>
                </a:lnTo>
                <a:lnTo>
                  <a:pt x="130" y="156"/>
                </a:lnTo>
                <a:lnTo>
                  <a:pt x="130" y="156"/>
                </a:lnTo>
                <a:close/>
                <a:moveTo>
                  <a:pt x="370" y="248"/>
                </a:moveTo>
                <a:lnTo>
                  <a:pt x="388" y="244"/>
                </a:lnTo>
                <a:lnTo>
                  <a:pt x="382" y="212"/>
                </a:lnTo>
                <a:lnTo>
                  <a:pt x="364" y="214"/>
                </a:lnTo>
                <a:lnTo>
                  <a:pt x="364" y="214"/>
                </a:lnTo>
                <a:lnTo>
                  <a:pt x="356" y="202"/>
                </a:lnTo>
                <a:lnTo>
                  <a:pt x="346" y="192"/>
                </a:lnTo>
                <a:lnTo>
                  <a:pt x="352" y="174"/>
                </a:lnTo>
                <a:lnTo>
                  <a:pt x="320" y="162"/>
                </a:lnTo>
                <a:lnTo>
                  <a:pt x="314" y="180"/>
                </a:lnTo>
                <a:lnTo>
                  <a:pt x="314" y="180"/>
                </a:lnTo>
                <a:lnTo>
                  <a:pt x="300" y="182"/>
                </a:lnTo>
                <a:lnTo>
                  <a:pt x="286" y="186"/>
                </a:lnTo>
                <a:lnTo>
                  <a:pt x="272" y="172"/>
                </a:lnTo>
                <a:lnTo>
                  <a:pt x="246" y="194"/>
                </a:lnTo>
                <a:lnTo>
                  <a:pt x="260" y="208"/>
                </a:lnTo>
                <a:lnTo>
                  <a:pt x="260" y="208"/>
                </a:lnTo>
                <a:lnTo>
                  <a:pt x="252" y="220"/>
                </a:lnTo>
                <a:lnTo>
                  <a:pt x="250" y="234"/>
                </a:lnTo>
                <a:lnTo>
                  <a:pt x="230" y="238"/>
                </a:lnTo>
                <a:lnTo>
                  <a:pt x="236" y="272"/>
                </a:lnTo>
                <a:lnTo>
                  <a:pt x="256" y="268"/>
                </a:lnTo>
                <a:lnTo>
                  <a:pt x="256" y="268"/>
                </a:lnTo>
                <a:lnTo>
                  <a:pt x="264" y="280"/>
                </a:lnTo>
                <a:lnTo>
                  <a:pt x="274" y="290"/>
                </a:lnTo>
                <a:lnTo>
                  <a:pt x="268" y="308"/>
                </a:lnTo>
                <a:lnTo>
                  <a:pt x="300" y="320"/>
                </a:lnTo>
                <a:lnTo>
                  <a:pt x="306" y="302"/>
                </a:lnTo>
                <a:lnTo>
                  <a:pt x="306" y="302"/>
                </a:lnTo>
                <a:lnTo>
                  <a:pt x="320" y="302"/>
                </a:lnTo>
                <a:lnTo>
                  <a:pt x="334" y="298"/>
                </a:lnTo>
                <a:lnTo>
                  <a:pt x="346" y="312"/>
                </a:lnTo>
                <a:lnTo>
                  <a:pt x="372" y="290"/>
                </a:lnTo>
                <a:lnTo>
                  <a:pt x="360" y="276"/>
                </a:lnTo>
                <a:lnTo>
                  <a:pt x="360" y="276"/>
                </a:lnTo>
                <a:lnTo>
                  <a:pt x="366" y="262"/>
                </a:lnTo>
                <a:lnTo>
                  <a:pt x="370" y="248"/>
                </a:lnTo>
                <a:lnTo>
                  <a:pt x="370" y="248"/>
                </a:lnTo>
                <a:close/>
                <a:moveTo>
                  <a:pt x="320" y="264"/>
                </a:moveTo>
                <a:lnTo>
                  <a:pt x="320" y="264"/>
                </a:lnTo>
                <a:lnTo>
                  <a:pt x="310" y="266"/>
                </a:lnTo>
                <a:lnTo>
                  <a:pt x="302" y="264"/>
                </a:lnTo>
                <a:lnTo>
                  <a:pt x="294" y="260"/>
                </a:lnTo>
                <a:lnTo>
                  <a:pt x="288" y="252"/>
                </a:lnTo>
                <a:lnTo>
                  <a:pt x="288" y="252"/>
                </a:lnTo>
                <a:lnTo>
                  <a:pt x="286" y="242"/>
                </a:lnTo>
                <a:lnTo>
                  <a:pt x="288" y="234"/>
                </a:lnTo>
                <a:lnTo>
                  <a:pt x="292" y="226"/>
                </a:lnTo>
                <a:lnTo>
                  <a:pt x="300" y="220"/>
                </a:lnTo>
                <a:lnTo>
                  <a:pt x="300" y="220"/>
                </a:lnTo>
                <a:lnTo>
                  <a:pt x="308" y="218"/>
                </a:lnTo>
                <a:lnTo>
                  <a:pt x="318" y="220"/>
                </a:lnTo>
                <a:lnTo>
                  <a:pt x="326" y="224"/>
                </a:lnTo>
                <a:lnTo>
                  <a:pt x="332" y="232"/>
                </a:lnTo>
                <a:lnTo>
                  <a:pt x="332" y="232"/>
                </a:lnTo>
                <a:lnTo>
                  <a:pt x="334" y="240"/>
                </a:lnTo>
                <a:lnTo>
                  <a:pt x="332" y="250"/>
                </a:lnTo>
                <a:lnTo>
                  <a:pt x="328" y="258"/>
                </a:lnTo>
                <a:lnTo>
                  <a:pt x="320" y="264"/>
                </a:lnTo>
                <a:lnTo>
                  <a:pt x="320" y="26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380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340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"/>
          <p:cNvSpPr/>
          <p:nvPr/>
        </p:nvSpPr>
        <p:spPr bwMode="ltGray">
          <a:xfrm>
            <a:off x="2632285" y="3208877"/>
            <a:ext cx="1208123" cy="769913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Интернет-торговля (розница и услуги)</a:t>
            </a:r>
          </a:p>
        </p:txBody>
      </p:sp>
      <p:sp>
        <p:nvSpPr>
          <p:cNvPr id="7" name="Oval 6"/>
          <p:cNvSpPr/>
          <p:nvPr/>
        </p:nvSpPr>
        <p:spPr bwMode="ltGray">
          <a:xfrm>
            <a:off x="1617389" y="3914127"/>
            <a:ext cx="1191022" cy="610701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Автомобили и автозапчасти</a:t>
            </a:r>
          </a:p>
        </p:txBody>
      </p:sp>
      <p:sp>
        <p:nvSpPr>
          <p:cNvPr id="8" name="Oval 7"/>
          <p:cNvSpPr/>
          <p:nvPr/>
        </p:nvSpPr>
        <p:spPr bwMode="ltGray">
          <a:xfrm>
            <a:off x="4633135" y="2006073"/>
            <a:ext cx="1243217" cy="887342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Потребительские товары</a:t>
            </a:r>
          </a:p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(представленные в рознице)</a:t>
            </a:r>
            <a:endParaRPr lang="ru-RU" sz="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9" name="Oval 8"/>
          <p:cNvSpPr/>
          <p:nvPr/>
        </p:nvSpPr>
        <p:spPr bwMode="ltGray">
          <a:xfrm>
            <a:off x="4913364" y="3875208"/>
            <a:ext cx="1438351" cy="951751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Здравоохранение</a:t>
            </a:r>
            <a:endParaRPr lang="ru-RU" sz="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0" name="Oval 9"/>
          <p:cNvSpPr/>
          <p:nvPr/>
        </p:nvSpPr>
        <p:spPr bwMode="ltGray">
          <a:xfrm>
            <a:off x="5842328" y="4712535"/>
            <a:ext cx="1142487" cy="703548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Потребительские товары (только опт)</a:t>
            </a:r>
            <a:endParaRPr lang="ru-RU" sz="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1" name="Oval 10"/>
          <p:cNvSpPr/>
          <p:nvPr/>
        </p:nvSpPr>
        <p:spPr bwMode="ltGray">
          <a:xfrm>
            <a:off x="6413572" y="3833177"/>
            <a:ext cx="1425355" cy="993782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Страхование и банковские услуги</a:t>
            </a:r>
          </a:p>
        </p:txBody>
      </p:sp>
      <p:sp>
        <p:nvSpPr>
          <p:cNvPr id="12" name="Oval 11"/>
          <p:cNvSpPr/>
          <p:nvPr/>
        </p:nvSpPr>
        <p:spPr bwMode="ltGray">
          <a:xfrm>
            <a:off x="3014828" y="2149216"/>
            <a:ext cx="1651164" cy="1114778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Образование</a:t>
            </a:r>
          </a:p>
        </p:txBody>
      </p:sp>
      <p:sp>
        <p:nvSpPr>
          <p:cNvPr id="13" name="Oval 12"/>
          <p:cNvSpPr/>
          <p:nvPr/>
        </p:nvSpPr>
        <p:spPr bwMode="ltGray">
          <a:xfrm>
            <a:off x="3891358" y="3220273"/>
            <a:ext cx="967787" cy="677472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Телевидение, кабельные сети и СМИ</a:t>
            </a:r>
          </a:p>
        </p:txBody>
      </p:sp>
      <p:sp>
        <p:nvSpPr>
          <p:cNvPr id="14" name="Oval 13"/>
          <p:cNvSpPr/>
          <p:nvPr/>
        </p:nvSpPr>
        <p:spPr bwMode="ltGray">
          <a:xfrm>
            <a:off x="6322592" y="1931139"/>
            <a:ext cx="1548636" cy="1116261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bg1"/>
                </a:solidFill>
                <a:latin typeface="Georgia" pitchFamily="18" charset="0"/>
              </a:rPr>
              <a:t>Розничные сети</a:t>
            </a:r>
            <a:endParaRPr lang="ru-RU" sz="800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5" name="Oval 14"/>
          <p:cNvSpPr/>
          <p:nvPr/>
        </p:nvSpPr>
        <p:spPr bwMode="ltGray">
          <a:xfrm>
            <a:off x="1340824" y="3272354"/>
            <a:ext cx="1237668" cy="566650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ИТ </a:t>
            </a:r>
          </a:p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компании</a:t>
            </a:r>
          </a:p>
        </p:txBody>
      </p:sp>
      <p:sp>
        <p:nvSpPr>
          <p:cNvPr id="16" name="Oval 15"/>
          <p:cNvSpPr/>
          <p:nvPr/>
        </p:nvSpPr>
        <p:spPr bwMode="ltGray">
          <a:xfrm>
            <a:off x="6041533" y="3047400"/>
            <a:ext cx="1458166" cy="791606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Мобильная и</a:t>
            </a:r>
            <a:r>
              <a:rPr sz="1600"/>
              <a:t/>
            </a:r>
            <a:br>
              <a:rPr sz="1600"/>
            </a:br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фиксированная связь</a:t>
            </a:r>
          </a:p>
        </p:txBody>
      </p:sp>
      <p:sp>
        <p:nvSpPr>
          <p:cNvPr id="17" name="Oval 16"/>
          <p:cNvSpPr/>
          <p:nvPr/>
        </p:nvSpPr>
        <p:spPr bwMode="ltGray">
          <a:xfrm>
            <a:off x="1870914" y="2600566"/>
            <a:ext cx="1116260" cy="536657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Туризм</a:t>
            </a:r>
            <a:r>
              <a:rPr sz="1600"/>
              <a:t/>
            </a:r>
            <a:br>
              <a:rPr sz="1600"/>
            </a:br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(ж/д, отпуска,</a:t>
            </a:r>
            <a:r>
              <a:rPr sz="1600"/>
              <a:t/>
            </a:r>
            <a:br>
              <a:rPr sz="1600"/>
            </a:br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гостиницы)</a:t>
            </a:r>
            <a:endParaRPr lang="ru-RU" sz="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8" name="Oval 17"/>
          <p:cNvSpPr/>
          <p:nvPr/>
        </p:nvSpPr>
        <p:spPr bwMode="ltGray">
          <a:xfrm>
            <a:off x="1152050" y="4537624"/>
            <a:ext cx="1191022" cy="610701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Безопасность</a:t>
            </a:r>
          </a:p>
        </p:txBody>
      </p:sp>
      <p:sp>
        <p:nvSpPr>
          <p:cNvPr id="19" name="Oval 18"/>
          <p:cNvSpPr/>
          <p:nvPr/>
        </p:nvSpPr>
        <p:spPr bwMode="ltGray">
          <a:xfrm>
            <a:off x="1072496" y="2868895"/>
            <a:ext cx="798418" cy="357011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700" dirty="0" smtClean="0">
                <a:solidFill>
                  <a:schemeClr val="bg1"/>
                </a:solidFill>
                <a:latin typeface="Georgia" pitchFamily="18" charset="0"/>
              </a:rPr>
              <a:t>Кинотеатры</a:t>
            </a:r>
          </a:p>
        </p:txBody>
      </p:sp>
      <p:sp>
        <p:nvSpPr>
          <p:cNvPr id="20" name="Oval 19"/>
          <p:cNvSpPr/>
          <p:nvPr/>
        </p:nvSpPr>
        <p:spPr bwMode="ltGray">
          <a:xfrm>
            <a:off x="1140345" y="2310764"/>
            <a:ext cx="1039669" cy="357011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Сети ресторанов</a:t>
            </a:r>
          </a:p>
        </p:txBody>
      </p:sp>
      <p:sp>
        <p:nvSpPr>
          <p:cNvPr id="22" name="Oval 13"/>
          <p:cNvSpPr/>
          <p:nvPr/>
        </p:nvSpPr>
        <p:spPr bwMode="ltGray">
          <a:xfrm>
            <a:off x="4859145" y="2893415"/>
            <a:ext cx="1280284" cy="973194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Государственный сектор</a:t>
            </a:r>
          </a:p>
        </p:txBody>
      </p:sp>
      <p:sp>
        <p:nvSpPr>
          <p:cNvPr id="23" name="Oval 13"/>
          <p:cNvSpPr/>
          <p:nvPr/>
        </p:nvSpPr>
        <p:spPr bwMode="ltGray">
          <a:xfrm>
            <a:off x="3789376" y="3953785"/>
            <a:ext cx="1019499" cy="674177"/>
          </a:xfrm>
          <a:prstGeom prst="ellipse">
            <a:avLst/>
          </a:prstGeom>
          <a:solidFill>
            <a:srgbClr val="8A867A">
              <a:alpha val="6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800" dirty="0" smtClean="0">
                <a:solidFill>
                  <a:schemeClr val="bg1"/>
                </a:solidFill>
                <a:latin typeface="Georgia" pitchFamily="18" charset="0"/>
              </a:rPr>
              <a:t>Энергетика</a:t>
            </a:r>
          </a:p>
        </p:txBody>
      </p:sp>
      <p:sp>
        <p:nvSpPr>
          <p:cNvPr id="21" name="Prostokąt 18"/>
          <p:cNvSpPr/>
          <p:nvPr/>
        </p:nvSpPr>
        <p:spPr>
          <a:xfrm>
            <a:off x="533399" y="1415429"/>
            <a:ext cx="2835713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sz="1600" i="1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Georgia" pitchFamily="18" charset="0"/>
              </a:rPr>
              <a:t>Рыночный потенциал для предложения PwC</a:t>
            </a:r>
            <a:endParaRPr lang="ru-RU" sz="1600" i="1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 bwMode="ltGray">
          <a:xfrm rot="5400000" flipV="1">
            <a:off x="6770760" y="4135370"/>
            <a:ext cx="246221" cy="3355086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0" tIns="0" rIns="0" bIns="0" rtlCol="0" anchor="ctr">
            <a:spAutoFit/>
          </a:bodyPr>
          <a:lstStyle/>
          <a:p>
            <a:pPr algn="r"/>
            <a:r>
              <a:rPr lang="ru-RU" sz="1600" i="1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Georgia" pitchFamily="18" charset="0"/>
              </a:rPr>
              <a:t>Объемы продаж и качество клиентских данных</a:t>
            </a:r>
          </a:p>
        </p:txBody>
      </p:sp>
      <p:sp>
        <p:nvSpPr>
          <p:cNvPr id="5" name="Rectangle 4"/>
          <p:cNvSpPr/>
          <p:nvPr/>
        </p:nvSpPr>
        <p:spPr bwMode="ltGray">
          <a:xfrm flipV="1">
            <a:off x="533399" y="1865908"/>
            <a:ext cx="191482" cy="3615406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/>
          <a:lstStyle/>
          <a:p>
            <a:pPr algn="ctr"/>
            <a:r>
              <a:rPr lang="ru-RU" sz="1000" b="1" i="1" dirty="0" smtClean="0">
                <a:solidFill>
                  <a:schemeClr val="bg1"/>
                </a:solidFill>
                <a:latin typeface="Georgia" pitchFamily="18" charset="0"/>
              </a:rPr>
              <a:t>B2B B2C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>
            <a:off x="817037" y="5594912"/>
            <a:ext cx="7754376" cy="0"/>
          </a:xfrm>
          <a:prstGeom prst="straightConnector1">
            <a:avLst/>
          </a:prstGeom>
          <a:ln w="57150">
            <a:solidFill>
              <a:srgbClr val="A7A49B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V="1">
            <a:off x="804718" y="1733550"/>
            <a:ext cx="0" cy="3890647"/>
          </a:xfrm>
          <a:prstGeom prst="straightConnector1">
            <a:avLst/>
          </a:prstGeom>
          <a:ln w="57150">
            <a:solidFill>
              <a:srgbClr val="A7A49B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/>
          <p:cNvGrpSpPr/>
          <p:nvPr/>
        </p:nvGrpSpPr>
        <p:grpSpPr>
          <a:xfrm>
            <a:off x="804718" y="5767373"/>
            <a:ext cx="3086640" cy="292561"/>
            <a:chOff x="6316470" y="1309417"/>
            <a:chExt cx="2254943" cy="197456"/>
          </a:xfrm>
        </p:grpSpPr>
        <p:sp>
          <p:nvSpPr>
            <p:cNvPr id="25" name="Rectangle 24"/>
            <p:cNvSpPr/>
            <p:nvPr/>
          </p:nvSpPr>
          <p:spPr bwMode="ltGray">
            <a:xfrm>
              <a:off x="6807413" y="1319610"/>
              <a:ext cx="1764000" cy="177071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ru-RU" sz="1200" i="1" dirty="0" smtClean="0">
                  <a:solidFill>
                    <a:schemeClr val="bg1"/>
                  </a:solidFill>
                  <a:latin typeface="Georgia" pitchFamily="18" charset="0"/>
                </a:rPr>
                <a:t>Средний размер клиентского портфеля</a:t>
              </a:r>
              <a:endParaRPr lang="ru-RU" sz="1200" i="1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41" name="Oval 40"/>
            <p:cNvSpPr/>
            <p:nvPr/>
          </p:nvSpPr>
          <p:spPr bwMode="ltGray">
            <a:xfrm>
              <a:off x="6316470" y="1309417"/>
              <a:ext cx="410857" cy="197456"/>
            </a:xfrm>
            <a:prstGeom prst="ellipse">
              <a:avLst/>
            </a:prstGeom>
            <a:solidFill>
              <a:schemeClr val="tx2">
                <a:lumMod val="40000"/>
                <a:lumOff val="60000"/>
                <a:alpha val="8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/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Georgia" pitchFamily="18" charset="0"/>
              </a:endParaRPr>
            </a:p>
          </p:txBody>
        </p:sp>
      </p:grpSp>
      <p:sp>
        <p:nvSpPr>
          <p:cNvPr id="46" name="Freeform 430"/>
          <p:cNvSpPr>
            <a:spLocks noEditPoints="1"/>
          </p:cNvSpPr>
          <p:nvPr/>
        </p:nvSpPr>
        <p:spPr bwMode="auto">
          <a:xfrm>
            <a:off x="2496744" y="4262124"/>
            <a:ext cx="405840" cy="292260"/>
          </a:xfrm>
          <a:custGeom>
            <a:avLst/>
            <a:gdLst>
              <a:gd name="T0" fmla="*/ 1383 w 1465"/>
              <a:gd name="T1" fmla="*/ 365 h 1053"/>
              <a:gd name="T2" fmla="*/ 1416 w 1465"/>
              <a:gd name="T3" fmla="*/ 331 h 1053"/>
              <a:gd name="T4" fmla="*/ 1420 w 1465"/>
              <a:gd name="T5" fmla="*/ 283 h 1053"/>
              <a:gd name="T6" fmla="*/ 1399 w 1465"/>
              <a:gd name="T7" fmla="*/ 248 h 1053"/>
              <a:gd name="T8" fmla="*/ 1354 w 1465"/>
              <a:gd name="T9" fmla="*/ 230 h 1053"/>
              <a:gd name="T10" fmla="*/ 1205 w 1465"/>
              <a:gd name="T11" fmla="*/ 172 h 1053"/>
              <a:gd name="T12" fmla="*/ 1112 w 1465"/>
              <a:gd name="T13" fmla="*/ 24 h 1053"/>
              <a:gd name="T14" fmla="*/ 720 w 1465"/>
              <a:gd name="T15" fmla="*/ 0 h 1053"/>
              <a:gd name="T16" fmla="*/ 363 w 1465"/>
              <a:gd name="T17" fmla="*/ 14 h 1053"/>
              <a:gd name="T18" fmla="*/ 284 w 1465"/>
              <a:gd name="T19" fmla="*/ 127 h 1053"/>
              <a:gd name="T20" fmla="*/ 117 w 1465"/>
              <a:gd name="T21" fmla="*/ 230 h 1053"/>
              <a:gd name="T22" fmla="*/ 73 w 1465"/>
              <a:gd name="T23" fmla="*/ 243 h 1053"/>
              <a:gd name="T24" fmla="*/ 44 w 1465"/>
              <a:gd name="T25" fmla="*/ 283 h 1053"/>
              <a:gd name="T26" fmla="*/ 47 w 1465"/>
              <a:gd name="T27" fmla="*/ 325 h 1053"/>
              <a:gd name="T28" fmla="*/ 76 w 1465"/>
              <a:gd name="T29" fmla="*/ 361 h 1053"/>
              <a:gd name="T30" fmla="*/ 86 w 1465"/>
              <a:gd name="T31" fmla="*/ 397 h 1053"/>
              <a:gd name="T32" fmla="*/ 25 w 1465"/>
              <a:gd name="T33" fmla="*/ 457 h 1053"/>
              <a:gd name="T34" fmla="*/ 0 w 1465"/>
              <a:gd name="T35" fmla="*/ 535 h 1053"/>
              <a:gd name="T36" fmla="*/ 14 w 1465"/>
              <a:gd name="T37" fmla="*/ 781 h 1053"/>
              <a:gd name="T38" fmla="*/ 52 w 1465"/>
              <a:gd name="T39" fmla="*/ 973 h 1053"/>
              <a:gd name="T40" fmla="*/ 77 w 1465"/>
              <a:gd name="T41" fmla="*/ 1027 h 1053"/>
              <a:gd name="T42" fmla="*/ 131 w 1465"/>
              <a:gd name="T43" fmla="*/ 1052 h 1053"/>
              <a:gd name="T44" fmla="*/ 324 w 1465"/>
              <a:gd name="T45" fmla="*/ 1046 h 1053"/>
              <a:gd name="T46" fmla="*/ 369 w 1465"/>
              <a:gd name="T47" fmla="*/ 1006 h 1053"/>
              <a:gd name="T48" fmla="*/ 379 w 1465"/>
              <a:gd name="T49" fmla="*/ 824 h 1053"/>
              <a:gd name="T50" fmla="*/ 1093 w 1465"/>
              <a:gd name="T51" fmla="*/ 998 h 1053"/>
              <a:gd name="T52" fmla="*/ 1133 w 1465"/>
              <a:gd name="T53" fmla="*/ 1042 h 1053"/>
              <a:gd name="T54" fmla="*/ 1325 w 1465"/>
              <a:gd name="T55" fmla="*/ 1053 h 1053"/>
              <a:gd name="T56" fmla="*/ 1381 w 1465"/>
              <a:gd name="T57" fmla="*/ 1033 h 1053"/>
              <a:gd name="T58" fmla="*/ 1413 w 1465"/>
              <a:gd name="T59" fmla="*/ 982 h 1053"/>
              <a:gd name="T60" fmla="*/ 1443 w 1465"/>
              <a:gd name="T61" fmla="*/ 791 h 1053"/>
              <a:gd name="T62" fmla="*/ 1465 w 1465"/>
              <a:gd name="T63" fmla="*/ 535 h 1053"/>
              <a:gd name="T64" fmla="*/ 1451 w 1465"/>
              <a:gd name="T65" fmla="*/ 476 h 1053"/>
              <a:gd name="T66" fmla="*/ 1388 w 1465"/>
              <a:gd name="T67" fmla="*/ 403 h 1053"/>
              <a:gd name="T68" fmla="*/ 282 w 1465"/>
              <a:gd name="T69" fmla="*/ 680 h 1053"/>
              <a:gd name="T70" fmla="*/ 217 w 1465"/>
              <a:gd name="T71" fmla="*/ 701 h 1053"/>
              <a:gd name="T72" fmla="*/ 88 w 1465"/>
              <a:gd name="T73" fmla="*/ 669 h 1053"/>
              <a:gd name="T74" fmla="*/ 59 w 1465"/>
              <a:gd name="T75" fmla="*/ 630 h 1053"/>
              <a:gd name="T76" fmla="*/ 57 w 1465"/>
              <a:gd name="T77" fmla="*/ 584 h 1053"/>
              <a:gd name="T78" fmla="*/ 85 w 1465"/>
              <a:gd name="T79" fmla="*/ 533 h 1053"/>
              <a:gd name="T80" fmla="*/ 130 w 1465"/>
              <a:gd name="T81" fmla="*/ 512 h 1053"/>
              <a:gd name="T82" fmla="*/ 254 w 1465"/>
              <a:gd name="T83" fmla="*/ 559 h 1053"/>
              <a:gd name="T84" fmla="*/ 305 w 1465"/>
              <a:gd name="T85" fmla="*/ 625 h 1053"/>
              <a:gd name="T86" fmla="*/ 268 w 1465"/>
              <a:gd name="T87" fmla="*/ 301 h 1053"/>
              <a:gd name="T88" fmla="*/ 362 w 1465"/>
              <a:gd name="T89" fmla="*/ 113 h 1053"/>
              <a:gd name="T90" fmla="*/ 403 w 1465"/>
              <a:gd name="T91" fmla="*/ 62 h 1053"/>
              <a:gd name="T92" fmla="*/ 1080 w 1465"/>
              <a:gd name="T93" fmla="*/ 78 h 1053"/>
              <a:gd name="T94" fmla="*/ 1155 w 1465"/>
              <a:gd name="T95" fmla="*/ 209 h 1053"/>
              <a:gd name="T96" fmla="*/ 1303 w 1465"/>
              <a:gd name="T97" fmla="*/ 689 h 1053"/>
              <a:gd name="T98" fmla="*/ 1207 w 1465"/>
              <a:gd name="T99" fmla="*/ 695 h 1053"/>
              <a:gd name="T100" fmla="*/ 1160 w 1465"/>
              <a:gd name="T101" fmla="*/ 643 h 1053"/>
              <a:gd name="T102" fmla="*/ 1186 w 1465"/>
              <a:gd name="T103" fmla="*/ 577 h 1053"/>
              <a:gd name="T104" fmla="*/ 1321 w 1465"/>
              <a:gd name="T105" fmla="*/ 514 h 1053"/>
              <a:gd name="T106" fmla="*/ 1363 w 1465"/>
              <a:gd name="T107" fmla="*/ 519 h 1053"/>
              <a:gd name="T108" fmla="*/ 1400 w 1465"/>
              <a:gd name="T109" fmla="*/ 559 h 1053"/>
              <a:gd name="T110" fmla="*/ 1409 w 1465"/>
              <a:gd name="T111" fmla="*/ 609 h 1053"/>
              <a:gd name="T112" fmla="*/ 1392 w 1465"/>
              <a:gd name="T113" fmla="*/ 656 h 1053"/>
              <a:gd name="T114" fmla="*/ 1357 w 1465"/>
              <a:gd name="T115" fmla="*/ 678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465" h="1053">
                <a:moveTo>
                  <a:pt x="1379" y="397"/>
                </a:moveTo>
                <a:lnTo>
                  <a:pt x="1379" y="397"/>
                </a:lnTo>
                <a:lnTo>
                  <a:pt x="1338" y="379"/>
                </a:lnTo>
                <a:lnTo>
                  <a:pt x="1369" y="370"/>
                </a:lnTo>
                <a:lnTo>
                  <a:pt x="1369" y="370"/>
                </a:lnTo>
                <a:lnTo>
                  <a:pt x="1377" y="368"/>
                </a:lnTo>
                <a:lnTo>
                  <a:pt x="1383" y="365"/>
                </a:lnTo>
                <a:lnTo>
                  <a:pt x="1389" y="361"/>
                </a:lnTo>
                <a:lnTo>
                  <a:pt x="1395" y="358"/>
                </a:lnTo>
                <a:lnTo>
                  <a:pt x="1401" y="353"/>
                </a:lnTo>
                <a:lnTo>
                  <a:pt x="1405" y="348"/>
                </a:lnTo>
                <a:lnTo>
                  <a:pt x="1409" y="343"/>
                </a:lnTo>
                <a:lnTo>
                  <a:pt x="1413" y="338"/>
                </a:lnTo>
                <a:lnTo>
                  <a:pt x="1416" y="331"/>
                </a:lnTo>
                <a:lnTo>
                  <a:pt x="1419" y="325"/>
                </a:lnTo>
                <a:lnTo>
                  <a:pt x="1420" y="318"/>
                </a:lnTo>
                <a:lnTo>
                  <a:pt x="1422" y="312"/>
                </a:lnTo>
                <a:lnTo>
                  <a:pt x="1422" y="304"/>
                </a:lnTo>
                <a:lnTo>
                  <a:pt x="1422" y="297"/>
                </a:lnTo>
                <a:lnTo>
                  <a:pt x="1421" y="290"/>
                </a:lnTo>
                <a:lnTo>
                  <a:pt x="1420" y="283"/>
                </a:lnTo>
                <a:lnTo>
                  <a:pt x="1420" y="283"/>
                </a:lnTo>
                <a:lnTo>
                  <a:pt x="1418" y="276"/>
                </a:lnTo>
                <a:lnTo>
                  <a:pt x="1415" y="269"/>
                </a:lnTo>
                <a:lnTo>
                  <a:pt x="1412" y="264"/>
                </a:lnTo>
                <a:lnTo>
                  <a:pt x="1407" y="257"/>
                </a:lnTo>
                <a:lnTo>
                  <a:pt x="1403" y="253"/>
                </a:lnTo>
                <a:lnTo>
                  <a:pt x="1399" y="248"/>
                </a:lnTo>
                <a:lnTo>
                  <a:pt x="1393" y="243"/>
                </a:lnTo>
                <a:lnTo>
                  <a:pt x="1388" y="240"/>
                </a:lnTo>
                <a:lnTo>
                  <a:pt x="1381" y="237"/>
                </a:lnTo>
                <a:lnTo>
                  <a:pt x="1375" y="235"/>
                </a:lnTo>
                <a:lnTo>
                  <a:pt x="1368" y="232"/>
                </a:lnTo>
                <a:lnTo>
                  <a:pt x="1362" y="231"/>
                </a:lnTo>
                <a:lnTo>
                  <a:pt x="1354" y="230"/>
                </a:lnTo>
                <a:lnTo>
                  <a:pt x="1348" y="230"/>
                </a:lnTo>
                <a:lnTo>
                  <a:pt x="1340" y="231"/>
                </a:lnTo>
                <a:lnTo>
                  <a:pt x="1334" y="232"/>
                </a:lnTo>
                <a:lnTo>
                  <a:pt x="1245" y="256"/>
                </a:lnTo>
                <a:lnTo>
                  <a:pt x="1245" y="256"/>
                </a:lnTo>
                <a:lnTo>
                  <a:pt x="1225" y="214"/>
                </a:lnTo>
                <a:lnTo>
                  <a:pt x="1205" y="172"/>
                </a:lnTo>
                <a:lnTo>
                  <a:pt x="1182" y="127"/>
                </a:lnTo>
                <a:lnTo>
                  <a:pt x="1155" y="82"/>
                </a:lnTo>
                <a:lnTo>
                  <a:pt x="1155" y="82"/>
                </a:lnTo>
                <a:lnTo>
                  <a:pt x="1144" y="63"/>
                </a:lnTo>
                <a:lnTo>
                  <a:pt x="1134" y="48"/>
                </a:lnTo>
                <a:lnTo>
                  <a:pt x="1123" y="35"/>
                </a:lnTo>
                <a:lnTo>
                  <a:pt x="1112" y="24"/>
                </a:lnTo>
                <a:lnTo>
                  <a:pt x="1102" y="14"/>
                </a:lnTo>
                <a:lnTo>
                  <a:pt x="1091" y="8"/>
                </a:lnTo>
                <a:lnTo>
                  <a:pt x="1078" y="4"/>
                </a:lnTo>
                <a:lnTo>
                  <a:pt x="1065" y="0"/>
                </a:lnTo>
                <a:lnTo>
                  <a:pt x="1065" y="0"/>
                </a:lnTo>
                <a:lnTo>
                  <a:pt x="720" y="0"/>
                </a:lnTo>
                <a:lnTo>
                  <a:pt x="720" y="0"/>
                </a:lnTo>
                <a:lnTo>
                  <a:pt x="647" y="0"/>
                </a:lnTo>
                <a:lnTo>
                  <a:pt x="647" y="0"/>
                </a:lnTo>
                <a:lnTo>
                  <a:pt x="400" y="0"/>
                </a:lnTo>
                <a:lnTo>
                  <a:pt x="400" y="0"/>
                </a:lnTo>
                <a:lnTo>
                  <a:pt x="387" y="4"/>
                </a:lnTo>
                <a:lnTo>
                  <a:pt x="375" y="8"/>
                </a:lnTo>
                <a:lnTo>
                  <a:pt x="363" y="14"/>
                </a:lnTo>
                <a:lnTo>
                  <a:pt x="352" y="24"/>
                </a:lnTo>
                <a:lnTo>
                  <a:pt x="342" y="35"/>
                </a:lnTo>
                <a:lnTo>
                  <a:pt x="332" y="48"/>
                </a:lnTo>
                <a:lnTo>
                  <a:pt x="321" y="63"/>
                </a:lnTo>
                <a:lnTo>
                  <a:pt x="310" y="82"/>
                </a:lnTo>
                <a:lnTo>
                  <a:pt x="310" y="82"/>
                </a:lnTo>
                <a:lnTo>
                  <a:pt x="284" y="127"/>
                </a:lnTo>
                <a:lnTo>
                  <a:pt x="260" y="172"/>
                </a:lnTo>
                <a:lnTo>
                  <a:pt x="240" y="214"/>
                </a:lnTo>
                <a:lnTo>
                  <a:pt x="221" y="256"/>
                </a:lnTo>
                <a:lnTo>
                  <a:pt x="132" y="232"/>
                </a:lnTo>
                <a:lnTo>
                  <a:pt x="132" y="232"/>
                </a:lnTo>
                <a:lnTo>
                  <a:pt x="125" y="231"/>
                </a:lnTo>
                <a:lnTo>
                  <a:pt x="117" y="230"/>
                </a:lnTo>
                <a:lnTo>
                  <a:pt x="111" y="230"/>
                </a:lnTo>
                <a:lnTo>
                  <a:pt x="104" y="231"/>
                </a:lnTo>
                <a:lnTo>
                  <a:pt x="96" y="232"/>
                </a:lnTo>
                <a:lnTo>
                  <a:pt x="90" y="235"/>
                </a:lnTo>
                <a:lnTo>
                  <a:pt x="83" y="237"/>
                </a:lnTo>
                <a:lnTo>
                  <a:pt x="78" y="240"/>
                </a:lnTo>
                <a:lnTo>
                  <a:pt x="73" y="243"/>
                </a:lnTo>
                <a:lnTo>
                  <a:pt x="67" y="248"/>
                </a:lnTo>
                <a:lnTo>
                  <a:pt x="62" y="253"/>
                </a:lnTo>
                <a:lnTo>
                  <a:pt x="57" y="257"/>
                </a:lnTo>
                <a:lnTo>
                  <a:pt x="53" y="264"/>
                </a:lnTo>
                <a:lnTo>
                  <a:pt x="50" y="269"/>
                </a:lnTo>
                <a:lnTo>
                  <a:pt x="47" y="276"/>
                </a:lnTo>
                <a:lnTo>
                  <a:pt x="44" y="283"/>
                </a:lnTo>
                <a:lnTo>
                  <a:pt x="44" y="283"/>
                </a:lnTo>
                <a:lnTo>
                  <a:pt x="43" y="290"/>
                </a:lnTo>
                <a:lnTo>
                  <a:pt x="42" y="297"/>
                </a:lnTo>
                <a:lnTo>
                  <a:pt x="42" y="304"/>
                </a:lnTo>
                <a:lnTo>
                  <a:pt x="43" y="312"/>
                </a:lnTo>
                <a:lnTo>
                  <a:pt x="44" y="318"/>
                </a:lnTo>
                <a:lnTo>
                  <a:pt x="47" y="325"/>
                </a:lnTo>
                <a:lnTo>
                  <a:pt x="49" y="331"/>
                </a:lnTo>
                <a:lnTo>
                  <a:pt x="52" y="338"/>
                </a:lnTo>
                <a:lnTo>
                  <a:pt x="55" y="343"/>
                </a:lnTo>
                <a:lnTo>
                  <a:pt x="60" y="348"/>
                </a:lnTo>
                <a:lnTo>
                  <a:pt x="65" y="353"/>
                </a:lnTo>
                <a:lnTo>
                  <a:pt x="70" y="358"/>
                </a:lnTo>
                <a:lnTo>
                  <a:pt x="76" y="361"/>
                </a:lnTo>
                <a:lnTo>
                  <a:pt x="82" y="365"/>
                </a:lnTo>
                <a:lnTo>
                  <a:pt x="89" y="368"/>
                </a:lnTo>
                <a:lnTo>
                  <a:pt x="95" y="370"/>
                </a:lnTo>
                <a:lnTo>
                  <a:pt x="128" y="379"/>
                </a:lnTo>
                <a:lnTo>
                  <a:pt x="128" y="379"/>
                </a:lnTo>
                <a:lnTo>
                  <a:pt x="86" y="397"/>
                </a:lnTo>
                <a:lnTo>
                  <a:pt x="86" y="397"/>
                </a:lnTo>
                <a:lnTo>
                  <a:pt x="77" y="403"/>
                </a:lnTo>
                <a:lnTo>
                  <a:pt x="68" y="408"/>
                </a:lnTo>
                <a:lnTo>
                  <a:pt x="61" y="415"/>
                </a:lnTo>
                <a:lnTo>
                  <a:pt x="52" y="422"/>
                </a:lnTo>
                <a:lnTo>
                  <a:pt x="44" y="430"/>
                </a:lnTo>
                <a:lnTo>
                  <a:pt x="38" y="438"/>
                </a:lnTo>
                <a:lnTo>
                  <a:pt x="25" y="457"/>
                </a:lnTo>
                <a:lnTo>
                  <a:pt x="14" y="476"/>
                </a:lnTo>
                <a:lnTo>
                  <a:pt x="10" y="486"/>
                </a:lnTo>
                <a:lnTo>
                  <a:pt x="6" y="496"/>
                </a:lnTo>
                <a:lnTo>
                  <a:pt x="3" y="506"/>
                </a:lnTo>
                <a:lnTo>
                  <a:pt x="2" y="515"/>
                </a:lnTo>
                <a:lnTo>
                  <a:pt x="0" y="525"/>
                </a:lnTo>
                <a:lnTo>
                  <a:pt x="0" y="535"/>
                </a:lnTo>
                <a:lnTo>
                  <a:pt x="0" y="535"/>
                </a:lnTo>
                <a:lnTo>
                  <a:pt x="0" y="733"/>
                </a:lnTo>
                <a:lnTo>
                  <a:pt x="0" y="733"/>
                </a:lnTo>
                <a:lnTo>
                  <a:pt x="1" y="746"/>
                </a:lnTo>
                <a:lnTo>
                  <a:pt x="3" y="758"/>
                </a:lnTo>
                <a:lnTo>
                  <a:pt x="8" y="770"/>
                </a:lnTo>
                <a:lnTo>
                  <a:pt x="14" y="781"/>
                </a:lnTo>
                <a:lnTo>
                  <a:pt x="22" y="791"/>
                </a:lnTo>
                <a:lnTo>
                  <a:pt x="30" y="800"/>
                </a:lnTo>
                <a:lnTo>
                  <a:pt x="40" y="808"/>
                </a:lnTo>
                <a:lnTo>
                  <a:pt x="51" y="815"/>
                </a:lnTo>
                <a:lnTo>
                  <a:pt x="51" y="963"/>
                </a:lnTo>
                <a:lnTo>
                  <a:pt x="51" y="963"/>
                </a:lnTo>
                <a:lnTo>
                  <a:pt x="52" y="973"/>
                </a:lnTo>
                <a:lnTo>
                  <a:pt x="53" y="982"/>
                </a:lnTo>
                <a:lnTo>
                  <a:pt x="55" y="990"/>
                </a:lnTo>
                <a:lnTo>
                  <a:pt x="59" y="998"/>
                </a:lnTo>
                <a:lnTo>
                  <a:pt x="62" y="1006"/>
                </a:lnTo>
                <a:lnTo>
                  <a:pt x="66" y="1013"/>
                </a:lnTo>
                <a:lnTo>
                  <a:pt x="72" y="1021"/>
                </a:lnTo>
                <a:lnTo>
                  <a:pt x="77" y="1027"/>
                </a:lnTo>
                <a:lnTo>
                  <a:pt x="83" y="1033"/>
                </a:lnTo>
                <a:lnTo>
                  <a:pt x="91" y="1038"/>
                </a:lnTo>
                <a:lnTo>
                  <a:pt x="98" y="1042"/>
                </a:lnTo>
                <a:lnTo>
                  <a:pt x="106" y="1046"/>
                </a:lnTo>
                <a:lnTo>
                  <a:pt x="114" y="1049"/>
                </a:lnTo>
                <a:lnTo>
                  <a:pt x="123" y="1051"/>
                </a:lnTo>
                <a:lnTo>
                  <a:pt x="131" y="1052"/>
                </a:lnTo>
                <a:lnTo>
                  <a:pt x="141" y="1053"/>
                </a:lnTo>
                <a:lnTo>
                  <a:pt x="289" y="1053"/>
                </a:lnTo>
                <a:lnTo>
                  <a:pt x="289" y="1053"/>
                </a:lnTo>
                <a:lnTo>
                  <a:pt x="299" y="1052"/>
                </a:lnTo>
                <a:lnTo>
                  <a:pt x="308" y="1051"/>
                </a:lnTo>
                <a:lnTo>
                  <a:pt x="317" y="1049"/>
                </a:lnTo>
                <a:lnTo>
                  <a:pt x="324" y="1046"/>
                </a:lnTo>
                <a:lnTo>
                  <a:pt x="333" y="1042"/>
                </a:lnTo>
                <a:lnTo>
                  <a:pt x="340" y="1038"/>
                </a:lnTo>
                <a:lnTo>
                  <a:pt x="347" y="1033"/>
                </a:lnTo>
                <a:lnTo>
                  <a:pt x="353" y="1027"/>
                </a:lnTo>
                <a:lnTo>
                  <a:pt x="359" y="1021"/>
                </a:lnTo>
                <a:lnTo>
                  <a:pt x="364" y="1013"/>
                </a:lnTo>
                <a:lnTo>
                  <a:pt x="369" y="1006"/>
                </a:lnTo>
                <a:lnTo>
                  <a:pt x="372" y="998"/>
                </a:lnTo>
                <a:lnTo>
                  <a:pt x="375" y="990"/>
                </a:lnTo>
                <a:lnTo>
                  <a:pt x="377" y="982"/>
                </a:lnTo>
                <a:lnTo>
                  <a:pt x="378" y="973"/>
                </a:lnTo>
                <a:lnTo>
                  <a:pt x="379" y="963"/>
                </a:lnTo>
                <a:lnTo>
                  <a:pt x="379" y="824"/>
                </a:lnTo>
                <a:lnTo>
                  <a:pt x="379" y="824"/>
                </a:lnTo>
                <a:lnTo>
                  <a:pt x="1085" y="824"/>
                </a:lnTo>
                <a:lnTo>
                  <a:pt x="1085" y="963"/>
                </a:lnTo>
                <a:lnTo>
                  <a:pt x="1085" y="963"/>
                </a:lnTo>
                <a:lnTo>
                  <a:pt x="1086" y="973"/>
                </a:lnTo>
                <a:lnTo>
                  <a:pt x="1087" y="982"/>
                </a:lnTo>
                <a:lnTo>
                  <a:pt x="1090" y="990"/>
                </a:lnTo>
                <a:lnTo>
                  <a:pt x="1093" y="998"/>
                </a:lnTo>
                <a:lnTo>
                  <a:pt x="1096" y="1006"/>
                </a:lnTo>
                <a:lnTo>
                  <a:pt x="1100" y="1013"/>
                </a:lnTo>
                <a:lnTo>
                  <a:pt x="1106" y="1021"/>
                </a:lnTo>
                <a:lnTo>
                  <a:pt x="1112" y="1027"/>
                </a:lnTo>
                <a:lnTo>
                  <a:pt x="1118" y="1033"/>
                </a:lnTo>
                <a:lnTo>
                  <a:pt x="1125" y="1038"/>
                </a:lnTo>
                <a:lnTo>
                  <a:pt x="1133" y="1042"/>
                </a:lnTo>
                <a:lnTo>
                  <a:pt x="1141" y="1046"/>
                </a:lnTo>
                <a:lnTo>
                  <a:pt x="1148" y="1049"/>
                </a:lnTo>
                <a:lnTo>
                  <a:pt x="1157" y="1051"/>
                </a:lnTo>
                <a:lnTo>
                  <a:pt x="1167" y="1052"/>
                </a:lnTo>
                <a:lnTo>
                  <a:pt x="1175" y="1053"/>
                </a:lnTo>
                <a:lnTo>
                  <a:pt x="1325" y="1053"/>
                </a:lnTo>
                <a:lnTo>
                  <a:pt x="1325" y="1053"/>
                </a:lnTo>
                <a:lnTo>
                  <a:pt x="1334" y="1052"/>
                </a:lnTo>
                <a:lnTo>
                  <a:pt x="1342" y="1051"/>
                </a:lnTo>
                <a:lnTo>
                  <a:pt x="1351" y="1049"/>
                </a:lnTo>
                <a:lnTo>
                  <a:pt x="1360" y="1046"/>
                </a:lnTo>
                <a:lnTo>
                  <a:pt x="1367" y="1042"/>
                </a:lnTo>
                <a:lnTo>
                  <a:pt x="1375" y="1038"/>
                </a:lnTo>
                <a:lnTo>
                  <a:pt x="1381" y="1033"/>
                </a:lnTo>
                <a:lnTo>
                  <a:pt x="1388" y="1027"/>
                </a:lnTo>
                <a:lnTo>
                  <a:pt x="1393" y="1021"/>
                </a:lnTo>
                <a:lnTo>
                  <a:pt x="1399" y="1013"/>
                </a:lnTo>
                <a:lnTo>
                  <a:pt x="1403" y="1006"/>
                </a:lnTo>
                <a:lnTo>
                  <a:pt x="1407" y="998"/>
                </a:lnTo>
                <a:lnTo>
                  <a:pt x="1409" y="990"/>
                </a:lnTo>
                <a:lnTo>
                  <a:pt x="1413" y="982"/>
                </a:lnTo>
                <a:lnTo>
                  <a:pt x="1414" y="973"/>
                </a:lnTo>
                <a:lnTo>
                  <a:pt x="1414" y="963"/>
                </a:lnTo>
                <a:lnTo>
                  <a:pt x="1414" y="815"/>
                </a:lnTo>
                <a:lnTo>
                  <a:pt x="1414" y="815"/>
                </a:lnTo>
                <a:lnTo>
                  <a:pt x="1425" y="808"/>
                </a:lnTo>
                <a:lnTo>
                  <a:pt x="1434" y="800"/>
                </a:lnTo>
                <a:lnTo>
                  <a:pt x="1443" y="791"/>
                </a:lnTo>
                <a:lnTo>
                  <a:pt x="1451" y="781"/>
                </a:lnTo>
                <a:lnTo>
                  <a:pt x="1457" y="770"/>
                </a:lnTo>
                <a:lnTo>
                  <a:pt x="1462" y="758"/>
                </a:lnTo>
                <a:lnTo>
                  <a:pt x="1465" y="746"/>
                </a:lnTo>
                <a:lnTo>
                  <a:pt x="1465" y="733"/>
                </a:lnTo>
                <a:lnTo>
                  <a:pt x="1465" y="733"/>
                </a:lnTo>
                <a:lnTo>
                  <a:pt x="1465" y="535"/>
                </a:lnTo>
                <a:lnTo>
                  <a:pt x="1465" y="535"/>
                </a:lnTo>
                <a:lnTo>
                  <a:pt x="1465" y="525"/>
                </a:lnTo>
                <a:lnTo>
                  <a:pt x="1464" y="515"/>
                </a:lnTo>
                <a:lnTo>
                  <a:pt x="1462" y="506"/>
                </a:lnTo>
                <a:lnTo>
                  <a:pt x="1458" y="496"/>
                </a:lnTo>
                <a:lnTo>
                  <a:pt x="1455" y="486"/>
                </a:lnTo>
                <a:lnTo>
                  <a:pt x="1451" y="476"/>
                </a:lnTo>
                <a:lnTo>
                  <a:pt x="1440" y="457"/>
                </a:lnTo>
                <a:lnTo>
                  <a:pt x="1428" y="438"/>
                </a:lnTo>
                <a:lnTo>
                  <a:pt x="1420" y="430"/>
                </a:lnTo>
                <a:lnTo>
                  <a:pt x="1413" y="422"/>
                </a:lnTo>
                <a:lnTo>
                  <a:pt x="1405" y="415"/>
                </a:lnTo>
                <a:lnTo>
                  <a:pt x="1396" y="408"/>
                </a:lnTo>
                <a:lnTo>
                  <a:pt x="1388" y="403"/>
                </a:lnTo>
                <a:lnTo>
                  <a:pt x="1379" y="397"/>
                </a:lnTo>
                <a:lnTo>
                  <a:pt x="1379" y="397"/>
                </a:lnTo>
                <a:close/>
                <a:moveTo>
                  <a:pt x="304" y="649"/>
                </a:moveTo>
                <a:lnTo>
                  <a:pt x="304" y="649"/>
                </a:lnTo>
                <a:lnTo>
                  <a:pt x="298" y="661"/>
                </a:lnTo>
                <a:lnTo>
                  <a:pt x="291" y="670"/>
                </a:lnTo>
                <a:lnTo>
                  <a:pt x="282" y="680"/>
                </a:lnTo>
                <a:lnTo>
                  <a:pt x="270" y="689"/>
                </a:lnTo>
                <a:lnTo>
                  <a:pt x="258" y="695"/>
                </a:lnTo>
                <a:lnTo>
                  <a:pt x="245" y="700"/>
                </a:lnTo>
                <a:lnTo>
                  <a:pt x="237" y="701"/>
                </a:lnTo>
                <a:lnTo>
                  <a:pt x="231" y="702"/>
                </a:lnTo>
                <a:lnTo>
                  <a:pt x="223" y="702"/>
                </a:lnTo>
                <a:lnTo>
                  <a:pt x="217" y="701"/>
                </a:lnTo>
                <a:lnTo>
                  <a:pt x="217" y="701"/>
                </a:lnTo>
                <a:lnTo>
                  <a:pt x="163" y="689"/>
                </a:lnTo>
                <a:lnTo>
                  <a:pt x="108" y="678"/>
                </a:lnTo>
                <a:lnTo>
                  <a:pt x="108" y="678"/>
                </a:lnTo>
                <a:lnTo>
                  <a:pt x="101" y="676"/>
                </a:lnTo>
                <a:lnTo>
                  <a:pt x="94" y="673"/>
                </a:lnTo>
                <a:lnTo>
                  <a:pt x="88" y="669"/>
                </a:lnTo>
                <a:lnTo>
                  <a:pt x="82" y="666"/>
                </a:lnTo>
                <a:lnTo>
                  <a:pt x="77" y="661"/>
                </a:lnTo>
                <a:lnTo>
                  <a:pt x="73" y="656"/>
                </a:lnTo>
                <a:lnTo>
                  <a:pt x="68" y="650"/>
                </a:lnTo>
                <a:lnTo>
                  <a:pt x="65" y="644"/>
                </a:lnTo>
                <a:lnTo>
                  <a:pt x="62" y="638"/>
                </a:lnTo>
                <a:lnTo>
                  <a:pt x="59" y="630"/>
                </a:lnTo>
                <a:lnTo>
                  <a:pt x="57" y="624"/>
                </a:lnTo>
                <a:lnTo>
                  <a:pt x="55" y="616"/>
                </a:lnTo>
                <a:lnTo>
                  <a:pt x="55" y="609"/>
                </a:lnTo>
                <a:lnTo>
                  <a:pt x="55" y="600"/>
                </a:lnTo>
                <a:lnTo>
                  <a:pt x="56" y="592"/>
                </a:lnTo>
                <a:lnTo>
                  <a:pt x="57" y="584"/>
                </a:lnTo>
                <a:lnTo>
                  <a:pt x="57" y="584"/>
                </a:lnTo>
                <a:lnTo>
                  <a:pt x="60" y="575"/>
                </a:lnTo>
                <a:lnTo>
                  <a:pt x="62" y="566"/>
                </a:lnTo>
                <a:lnTo>
                  <a:pt x="66" y="559"/>
                </a:lnTo>
                <a:lnTo>
                  <a:pt x="69" y="551"/>
                </a:lnTo>
                <a:lnTo>
                  <a:pt x="74" y="545"/>
                </a:lnTo>
                <a:lnTo>
                  <a:pt x="79" y="538"/>
                </a:lnTo>
                <a:lnTo>
                  <a:pt x="85" y="533"/>
                </a:lnTo>
                <a:lnTo>
                  <a:pt x="90" y="527"/>
                </a:lnTo>
                <a:lnTo>
                  <a:pt x="96" y="523"/>
                </a:lnTo>
                <a:lnTo>
                  <a:pt x="102" y="519"/>
                </a:lnTo>
                <a:lnTo>
                  <a:pt x="108" y="515"/>
                </a:lnTo>
                <a:lnTo>
                  <a:pt x="116" y="513"/>
                </a:lnTo>
                <a:lnTo>
                  <a:pt x="123" y="512"/>
                </a:lnTo>
                <a:lnTo>
                  <a:pt x="130" y="512"/>
                </a:lnTo>
                <a:lnTo>
                  <a:pt x="137" y="513"/>
                </a:lnTo>
                <a:lnTo>
                  <a:pt x="144" y="514"/>
                </a:lnTo>
                <a:lnTo>
                  <a:pt x="144" y="514"/>
                </a:lnTo>
                <a:lnTo>
                  <a:pt x="171" y="524"/>
                </a:lnTo>
                <a:lnTo>
                  <a:pt x="198" y="534"/>
                </a:lnTo>
                <a:lnTo>
                  <a:pt x="227" y="547"/>
                </a:lnTo>
                <a:lnTo>
                  <a:pt x="254" y="559"/>
                </a:lnTo>
                <a:lnTo>
                  <a:pt x="254" y="559"/>
                </a:lnTo>
                <a:lnTo>
                  <a:pt x="267" y="567"/>
                </a:lnTo>
                <a:lnTo>
                  <a:pt x="279" y="577"/>
                </a:lnTo>
                <a:lnTo>
                  <a:pt x="288" y="588"/>
                </a:lnTo>
                <a:lnTo>
                  <a:pt x="296" y="600"/>
                </a:lnTo>
                <a:lnTo>
                  <a:pt x="301" y="613"/>
                </a:lnTo>
                <a:lnTo>
                  <a:pt x="305" y="625"/>
                </a:lnTo>
                <a:lnTo>
                  <a:pt x="306" y="631"/>
                </a:lnTo>
                <a:lnTo>
                  <a:pt x="306" y="637"/>
                </a:lnTo>
                <a:lnTo>
                  <a:pt x="305" y="643"/>
                </a:lnTo>
                <a:lnTo>
                  <a:pt x="304" y="649"/>
                </a:lnTo>
                <a:lnTo>
                  <a:pt x="304" y="649"/>
                </a:lnTo>
                <a:close/>
                <a:moveTo>
                  <a:pt x="266" y="305"/>
                </a:moveTo>
                <a:lnTo>
                  <a:pt x="268" y="301"/>
                </a:lnTo>
                <a:lnTo>
                  <a:pt x="268" y="301"/>
                </a:lnTo>
                <a:lnTo>
                  <a:pt x="288" y="255"/>
                </a:lnTo>
                <a:lnTo>
                  <a:pt x="310" y="209"/>
                </a:lnTo>
                <a:lnTo>
                  <a:pt x="334" y="162"/>
                </a:lnTo>
                <a:lnTo>
                  <a:pt x="348" y="138"/>
                </a:lnTo>
                <a:lnTo>
                  <a:pt x="362" y="113"/>
                </a:lnTo>
                <a:lnTo>
                  <a:pt x="362" y="113"/>
                </a:lnTo>
                <a:lnTo>
                  <a:pt x="371" y="99"/>
                </a:lnTo>
                <a:lnTo>
                  <a:pt x="378" y="87"/>
                </a:lnTo>
                <a:lnTo>
                  <a:pt x="385" y="78"/>
                </a:lnTo>
                <a:lnTo>
                  <a:pt x="390" y="72"/>
                </a:lnTo>
                <a:lnTo>
                  <a:pt x="396" y="68"/>
                </a:lnTo>
                <a:lnTo>
                  <a:pt x="400" y="64"/>
                </a:lnTo>
                <a:lnTo>
                  <a:pt x="403" y="62"/>
                </a:lnTo>
                <a:lnTo>
                  <a:pt x="405" y="61"/>
                </a:lnTo>
                <a:lnTo>
                  <a:pt x="1059" y="61"/>
                </a:lnTo>
                <a:lnTo>
                  <a:pt x="1059" y="61"/>
                </a:lnTo>
                <a:lnTo>
                  <a:pt x="1066" y="64"/>
                </a:lnTo>
                <a:lnTo>
                  <a:pt x="1070" y="68"/>
                </a:lnTo>
                <a:lnTo>
                  <a:pt x="1074" y="72"/>
                </a:lnTo>
                <a:lnTo>
                  <a:pt x="1080" y="78"/>
                </a:lnTo>
                <a:lnTo>
                  <a:pt x="1086" y="87"/>
                </a:lnTo>
                <a:lnTo>
                  <a:pt x="1094" y="98"/>
                </a:lnTo>
                <a:lnTo>
                  <a:pt x="1103" y="112"/>
                </a:lnTo>
                <a:lnTo>
                  <a:pt x="1103" y="112"/>
                </a:lnTo>
                <a:lnTo>
                  <a:pt x="1117" y="137"/>
                </a:lnTo>
                <a:lnTo>
                  <a:pt x="1131" y="162"/>
                </a:lnTo>
                <a:lnTo>
                  <a:pt x="1155" y="209"/>
                </a:lnTo>
                <a:lnTo>
                  <a:pt x="1176" y="254"/>
                </a:lnTo>
                <a:lnTo>
                  <a:pt x="1197" y="301"/>
                </a:lnTo>
                <a:lnTo>
                  <a:pt x="1199" y="305"/>
                </a:lnTo>
                <a:lnTo>
                  <a:pt x="266" y="305"/>
                </a:lnTo>
                <a:close/>
                <a:moveTo>
                  <a:pt x="1357" y="678"/>
                </a:moveTo>
                <a:lnTo>
                  <a:pt x="1357" y="678"/>
                </a:lnTo>
                <a:lnTo>
                  <a:pt x="1303" y="689"/>
                </a:lnTo>
                <a:lnTo>
                  <a:pt x="1249" y="701"/>
                </a:lnTo>
                <a:lnTo>
                  <a:pt x="1249" y="701"/>
                </a:lnTo>
                <a:lnTo>
                  <a:pt x="1241" y="702"/>
                </a:lnTo>
                <a:lnTo>
                  <a:pt x="1235" y="702"/>
                </a:lnTo>
                <a:lnTo>
                  <a:pt x="1227" y="701"/>
                </a:lnTo>
                <a:lnTo>
                  <a:pt x="1221" y="700"/>
                </a:lnTo>
                <a:lnTo>
                  <a:pt x="1207" y="695"/>
                </a:lnTo>
                <a:lnTo>
                  <a:pt x="1195" y="689"/>
                </a:lnTo>
                <a:lnTo>
                  <a:pt x="1184" y="680"/>
                </a:lnTo>
                <a:lnTo>
                  <a:pt x="1174" y="670"/>
                </a:lnTo>
                <a:lnTo>
                  <a:pt x="1167" y="661"/>
                </a:lnTo>
                <a:lnTo>
                  <a:pt x="1161" y="649"/>
                </a:lnTo>
                <a:lnTo>
                  <a:pt x="1161" y="649"/>
                </a:lnTo>
                <a:lnTo>
                  <a:pt x="1160" y="643"/>
                </a:lnTo>
                <a:lnTo>
                  <a:pt x="1159" y="637"/>
                </a:lnTo>
                <a:lnTo>
                  <a:pt x="1159" y="631"/>
                </a:lnTo>
                <a:lnTo>
                  <a:pt x="1160" y="625"/>
                </a:lnTo>
                <a:lnTo>
                  <a:pt x="1163" y="613"/>
                </a:lnTo>
                <a:lnTo>
                  <a:pt x="1169" y="600"/>
                </a:lnTo>
                <a:lnTo>
                  <a:pt x="1176" y="588"/>
                </a:lnTo>
                <a:lnTo>
                  <a:pt x="1186" y="577"/>
                </a:lnTo>
                <a:lnTo>
                  <a:pt x="1198" y="567"/>
                </a:lnTo>
                <a:lnTo>
                  <a:pt x="1212" y="559"/>
                </a:lnTo>
                <a:lnTo>
                  <a:pt x="1212" y="559"/>
                </a:lnTo>
                <a:lnTo>
                  <a:pt x="1239" y="547"/>
                </a:lnTo>
                <a:lnTo>
                  <a:pt x="1266" y="534"/>
                </a:lnTo>
                <a:lnTo>
                  <a:pt x="1293" y="524"/>
                </a:lnTo>
                <a:lnTo>
                  <a:pt x="1321" y="514"/>
                </a:lnTo>
                <a:lnTo>
                  <a:pt x="1321" y="514"/>
                </a:lnTo>
                <a:lnTo>
                  <a:pt x="1328" y="513"/>
                </a:lnTo>
                <a:lnTo>
                  <a:pt x="1336" y="512"/>
                </a:lnTo>
                <a:lnTo>
                  <a:pt x="1342" y="512"/>
                </a:lnTo>
                <a:lnTo>
                  <a:pt x="1350" y="513"/>
                </a:lnTo>
                <a:lnTo>
                  <a:pt x="1356" y="515"/>
                </a:lnTo>
                <a:lnTo>
                  <a:pt x="1363" y="519"/>
                </a:lnTo>
                <a:lnTo>
                  <a:pt x="1369" y="523"/>
                </a:lnTo>
                <a:lnTo>
                  <a:pt x="1375" y="527"/>
                </a:lnTo>
                <a:lnTo>
                  <a:pt x="1381" y="533"/>
                </a:lnTo>
                <a:lnTo>
                  <a:pt x="1387" y="538"/>
                </a:lnTo>
                <a:lnTo>
                  <a:pt x="1391" y="545"/>
                </a:lnTo>
                <a:lnTo>
                  <a:pt x="1395" y="551"/>
                </a:lnTo>
                <a:lnTo>
                  <a:pt x="1400" y="559"/>
                </a:lnTo>
                <a:lnTo>
                  <a:pt x="1403" y="566"/>
                </a:lnTo>
                <a:lnTo>
                  <a:pt x="1405" y="575"/>
                </a:lnTo>
                <a:lnTo>
                  <a:pt x="1407" y="584"/>
                </a:lnTo>
                <a:lnTo>
                  <a:pt x="1407" y="584"/>
                </a:lnTo>
                <a:lnTo>
                  <a:pt x="1409" y="592"/>
                </a:lnTo>
                <a:lnTo>
                  <a:pt x="1409" y="600"/>
                </a:lnTo>
                <a:lnTo>
                  <a:pt x="1409" y="609"/>
                </a:lnTo>
                <a:lnTo>
                  <a:pt x="1409" y="616"/>
                </a:lnTo>
                <a:lnTo>
                  <a:pt x="1408" y="624"/>
                </a:lnTo>
                <a:lnTo>
                  <a:pt x="1406" y="630"/>
                </a:lnTo>
                <a:lnTo>
                  <a:pt x="1404" y="638"/>
                </a:lnTo>
                <a:lnTo>
                  <a:pt x="1401" y="644"/>
                </a:lnTo>
                <a:lnTo>
                  <a:pt x="1396" y="650"/>
                </a:lnTo>
                <a:lnTo>
                  <a:pt x="1392" y="656"/>
                </a:lnTo>
                <a:lnTo>
                  <a:pt x="1388" y="661"/>
                </a:lnTo>
                <a:lnTo>
                  <a:pt x="1382" y="666"/>
                </a:lnTo>
                <a:lnTo>
                  <a:pt x="1377" y="669"/>
                </a:lnTo>
                <a:lnTo>
                  <a:pt x="1370" y="673"/>
                </a:lnTo>
                <a:lnTo>
                  <a:pt x="1364" y="676"/>
                </a:lnTo>
                <a:lnTo>
                  <a:pt x="1357" y="678"/>
                </a:lnTo>
                <a:lnTo>
                  <a:pt x="1357" y="67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49" name="Freeform 4842"/>
          <p:cNvSpPr>
            <a:spLocks noEditPoints="1"/>
          </p:cNvSpPr>
          <p:nvPr/>
        </p:nvSpPr>
        <p:spPr bwMode="auto">
          <a:xfrm>
            <a:off x="1259779" y="4418080"/>
            <a:ext cx="348226" cy="330137"/>
          </a:xfrm>
          <a:custGeom>
            <a:avLst/>
            <a:gdLst>
              <a:gd name="T0" fmla="*/ 52 w 308"/>
              <a:gd name="T1" fmla="*/ 4 h 292"/>
              <a:gd name="T2" fmla="*/ 244 w 308"/>
              <a:gd name="T3" fmla="*/ 0 h 292"/>
              <a:gd name="T4" fmla="*/ 308 w 308"/>
              <a:gd name="T5" fmla="*/ 68 h 292"/>
              <a:gd name="T6" fmla="*/ 304 w 308"/>
              <a:gd name="T7" fmla="*/ 266 h 292"/>
              <a:gd name="T8" fmla="*/ 248 w 308"/>
              <a:gd name="T9" fmla="*/ 292 h 292"/>
              <a:gd name="T10" fmla="*/ 16 w 308"/>
              <a:gd name="T11" fmla="*/ 292 h 292"/>
              <a:gd name="T12" fmla="*/ 4 w 308"/>
              <a:gd name="T13" fmla="*/ 266 h 292"/>
              <a:gd name="T14" fmla="*/ 0 w 308"/>
              <a:gd name="T15" fmla="*/ 68 h 292"/>
              <a:gd name="T16" fmla="*/ 16 w 308"/>
              <a:gd name="T17" fmla="*/ 52 h 292"/>
              <a:gd name="T18" fmla="*/ 304 w 308"/>
              <a:gd name="T19" fmla="*/ 56 h 292"/>
              <a:gd name="T20" fmla="*/ 166 w 308"/>
              <a:gd name="T21" fmla="*/ 162 h 292"/>
              <a:gd name="T22" fmla="*/ 154 w 308"/>
              <a:gd name="T23" fmla="*/ 124 h 292"/>
              <a:gd name="T24" fmla="*/ 114 w 308"/>
              <a:gd name="T25" fmla="*/ 98 h 292"/>
              <a:gd name="T26" fmla="*/ 74 w 308"/>
              <a:gd name="T27" fmla="*/ 100 h 292"/>
              <a:gd name="T28" fmla="*/ 40 w 308"/>
              <a:gd name="T29" fmla="*/ 136 h 292"/>
              <a:gd name="T30" fmla="*/ 36 w 308"/>
              <a:gd name="T31" fmla="*/ 174 h 292"/>
              <a:gd name="T32" fmla="*/ 64 w 308"/>
              <a:gd name="T33" fmla="*/ 216 h 292"/>
              <a:gd name="T34" fmla="*/ 100 w 308"/>
              <a:gd name="T35" fmla="*/ 228 h 292"/>
              <a:gd name="T36" fmla="*/ 146 w 308"/>
              <a:gd name="T37" fmla="*/ 208 h 292"/>
              <a:gd name="T38" fmla="*/ 166 w 308"/>
              <a:gd name="T39" fmla="*/ 162 h 292"/>
              <a:gd name="T40" fmla="*/ 268 w 308"/>
              <a:gd name="T41" fmla="*/ 110 h 292"/>
              <a:gd name="T42" fmla="*/ 244 w 308"/>
              <a:gd name="T43" fmla="*/ 96 h 292"/>
              <a:gd name="T44" fmla="*/ 218 w 308"/>
              <a:gd name="T45" fmla="*/ 120 h 292"/>
              <a:gd name="T46" fmla="*/ 226 w 308"/>
              <a:gd name="T47" fmla="*/ 140 h 292"/>
              <a:gd name="T48" fmla="*/ 232 w 308"/>
              <a:gd name="T49" fmla="*/ 222 h 292"/>
              <a:gd name="T50" fmla="*/ 244 w 308"/>
              <a:gd name="T51" fmla="*/ 230 h 292"/>
              <a:gd name="T52" fmla="*/ 256 w 308"/>
              <a:gd name="T53" fmla="*/ 218 h 292"/>
              <a:gd name="T54" fmla="*/ 266 w 308"/>
              <a:gd name="T55" fmla="*/ 134 h 292"/>
              <a:gd name="T56" fmla="*/ 142 w 308"/>
              <a:gd name="T57" fmla="*/ 168 h 292"/>
              <a:gd name="T58" fmla="*/ 140 w 308"/>
              <a:gd name="T59" fmla="*/ 192 h 292"/>
              <a:gd name="T60" fmla="*/ 124 w 308"/>
              <a:gd name="T61" fmla="*/ 186 h 292"/>
              <a:gd name="T62" fmla="*/ 130 w 308"/>
              <a:gd name="T63" fmla="*/ 202 h 292"/>
              <a:gd name="T64" fmla="*/ 108 w 308"/>
              <a:gd name="T65" fmla="*/ 204 h 292"/>
              <a:gd name="T66" fmla="*/ 100 w 308"/>
              <a:gd name="T67" fmla="*/ 196 h 292"/>
              <a:gd name="T68" fmla="*/ 92 w 308"/>
              <a:gd name="T69" fmla="*/ 212 h 292"/>
              <a:gd name="T70" fmla="*/ 76 w 308"/>
              <a:gd name="T71" fmla="*/ 196 h 292"/>
              <a:gd name="T72" fmla="*/ 70 w 308"/>
              <a:gd name="T73" fmla="*/ 184 h 292"/>
              <a:gd name="T74" fmla="*/ 54 w 308"/>
              <a:gd name="T75" fmla="*/ 180 h 292"/>
              <a:gd name="T76" fmla="*/ 64 w 308"/>
              <a:gd name="T77" fmla="*/ 166 h 292"/>
              <a:gd name="T78" fmla="*/ 58 w 308"/>
              <a:gd name="T79" fmla="*/ 154 h 292"/>
              <a:gd name="T80" fmla="*/ 60 w 308"/>
              <a:gd name="T81" fmla="*/ 132 h 292"/>
              <a:gd name="T82" fmla="*/ 70 w 308"/>
              <a:gd name="T83" fmla="*/ 140 h 292"/>
              <a:gd name="T84" fmla="*/ 76 w 308"/>
              <a:gd name="T85" fmla="*/ 126 h 292"/>
              <a:gd name="T86" fmla="*/ 92 w 308"/>
              <a:gd name="T87" fmla="*/ 112 h 292"/>
              <a:gd name="T88" fmla="*/ 100 w 308"/>
              <a:gd name="T89" fmla="*/ 128 h 292"/>
              <a:gd name="T90" fmla="*/ 108 w 308"/>
              <a:gd name="T91" fmla="*/ 112 h 292"/>
              <a:gd name="T92" fmla="*/ 124 w 308"/>
              <a:gd name="T93" fmla="*/ 126 h 292"/>
              <a:gd name="T94" fmla="*/ 124 w 308"/>
              <a:gd name="T95" fmla="*/ 138 h 292"/>
              <a:gd name="T96" fmla="*/ 140 w 308"/>
              <a:gd name="T97" fmla="*/ 130 h 292"/>
              <a:gd name="T98" fmla="*/ 142 w 308"/>
              <a:gd name="T99" fmla="*/ 154 h 292"/>
              <a:gd name="T100" fmla="*/ 134 w 308"/>
              <a:gd name="T101" fmla="*/ 162 h 292"/>
              <a:gd name="T102" fmla="*/ 120 w 308"/>
              <a:gd name="T103" fmla="*/ 162 h 292"/>
              <a:gd name="T104" fmla="*/ 108 w 308"/>
              <a:gd name="T105" fmla="*/ 142 h 292"/>
              <a:gd name="T106" fmla="*/ 86 w 308"/>
              <a:gd name="T107" fmla="*/ 146 h 292"/>
              <a:gd name="T108" fmla="*/ 82 w 308"/>
              <a:gd name="T109" fmla="*/ 170 h 292"/>
              <a:gd name="T110" fmla="*/ 100 w 308"/>
              <a:gd name="T111" fmla="*/ 182 h 292"/>
              <a:gd name="T112" fmla="*/ 120 w 308"/>
              <a:gd name="T113" fmla="*/ 16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8" h="292">
                <a:moveTo>
                  <a:pt x="290" y="32"/>
                </a:moveTo>
                <a:lnTo>
                  <a:pt x="18" y="32"/>
                </a:lnTo>
                <a:lnTo>
                  <a:pt x="52" y="4"/>
                </a:lnTo>
                <a:lnTo>
                  <a:pt x="52" y="4"/>
                </a:lnTo>
                <a:lnTo>
                  <a:pt x="58" y="0"/>
                </a:lnTo>
                <a:lnTo>
                  <a:pt x="64" y="0"/>
                </a:lnTo>
                <a:lnTo>
                  <a:pt x="244" y="0"/>
                </a:lnTo>
                <a:lnTo>
                  <a:pt x="244" y="0"/>
                </a:lnTo>
                <a:lnTo>
                  <a:pt x="250" y="0"/>
                </a:lnTo>
                <a:lnTo>
                  <a:pt x="256" y="4"/>
                </a:lnTo>
                <a:lnTo>
                  <a:pt x="290" y="32"/>
                </a:lnTo>
                <a:close/>
                <a:moveTo>
                  <a:pt x="308" y="68"/>
                </a:moveTo>
                <a:lnTo>
                  <a:pt x="308" y="256"/>
                </a:lnTo>
                <a:lnTo>
                  <a:pt x="308" y="256"/>
                </a:lnTo>
                <a:lnTo>
                  <a:pt x="308" y="262"/>
                </a:lnTo>
                <a:lnTo>
                  <a:pt x="304" y="266"/>
                </a:lnTo>
                <a:lnTo>
                  <a:pt x="298" y="270"/>
                </a:lnTo>
                <a:lnTo>
                  <a:pt x="292" y="272"/>
                </a:lnTo>
                <a:lnTo>
                  <a:pt x="292" y="292"/>
                </a:lnTo>
                <a:lnTo>
                  <a:pt x="248" y="292"/>
                </a:lnTo>
                <a:lnTo>
                  <a:pt x="248" y="272"/>
                </a:lnTo>
                <a:lnTo>
                  <a:pt x="60" y="272"/>
                </a:lnTo>
                <a:lnTo>
                  <a:pt x="60" y="292"/>
                </a:lnTo>
                <a:lnTo>
                  <a:pt x="16" y="292"/>
                </a:lnTo>
                <a:lnTo>
                  <a:pt x="16" y="272"/>
                </a:lnTo>
                <a:lnTo>
                  <a:pt x="16" y="272"/>
                </a:lnTo>
                <a:lnTo>
                  <a:pt x="10" y="270"/>
                </a:lnTo>
                <a:lnTo>
                  <a:pt x="4" y="266"/>
                </a:lnTo>
                <a:lnTo>
                  <a:pt x="0" y="262"/>
                </a:lnTo>
                <a:lnTo>
                  <a:pt x="0" y="256"/>
                </a:lnTo>
                <a:lnTo>
                  <a:pt x="0" y="68"/>
                </a:lnTo>
                <a:lnTo>
                  <a:pt x="0" y="68"/>
                </a:lnTo>
                <a:lnTo>
                  <a:pt x="0" y="62"/>
                </a:lnTo>
                <a:lnTo>
                  <a:pt x="4" y="56"/>
                </a:lnTo>
                <a:lnTo>
                  <a:pt x="10" y="52"/>
                </a:lnTo>
                <a:lnTo>
                  <a:pt x="16" y="52"/>
                </a:lnTo>
                <a:lnTo>
                  <a:pt x="292" y="52"/>
                </a:lnTo>
                <a:lnTo>
                  <a:pt x="292" y="52"/>
                </a:lnTo>
                <a:lnTo>
                  <a:pt x="298" y="52"/>
                </a:lnTo>
                <a:lnTo>
                  <a:pt x="304" y="56"/>
                </a:lnTo>
                <a:lnTo>
                  <a:pt x="308" y="62"/>
                </a:lnTo>
                <a:lnTo>
                  <a:pt x="308" y="68"/>
                </a:lnTo>
                <a:lnTo>
                  <a:pt x="308" y="68"/>
                </a:lnTo>
                <a:close/>
                <a:moveTo>
                  <a:pt x="166" y="162"/>
                </a:moveTo>
                <a:lnTo>
                  <a:pt x="166" y="162"/>
                </a:lnTo>
                <a:lnTo>
                  <a:pt x="164" y="148"/>
                </a:lnTo>
                <a:lnTo>
                  <a:pt x="160" y="136"/>
                </a:lnTo>
                <a:lnTo>
                  <a:pt x="154" y="124"/>
                </a:lnTo>
                <a:lnTo>
                  <a:pt x="146" y="114"/>
                </a:lnTo>
                <a:lnTo>
                  <a:pt x="136" y="106"/>
                </a:lnTo>
                <a:lnTo>
                  <a:pt x="126" y="100"/>
                </a:lnTo>
                <a:lnTo>
                  <a:pt x="114" y="98"/>
                </a:lnTo>
                <a:lnTo>
                  <a:pt x="100" y="96"/>
                </a:lnTo>
                <a:lnTo>
                  <a:pt x="100" y="96"/>
                </a:lnTo>
                <a:lnTo>
                  <a:pt x="86" y="98"/>
                </a:lnTo>
                <a:lnTo>
                  <a:pt x="74" y="100"/>
                </a:lnTo>
                <a:lnTo>
                  <a:pt x="64" y="106"/>
                </a:lnTo>
                <a:lnTo>
                  <a:pt x="54" y="114"/>
                </a:lnTo>
                <a:lnTo>
                  <a:pt x="46" y="124"/>
                </a:lnTo>
                <a:lnTo>
                  <a:pt x="40" y="136"/>
                </a:lnTo>
                <a:lnTo>
                  <a:pt x="36" y="148"/>
                </a:lnTo>
                <a:lnTo>
                  <a:pt x="34" y="162"/>
                </a:lnTo>
                <a:lnTo>
                  <a:pt x="34" y="162"/>
                </a:lnTo>
                <a:lnTo>
                  <a:pt x="36" y="174"/>
                </a:lnTo>
                <a:lnTo>
                  <a:pt x="40" y="186"/>
                </a:lnTo>
                <a:lnTo>
                  <a:pt x="46" y="198"/>
                </a:lnTo>
                <a:lnTo>
                  <a:pt x="54" y="208"/>
                </a:lnTo>
                <a:lnTo>
                  <a:pt x="64" y="216"/>
                </a:lnTo>
                <a:lnTo>
                  <a:pt x="74" y="222"/>
                </a:lnTo>
                <a:lnTo>
                  <a:pt x="86" y="226"/>
                </a:lnTo>
                <a:lnTo>
                  <a:pt x="100" y="228"/>
                </a:lnTo>
                <a:lnTo>
                  <a:pt x="100" y="228"/>
                </a:lnTo>
                <a:lnTo>
                  <a:pt x="114" y="226"/>
                </a:lnTo>
                <a:lnTo>
                  <a:pt x="126" y="222"/>
                </a:lnTo>
                <a:lnTo>
                  <a:pt x="136" y="216"/>
                </a:lnTo>
                <a:lnTo>
                  <a:pt x="146" y="208"/>
                </a:lnTo>
                <a:lnTo>
                  <a:pt x="154" y="198"/>
                </a:lnTo>
                <a:lnTo>
                  <a:pt x="160" y="186"/>
                </a:lnTo>
                <a:lnTo>
                  <a:pt x="164" y="174"/>
                </a:lnTo>
                <a:lnTo>
                  <a:pt x="166" y="162"/>
                </a:lnTo>
                <a:lnTo>
                  <a:pt x="166" y="162"/>
                </a:lnTo>
                <a:close/>
                <a:moveTo>
                  <a:pt x="270" y="120"/>
                </a:moveTo>
                <a:lnTo>
                  <a:pt x="270" y="120"/>
                </a:lnTo>
                <a:lnTo>
                  <a:pt x="268" y="110"/>
                </a:lnTo>
                <a:lnTo>
                  <a:pt x="262" y="102"/>
                </a:lnTo>
                <a:lnTo>
                  <a:pt x="254" y="98"/>
                </a:lnTo>
                <a:lnTo>
                  <a:pt x="244" y="96"/>
                </a:lnTo>
                <a:lnTo>
                  <a:pt x="244" y="96"/>
                </a:lnTo>
                <a:lnTo>
                  <a:pt x="234" y="98"/>
                </a:lnTo>
                <a:lnTo>
                  <a:pt x="226" y="102"/>
                </a:lnTo>
                <a:lnTo>
                  <a:pt x="220" y="110"/>
                </a:lnTo>
                <a:lnTo>
                  <a:pt x="218" y="120"/>
                </a:lnTo>
                <a:lnTo>
                  <a:pt x="218" y="120"/>
                </a:lnTo>
                <a:lnTo>
                  <a:pt x="220" y="128"/>
                </a:lnTo>
                <a:lnTo>
                  <a:pt x="222" y="134"/>
                </a:lnTo>
                <a:lnTo>
                  <a:pt x="226" y="140"/>
                </a:lnTo>
                <a:lnTo>
                  <a:pt x="232" y="144"/>
                </a:lnTo>
                <a:lnTo>
                  <a:pt x="232" y="218"/>
                </a:lnTo>
                <a:lnTo>
                  <a:pt x="232" y="218"/>
                </a:lnTo>
                <a:lnTo>
                  <a:pt x="232" y="222"/>
                </a:lnTo>
                <a:lnTo>
                  <a:pt x="236" y="226"/>
                </a:lnTo>
                <a:lnTo>
                  <a:pt x="240" y="228"/>
                </a:lnTo>
                <a:lnTo>
                  <a:pt x="244" y="230"/>
                </a:lnTo>
                <a:lnTo>
                  <a:pt x="244" y="230"/>
                </a:lnTo>
                <a:lnTo>
                  <a:pt x="248" y="228"/>
                </a:lnTo>
                <a:lnTo>
                  <a:pt x="252" y="226"/>
                </a:lnTo>
                <a:lnTo>
                  <a:pt x="256" y="222"/>
                </a:lnTo>
                <a:lnTo>
                  <a:pt x="256" y="218"/>
                </a:lnTo>
                <a:lnTo>
                  <a:pt x="256" y="144"/>
                </a:lnTo>
                <a:lnTo>
                  <a:pt x="256" y="144"/>
                </a:lnTo>
                <a:lnTo>
                  <a:pt x="262" y="140"/>
                </a:lnTo>
                <a:lnTo>
                  <a:pt x="266" y="134"/>
                </a:lnTo>
                <a:lnTo>
                  <a:pt x="268" y="128"/>
                </a:lnTo>
                <a:lnTo>
                  <a:pt x="270" y="120"/>
                </a:lnTo>
                <a:lnTo>
                  <a:pt x="270" y="120"/>
                </a:lnTo>
                <a:close/>
                <a:moveTo>
                  <a:pt x="142" y="168"/>
                </a:moveTo>
                <a:lnTo>
                  <a:pt x="150" y="168"/>
                </a:lnTo>
                <a:lnTo>
                  <a:pt x="150" y="168"/>
                </a:lnTo>
                <a:lnTo>
                  <a:pt x="146" y="180"/>
                </a:lnTo>
                <a:lnTo>
                  <a:pt x="140" y="192"/>
                </a:lnTo>
                <a:lnTo>
                  <a:pt x="134" y="186"/>
                </a:lnTo>
                <a:lnTo>
                  <a:pt x="134" y="186"/>
                </a:lnTo>
                <a:lnTo>
                  <a:pt x="130" y="184"/>
                </a:lnTo>
                <a:lnTo>
                  <a:pt x="124" y="186"/>
                </a:lnTo>
                <a:lnTo>
                  <a:pt x="124" y="186"/>
                </a:lnTo>
                <a:lnTo>
                  <a:pt x="122" y="190"/>
                </a:lnTo>
                <a:lnTo>
                  <a:pt x="124" y="196"/>
                </a:lnTo>
                <a:lnTo>
                  <a:pt x="130" y="202"/>
                </a:lnTo>
                <a:lnTo>
                  <a:pt x="130" y="202"/>
                </a:lnTo>
                <a:lnTo>
                  <a:pt x="120" y="208"/>
                </a:lnTo>
                <a:lnTo>
                  <a:pt x="108" y="212"/>
                </a:lnTo>
                <a:lnTo>
                  <a:pt x="108" y="204"/>
                </a:lnTo>
                <a:lnTo>
                  <a:pt x="108" y="204"/>
                </a:lnTo>
                <a:lnTo>
                  <a:pt x="106" y="198"/>
                </a:lnTo>
                <a:lnTo>
                  <a:pt x="100" y="196"/>
                </a:lnTo>
                <a:lnTo>
                  <a:pt x="100" y="196"/>
                </a:lnTo>
                <a:lnTo>
                  <a:pt x="94" y="198"/>
                </a:lnTo>
                <a:lnTo>
                  <a:pt x="92" y="204"/>
                </a:lnTo>
                <a:lnTo>
                  <a:pt x="92" y="212"/>
                </a:lnTo>
                <a:lnTo>
                  <a:pt x="92" y="212"/>
                </a:lnTo>
                <a:lnTo>
                  <a:pt x="80" y="208"/>
                </a:lnTo>
                <a:lnTo>
                  <a:pt x="70" y="202"/>
                </a:lnTo>
                <a:lnTo>
                  <a:pt x="76" y="196"/>
                </a:lnTo>
                <a:lnTo>
                  <a:pt x="76" y="196"/>
                </a:lnTo>
                <a:lnTo>
                  <a:pt x="78" y="190"/>
                </a:lnTo>
                <a:lnTo>
                  <a:pt x="76" y="186"/>
                </a:lnTo>
                <a:lnTo>
                  <a:pt x="76" y="186"/>
                </a:lnTo>
                <a:lnTo>
                  <a:pt x="70" y="184"/>
                </a:lnTo>
                <a:lnTo>
                  <a:pt x="66" y="186"/>
                </a:lnTo>
                <a:lnTo>
                  <a:pt x="60" y="192"/>
                </a:lnTo>
                <a:lnTo>
                  <a:pt x="60" y="192"/>
                </a:lnTo>
                <a:lnTo>
                  <a:pt x="54" y="180"/>
                </a:lnTo>
                <a:lnTo>
                  <a:pt x="50" y="168"/>
                </a:lnTo>
                <a:lnTo>
                  <a:pt x="58" y="168"/>
                </a:lnTo>
                <a:lnTo>
                  <a:pt x="58" y="168"/>
                </a:lnTo>
                <a:lnTo>
                  <a:pt x="64" y="166"/>
                </a:lnTo>
                <a:lnTo>
                  <a:pt x="66" y="162"/>
                </a:lnTo>
                <a:lnTo>
                  <a:pt x="66" y="162"/>
                </a:lnTo>
                <a:lnTo>
                  <a:pt x="64" y="156"/>
                </a:lnTo>
                <a:lnTo>
                  <a:pt x="58" y="154"/>
                </a:lnTo>
                <a:lnTo>
                  <a:pt x="50" y="154"/>
                </a:lnTo>
                <a:lnTo>
                  <a:pt x="50" y="154"/>
                </a:lnTo>
                <a:lnTo>
                  <a:pt x="54" y="142"/>
                </a:lnTo>
                <a:lnTo>
                  <a:pt x="60" y="132"/>
                </a:lnTo>
                <a:lnTo>
                  <a:pt x="66" y="138"/>
                </a:lnTo>
                <a:lnTo>
                  <a:pt x="66" y="138"/>
                </a:lnTo>
                <a:lnTo>
                  <a:pt x="70" y="140"/>
                </a:lnTo>
                <a:lnTo>
                  <a:pt x="70" y="140"/>
                </a:lnTo>
                <a:lnTo>
                  <a:pt x="76" y="138"/>
                </a:lnTo>
                <a:lnTo>
                  <a:pt x="76" y="138"/>
                </a:lnTo>
                <a:lnTo>
                  <a:pt x="78" y="132"/>
                </a:lnTo>
                <a:lnTo>
                  <a:pt x="76" y="126"/>
                </a:lnTo>
                <a:lnTo>
                  <a:pt x="70" y="120"/>
                </a:lnTo>
                <a:lnTo>
                  <a:pt x="70" y="120"/>
                </a:lnTo>
                <a:lnTo>
                  <a:pt x="80" y="114"/>
                </a:lnTo>
                <a:lnTo>
                  <a:pt x="92" y="112"/>
                </a:lnTo>
                <a:lnTo>
                  <a:pt x="92" y="120"/>
                </a:lnTo>
                <a:lnTo>
                  <a:pt x="92" y="120"/>
                </a:lnTo>
                <a:lnTo>
                  <a:pt x="94" y="124"/>
                </a:lnTo>
                <a:lnTo>
                  <a:pt x="100" y="128"/>
                </a:lnTo>
                <a:lnTo>
                  <a:pt x="100" y="128"/>
                </a:lnTo>
                <a:lnTo>
                  <a:pt x="106" y="124"/>
                </a:lnTo>
                <a:lnTo>
                  <a:pt x="108" y="120"/>
                </a:lnTo>
                <a:lnTo>
                  <a:pt x="108" y="112"/>
                </a:lnTo>
                <a:lnTo>
                  <a:pt x="108" y="112"/>
                </a:lnTo>
                <a:lnTo>
                  <a:pt x="120" y="114"/>
                </a:lnTo>
                <a:lnTo>
                  <a:pt x="130" y="120"/>
                </a:lnTo>
                <a:lnTo>
                  <a:pt x="124" y="126"/>
                </a:lnTo>
                <a:lnTo>
                  <a:pt x="124" y="126"/>
                </a:lnTo>
                <a:lnTo>
                  <a:pt x="122" y="132"/>
                </a:lnTo>
                <a:lnTo>
                  <a:pt x="124" y="138"/>
                </a:lnTo>
                <a:lnTo>
                  <a:pt x="124" y="138"/>
                </a:lnTo>
                <a:lnTo>
                  <a:pt x="130" y="140"/>
                </a:lnTo>
                <a:lnTo>
                  <a:pt x="130" y="140"/>
                </a:lnTo>
                <a:lnTo>
                  <a:pt x="134" y="138"/>
                </a:lnTo>
                <a:lnTo>
                  <a:pt x="140" y="130"/>
                </a:lnTo>
                <a:lnTo>
                  <a:pt x="140" y="130"/>
                </a:lnTo>
                <a:lnTo>
                  <a:pt x="146" y="142"/>
                </a:lnTo>
                <a:lnTo>
                  <a:pt x="150" y="154"/>
                </a:lnTo>
                <a:lnTo>
                  <a:pt x="142" y="154"/>
                </a:lnTo>
                <a:lnTo>
                  <a:pt x="142" y="154"/>
                </a:lnTo>
                <a:lnTo>
                  <a:pt x="136" y="156"/>
                </a:lnTo>
                <a:lnTo>
                  <a:pt x="134" y="162"/>
                </a:lnTo>
                <a:lnTo>
                  <a:pt x="134" y="162"/>
                </a:lnTo>
                <a:lnTo>
                  <a:pt x="136" y="166"/>
                </a:lnTo>
                <a:lnTo>
                  <a:pt x="142" y="168"/>
                </a:lnTo>
                <a:lnTo>
                  <a:pt x="142" y="168"/>
                </a:lnTo>
                <a:close/>
                <a:moveTo>
                  <a:pt x="120" y="162"/>
                </a:moveTo>
                <a:lnTo>
                  <a:pt x="120" y="162"/>
                </a:lnTo>
                <a:lnTo>
                  <a:pt x="118" y="154"/>
                </a:lnTo>
                <a:lnTo>
                  <a:pt x="114" y="146"/>
                </a:lnTo>
                <a:lnTo>
                  <a:pt x="108" y="142"/>
                </a:lnTo>
                <a:lnTo>
                  <a:pt x="100" y="140"/>
                </a:lnTo>
                <a:lnTo>
                  <a:pt x="100" y="140"/>
                </a:lnTo>
                <a:lnTo>
                  <a:pt x="92" y="142"/>
                </a:lnTo>
                <a:lnTo>
                  <a:pt x="86" y="146"/>
                </a:lnTo>
                <a:lnTo>
                  <a:pt x="82" y="154"/>
                </a:lnTo>
                <a:lnTo>
                  <a:pt x="80" y="162"/>
                </a:lnTo>
                <a:lnTo>
                  <a:pt x="80" y="162"/>
                </a:lnTo>
                <a:lnTo>
                  <a:pt x="82" y="170"/>
                </a:lnTo>
                <a:lnTo>
                  <a:pt x="86" y="176"/>
                </a:lnTo>
                <a:lnTo>
                  <a:pt x="92" y="180"/>
                </a:lnTo>
                <a:lnTo>
                  <a:pt x="100" y="182"/>
                </a:lnTo>
                <a:lnTo>
                  <a:pt x="100" y="182"/>
                </a:lnTo>
                <a:lnTo>
                  <a:pt x="108" y="180"/>
                </a:lnTo>
                <a:lnTo>
                  <a:pt x="114" y="176"/>
                </a:lnTo>
                <a:lnTo>
                  <a:pt x="118" y="170"/>
                </a:lnTo>
                <a:lnTo>
                  <a:pt x="120" y="162"/>
                </a:lnTo>
                <a:lnTo>
                  <a:pt x="120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52" name="Freeform 4926"/>
          <p:cNvSpPr>
            <a:spLocks noEditPoints="1"/>
          </p:cNvSpPr>
          <p:nvPr/>
        </p:nvSpPr>
        <p:spPr bwMode="auto">
          <a:xfrm>
            <a:off x="3491162" y="2067970"/>
            <a:ext cx="663417" cy="455216"/>
          </a:xfrm>
          <a:custGeom>
            <a:avLst/>
            <a:gdLst>
              <a:gd name="T0" fmla="*/ 306 w 376"/>
              <a:gd name="T1" fmla="*/ 112 h 258"/>
              <a:gd name="T2" fmla="*/ 306 w 376"/>
              <a:gd name="T3" fmla="*/ 178 h 258"/>
              <a:gd name="T4" fmla="*/ 282 w 376"/>
              <a:gd name="T5" fmla="*/ 200 h 258"/>
              <a:gd name="T6" fmla="*/ 254 w 376"/>
              <a:gd name="T7" fmla="*/ 216 h 258"/>
              <a:gd name="T8" fmla="*/ 222 w 376"/>
              <a:gd name="T9" fmla="*/ 226 h 258"/>
              <a:gd name="T10" fmla="*/ 190 w 376"/>
              <a:gd name="T11" fmla="*/ 230 h 258"/>
              <a:gd name="T12" fmla="*/ 172 w 376"/>
              <a:gd name="T13" fmla="*/ 230 h 258"/>
              <a:gd name="T14" fmla="*/ 138 w 376"/>
              <a:gd name="T15" fmla="*/ 222 h 258"/>
              <a:gd name="T16" fmla="*/ 108 w 376"/>
              <a:gd name="T17" fmla="*/ 208 h 258"/>
              <a:gd name="T18" fmla="*/ 82 w 376"/>
              <a:gd name="T19" fmla="*/ 188 h 258"/>
              <a:gd name="T20" fmla="*/ 70 w 376"/>
              <a:gd name="T21" fmla="*/ 112 h 258"/>
              <a:gd name="T22" fmla="*/ 176 w 376"/>
              <a:gd name="T23" fmla="*/ 148 h 258"/>
              <a:gd name="T24" fmla="*/ 188 w 376"/>
              <a:gd name="T25" fmla="*/ 150 h 258"/>
              <a:gd name="T26" fmla="*/ 200 w 376"/>
              <a:gd name="T27" fmla="*/ 148 h 258"/>
              <a:gd name="T28" fmla="*/ 190 w 376"/>
              <a:gd name="T29" fmla="*/ 0 h 258"/>
              <a:gd name="T30" fmla="*/ 186 w 376"/>
              <a:gd name="T31" fmla="*/ 0 h 258"/>
              <a:gd name="T32" fmla="*/ 8 w 376"/>
              <a:gd name="T33" fmla="*/ 44 h 258"/>
              <a:gd name="T34" fmla="*/ 0 w 376"/>
              <a:gd name="T35" fmla="*/ 54 h 258"/>
              <a:gd name="T36" fmla="*/ 2 w 376"/>
              <a:gd name="T37" fmla="*/ 60 h 258"/>
              <a:gd name="T38" fmla="*/ 184 w 376"/>
              <a:gd name="T39" fmla="*/ 124 h 258"/>
              <a:gd name="T40" fmla="*/ 188 w 376"/>
              <a:gd name="T41" fmla="*/ 124 h 258"/>
              <a:gd name="T42" fmla="*/ 192 w 376"/>
              <a:gd name="T43" fmla="*/ 124 h 258"/>
              <a:gd name="T44" fmla="*/ 370 w 376"/>
              <a:gd name="T45" fmla="*/ 64 h 258"/>
              <a:gd name="T46" fmla="*/ 376 w 376"/>
              <a:gd name="T47" fmla="*/ 54 h 258"/>
              <a:gd name="T48" fmla="*/ 374 w 376"/>
              <a:gd name="T49" fmla="*/ 48 h 258"/>
              <a:gd name="T50" fmla="*/ 368 w 376"/>
              <a:gd name="T51" fmla="*/ 44 h 258"/>
              <a:gd name="T52" fmla="*/ 348 w 376"/>
              <a:gd name="T53" fmla="*/ 98 h 258"/>
              <a:gd name="T54" fmla="*/ 328 w 376"/>
              <a:gd name="T55" fmla="*/ 172 h 258"/>
              <a:gd name="T56" fmla="*/ 332 w 376"/>
              <a:gd name="T57" fmla="*/ 170 h 258"/>
              <a:gd name="T58" fmla="*/ 338 w 376"/>
              <a:gd name="T59" fmla="*/ 170 h 258"/>
              <a:gd name="T60" fmla="*/ 348 w 376"/>
              <a:gd name="T61" fmla="*/ 172 h 258"/>
              <a:gd name="T62" fmla="*/ 338 w 376"/>
              <a:gd name="T63" fmla="*/ 200 h 258"/>
              <a:gd name="T64" fmla="*/ 332 w 376"/>
              <a:gd name="T65" fmla="*/ 198 h 258"/>
              <a:gd name="T66" fmla="*/ 318 w 376"/>
              <a:gd name="T67" fmla="*/ 258 h 258"/>
              <a:gd name="T68" fmla="*/ 348 w 376"/>
              <a:gd name="T69" fmla="*/ 194 h 258"/>
              <a:gd name="T70" fmla="*/ 344 w 376"/>
              <a:gd name="T71" fmla="*/ 198 h 258"/>
              <a:gd name="T72" fmla="*/ 338 w 376"/>
              <a:gd name="T73" fmla="*/ 200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76" h="258">
                <a:moveTo>
                  <a:pt x="200" y="148"/>
                </a:moveTo>
                <a:lnTo>
                  <a:pt x="306" y="112"/>
                </a:lnTo>
                <a:lnTo>
                  <a:pt x="306" y="178"/>
                </a:lnTo>
                <a:lnTo>
                  <a:pt x="306" y="178"/>
                </a:lnTo>
                <a:lnTo>
                  <a:pt x="294" y="188"/>
                </a:lnTo>
                <a:lnTo>
                  <a:pt x="282" y="200"/>
                </a:lnTo>
                <a:lnTo>
                  <a:pt x="268" y="208"/>
                </a:lnTo>
                <a:lnTo>
                  <a:pt x="254" y="216"/>
                </a:lnTo>
                <a:lnTo>
                  <a:pt x="238" y="222"/>
                </a:lnTo>
                <a:lnTo>
                  <a:pt x="222" y="226"/>
                </a:lnTo>
                <a:lnTo>
                  <a:pt x="206" y="230"/>
                </a:lnTo>
                <a:lnTo>
                  <a:pt x="190" y="230"/>
                </a:lnTo>
                <a:lnTo>
                  <a:pt x="190" y="230"/>
                </a:lnTo>
                <a:lnTo>
                  <a:pt x="172" y="230"/>
                </a:lnTo>
                <a:lnTo>
                  <a:pt x="154" y="226"/>
                </a:lnTo>
                <a:lnTo>
                  <a:pt x="138" y="222"/>
                </a:lnTo>
                <a:lnTo>
                  <a:pt x="122" y="216"/>
                </a:lnTo>
                <a:lnTo>
                  <a:pt x="108" y="208"/>
                </a:lnTo>
                <a:lnTo>
                  <a:pt x="94" y="198"/>
                </a:lnTo>
                <a:lnTo>
                  <a:pt x="82" y="188"/>
                </a:lnTo>
                <a:lnTo>
                  <a:pt x="70" y="176"/>
                </a:lnTo>
                <a:lnTo>
                  <a:pt x="70" y="112"/>
                </a:lnTo>
                <a:lnTo>
                  <a:pt x="176" y="148"/>
                </a:lnTo>
                <a:lnTo>
                  <a:pt x="176" y="148"/>
                </a:lnTo>
                <a:lnTo>
                  <a:pt x="188" y="150"/>
                </a:lnTo>
                <a:lnTo>
                  <a:pt x="188" y="150"/>
                </a:lnTo>
                <a:lnTo>
                  <a:pt x="200" y="148"/>
                </a:lnTo>
                <a:lnTo>
                  <a:pt x="200" y="148"/>
                </a:lnTo>
                <a:close/>
                <a:moveTo>
                  <a:pt x="368" y="44"/>
                </a:moveTo>
                <a:lnTo>
                  <a:pt x="190" y="0"/>
                </a:lnTo>
                <a:lnTo>
                  <a:pt x="190" y="0"/>
                </a:lnTo>
                <a:lnTo>
                  <a:pt x="186" y="0"/>
                </a:lnTo>
                <a:lnTo>
                  <a:pt x="8" y="44"/>
                </a:lnTo>
                <a:lnTo>
                  <a:pt x="8" y="44"/>
                </a:lnTo>
                <a:lnTo>
                  <a:pt x="2" y="48"/>
                </a:lnTo>
                <a:lnTo>
                  <a:pt x="0" y="54"/>
                </a:lnTo>
                <a:lnTo>
                  <a:pt x="0" y="54"/>
                </a:lnTo>
                <a:lnTo>
                  <a:pt x="2" y="60"/>
                </a:lnTo>
                <a:lnTo>
                  <a:pt x="6" y="64"/>
                </a:lnTo>
                <a:lnTo>
                  <a:pt x="184" y="124"/>
                </a:lnTo>
                <a:lnTo>
                  <a:pt x="184" y="124"/>
                </a:lnTo>
                <a:lnTo>
                  <a:pt x="188" y="124"/>
                </a:lnTo>
                <a:lnTo>
                  <a:pt x="188" y="124"/>
                </a:lnTo>
                <a:lnTo>
                  <a:pt x="192" y="124"/>
                </a:lnTo>
                <a:lnTo>
                  <a:pt x="370" y="64"/>
                </a:lnTo>
                <a:lnTo>
                  <a:pt x="370" y="64"/>
                </a:lnTo>
                <a:lnTo>
                  <a:pt x="374" y="60"/>
                </a:lnTo>
                <a:lnTo>
                  <a:pt x="376" y="54"/>
                </a:lnTo>
                <a:lnTo>
                  <a:pt x="376" y="54"/>
                </a:lnTo>
                <a:lnTo>
                  <a:pt x="374" y="48"/>
                </a:lnTo>
                <a:lnTo>
                  <a:pt x="368" y="44"/>
                </a:lnTo>
                <a:lnTo>
                  <a:pt x="368" y="44"/>
                </a:lnTo>
                <a:close/>
                <a:moveTo>
                  <a:pt x="348" y="172"/>
                </a:moveTo>
                <a:lnTo>
                  <a:pt x="348" y="98"/>
                </a:lnTo>
                <a:lnTo>
                  <a:pt x="328" y="106"/>
                </a:lnTo>
                <a:lnTo>
                  <a:pt x="328" y="172"/>
                </a:lnTo>
                <a:lnTo>
                  <a:pt x="328" y="172"/>
                </a:lnTo>
                <a:lnTo>
                  <a:pt x="332" y="170"/>
                </a:lnTo>
                <a:lnTo>
                  <a:pt x="338" y="170"/>
                </a:lnTo>
                <a:lnTo>
                  <a:pt x="338" y="170"/>
                </a:lnTo>
                <a:lnTo>
                  <a:pt x="344" y="170"/>
                </a:lnTo>
                <a:lnTo>
                  <a:pt x="348" y="172"/>
                </a:lnTo>
                <a:lnTo>
                  <a:pt x="348" y="172"/>
                </a:lnTo>
                <a:close/>
                <a:moveTo>
                  <a:pt x="338" y="200"/>
                </a:moveTo>
                <a:lnTo>
                  <a:pt x="338" y="200"/>
                </a:lnTo>
                <a:lnTo>
                  <a:pt x="332" y="198"/>
                </a:lnTo>
                <a:lnTo>
                  <a:pt x="326" y="194"/>
                </a:lnTo>
                <a:lnTo>
                  <a:pt x="318" y="258"/>
                </a:lnTo>
                <a:lnTo>
                  <a:pt x="356" y="258"/>
                </a:lnTo>
                <a:lnTo>
                  <a:pt x="348" y="194"/>
                </a:lnTo>
                <a:lnTo>
                  <a:pt x="348" y="194"/>
                </a:lnTo>
                <a:lnTo>
                  <a:pt x="344" y="198"/>
                </a:lnTo>
                <a:lnTo>
                  <a:pt x="338" y="200"/>
                </a:lnTo>
                <a:lnTo>
                  <a:pt x="338" y="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56" name="Freeform 4839"/>
          <p:cNvSpPr>
            <a:spLocks noEditPoints="1"/>
          </p:cNvSpPr>
          <p:nvPr/>
        </p:nvSpPr>
        <p:spPr bwMode="auto">
          <a:xfrm>
            <a:off x="5110078" y="1814327"/>
            <a:ext cx="289331" cy="391711"/>
          </a:xfrm>
          <a:custGeom>
            <a:avLst/>
            <a:gdLst>
              <a:gd name="T0" fmla="*/ 166 w 260"/>
              <a:gd name="T1" fmla="*/ 342 h 352"/>
              <a:gd name="T2" fmla="*/ 162 w 260"/>
              <a:gd name="T3" fmla="*/ 350 h 352"/>
              <a:gd name="T4" fmla="*/ 154 w 260"/>
              <a:gd name="T5" fmla="*/ 352 h 352"/>
              <a:gd name="T6" fmla="*/ 2 w 260"/>
              <a:gd name="T7" fmla="*/ 302 h 352"/>
              <a:gd name="T8" fmla="*/ 0 w 260"/>
              <a:gd name="T9" fmla="*/ 88 h 352"/>
              <a:gd name="T10" fmla="*/ 4 w 260"/>
              <a:gd name="T11" fmla="*/ 80 h 352"/>
              <a:gd name="T12" fmla="*/ 158 w 260"/>
              <a:gd name="T13" fmla="*/ 124 h 352"/>
              <a:gd name="T14" fmla="*/ 166 w 260"/>
              <a:gd name="T15" fmla="*/ 134 h 352"/>
              <a:gd name="T16" fmla="*/ 62 w 260"/>
              <a:gd name="T17" fmla="*/ 70 h 352"/>
              <a:gd name="T18" fmla="*/ 70 w 260"/>
              <a:gd name="T19" fmla="*/ 46 h 352"/>
              <a:gd name="T20" fmla="*/ 88 w 260"/>
              <a:gd name="T21" fmla="*/ 34 h 352"/>
              <a:gd name="T22" fmla="*/ 106 w 260"/>
              <a:gd name="T23" fmla="*/ 42 h 352"/>
              <a:gd name="T24" fmla="*/ 120 w 260"/>
              <a:gd name="T25" fmla="*/ 80 h 352"/>
              <a:gd name="T26" fmla="*/ 142 w 260"/>
              <a:gd name="T27" fmla="*/ 100 h 352"/>
              <a:gd name="T28" fmla="*/ 140 w 260"/>
              <a:gd name="T29" fmla="*/ 82 h 352"/>
              <a:gd name="T30" fmla="*/ 128 w 260"/>
              <a:gd name="T31" fmla="*/ 40 h 352"/>
              <a:gd name="T32" fmla="*/ 106 w 260"/>
              <a:gd name="T33" fmla="*/ 18 h 352"/>
              <a:gd name="T34" fmla="*/ 88 w 260"/>
              <a:gd name="T35" fmla="*/ 16 h 352"/>
              <a:gd name="T36" fmla="*/ 60 w 260"/>
              <a:gd name="T37" fmla="*/ 28 h 352"/>
              <a:gd name="T38" fmla="*/ 46 w 260"/>
              <a:gd name="T39" fmla="*/ 52 h 352"/>
              <a:gd name="T40" fmla="*/ 60 w 260"/>
              <a:gd name="T41" fmla="*/ 74 h 352"/>
              <a:gd name="T42" fmla="*/ 256 w 260"/>
              <a:gd name="T43" fmla="*/ 110 h 352"/>
              <a:gd name="T44" fmla="*/ 248 w 260"/>
              <a:gd name="T45" fmla="*/ 108 h 352"/>
              <a:gd name="T46" fmla="*/ 182 w 260"/>
              <a:gd name="T47" fmla="*/ 128 h 352"/>
              <a:gd name="T48" fmla="*/ 180 w 260"/>
              <a:gd name="T49" fmla="*/ 342 h 352"/>
              <a:gd name="T50" fmla="*/ 184 w 260"/>
              <a:gd name="T51" fmla="*/ 350 h 352"/>
              <a:gd name="T52" fmla="*/ 194 w 260"/>
              <a:gd name="T53" fmla="*/ 350 h 352"/>
              <a:gd name="T54" fmla="*/ 248 w 260"/>
              <a:gd name="T55" fmla="*/ 336 h 352"/>
              <a:gd name="T56" fmla="*/ 256 w 260"/>
              <a:gd name="T57" fmla="*/ 334 h 352"/>
              <a:gd name="T58" fmla="*/ 260 w 260"/>
              <a:gd name="T59" fmla="*/ 118 h 352"/>
              <a:gd name="T60" fmla="*/ 256 w 260"/>
              <a:gd name="T61" fmla="*/ 110 h 352"/>
              <a:gd name="T62" fmla="*/ 214 w 260"/>
              <a:gd name="T63" fmla="*/ 84 h 352"/>
              <a:gd name="T64" fmla="*/ 214 w 260"/>
              <a:gd name="T65" fmla="*/ 68 h 352"/>
              <a:gd name="T66" fmla="*/ 200 w 260"/>
              <a:gd name="T67" fmla="*/ 26 h 352"/>
              <a:gd name="T68" fmla="*/ 178 w 260"/>
              <a:gd name="T69" fmla="*/ 4 h 352"/>
              <a:gd name="T70" fmla="*/ 162 w 260"/>
              <a:gd name="T71" fmla="*/ 0 h 352"/>
              <a:gd name="T72" fmla="*/ 134 w 260"/>
              <a:gd name="T73" fmla="*/ 12 h 352"/>
              <a:gd name="T74" fmla="*/ 136 w 260"/>
              <a:gd name="T75" fmla="*/ 26 h 352"/>
              <a:gd name="T76" fmla="*/ 144 w 260"/>
              <a:gd name="T77" fmla="*/ 28 h 352"/>
              <a:gd name="T78" fmla="*/ 162 w 260"/>
              <a:gd name="T79" fmla="*/ 20 h 352"/>
              <a:gd name="T80" fmla="*/ 178 w 260"/>
              <a:gd name="T81" fmla="*/ 26 h 352"/>
              <a:gd name="T82" fmla="*/ 194 w 260"/>
              <a:gd name="T83" fmla="*/ 62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60" h="352">
                <a:moveTo>
                  <a:pt x="166" y="134"/>
                </a:moveTo>
                <a:lnTo>
                  <a:pt x="166" y="342"/>
                </a:lnTo>
                <a:lnTo>
                  <a:pt x="166" y="342"/>
                </a:lnTo>
                <a:lnTo>
                  <a:pt x="164" y="346"/>
                </a:lnTo>
                <a:lnTo>
                  <a:pt x="162" y="350"/>
                </a:lnTo>
                <a:lnTo>
                  <a:pt x="162" y="350"/>
                </a:lnTo>
                <a:lnTo>
                  <a:pt x="156" y="352"/>
                </a:lnTo>
                <a:lnTo>
                  <a:pt x="156" y="352"/>
                </a:lnTo>
                <a:lnTo>
                  <a:pt x="154" y="352"/>
                </a:lnTo>
                <a:lnTo>
                  <a:pt x="8" y="306"/>
                </a:lnTo>
                <a:lnTo>
                  <a:pt x="8" y="306"/>
                </a:lnTo>
                <a:lnTo>
                  <a:pt x="2" y="302"/>
                </a:lnTo>
                <a:lnTo>
                  <a:pt x="0" y="296"/>
                </a:lnTo>
                <a:lnTo>
                  <a:pt x="0" y="88"/>
                </a:lnTo>
                <a:lnTo>
                  <a:pt x="0" y="88"/>
                </a:lnTo>
                <a:lnTo>
                  <a:pt x="2" y="84"/>
                </a:lnTo>
                <a:lnTo>
                  <a:pt x="4" y="80"/>
                </a:lnTo>
                <a:lnTo>
                  <a:pt x="4" y="80"/>
                </a:lnTo>
                <a:lnTo>
                  <a:pt x="8" y="78"/>
                </a:lnTo>
                <a:lnTo>
                  <a:pt x="14" y="78"/>
                </a:lnTo>
                <a:lnTo>
                  <a:pt x="158" y="124"/>
                </a:lnTo>
                <a:lnTo>
                  <a:pt x="158" y="124"/>
                </a:lnTo>
                <a:lnTo>
                  <a:pt x="164" y="128"/>
                </a:lnTo>
                <a:lnTo>
                  <a:pt x="166" y="134"/>
                </a:lnTo>
                <a:lnTo>
                  <a:pt x="166" y="134"/>
                </a:lnTo>
                <a:close/>
                <a:moveTo>
                  <a:pt x="62" y="70"/>
                </a:moveTo>
                <a:lnTo>
                  <a:pt x="62" y="70"/>
                </a:lnTo>
                <a:lnTo>
                  <a:pt x="64" y="64"/>
                </a:lnTo>
                <a:lnTo>
                  <a:pt x="66" y="52"/>
                </a:lnTo>
                <a:lnTo>
                  <a:pt x="70" y="46"/>
                </a:lnTo>
                <a:lnTo>
                  <a:pt x="74" y="40"/>
                </a:lnTo>
                <a:lnTo>
                  <a:pt x="80" y="36"/>
                </a:lnTo>
                <a:lnTo>
                  <a:pt x="88" y="34"/>
                </a:lnTo>
                <a:lnTo>
                  <a:pt x="88" y="34"/>
                </a:lnTo>
                <a:lnTo>
                  <a:pt x="98" y="36"/>
                </a:lnTo>
                <a:lnTo>
                  <a:pt x="106" y="42"/>
                </a:lnTo>
                <a:lnTo>
                  <a:pt x="112" y="50"/>
                </a:lnTo>
                <a:lnTo>
                  <a:pt x="116" y="60"/>
                </a:lnTo>
                <a:lnTo>
                  <a:pt x="120" y="80"/>
                </a:lnTo>
                <a:lnTo>
                  <a:pt x="122" y="94"/>
                </a:lnTo>
                <a:lnTo>
                  <a:pt x="142" y="100"/>
                </a:lnTo>
                <a:lnTo>
                  <a:pt x="142" y="100"/>
                </a:lnTo>
                <a:lnTo>
                  <a:pt x="142" y="96"/>
                </a:lnTo>
                <a:lnTo>
                  <a:pt x="142" y="96"/>
                </a:lnTo>
                <a:lnTo>
                  <a:pt x="140" y="82"/>
                </a:lnTo>
                <a:lnTo>
                  <a:pt x="138" y="70"/>
                </a:lnTo>
                <a:lnTo>
                  <a:pt x="134" y="54"/>
                </a:lnTo>
                <a:lnTo>
                  <a:pt x="128" y="40"/>
                </a:lnTo>
                <a:lnTo>
                  <a:pt x="118" y="28"/>
                </a:lnTo>
                <a:lnTo>
                  <a:pt x="112" y="22"/>
                </a:lnTo>
                <a:lnTo>
                  <a:pt x="106" y="18"/>
                </a:lnTo>
                <a:lnTo>
                  <a:pt x="98" y="16"/>
                </a:lnTo>
                <a:lnTo>
                  <a:pt x="88" y="16"/>
                </a:lnTo>
                <a:lnTo>
                  <a:pt x="88" y="16"/>
                </a:lnTo>
                <a:lnTo>
                  <a:pt x="78" y="16"/>
                </a:lnTo>
                <a:lnTo>
                  <a:pt x="68" y="20"/>
                </a:lnTo>
                <a:lnTo>
                  <a:pt x="60" y="28"/>
                </a:lnTo>
                <a:lnTo>
                  <a:pt x="54" y="34"/>
                </a:lnTo>
                <a:lnTo>
                  <a:pt x="50" y="44"/>
                </a:lnTo>
                <a:lnTo>
                  <a:pt x="46" y="52"/>
                </a:lnTo>
                <a:lnTo>
                  <a:pt x="44" y="68"/>
                </a:lnTo>
                <a:lnTo>
                  <a:pt x="60" y="74"/>
                </a:lnTo>
                <a:lnTo>
                  <a:pt x="60" y="74"/>
                </a:lnTo>
                <a:lnTo>
                  <a:pt x="62" y="70"/>
                </a:lnTo>
                <a:lnTo>
                  <a:pt x="62" y="70"/>
                </a:lnTo>
                <a:close/>
                <a:moveTo>
                  <a:pt x="256" y="110"/>
                </a:moveTo>
                <a:lnTo>
                  <a:pt x="256" y="110"/>
                </a:lnTo>
                <a:lnTo>
                  <a:pt x="252" y="108"/>
                </a:lnTo>
                <a:lnTo>
                  <a:pt x="248" y="108"/>
                </a:lnTo>
                <a:lnTo>
                  <a:pt x="186" y="124"/>
                </a:lnTo>
                <a:lnTo>
                  <a:pt x="186" y="124"/>
                </a:lnTo>
                <a:lnTo>
                  <a:pt x="182" y="128"/>
                </a:lnTo>
                <a:lnTo>
                  <a:pt x="180" y="134"/>
                </a:lnTo>
                <a:lnTo>
                  <a:pt x="180" y="342"/>
                </a:lnTo>
                <a:lnTo>
                  <a:pt x="180" y="342"/>
                </a:lnTo>
                <a:lnTo>
                  <a:pt x="180" y="346"/>
                </a:lnTo>
                <a:lnTo>
                  <a:pt x="184" y="350"/>
                </a:lnTo>
                <a:lnTo>
                  <a:pt x="184" y="350"/>
                </a:lnTo>
                <a:lnTo>
                  <a:pt x="188" y="352"/>
                </a:lnTo>
                <a:lnTo>
                  <a:pt x="188" y="352"/>
                </a:lnTo>
                <a:lnTo>
                  <a:pt x="194" y="350"/>
                </a:lnTo>
                <a:lnTo>
                  <a:pt x="226" y="330"/>
                </a:lnTo>
                <a:lnTo>
                  <a:pt x="248" y="336"/>
                </a:lnTo>
                <a:lnTo>
                  <a:pt x="248" y="336"/>
                </a:lnTo>
                <a:lnTo>
                  <a:pt x="252" y="336"/>
                </a:lnTo>
                <a:lnTo>
                  <a:pt x="256" y="334"/>
                </a:lnTo>
                <a:lnTo>
                  <a:pt x="256" y="334"/>
                </a:lnTo>
                <a:lnTo>
                  <a:pt x="258" y="330"/>
                </a:lnTo>
                <a:lnTo>
                  <a:pt x="260" y="326"/>
                </a:lnTo>
                <a:lnTo>
                  <a:pt x="260" y="118"/>
                </a:lnTo>
                <a:lnTo>
                  <a:pt x="260" y="118"/>
                </a:lnTo>
                <a:lnTo>
                  <a:pt x="258" y="114"/>
                </a:lnTo>
                <a:lnTo>
                  <a:pt x="256" y="110"/>
                </a:lnTo>
                <a:lnTo>
                  <a:pt x="256" y="110"/>
                </a:lnTo>
                <a:close/>
                <a:moveTo>
                  <a:pt x="214" y="84"/>
                </a:moveTo>
                <a:lnTo>
                  <a:pt x="214" y="84"/>
                </a:lnTo>
                <a:lnTo>
                  <a:pt x="216" y="82"/>
                </a:lnTo>
                <a:lnTo>
                  <a:pt x="216" y="82"/>
                </a:lnTo>
                <a:lnTo>
                  <a:pt x="214" y="68"/>
                </a:lnTo>
                <a:lnTo>
                  <a:pt x="212" y="54"/>
                </a:lnTo>
                <a:lnTo>
                  <a:pt x="208" y="40"/>
                </a:lnTo>
                <a:lnTo>
                  <a:pt x="200" y="26"/>
                </a:lnTo>
                <a:lnTo>
                  <a:pt x="192" y="12"/>
                </a:lnTo>
                <a:lnTo>
                  <a:pt x="186" y="8"/>
                </a:lnTo>
                <a:lnTo>
                  <a:pt x="178" y="4"/>
                </a:lnTo>
                <a:lnTo>
                  <a:pt x="170" y="2"/>
                </a:lnTo>
                <a:lnTo>
                  <a:pt x="162" y="0"/>
                </a:lnTo>
                <a:lnTo>
                  <a:pt x="162" y="0"/>
                </a:lnTo>
                <a:lnTo>
                  <a:pt x="150" y="2"/>
                </a:lnTo>
                <a:lnTo>
                  <a:pt x="142" y="6"/>
                </a:lnTo>
                <a:lnTo>
                  <a:pt x="134" y="12"/>
                </a:lnTo>
                <a:lnTo>
                  <a:pt x="128" y="18"/>
                </a:lnTo>
                <a:lnTo>
                  <a:pt x="128" y="18"/>
                </a:lnTo>
                <a:lnTo>
                  <a:pt x="136" y="26"/>
                </a:lnTo>
                <a:lnTo>
                  <a:pt x="142" y="34"/>
                </a:lnTo>
                <a:lnTo>
                  <a:pt x="142" y="34"/>
                </a:lnTo>
                <a:lnTo>
                  <a:pt x="144" y="28"/>
                </a:lnTo>
                <a:lnTo>
                  <a:pt x="150" y="24"/>
                </a:lnTo>
                <a:lnTo>
                  <a:pt x="154" y="22"/>
                </a:lnTo>
                <a:lnTo>
                  <a:pt x="162" y="20"/>
                </a:lnTo>
                <a:lnTo>
                  <a:pt x="162" y="20"/>
                </a:lnTo>
                <a:lnTo>
                  <a:pt x="170" y="22"/>
                </a:lnTo>
                <a:lnTo>
                  <a:pt x="178" y="26"/>
                </a:lnTo>
                <a:lnTo>
                  <a:pt x="184" y="34"/>
                </a:lnTo>
                <a:lnTo>
                  <a:pt x="188" y="44"/>
                </a:lnTo>
                <a:lnTo>
                  <a:pt x="194" y="62"/>
                </a:lnTo>
                <a:lnTo>
                  <a:pt x="196" y="78"/>
                </a:lnTo>
                <a:lnTo>
                  <a:pt x="214" y="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59" name="Freeform 4815"/>
          <p:cNvSpPr>
            <a:spLocks noEditPoints="1"/>
          </p:cNvSpPr>
          <p:nvPr/>
        </p:nvSpPr>
        <p:spPr bwMode="auto">
          <a:xfrm>
            <a:off x="5833079" y="3855240"/>
            <a:ext cx="549371" cy="564139"/>
          </a:xfrm>
          <a:custGeom>
            <a:avLst/>
            <a:gdLst>
              <a:gd name="T0" fmla="*/ 106 w 372"/>
              <a:gd name="T1" fmla="*/ 158 h 382"/>
              <a:gd name="T2" fmla="*/ 128 w 372"/>
              <a:gd name="T3" fmla="*/ 126 h 382"/>
              <a:gd name="T4" fmla="*/ 170 w 372"/>
              <a:gd name="T5" fmla="*/ 150 h 382"/>
              <a:gd name="T6" fmla="*/ 154 w 372"/>
              <a:gd name="T7" fmla="*/ 158 h 382"/>
              <a:gd name="T8" fmla="*/ 132 w 372"/>
              <a:gd name="T9" fmla="*/ 146 h 382"/>
              <a:gd name="T10" fmla="*/ 148 w 372"/>
              <a:gd name="T11" fmla="*/ 166 h 382"/>
              <a:gd name="T12" fmla="*/ 238 w 372"/>
              <a:gd name="T13" fmla="*/ 202 h 382"/>
              <a:gd name="T14" fmla="*/ 234 w 372"/>
              <a:gd name="T15" fmla="*/ 192 h 382"/>
              <a:gd name="T16" fmla="*/ 218 w 372"/>
              <a:gd name="T17" fmla="*/ 206 h 382"/>
              <a:gd name="T18" fmla="*/ 156 w 372"/>
              <a:gd name="T19" fmla="*/ 238 h 382"/>
              <a:gd name="T20" fmla="*/ 148 w 372"/>
              <a:gd name="T21" fmla="*/ 268 h 382"/>
              <a:gd name="T22" fmla="*/ 166 w 372"/>
              <a:gd name="T23" fmla="*/ 256 h 382"/>
              <a:gd name="T24" fmla="*/ 214 w 372"/>
              <a:gd name="T25" fmla="*/ 236 h 382"/>
              <a:gd name="T26" fmla="*/ 238 w 372"/>
              <a:gd name="T27" fmla="*/ 202 h 382"/>
              <a:gd name="T28" fmla="*/ 212 w 372"/>
              <a:gd name="T29" fmla="*/ 40 h 382"/>
              <a:gd name="T30" fmla="*/ 186 w 372"/>
              <a:gd name="T31" fmla="*/ 0 h 382"/>
              <a:gd name="T32" fmla="*/ 166 w 372"/>
              <a:gd name="T33" fmla="*/ 48 h 382"/>
              <a:gd name="T34" fmla="*/ 160 w 372"/>
              <a:gd name="T35" fmla="*/ 114 h 382"/>
              <a:gd name="T36" fmla="*/ 146 w 372"/>
              <a:gd name="T37" fmla="*/ 66 h 382"/>
              <a:gd name="T38" fmla="*/ 4 w 372"/>
              <a:gd name="T39" fmla="*/ 38 h 382"/>
              <a:gd name="T40" fmla="*/ 8 w 372"/>
              <a:gd name="T41" fmla="*/ 66 h 382"/>
              <a:gd name="T42" fmla="*/ 58 w 372"/>
              <a:gd name="T43" fmla="*/ 94 h 382"/>
              <a:gd name="T44" fmla="*/ 126 w 372"/>
              <a:gd name="T45" fmla="*/ 114 h 382"/>
              <a:gd name="T46" fmla="*/ 178 w 372"/>
              <a:gd name="T47" fmla="*/ 146 h 382"/>
              <a:gd name="T48" fmla="*/ 196 w 372"/>
              <a:gd name="T49" fmla="*/ 140 h 382"/>
              <a:gd name="T50" fmla="*/ 186 w 372"/>
              <a:gd name="T51" fmla="*/ 68 h 382"/>
              <a:gd name="T52" fmla="*/ 244 w 372"/>
              <a:gd name="T53" fmla="*/ 38 h 382"/>
              <a:gd name="T54" fmla="*/ 226 w 372"/>
              <a:gd name="T55" fmla="*/ 66 h 382"/>
              <a:gd name="T56" fmla="*/ 212 w 372"/>
              <a:gd name="T57" fmla="*/ 114 h 382"/>
              <a:gd name="T58" fmla="*/ 258 w 372"/>
              <a:gd name="T59" fmla="*/ 102 h 382"/>
              <a:gd name="T60" fmla="*/ 340 w 372"/>
              <a:gd name="T61" fmla="*/ 76 h 382"/>
              <a:gd name="T62" fmla="*/ 372 w 372"/>
              <a:gd name="T63" fmla="*/ 44 h 382"/>
              <a:gd name="T64" fmla="*/ 232 w 372"/>
              <a:gd name="T65" fmla="*/ 126 h 382"/>
              <a:gd name="T66" fmla="*/ 202 w 372"/>
              <a:gd name="T67" fmla="*/ 154 h 382"/>
              <a:gd name="T68" fmla="*/ 220 w 372"/>
              <a:gd name="T69" fmla="*/ 156 h 382"/>
              <a:gd name="T70" fmla="*/ 244 w 372"/>
              <a:gd name="T71" fmla="*/ 148 h 382"/>
              <a:gd name="T72" fmla="*/ 196 w 372"/>
              <a:gd name="T73" fmla="*/ 170 h 382"/>
              <a:gd name="T74" fmla="*/ 144 w 372"/>
              <a:gd name="T75" fmla="*/ 186 h 382"/>
              <a:gd name="T76" fmla="*/ 136 w 372"/>
              <a:gd name="T77" fmla="*/ 218 h 382"/>
              <a:gd name="T78" fmla="*/ 164 w 372"/>
              <a:gd name="T79" fmla="*/ 216 h 382"/>
              <a:gd name="T80" fmla="*/ 156 w 372"/>
              <a:gd name="T81" fmla="*/ 202 h 382"/>
              <a:gd name="T82" fmla="*/ 222 w 372"/>
              <a:gd name="T83" fmla="*/ 186 h 382"/>
              <a:gd name="T84" fmla="*/ 266 w 372"/>
              <a:gd name="T85" fmla="*/ 150 h 382"/>
              <a:gd name="T86" fmla="*/ 214 w 372"/>
              <a:gd name="T87" fmla="*/ 286 h 382"/>
              <a:gd name="T88" fmla="*/ 198 w 372"/>
              <a:gd name="T89" fmla="*/ 298 h 382"/>
              <a:gd name="T90" fmla="*/ 190 w 372"/>
              <a:gd name="T91" fmla="*/ 310 h 382"/>
              <a:gd name="T92" fmla="*/ 178 w 372"/>
              <a:gd name="T93" fmla="*/ 380 h 382"/>
              <a:gd name="T94" fmla="*/ 196 w 372"/>
              <a:gd name="T95" fmla="*/ 372 h 382"/>
              <a:gd name="T96" fmla="*/ 216 w 372"/>
              <a:gd name="T97" fmla="*/ 306 h 382"/>
              <a:gd name="T98" fmla="*/ 214 w 372"/>
              <a:gd name="T99" fmla="*/ 286 h 382"/>
              <a:gd name="T100" fmla="*/ 206 w 372"/>
              <a:gd name="T101" fmla="*/ 258 h 382"/>
              <a:gd name="T102" fmla="*/ 160 w 372"/>
              <a:gd name="T103" fmla="*/ 284 h 382"/>
              <a:gd name="T104" fmla="*/ 154 w 372"/>
              <a:gd name="T105" fmla="*/ 300 h 382"/>
              <a:gd name="T106" fmla="*/ 160 w 372"/>
              <a:gd name="T107" fmla="*/ 316 h 382"/>
              <a:gd name="T108" fmla="*/ 174 w 372"/>
              <a:gd name="T109" fmla="*/ 316 h 382"/>
              <a:gd name="T110" fmla="*/ 174 w 372"/>
              <a:gd name="T111" fmla="*/ 298 h 382"/>
              <a:gd name="T112" fmla="*/ 222 w 372"/>
              <a:gd name="T113" fmla="*/ 268 h 382"/>
              <a:gd name="T114" fmla="*/ 210 w 372"/>
              <a:gd name="T115" fmla="*/ 246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72" h="382">
                <a:moveTo>
                  <a:pt x="136" y="182"/>
                </a:moveTo>
                <a:lnTo>
                  <a:pt x="136" y="182"/>
                </a:lnTo>
                <a:lnTo>
                  <a:pt x="124" y="178"/>
                </a:lnTo>
                <a:lnTo>
                  <a:pt x="114" y="172"/>
                </a:lnTo>
                <a:lnTo>
                  <a:pt x="110" y="168"/>
                </a:lnTo>
                <a:lnTo>
                  <a:pt x="108" y="162"/>
                </a:lnTo>
                <a:lnTo>
                  <a:pt x="106" y="158"/>
                </a:lnTo>
                <a:lnTo>
                  <a:pt x="106" y="150"/>
                </a:lnTo>
                <a:lnTo>
                  <a:pt x="106" y="150"/>
                </a:lnTo>
                <a:lnTo>
                  <a:pt x="108" y="142"/>
                </a:lnTo>
                <a:lnTo>
                  <a:pt x="114" y="136"/>
                </a:lnTo>
                <a:lnTo>
                  <a:pt x="120" y="130"/>
                </a:lnTo>
                <a:lnTo>
                  <a:pt x="128" y="126"/>
                </a:lnTo>
                <a:lnTo>
                  <a:pt x="128" y="126"/>
                </a:lnTo>
                <a:lnTo>
                  <a:pt x="140" y="126"/>
                </a:lnTo>
                <a:lnTo>
                  <a:pt x="150" y="130"/>
                </a:lnTo>
                <a:lnTo>
                  <a:pt x="160" y="136"/>
                </a:lnTo>
                <a:lnTo>
                  <a:pt x="166" y="140"/>
                </a:lnTo>
                <a:lnTo>
                  <a:pt x="170" y="146"/>
                </a:lnTo>
                <a:lnTo>
                  <a:pt x="170" y="146"/>
                </a:lnTo>
                <a:lnTo>
                  <a:pt x="170" y="150"/>
                </a:lnTo>
                <a:lnTo>
                  <a:pt x="170" y="154"/>
                </a:lnTo>
                <a:lnTo>
                  <a:pt x="168" y="158"/>
                </a:lnTo>
                <a:lnTo>
                  <a:pt x="166" y="160"/>
                </a:lnTo>
                <a:lnTo>
                  <a:pt x="166" y="160"/>
                </a:lnTo>
                <a:lnTo>
                  <a:pt x="162" y="162"/>
                </a:lnTo>
                <a:lnTo>
                  <a:pt x="158" y="160"/>
                </a:lnTo>
                <a:lnTo>
                  <a:pt x="154" y="158"/>
                </a:lnTo>
                <a:lnTo>
                  <a:pt x="152" y="156"/>
                </a:lnTo>
                <a:lnTo>
                  <a:pt x="152" y="156"/>
                </a:lnTo>
                <a:lnTo>
                  <a:pt x="148" y="150"/>
                </a:lnTo>
                <a:lnTo>
                  <a:pt x="142" y="148"/>
                </a:lnTo>
                <a:lnTo>
                  <a:pt x="138" y="146"/>
                </a:lnTo>
                <a:lnTo>
                  <a:pt x="132" y="146"/>
                </a:lnTo>
                <a:lnTo>
                  <a:pt x="132" y="146"/>
                </a:lnTo>
                <a:lnTo>
                  <a:pt x="128" y="148"/>
                </a:lnTo>
                <a:lnTo>
                  <a:pt x="126" y="152"/>
                </a:lnTo>
                <a:lnTo>
                  <a:pt x="126" y="152"/>
                </a:lnTo>
                <a:lnTo>
                  <a:pt x="128" y="156"/>
                </a:lnTo>
                <a:lnTo>
                  <a:pt x="130" y="158"/>
                </a:lnTo>
                <a:lnTo>
                  <a:pt x="136" y="162"/>
                </a:lnTo>
                <a:lnTo>
                  <a:pt x="148" y="166"/>
                </a:lnTo>
                <a:lnTo>
                  <a:pt x="162" y="168"/>
                </a:lnTo>
                <a:lnTo>
                  <a:pt x="162" y="168"/>
                </a:lnTo>
                <a:lnTo>
                  <a:pt x="146" y="174"/>
                </a:lnTo>
                <a:lnTo>
                  <a:pt x="136" y="182"/>
                </a:lnTo>
                <a:lnTo>
                  <a:pt x="136" y="182"/>
                </a:lnTo>
                <a:close/>
                <a:moveTo>
                  <a:pt x="238" y="202"/>
                </a:moveTo>
                <a:lnTo>
                  <a:pt x="238" y="202"/>
                </a:lnTo>
                <a:lnTo>
                  <a:pt x="238" y="202"/>
                </a:lnTo>
                <a:lnTo>
                  <a:pt x="238" y="202"/>
                </a:lnTo>
                <a:lnTo>
                  <a:pt x="238" y="202"/>
                </a:lnTo>
                <a:lnTo>
                  <a:pt x="238" y="202"/>
                </a:lnTo>
                <a:lnTo>
                  <a:pt x="238" y="202"/>
                </a:lnTo>
                <a:lnTo>
                  <a:pt x="238" y="198"/>
                </a:lnTo>
                <a:lnTo>
                  <a:pt x="234" y="192"/>
                </a:lnTo>
                <a:lnTo>
                  <a:pt x="234" y="192"/>
                </a:lnTo>
                <a:lnTo>
                  <a:pt x="208" y="196"/>
                </a:lnTo>
                <a:lnTo>
                  <a:pt x="208" y="196"/>
                </a:lnTo>
                <a:lnTo>
                  <a:pt x="216" y="202"/>
                </a:lnTo>
                <a:lnTo>
                  <a:pt x="218" y="206"/>
                </a:lnTo>
                <a:lnTo>
                  <a:pt x="218" y="206"/>
                </a:lnTo>
                <a:lnTo>
                  <a:pt x="218" y="206"/>
                </a:lnTo>
                <a:lnTo>
                  <a:pt x="218" y="210"/>
                </a:lnTo>
                <a:lnTo>
                  <a:pt x="212" y="214"/>
                </a:lnTo>
                <a:lnTo>
                  <a:pt x="202" y="220"/>
                </a:lnTo>
                <a:lnTo>
                  <a:pt x="188" y="224"/>
                </a:lnTo>
                <a:lnTo>
                  <a:pt x="188" y="224"/>
                </a:lnTo>
                <a:lnTo>
                  <a:pt x="168" y="230"/>
                </a:lnTo>
                <a:lnTo>
                  <a:pt x="156" y="238"/>
                </a:lnTo>
                <a:lnTo>
                  <a:pt x="150" y="242"/>
                </a:lnTo>
                <a:lnTo>
                  <a:pt x="148" y="246"/>
                </a:lnTo>
                <a:lnTo>
                  <a:pt x="146" y="252"/>
                </a:lnTo>
                <a:lnTo>
                  <a:pt x="146" y="258"/>
                </a:lnTo>
                <a:lnTo>
                  <a:pt x="146" y="258"/>
                </a:lnTo>
                <a:lnTo>
                  <a:pt x="146" y="262"/>
                </a:lnTo>
                <a:lnTo>
                  <a:pt x="148" y="268"/>
                </a:lnTo>
                <a:lnTo>
                  <a:pt x="156" y="276"/>
                </a:lnTo>
                <a:lnTo>
                  <a:pt x="156" y="276"/>
                </a:lnTo>
                <a:lnTo>
                  <a:pt x="164" y="270"/>
                </a:lnTo>
                <a:lnTo>
                  <a:pt x="174" y="264"/>
                </a:lnTo>
                <a:lnTo>
                  <a:pt x="174" y="264"/>
                </a:lnTo>
                <a:lnTo>
                  <a:pt x="168" y="260"/>
                </a:lnTo>
                <a:lnTo>
                  <a:pt x="166" y="256"/>
                </a:lnTo>
                <a:lnTo>
                  <a:pt x="166" y="256"/>
                </a:lnTo>
                <a:lnTo>
                  <a:pt x="166" y="254"/>
                </a:lnTo>
                <a:lnTo>
                  <a:pt x="170" y="252"/>
                </a:lnTo>
                <a:lnTo>
                  <a:pt x="178" y="248"/>
                </a:lnTo>
                <a:lnTo>
                  <a:pt x="192" y="244"/>
                </a:lnTo>
                <a:lnTo>
                  <a:pt x="192" y="244"/>
                </a:lnTo>
                <a:lnTo>
                  <a:pt x="214" y="236"/>
                </a:lnTo>
                <a:lnTo>
                  <a:pt x="222" y="232"/>
                </a:lnTo>
                <a:lnTo>
                  <a:pt x="228" y="226"/>
                </a:lnTo>
                <a:lnTo>
                  <a:pt x="234" y="222"/>
                </a:lnTo>
                <a:lnTo>
                  <a:pt x="238" y="216"/>
                </a:lnTo>
                <a:lnTo>
                  <a:pt x="238" y="208"/>
                </a:lnTo>
                <a:lnTo>
                  <a:pt x="238" y="202"/>
                </a:lnTo>
                <a:lnTo>
                  <a:pt x="238" y="202"/>
                </a:lnTo>
                <a:lnTo>
                  <a:pt x="238" y="202"/>
                </a:lnTo>
                <a:lnTo>
                  <a:pt x="238" y="202"/>
                </a:lnTo>
                <a:close/>
                <a:moveTo>
                  <a:pt x="186" y="58"/>
                </a:moveTo>
                <a:lnTo>
                  <a:pt x="186" y="58"/>
                </a:lnTo>
                <a:lnTo>
                  <a:pt x="198" y="54"/>
                </a:lnTo>
                <a:lnTo>
                  <a:pt x="206" y="48"/>
                </a:lnTo>
                <a:lnTo>
                  <a:pt x="212" y="40"/>
                </a:lnTo>
                <a:lnTo>
                  <a:pt x="214" y="28"/>
                </a:lnTo>
                <a:lnTo>
                  <a:pt x="214" y="28"/>
                </a:lnTo>
                <a:lnTo>
                  <a:pt x="212" y="18"/>
                </a:lnTo>
                <a:lnTo>
                  <a:pt x="206" y="8"/>
                </a:lnTo>
                <a:lnTo>
                  <a:pt x="198" y="2"/>
                </a:lnTo>
                <a:lnTo>
                  <a:pt x="186" y="0"/>
                </a:lnTo>
                <a:lnTo>
                  <a:pt x="186" y="0"/>
                </a:lnTo>
                <a:lnTo>
                  <a:pt x="174" y="2"/>
                </a:lnTo>
                <a:lnTo>
                  <a:pt x="166" y="8"/>
                </a:lnTo>
                <a:lnTo>
                  <a:pt x="160" y="18"/>
                </a:lnTo>
                <a:lnTo>
                  <a:pt x="158" y="28"/>
                </a:lnTo>
                <a:lnTo>
                  <a:pt x="158" y="28"/>
                </a:lnTo>
                <a:lnTo>
                  <a:pt x="160" y="40"/>
                </a:lnTo>
                <a:lnTo>
                  <a:pt x="166" y="48"/>
                </a:lnTo>
                <a:lnTo>
                  <a:pt x="174" y="54"/>
                </a:lnTo>
                <a:lnTo>
                  <a:pt x="186" y="58"/>
                </a:lnTo>
                <a:lnTo>
                  <a:pt x="186" y="58"/>
                </a:lnTo>
                <a:close/>
                <a:moveTo>
                  <a:pt x="134" y="116"/>
                </a:moveTo>
                <a:lnTo>
                  <a:pt x="156" y="116"/>
                </a:lnTo>
                <a:lnTo>
                  <a:pt x="156" y="116"/>
                </a:lnTo>
                <a:lnTo>
                  <a:pt x="160" y="114"/>
                </a:lnTo>
                <a:lnTo>
                  <a:pt x="162" y="112"/>
                </a:lnTo>
                <a:lnTo>
                  <a:pt x="162" y="72"/>
                </a:lnTo>
                <a:lnTo>
                  <a:pt x="162" y="72"/>
                </a:lnTo>
                <a:lnTo>
                  <a:pt x="160" y="70"/>
                </a:lnTo>
                <a:lnTo>
                  <a:pt x="156" y="68"/>
                </a:lnTo>
                <a:lnTo>
                  <a:pt x="156" y="68"/>
                </a:lnTo>
                <a:lnTo>
                  <a:pt x="146" y="66"/>
                </a:lnTo>
                <a:lnTo>
                  <a:pt x="140" y="60"/>
                </a:lnTo>
                <a:lnTo>
                  <a:pt x="134" y="54"/>
                </a:lnTo>
                <a:lnTo>
                  <a:pt x="132" y="44"/>
                </a:lnTo>
                <a:lnTo>
                  <a:pt x="132" y="44"/>
                </a:lnTo>
                <a:lnTo>
                  <a:pt x="130" y="40"/>
                </a:lnTo>
                <a:lnTo>
                  <a:pt x="128" y="38"/>
                </a:lnTo>
                <a:lnTo>
                  <a:pt x="4" y="38"/>
                </a:lnTo>
                <a:lnTo>
                  <a:pt x="4" y="38"/>
                </a:lnTo>
                <a:lnTo>
                  <a:pt x="2" y="40"/>
                </a:lnTo>
                <a:lnTo>
                  <a:pt x="0" y="44"/>
                </a:lnTo>
                <a:lnTo>
                  <a:pt x="0" y="44"/>
                </a:lnTo>
                <a:lnTo>
                  <a:pt x="0" y="50"/>
                </a:lnTo>
                <a:lnTo>
                  <a:pt x="2" y="56"/>
                </a:lnTo>
                <a:lnTo>
                  <a:pt x="8" y="66"/>
                </a:lnTo>
                <a:lnTo>
                  <a:pt x="18" y="72"/>
                </a:lnTo>
                <a:lnTo>
                  <a:pt x="24" y="74"/>
                </a:lnTo>
                <a:lnTo>
                  <a:pt x="32" y="76"/>
                </a:lnTo>
                <a:lnTo>
                  <a:pt x="48" y="76"/>
                </a:lnTo>
                <a:lnTo>
                  <a:pt x="48" y="76"/>
                </a:lnTo>
                <a:lnTo>
                  <a:pt x="52" y="86"/>
                </a:lnTo>
                <a:lnTo>
                  <a:pt x="58" y="94"/>
                </a:lnTo>
                <a:lnTo>
                  <a:pt x="68" y="100"/>
                </a:lnTo>
                <a:lnTo>
                  <a:pt x="80" y="102"/>
                </a:lnTo>
                <a:lnTo>
                  <a:pt x="114" y="102"/>
                </a:lnTo>
                <a:lnTo>
                  <a:pt x="114" y="102"/>
                </a:lnTo>
                <a:lnTo>
                  <a:pt x="116" y="108"/>
                </a:lnTo>
                <a:lnTo>
                  <a:pt x="122" y="112"/>
                </a:lnTo>
                <a:lnTo>
                  <a:pt x="126" y="114"/>
                </a:lnTo>
                <a:lnTo>
                  <a:pt x="134" y="116"/>
                </a:lnTo>
                <a:lnTo>
                  <a:pt x="134" y="116"/>
                </a:lnTo>
                <a:close/>
                <a:moveTo>
                  <a:pt x="176" y="78"/>
                </a:moveTo>
                <a:lnTo>
                  <a:pt x="176" y="140"/>
                </a:lnTo>
                <a:lnTo>
                  <a:pt x="176" y="140"/>
                </a:lnTo>
                <a:lnTo>
                  <a:pt x="176" y="144"/>
                </a:lnTo>
                <a:lnTo>
                  <a:pt x="178" y="146"/>
                </a:lnTo>
                <a:lnTo>
                  <a:pt x="182" y="148"/>
                </a:lnTo>
                <a:lnTo>
                  <a:pt x="186" y="150"/>
                </a:lnTo>
                <a:lnTo>
                  <a:pt x="186" y="150"/>
                </a:lnTo>
                <a:lnTo>
                  <a:pt x="190" y="148"/>
                </a:lnTo>
                <a:lnTo>
                  <a:pt x="194" y="146"/>
                </a:lnTo>
                <a:lnTo>
                  <a:pt x="196" y="144"/>
                </a:lnTo>
                <a:lnTo>
                  <a:pt x="196" y="140"/>
                </a:lnTo>
                <a:lnTo>
                  <a:pt x="196" y="78"/>
                </a:lnTo>
                <a:lnTo>
                  <a:pt x="196" y="78"/>
                </a:lnTo>
                <a:lnTo>
                  <a:pt x="196" y="74"/>
                </a:lnTo>
                <a:lnTo>
                  <a:pt x="194" y="70"/>
                </a:lnTo>
                <a:lnTo>
                  <a:pt x="190" y="68"/>
                </a:lnTo>
                <a:lnTo>
                  <a:pt x="186" y="68"/>
                </a:lnTo>
                <a:lnTo>
                  <a:pt x="186" y="68"/>
                </a:lnTo>
                <a:lnTo>
                  <a:pt x="182" y="68"/>
                </a:lnTo>
                <a:lnTo>
                  <a:pt x="178" y="70"/>
                </a:lnTo>
                <a:lnTo>
                  <a:pt x="176" y="74"/>
                </a:lnTo>
                <a:lnTo>
                  <a:pt x="176" y="78"/>
                </a:lnTo>
                <a:lnTo>
                  <a:pt x="176" y="78"/>
                </a:lnTo>
                <a:close/>
                <a:moveTo>
                  <a:pt x="368" y="38"/>
                </a:moveTo>
                <a:lnTo>
                  <a:pt x="244" y="38"/>
                </a:lnTo>
                <a:lnTo>
                  <a:pt x="244" y="38"/>
                </a:lnTo>
                <a:lnTo>
                  <a:pt x="242" y="40"/>
                </a:lnTo>
                <a:lnTo>
                  <a:pt x="240" y="44"/>
                </a:lnTo>
                <a:lnTo>
                  <a:pt x="240" y="44"/>
                </a:lnTo>
                <a:lnTo>
                  <a:pt x="238" y="54"/>
                </a:lnTo>
                <a:lnTo>
                  <a:pt x="232" y="60"/>
                </a:lnTo>
                <a:lnTo>
                  <a:pt x="226" y="66"/>
                </a:lnTo>
                <a:lnTo>
                  <a:pt x="216" y="68"/>
                </a:lnTo>
                <a:lnTo>
                  <a:pt x="216" y="68"/>
                </a:lnTo>
                <a:lnTo>
                  <a:pt x="212" y="70"/>
                </a:lnTo>
                <a:lnTo>
                  <a:pt x="210" y="72"/>
                </a:lnTo>
                <a:lnTo>
                  <a:pt x="210" y="112"/>
                </a:lnTo>
                <a:lnTo>
                  <a:pt x="210" y="112"/>
                </a:lnTo>
                <a:lnTo>
                  <a:pt x="212" y="114"/>
                </a:lnTo>
                <a:lnTo>
                  <a:pt x="216" y="116"/>
                </a:lnTo>
                <a:lnTo>
                  <a:pt x="238" y="116"/>
                </a:lnTo>
                <a:lnTo>
                  <a:pt x="238" y="116"/>
                </a:lnTo>
                <a:lnTo>
                  <a:pt x="246" y="114"/>
                </a:lnTo>
                <a:lnTo>
                  <a:pt x="250" y="112"/>
                </a:lnTo>
                <a:lnTo>
                  <a:pt x="256" y="108"/>
                </a:lnTo>
                <a:lnTo>
                  <a:pt x="258" y="102"/>
                </a:lnTo>
                <a:lnTo>
                  <a:pt x="292" y="102"/>
                </a:lnTo>
                <a:lnTo>
                  <a:pt x="292" y="102"/>
                </a:lnTo>
                <a:lnTo>
                  <a:pt x="304" y="100"/>
                </a:lnTo>
                <a:lnTo>
                  <a:pt x="314" y="94"/>
                </a:lnTo>
                <a:lnTo>
                  <a:pt x="320" y="86"/>
                </a:lnTo>
                <a:lnTo>
                  <a:pt x="324" y="76"/>
                </a:lnTo>
                <a:lnTo>
                  <a:pt x="340" y="76"/>
                </a:lnTo>
                <a:lnTo>
                  <a:pt x="340" y="76"/>
                </a:lnTo>
                <a:lnTo>
                  <a:pt x="348" y="74"/>
                </a:lnTo>
                <a:lnTo>
                  <a:pt x="354" y="72"/>
                </a:lnTo>
                <a:lnTo>
                  <a:pt x="364" y="66"/>
                </a:lnTo>
                <a:lnTo>
                  <a:pt x="370" y="56"/>
                </a:lnTo>
                <a:lnTo>
                  <a:pt x="372" y="50"/>
                </a:lnTo>
                <a:lnTo>
                  <a:pt x="372" y="44"/>
                </a:lnTo>
                <a:lnTo>
                  <a:pt x="372" y="44"/>
                </a:lnTo>
                <a:lnTo>
                  <a:pt x="370" y="40"/>
                </a:lnTo>
                <a:lnTo>
                  <a:pt x="368" y="38"/>
                </a:lnTo>
                <a:lnTo>
                  <a:pt x="368" y="38"/>
                </a:lnTo>
                <a:close/>
                <a:moveTo>
                  <a:pt x="244" y="126"/>
                </a:moveTo>
                <a:lnTo>
                  <a:pt x="244" y="126"/>
                </a:lnTo>
                <a:lnTo>
                  <a:pt x="232" y="126"/>
                </a:lnTo>
                <a:lnTo>
                  <a:pt x="222" y="130"/>
                </a:lnTo>
                <a:lnTo>
                  <a:pt x="212" y="136"/>
                </a:lnTo>
                <a:lnTo>
                  <a:pt x="206" y="140"/>
                </a:lnTo>
                <a:lnTo>
                  <a:pt x="202" y="146"/>
                </a:lnTo>
                <a:lnTo>
                  <a:pt x="202" y="146"/>
                </a:lnTo>
                <a:lnTo>
                  <a:pt x="202" y="150"/>
                </a:lnTo>
                <a:lnTo>
                  <a:pt x="202" y="154"/>
                </a:lnTo>
                <a:lnTo>
                  <a:pt x="204" y="158"/>
                </a:lnTo>
                <a:lnTo>
                  <a:pt x="206" y="160"/>
                </a:lnTo>
                <a:lnTo>
                  <a:pt x="206" y="160"/>
                </a:lnTo>
                <a:lnTo>
                  <a:pt x="210" y="162"/>
                </a:lnTo>
                <a:lnTo>
                  <a:pt x="214" y="160"/>
                </a:lnTo>
                <a:lnTo>
                  <a:pt x="218" y="158"/>
                </a:lnTo>
                <a:lnTo>
                  <a:pt x="220" y="156"/>
                </a:lnTo>
                <a:lnTo>
                  <a:pt x="220" y="156"/>
                </a:lnTo>
                <a:lnTo>
                  <a:pt x="224" y="150"/>
                </a:lnTo>
                <a:lnTo>
                  <a:pt x="230" y="148"/>
                </a:lnTo>
                <a:lnTo>
                  <a:pt x="234" y="146"/>
                </a:lnTo>
                <a:lnTo>
                  <a:pt x="240" y="146"/>
                </a:lnTo>
                <a:lnTo>
                  <a:pt x="240" y="146"/>
                </a:lnTo>
                <a:lnTo>
                  <a:pt x="244" y="148"/>
                </a:lnTo>
                <a:lnTo>
                  <a:pt x="246" y="152"/>
                </a:lnTo>
                <a:lnTo>
                  <a:pt x="246" y="152"/>
                </a:lnTo>
                <a:lnTo>
                  <a:pt x="244" y="156"/>
                </a:lnTo>
                <a:lnTo>
                  <a:pt x="242" y="160"/>
                </a:lnTo>
                <a:lnTo>
                  <a:pt x="230" y="164"/>
                </a:lnTo>
                <a:lnTo>
                  <a:pt x="214" y="168"/>
                </a:lnTo>
                <a:lnTo>
                  <a:pt x="196" y="170"/>
                </a:lnTo>
                <a:lnTo>
                  <a:pt x="196" y="170"/>
                </a:lnTo>
                <a:lnTo>
                  <a:pt x="184" y="172"/>
                </a:lnTo>
                <a:lnTo>
                  <a:pt x="184" y="172"/>
                </a:lnTo>
                <a:lnTo>
                  <a:pt x="170" y="174"/>
                </a:lnTo>
                <a:lnTo>
                  <a:pt x="160" y="178"/>
                </a:lnTo>
                <a:lnTo>
                  <a:pt x="150" y="182"/>
                </a:lnTo>
                <a:lnTo>
                  <a:pt x="144" y="186"/>
                </a:lnTo>
                <a:lnTo>
                  <a:pt x="140" y="190"/>
                </a:lnTo>
                <a:lnTo>
                  <a:pt x="136" y="194"/>
                </a:lnTo>
                <a:lnTo>
                  <a:pt x="134" y="202"/>
                </a:lnTo>
                <a:lnTo>
                  <a:pt x="134" y="202"/>
                </a:lnTo>
                <a:lnTo>
                  <a:pt x="134" y="202"/>
                </a:lnTo>
                <a:lnTo>
                  <a:pt x="134" y="210"/>
                </a:lnTo>
                <a:lnTo>
                  <a:pt x="136" y="218"/>
                </a:lnTo>
                <a:lnTo>
                  <a:pt x="142" y="226"/>
                </a:lnTo>
                <a:lnTo>
                  <a:pt x="150" y="232"/>
                </a:lnTo>
                <a:lnTo>
                  <a:pt x="150" y="232"/>
                </a:lnTo>
                <a:lnTo>
                  <a:pt x="160" y="226"/>
                </a:lnTo>
                <a:lnTo>
                  <a:pt x="172" y="220"/>
                </a:lnTo>
                <a:lnTo>
                  <a:pt x="172" y="220"/>
                </a:lnTo>
                <a:lnTo>
                  <a:pt x="164" y="216"/>
                </a:lnTo>
                <a:lnTo>
                  <a:pt x="158" y="212"/>
                </a:lnTo>
                <a:lnTo>
                  <a:pt x="154" y="208"/>
                </a:lnTo>
                <a:lnTo>
                  <a:pt x="154" y="206"/>
                </a:lnTo>
                <a:lnTo>
                  <a:pt x="154" y="206"/>
                </a:lnTo>
                <a:lnTo>
                  <a:pt x="154" y="206"/>
                </a:lnTo>
                <a:lnTo>
                  <a:pt x="154" y="206"/>
                </a:lnTo>
                <a:lnTo>
                  <a:pt x="156" y="202"/>
                </a:lnTo>
                <a:lnTo>
                  <a:pt x="162" y="198"/>
                </a:lnTo>
                <a:lnTo>
                  <a:pt x="172" y="194"/>
                </a:lnTo>
                <a:lnTo>
                  <a:pt x="188" y="192"/>
                </a:lnTo>
                <a:lnTo>
                  <a:pt x="188" y="192"/>
                </a:lnTo>
                <a:lnTo>
                  <a:pt x="200" y="190"/>
                </a:lnTo>
                <a:lnTo>
                  <a:pt x="200" y="190"/>
                </a:lnTo>
                <a:lnTo>
                  <a:pt x="222" y="186"/>
                </a:lnTo>
                <a:lnTo>
                  <a:pt x="234" y="184"/>
                </a:lnTo>
                <a:lnTo>
                  <a:pt x="244" y="180"/>
                </a:lnTo>
                <a:lnTo>
                  <a:pt x="254" y="176"/>
                </a:lnTo>
                <a:lnTo>
                  <a:pt x="260" y="170"/>
                </a:lnTo>
                <a:lnTo>
                  <a:pt x="264" y="162"/>
                </a:lnTo>
                <a:lnTo>
                  <a:pt x="266" y="150"/>
                </a:lnTo>
                <a:lnTo>
                  <a:pt x="266" y="150"/>
                </a:lnTo>
                <a:lnTo>
                  <a:pt x="264" y="142"/>
                </a:lnTo>
                <a:lnTo>
                  <a:pt x="258" y="136"/>
                </a:lnTo>
                <a:lnTo>
                  <a:pt x="252" y="130"/>
                </a:lnTo>
                <a:lnTo>
                  <a:pt x="244" y="126"/>
                </a:lnTo>
                <a:lnTo>
                  <a:pt x="244" y="126"/>
                </a:lnTo>
                <a:close/>
                <a:moveTo>
                  <a:pt x="214" y="286"/>
                </a:moveTo>
                <a:lnTo>
                  <a:pt x="214" y="286"/>
                </a:lnTo>
                <a:lnTo>
                  <a:pt x="212" y="288"/>
                </a:lnTo>
                <a:lnTo>
                  <a:pt x="210" y="290"/>
                </a:lnTo>
                <a:lnTo>
                  <a:pt x="210" y="290"/>
                </a:lnTo>
                <a:lnTo>
                  <a:pt x="196" y="296"/>
                </a:lnTo>
                <a:lnTo>
                  <a:pt x="196" y="296"/>
                </a:lnTo>
                <a:lnTo>
                  <a:pt x="198" y="298"/>
                </a:lnTo>
                <a:lnTo>
                  <a:pt x="198" y="298"/>
                </a:lnTo>
                <a:lnTo>
                  <a:pt x="198" y="300"/>
                </a:lnTo>
                <a:lnTo>
                  <a:pt x="198" y="300"/>
                </a:lnTo>
                <a:lnTo>
                  <a:pt x="198" y="300"/>
                </a:lnTo>
                <a:lnTo>
                  <a:pt x="198" y="300"/>
                </a:lnTo>
                <a:lnTo>
                  <a:pt x="194" y="306"/>
                </a:lnTo>
                <a:lnTo>
                  <a:pt x="190" y="310"/>
                </a:lnTo>
                <a:lnTo>
                  <a:pt x="190" y="310"/>
                </a:lnTo>
                <a:lnTo>
                  <a:pt x="182" y="318"/>
                </a:lnTo>
                <a:lnTo>
                  <a:pt x="178" y="330"/>
                </a:lnTo>
                <a:lnTo>
                  <a:pt x="176" y="346"/>
                </a:lnTo>
                <a:lnTo>
                  <a:pt x="176" y="372"/>
                </a:lnTo>
                <a:lnTo>
                  <a:pt x="176" y="372"/>
                </a:lnTo>
                <a:lnTo>
                  <a:pt x="176" y="376"/>
                </a:lnTo>
                <a:lnTo>
                  <a:pt x="178" y="380"/>
                </a:lnTo>
                <a:lnTo>
                  <a:pt x="182" y="382"/>
                </a:lnTo>
                <a:lnTo>
                  <a:pt x="186" y="382"/>
                </a:lnTo>
                <a:lnTo>
                  <a:pt x="186" y="382"/>
                </a:lnTo>
                <a:lnTo>
                  <a:pt x="190" y="382"/>
                </a:lnTo>
                <a:lnTo>
                  <a:pt x="194" y="380"/>
                </a:lnTo>
                <a:lnTo>
                  <a:pt x="196" y="376"/>
                </a:lnTo>
                <a:lnTo>
                  <a:pt x="196" y="372"/>
                </a:lnTo>
                <a:lnTo>
                  <a:pt x="196" y="372"/>
                </a:lnTo>
                <a:lnTo>
                  <a:pt x="196" y="336"/>
                </a:lnTo>
                <a:lnTo>
                  <a:pt x="200" y="330"/>
                </a:lnTo>
                <a:lnTo>
                  <a:pt x="204" y="324"/>
                </a:lnTo>
                <a:lnTo>
                  <a:pt x="204" y="324"/>
                </a:lnTo>
                <a:lnTo>
                  <a:pt x="212" y="316"/>
                </a:lnTo>
                <a:lnTo>
                  <a:pt x="216" y="306"/>
                </a:lnTo>
                <a:lnTo>
                  <a:pt x="216" y="306"/>
                </a:lnTo>
                <a:lnTo>
                  <a:pt x="216" y="302"/>
                </a:lnTo>
                <a:lnTo>
                  <a:pt x="216" y="302"/>
                </a:lnTo>
                <a:lnTo>
                  <a:pt x="218" y="300"/>
                </a:lnTo>
                <a:lnTo>
                  <a:pt x="218" y="300"/>
                </a:lnTo>
                <a:lnTo>
                  <a:pt x="216" y="294"/>
                </a:lnTo>
                <a:lnTo>
                  <a:pt x="214" y="286"/>
                </a:lnTo>
                <a:lnTo>
                  <a:pt x="214" y="286"/>
                </a:lnTo>
                <a:close/>
                <a:moveTo>
                  <a:pt x="198" y="250"/>
                </a:moveTo>
                <a:lnTo>
                  <a:pt x="198" y="250"/>
                </a:lnTo>
                <a:lnTo>
                  <a:pt x="206" y="254"/>
                </a:lnTo>
                <a:lnTo>
                  <a:pt x="206" y="256"/>
                </a:lnTo>
                <a:lnTo>
                  <a:pt x="206" y="256"/>
                </a:lnTo>
                <a:lnTo>
                  <a:pt x="206" y="258"/>
                </a:lnTo>
                <a:lnTo>
                  <a:pt x="200" y="262"/>
                </a:lnTo>
                <a:lnTo>
                  <a:pt x="194" y="266"/>
                </a:lnTo>
                <a:lnTo>
                  <a:pt x="184" y="270"/>
                </a:lnTo>
                <a:lnTo>
                  <a:pt x="184" y="270"/>
                </a:lnTo>
                <a:lnTo>
                  <a:pt x="174" y="272"/>
                </a:lnTo>
                <a:lnTo>
                  <a:pt x="168" y="276"/>
                </a:lnTo>
                <a:lnTo>
                  <a:pt x="160" y="284"/>
                </a:lnTo>
                <a:lnTo>
                  <a:pt x="156" y="292"/>
                </a:lnTo>
                <a:lnTo>
                  <a:pt x="154" y="300"/>
                </a:lnTo>
                <a:lnTo>
                  <a:pt x="154" y="300"/>
                </a:lnTo>
                <a:lnTo>
                  <a:pt x="154" y="300"/>
                </a:lnTo>
                <a:lnTo>
                  <a:pt x="154" y="300"/>
                </a:lnTo>
                <a:lnTo>
                  <a:pt x="154" y="300"/>
                </a:lnTo>
                <a:lnTo>
                  <a:pt x="154" y="300"/>
                </a:lnTo>
                <a:lnTo>
                  <a:pt x="154" y="300"/>
                </a:lnTo>
                <a:lnTo>
                  <a:pt x="154" y="300"/>
                </a:lnTo>
                <a:lnTo>
                  <a:pt x="154" y="300"/>
                </a:lnTo>
                <a:lnTo>
                  <a:pt x="156" y="308"/>
                </a:lnTo>
                <a:lnTo>
                  <a:pt x="160" y="314"/>
                </a:lnTo>
                <a:lnTo>
                  <a:pt x="160" y="314"/>
                </a:lnTo>
                <a:lnTo>
                  <a:pt x="160" y="316"/>
                </a:lnTo>
                <a:lnTo>
                  <a:pt x="160" y="316"/>
                </a:lnTo>
                <a:lnTo>
                  <a:pt x="168" y="324"/>
                </a:lnTo>
                <a:lnTo>
                  <a:pt x="168" y="324"/>
                </a:lnTo>
                <a:lnTo>
                  <a:pt x="170" y="326"/>
                </a:lnTo>
                <a:lnTo>
                  <a:pt x="170" y="326"/>
                </a:lnTo>
                <a:lnTo>
                  <a:pt x="174" y="316"/>
                </a:lnTo>
                <a:lnTo>
                  <a:pt x="174" y="316"/>
                </a:lnTo>
                <a:lnTo>
                  <a:pt x="176" y="312"/>
                </a:lnTo>
                <a:lnTo>
                  <a:pt x="176" y="312"/>
                </a:lnTo>
                <a:lnTo>
                  <a:pt x="180" y="308"/>
                </a:lnTo>
                <a:lnTo>
                  <a:pt x="180" y="308"/>
                </a:lnTo>
                <a:lnTo>
                  <a:pt x="176" y="302"/>
                </a:lnTo>
                <a:lnTo>
                  <a:pt x="174" y="298"/>
                </a:lnTo>
                <a:lnTo>
                  <a:pt x="174" y="298"/>
                </a:lnTo>
                <a:lnTo>
                  <a:pt x="176" y="296"/>
                </a:lnTo>
                <a:lnTo>
                  <a:pt x="178" y="294"/>
                </a:lnTo>
                <a:lnTo>
                  <a:pt x="188" y="290"/>
                </a:lnTo>
                <a:lnTo>
                  <a:pt x="188" y="290"/>
                </a:lnTo>
                <a:lnTo>
                  <a:pt x="202" y="284"/>
                </a:lnTo>
                <a:lnTo>
                  <a:pt x="214" y="278"/>
                </a:lnTo>
                <a:lnTo>
                  <a:pt x="222" y="268"/>
                </a:lnTo>
                <a:lnTo>
                  <a:pt x="226" y="264"/>
                </a:lnTo>
                <a:lnTo>
                  <a:pt x="226" y="258"/>
                </a:lnTo>
                <a:lnTo>
                  <a:pt x="226" y="258"/>
                </a:lnTo>
                <a:lnTo>
                  <a:pt x="226" y="248"/>
                </a:lnTo>
                <a:lnTo>
                  <a:pt x="220" y="242"/>
                </a:lnTo>
                <a:lnTo>
                  <a:pt x="220" y="242"/>
                </a:lnTo>
                <a:lnTo>
                  <a:pt x="210" y="246"/>
                </a:lnTo>
                <a:lnTo>
                  <a:pt x="198" y="250"/>
                </a:lnTo>
                <a:lnTo>
                  <a:pt x="198" y="2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62" name="Freeform 4806"/>
          <p:cNvSpPr>
            <a:spLocks noEditPoints="1"/>
          </p:cNvSpPr>
          <p:nvPr/>
        </p:nvSpPr>
        <p:spPr bwMode="auto">
          <a:xfrm>
            <a:off x="7446059" y="4288785"/>
            <a:ext cx="576031" cy="506400"/>
          </a:xfrm>
          <a:custGeom>
            <a:avLst/>
            <a:gdLst>
              <a:gd name="T0" fmla="*/ 310 w 364"/>
              <a:gd name="T1" fmla="*/ 104 h 320"/>
              <a:gd name="T2" fmla="*/ 314 w 364"/>
              <a:gd name="T3" fmla="*/ 242 h 320"/>
              <a:gd name="T4" fmla="*/ 304 w 364"/>
              <a:gd name="T5" fmla="*/ 252 h 320"/>
              <a:gd name="T6" fmla="*/ 276 w 364"/>
              <a:gd name="T7" fmla="*/ 248 h 320"/>
              <a:gd name="T8" fmla="*/ 274 w 364"/>
              <a:gd name="T9" fmla="*/ 110 h 320"/>
              <a:gd name="T10" fmla="*/ 284 w 364"/>
              <a:gd name="T11" fmla="*/ 100 h 320"/>
              <a:gd name="T12" fmla="*/ 26 w 364"/>
              <a:gd name="T13" fmla="*/ 66 h 320"/>
              <a:gd name="T14" fmla="*/ 178 w 364"/>
              <a:gd name="T15" fmla="*/ 0 h 320"/>
              <a:gd name="T16" fmla="*/ 180 w 364"/>
              <a:gd name="T17" fmla="*/ 0 h 320"/>
              <a:gd name="T18" fmla="*/ 184 w 364"/>
              <a:gd name="T19" fmla="*/ 0 h 320"/>
              <a:gd name="T20" fmla="*/ 186 w 364"/>
              <a:gd name="T21" fmla="*/ 0 h 320"/>
              <a:gd name="T22" fmla="*/ 332 w 364"/>
              <a:gd name="T23" fmla="*/ 62 h 320"/>
              <a:gd name="T24" fmla="*/ 338 w 364"/>
              <a:gd name="T25" fmla="*/ 74 h 320"/>
              <a:gd name="T26" fmla="*/ 328 w 364"/>
              <a:gd name="T27" fmla="*/ 82 h 320"/>
              <a:gd name="T28" fmla="*/ 36 w 364"/>
              <a:gd name="T29" fmla="*/ 82 h 320"/>
              <a:gd name="T30" fmla="*/ 26 w 364"/>
              <a:gd name="T31" fmla="*/ 72 h 320"/>
              <a:gd name="T32" fmla="*/ 168 w 364"/>
              <a:gd name="T33" fmla="*/ 56 h 320"/>
              <a:gd name="T34" fmla="*/ 190 w 364"/>
              <a:gd name="T35" fmla="*/ 60 h 320"/>
              <a:gd name="T36" fmla="*/ 200 w 364"/>
              <a:gd name="T37" fmla="*/ 42 h 320"/>
              <a:gd name="T38" fmla="*/ 182 w 364"/>
              <a:gd name="T39" fmla="*/ 24 h 320"/>
              <a:gd name="T40" fmla="*/ 164 w 364"/>
              <a:gd name="T41" fmla="*/ 36 h 320"/>
              <a:gd name="T42" fmla="*/ 230 w 364"/>
              <a:gd name="T43" fmla="*/ 252 h 320"/>
              <a:gd name="T44" fmla="*/ 240 w 364"/>
              <a:gd name="T45" fmla="*/ 242 h 320"/>
              <a:gd name="T46" fmla="*/ 236 w 364"/>
              <a:gd name="T47" fmla="*/ 104 h 320"/>
              <a:gd name="T48" fmla="*/ 134 w 364"/>
              <a:gd name="T49" fmla="*/ 100 h 320"/>
              <a:gd name="T50" fmla="*/ 124 w 364"/>
              <a:gd name="T51" fmla="*/ 110 h 320"/>
              <a:gd name="T52" fmla="*/ 128 w 364"/>
              <a:gd name="T53" fmla="*/ 248 h 320"/>
              <a:gd name="T54" fmla="*/ 162 w 364"/>
              <a:gd name="T55" fmla="*/ 170 h 320"/>
              <a:gd name="T56" fmla="*/ 174 w 364"/>
              <a:gd name="T57" fmla="*/ 152 h 320"/>
              <a:gd name="T58" fmla="*/ 196 w 364"/>
              <a:gd name="T59" fmla="*/ 156 h 320"/>
              <a:gd name="T60" fmla="*/ 230 w 364"/>
              <a:gd name="T61" fmla="*/ 252 h 320"/>
              <a:gd name="T62" fmla="*/ 332 w 364"/>
              <a:gd name="T63" fmla="*/ 286 h 320"/>
              <a:gd name="T64" fmla="*/ 338 w 364"/>
              <a:gd name="T65" fmla="*/ 278 h 320"/>
              <a:gd name="T66" fmla="*/ 328 w 364"/>
              <a:gd name="T67" fmla="*/ 268 h 320"/>
              <a:gd name="T68" fmla="*/ 28 w 364"/>
              <a:gd name="T69" fmla="*/ 270 h 320"/>
              <a:gd name="T70" fmla="*/ 26 w 364"/>
              <a:gd name="T71" fmla="*/ 282 h 320"/>
              <a:gd name="T72" fmla="*/ 36 w 364"/>
              <a:gd name="T73" fmla="*/ 288 h 320"/>
              <a:gd name="T74" fmla="*/ 6 w 364"/>
              <a:gd name="T75" fmla="*/ 302 h 320"/>
              <a:gd name="T76" fmla="*/ 0 w 364"/>
              <a:gd name="T77" fmla="*/ 310 h 320"/>
              <a:gd name="T78" fmla="*/ 10 w 364"/>
              <a:gd name="T79" fmla="*/ 320 h 320"/>
              <a:gd name="T80" fmla="*/ 362 w 364"/>
              <a:gd name="T81" fmla="*/ 318 h 320"/>
              <a:gd name="T82" fmla="*/ 364 w 364"/>
              <a:gd name="T83" fmla="*/ 306 h 320"/>
              <a:gd name="T84" fmla="*/ 354 w 364"/>
              <a:gd name="T85" fmla="*/ 300 h 320"/>
              <a:gd name="T86" fmla="*/ 54 w 364"/>
              <a:gd name="T87" fmla="*/ 104 h 320"/>
              <a:gd name="T88" fmla="*/ 50 w 364"/>
              <a:gd name="T89" fmla="*/ 242 h 320"/>
              <a:gd name="T90" fmla="*/ 60 w 364"/>
              <a:gd name="T91" fmla="*/ 252 h 320"/>
              <a:gd name="T92" fmla="*/ 88 w 364"/>
              <a:gd name="T93" fmla="*/ 248 h 320"/>
              <a:gd name="T94" fmla="*/ 90 w 364"/>
              <a:gd name="T95" fmla="*/ 110 h 320"/>
              <a:gd name="T96" fmla="*/ 80 w 364"/>
              <a:gd name="T97" fmla="*/ 100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64" h="320">
                <a:moveTo>
                  <a:pt x="304" y="100"/>
                </a:moveTo>
                <a:lnTo>
                  <a:pt x="304" y="100"/>
                </a:lnTo>
                <a:lnTo>
                  <a:pt x="308" y="102"/>
                </a:lnTo>
                <a:lnTo>
                  <a:pt x="310" y="104"/>
                </a:lnTo>
                <a:lnTo>
                  <a:pt x="312" y="106"/>
                </a:lnTo>
                <a:lnTo>
                  <a:pt x="314" y="110"/>
                </a:lnTo>
                <a:lnTo>
                  <a:pt x="314" y="242"/>
                </a:lnTo>
                <a:lnTo>
                  <a:pt x="314" y="242"/>
                </a:lnTo>
                <a:lnTo>
                  <a:pt x="312" y="246"/>
                </a:lnTo>
                <a:lnTo>
                  <a:pt x="310" y="248"/>
                </a:lnTo>
                <a:lnTo>
                  <a:pt x="308" y="250"/>
                </a:lnTo>
                <a:lnTo>
                  <a:pt x="304" y="252"/>
                </a:lnTo>
                <a:lnTo>
                  <a:pt x="284" y="252"/>
                </a:lnTo>
                <a:lnTo>
                  <a:pt x="284" y="252"/>
                </a:lnTo>
                <a:lnTo>
                  <a:pt x="280" y="250"/>
                </a:lnTo>
                <a:lnTo>
                  <a:pt x="276" y="248"/>
                </a:lnTo>
                <a:lnTo>
                  <a:pt x="274" y="246"/>
                </a:lnTo>
                <a:lnTo>
                  <a:pt x="274" y="242"/>
                </a:lnTo>
                <a:lnTo>
                  <a:pt x="274" y="110"/>
                </a:lnTo>
                <a:lnTo>
                  <a:pt x="274" y="110"/>
                </a:lnTo>
                <a:lnTo>
                  <a:pt x="274" y="106"/>
                </a:lnTo>
                <a:lnTo>
                  <a:pt x="276" y="104"/>
                </a:lnTo>
                <a:lnTo>
                  <a:pt x="280" y="102"/>
                </a:lnTo>
                <a:lnTo>
                  <a:pt x="284" y="100"/>
                </a:lnTo>
                <a:lnTo>
                  <a:pt x="304" y="100"/>
                </a:lnTo>
                <a:close/>
                <a:moveTo>
                  <a:pt x="26" y="72"/>
                </a:moveTo>
                <a:lnTo>
                  <a:pt x="26" y="72"/>
                </a:lnTo>
                <a:lnTo>
                  <a:pt x="26" y="66"/>
                </a:lnTo>
                <a:lnTo>
                  <a:pt x="32" y="62"/>
                </a:lnTo>
                <a:lnTo>
                  <a:pt x="178" y="0"/>
                </a:lnTo>
                <a:lnTo>
                  <a:pt x="178" y="0"/>
                </a:lnTo>
                <a:lnTo>
                  <a:pt x="178" y="0"/>
                </a:lnTo>
                <a:lnTo>
                  <a:pt x="178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2" y="0"/>
                </a:lnTo>
                <a:lnTo>
                  <a:pt x="182" y="0"/>
                </a:lnTo>
                <a:lnTo>
                  <a:pt x="184" y="0"/>
                </a:lnTo>
                <a:lnTo>
                  <a:pt x="184" y="0"/>
                </a:lnTo>
                <a:lnTo>
                  <a:pt x="184" y="0"/>
                </a:lnTo>
                <a:lnTo>
                  <a:pt x="184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332" y="62"/>
                </a:lnTo>
                <a:lnTo>
                  <a:pt x="332" y="62"/>
                </a:lnTo>
                <a:lnTo>
                  <a:pt x="336" y="64"/>
                </a:lnTo>
                <a:lnTo>
                  <a:pt x="338" y="72"/>
                </a:lnTo>
                <a:lnTo>
                  <a:pt x="338" y="72"/>
                </a:lnTo>
                <a:lnTo>
                  <a:pt x="338" y="74"/>
                </a:lnTo>
                <a:lnTo>
                  <a:pt x="336" y="78"/>
                </a:lnTo>
                <a:lnTo>
                  <a:pt x="332" y="80"/>
                </a:lnTo>
                <a:lnTo>
                  <a:pt x="328" y="82"/>
                </a:lnTo>
                <a:lnTo>
                  <a:pt x="328" y="82"/>
                </a:lnTo>
                <a:lnTo>
                  <a:pt x="328" y="82"/>
                </a:lnTo>
                <a:lnTo>
                  <a:pt x="182" y="82"/>
                </a:lnTo>
                <a:lnTo>
                  <a:pt x="182" y="82"/>
                </a:lnTo>
                <a:lnTo>
                  <a:pt x="36" y="82"/>
                </a:lnTo>
                <a:lnTo>
                  <a:pt x="36" y="82"/>
                </a:lnTo>
                <a:lnTo>
                  <a:pt x="30" y="78"/>
                </a:lnTo>
                <a:lnTo>
                  <a:pt x="26" y="72"/>
                </a:lnTo>
                <a:lnTo>
                  <a:pt x="26" y="72"/>
                </a:lnTo>
                <a:close/>
                <a:moveTo>
                  <a:pt x="164" y="42"/>
                </a:moveTo>
                <a:lnTo>
                  <a:pt x="164" y="42"/>
                </a:lnTo>
                <a:lnTo>
                  <a:pt x="164" y="50"/>
                </a:lnTo>
                <a:lnTo>
                  <a:pt x="168" y="56"/>
                </a:lnTo>
                <a:lnTo>
                  <a:pt x="174" y="60"/>
                </a:lnTo>
                <a:lnTo>
                  <a:pt x="182" y="62"/>
                </a:lnTo>
                <a:lnTo>
                  <a:pt x="182" y="62"/>
                </a:lnTo>
                <a:lnTo>
                  <a:pt x="190" y="60"/>
                </a:lnTo>
                <a:lnTo>
                  <a:pt x="196" y="56"/>
                </a:lnTo>
                <a:lnTo>
                  <a:pt x="200" y="50"/>
                </a:lnTo>
                <a:lnTo>
                  <a:pt x="200" y="42"/>
                </a:lnTo>
                <a:lnTo>
                  <a:pt x="200" y="42"/>
                </a:lnTo>
                <a:lnTo>
                  <a:pt x="200" y="36"/>
                </a:lnTo>
                <a:lnTo>
                  <a:pt x="196" y="30"/>
                </a:lnTo>
                <a:lnTo>
                  <a:pt x="190" y="26"/>
                </a:lnTo>
                <a:lnTo>
                  <a:pt x="182" y="24"/>
                </a:lnTo>
                <a:lnTo>
                  <a:pt x="182" y="24"/>
                </a:lnTo>
                <a:lnTo>
                  <a:pt x="174" y="26"/>
                </a:lnTo>
                <a:lnTo>
                  <a:pt x="168" y="30"/>
                </a:lnTo>
                <a:lnTo>
                  <a:pt x="164" y="36"/>
                </a:lnTo>
                <a:lnTo>
                  <a:pt x="164" y="42"/>
                </a:lnTo>
                <a:lnTo>
                  <a:pt x="164" y="42"/>
                </a:lnTo>
                <a:close/>
                <a:moveTo>
                  <a:pt x="230" y="252"/>
                </a:moveTo>
                <a:lnTo>
                  <a:pt x="230" y="252"/>
                </a:lnTo>
                <a:lnTo>
                  <a:pt x="234" y="250"/>
                </a:lnTo>
                <a:lnTo>
                  <a:pt x="236" y="248"/>
                </a:lnTo>
                <a:lnTo>
                  <a:pt x="238" y="246"/>
                </a:lnTo>
                <a:lnTo>
                  <a:pt x="240" y="242"/>
                </a:lnTo>
                <a:lnTo>
                  <a:pt x="240" y="110"/>
                </a:lnTo>
                <a:lnTo>
                  <a:pt x="240" y="110"/>
                </a:lnTo>
                <a:lnTo>
                  <a:pt x="238" y="106"/>
                </a:lnTo>
                <a:lnTo>
                  <a:pt x="236" y="104"/>
                </a:lnTo>
                <a:lnTo>
                  <a:pt x="234" y="102"/>
                </a:lnTo>
                <a:lnTo>
                  <a:pt x="230" y="100"/>
                </a:lnTo>
                <a:lnTo>
                  <a:pt x="134" y="100"/>
                </a:lnTo>
                <a:lnTo>
                  <a:pt x="134" y="100"/>
                </a:lnTo>
                <a:lnTo>
                  <a:pt x="130" y="102"/>
                </a:lnTo>
                <a:lnTo>
                  <a:pt x="128" y="104"/>
                </a:lnTo>
                <a:lnTo>
                  <a:pt x="126" y="106"/>
                </a:lnTo>
                <a:lnTo>
                  <a:pt x="124" y="110"/>
                </a:lnTo>
                <a:lnTo>
                  <a:pt x="124" y="242"/>
                </a:lnTo>
                <a:lnTo>
                  <a:pt x="124" y="242"/>
                </a:lnTo>
                <a:lnTo>
                  <a:pt x="126" y="246"/>
                </a:lnTo>
                <a:lnTo>
                  <a:pt x="128" y="248"/>
                </a:lnTo>
                <a:lnTo>
                  <a:pt x="130" y="250"/>
                </a:lnTo>
                <a:lnTo>
                  <a:pt x="134" y="252"/>
                </a:lnTo>
                <a:lnTo>
                  <a:pt x="162" y="252"/>
                </a:lnTo>
                <a:lnTo>
                  <a:pt x="162" y="170"/>
                </a:lnTo>
                <a:lnTo>
                  <a:pt x="162" y="170"/>
                </a:lnTo>
                <a:lnTo>
                  <a:pt x="164" y="162"/>
                </a:lnTo>
                <a:lnTo>
                  <a:pt x="168" y="156"/>
                </a:lnTo>
                <a:lnTo>
                  <a:pt x="174" y="152"/>
                </a:lnTo>
                <a:lnTo>
                  <a:pt x="182" y="150"/>
                </a:lnTo>
                <a:lnTo>
                  <a:pt x="182" y="150"/>
                </a:lnTo>
                <a:lnTo>
                  <a:pt x="190" y="152"/>
                </a:lnTo>
                <a:lnTo>
                  <a:pt x="196" y="156"/>
                </a:lnTo>
                <a:lnTo>
                  <a:pt x="200" y="162"/>
                </a:lnTo>
                <a:lnTo>
                  <a:pt x="202" y="170"/>
                </a:lnTo>
                <a:lnTo>
                  <a:pt x="202" y="252"/>
                </a:lnTo>
                <a:lnTo>
                  <a:pt x="230" y="252"/>
                </a:lnTo>
                <a:close/>
                <a:moveTo>
                  <a:pt x="36" y="288"/>
                </a:moveTo>
                <a:lnTo>
                  <a:pt x="328" y="288"/>
                </a:lnTo>
                <a:lnTo>
                  <a:pt x="328" y="288"/>
                </a:lnTo>
                <a:lnTo>
                  <a:pt x="332" y="286"/>
                </a:lnTo>
                <a:lnTo>
                  <a:pt x="336" y="284"/>
                </a:lnTo>
                <a:lnTo>
                  <a:pt x="338" y="282"/>
                </a:lnTo>
                <a:lnTo>
                  <a:pt x="338" y="278"/>
                </a:lnTo>
                <a:lnTo>
                  <a:pt x="338" y="278"/>
                </a:lnTo>
                <a:lnTo>
                  <a:pt x="338" y="274"/>
                </a:lnTo>
                <a:lnTo>
                  <a:pt x="336" y="270"/>
                </a:lnTo>
                <a:lnTo>
                  <a:pt x="332" y="268"/>
                </a:lnTo>
                <a:lnTo>
                  <a:pt x="328" y="268"/>
                </a:lnTo>
                <a:lnTo>
                  <a:pt x="36" y="268"/>
                </a:lnTo>
                <a:lnTo>
                  <a:pt x="36" y="268"/>
                </a:lnTo>
                <a:lnTo>
                  <a:pt x="32" y="268"/>
                </a:lnTo>
                <a:lnTo>
                  <a:pt x="28" y="270"/>
                </a:lnTo>
                <a:lnTo>
                  <a:pt x="26" y="274"/>
                </a:lnTo>
                <a:lnTo>
                  <a:pt x="26" y="278"/>
                </a:lnTo>
                <a:lnTo>
                  <a:pt x="26" y="278"/>
                </a:lnTo>
                <a:lnTo>
                  <a:pt x="26" y="282"/>
                </a:lnTo>
                <a:lnTo>
                  <a:pt x="28" y="284"/>
                </a:lnTo>
                <a:lnTo>
                  <a:pt x="32" y="286"/>
                </a:lnTo>
                <a:lnTo>
                  <a:pt x="36" y="288"/>
                </a:lnTo>
                <a:lnTo>
                  <a:pt x="36" y="288"/>
                </a:lnTo>
                <a:close/>
                <a:moveTo>
                  <a:pt x="354" y="300"/>
                </a:moveTo>
                <a:lnTo>
                  <a:pt x="10" y="300"/>
                </a:lnTo>
                <a:lnTo>
                  <a:pt x="10" y="300"/>
                </a:lnTo>
                <a:lnTo>
                  <a:pt x="6" y="302"/>
                </a:lnTo>
                <a:lnTo>
                  <a:pt x="2" y="304"/>
                </a:lnTo>
                <a:lnTo>
                  <a:pt x="0" y="306"/>
                </a:lnTo>
                <a:lnTo>
                  <a:pt x="0" y="310"/>
                </a:lnTo>
                <a:lnTo>
                  <a:pt x="0" y="310"/>
                </a:lnTo>
                <a:lnTo>
                  <a:pt x="0" y="314"/>
                </a:lnTo>
                <a:lnTo>
                  <a:pt x="2" y="318"/>
                </a:lnTo>
                <a:lnTo>
                  <a:pt x="6" y="320"/>
                </a:lnTo>
                <a:lnTo>
                  <a:pt x="10" y="320"/>
                </a:lnTo>
                <a:lnTo>
                  <a:pt x="354" y="320"/>
                </a:lnTo>
                <a:lnTo>
                  <a:pt x="354" y="320"/>
                </a:lnTo>
                <a:lnTo>
                  <a:pt x="358" y="320"/>
                </a:lnTo>
                <a:lnTo>
                  <a:pt x="362" y="318"/>
                </a:lnTo>
                <a:lnTo>
                  <a:pt x="364" y="314"/>
                </a:lnTo>
                <a:lnTo>
                  <a:pt x="364" y="310"/>
                </a:lnTo>
                <a:lnTo>
                  <a:pt x="364" y="310"/>
                </a:lnTo>
                <a:lnTo>
                  <a:pt x="364" y="306"/>
                </a:lnTo>
                <a:lnTo>
                  <a:pt x="362" y="304"/>
                </a:lnTo>
                <a:lnTo>
                  <a:pt x="358" y="302"/>
                </a:lnTo>
                <a:lnTo>
                  <a:pt x="354" y="300"/>
                </a:lnTo>
                <a:lnTo>
                  <a:pt x="354" y="300"/>
                </a:lnTo>
                <a:close/>
                <a:moveTo>
                  <a:pt x="60" y="100"/>
                </a:moveTo>
                <a:lnTo>
                  <a:pt x="60" y="100"/>
                </a:lnTo>
                <a:lnTo>
                  <a:pt x="56" y="102"/>
                </a:lnTo>
                <a:lnTo>
                  <a:pt x="54" y="104"/>
                </a:lnTo>
                <a:lnTo>
                  <a:pt x="52" y="106"/>
                </a:lnTo>
                <a:lnTo>
                  <a:pt x="50" y="110"/>
                </a:lnTo>
                <a:lnTo>
                  <a:pt x="50" y="242"/>
                </a:lnTo>
                <a:lnTo>
                  <a:pt x="50" y="242"/>
                </a:lnTo>
                <a:lnTo>
                  <a:pt x="52" y="246"/>
                </a:lnTo>
                <a:lnTo>
                  <a:pt x="54" y="248"/>
                </a:lnTo>
                <a:lnTo>
                  <a:pt x="56" y="250"/>
                </a:lnTo>
                <a:lnTo>
                  <a:pt x="60" y="252"/>
                </a:lnTo>
                <a:lnTo>
                  <a:pt x="80" y="252"/>
                </a:lnTo>
                <a:lnTo>
                  <a:pt x="80" y="252"/>
                </a:lnTo>
                <a:lnTo>
                  <a:pt x="84" y="250"/>
                </a:lnTo>
                <a:lnTo>
                  <a:pt x="88" y="248"/>
                </a:lnTo>
                <a:lnTo>
                  <a:pt x="90" y="246"/>
                </a:lnTo>
                <a:lnTo>
                  <a:pt x="90" y="242"/>
                </a:lnTo>
                <a:lnTo>
                  <a:pt x="90" y="110"/>
                </a:lnTo>
                <a:lnTo>
                  <a:pt x="90" y="110"/>
                </a:lnTo>
                <a:lnTo>
                  <a:pt x="90" y="106"/>
                </a:lnTo>
                <a:lnTo>
                  <a:pt x="88" y="104"/>
                </a:lnTo>
                <a:lnTo>
                  <a:pt x="84" y="102"/>
                </a:lnTo>
                <a:lnTo>
                  <a:pt x="80" y="100"/>
                </a:lnTo>
                <a:lnTo>
                  <a:pt x="60" y="1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65" name="Freeform 4840"/>
          <p:cNvSpPr>
            <a:spLocks noEditPoints="1"/>
          </p:cNvSpPr>
          <p:nvPr/>
        </p:nvSpPr>
        <p:spPr bwMode="auto">
          <a:xfrm>
            <a:off x="7263001" y="3187974"/>
            <a:ext cx="357646" cy="452026"/>
          </a:xfrm>
          <a:custGeom>
            <a:avLst/>
            <a:gdLst>
              <a:gd name="T0" fmla="*/ 120 w 288"/>
              <a:gd name="T1" fmla="*/ 84 h 364"/>
              <a:gd name="T2" fmla="*/ 96 w 288"/>
              <a:gd name="T3" fmla="*/ 74 h 364"/>
              <a:gd name="T4" fmla="*/ 106 w 288"/>
              <a:gd name="T5" fmla="*/ 52 h 364"/>
              <a:gd name="T6" fmla="*/ 130 w 288"/>
              <a:gd name="T7" fmla="*/ 62 h 364"/>
              <a:gd name="T8" fmla="*/ 74 w 288"/>
              <a:gd name="T9" fmla="*/ 52 h 364"/>
              <a:gd name="T10" fmla="*/ 50 w 288"/>
              <a:gd name="T11" fmla="*/ 58 h 364"/>
              <a:gd name="T12" fmla="*/ 54 w 288"/>
              <a:gd name="T13" fmla="*/ 82 h 364"/>
              <a:gd name="T14" fmla="*/ 80 w 288"/>
              <a:gd name="T15" fmla="*/ 78 h 364"/>
              <a:gd name="T16" fmla="*/ 148 w 288"/>
              <a:gd name="T17" fmla="*/ 54 h 364"/>
              <a:gd name="T18" fmla="*/ 148 w 288"/>
              <a:gd name="T19" fmla="*/ 80 h 364"/>
              <a:gd name="T20" fmla="*/ 174 w 288"/>
              <a:gd name="T21" fmla="*/ 80 h 364"/>
              <a:gd name="T22" fmla="*/ 174 w 288"/>
              <a:gd name="T23" fmla="*/ 54 h 364"/>
              <a:gd name="T24" fmla="*/ 128 w 288"/>
              <a:gd name="T25" fmla="*/ 106 h 364"/>
              <a:gd name="T26" fmla="*/ 102 w 288"/>
              <a:gd name="T27" fmla="*/ 100 h 364"/>
              <a:gd name="T28" fmla="*/ 98 w 288"/>
              <a:gd name="T29" fmla="*/ 126 h 364"/>
              <a:gd name="T30" fmla="*/ 122 w 288"/>
              <a:gd name="T31" fmla="*/ 130 h 364"/>
              <a:gd name="T32" fmla="*/ 82 w 288"/>
              <a:gd name="T33" fmla="*/ 110 h 364"/>
              <a:gd name="T34" fmla="*/ 58 w 288"/>
              <a:gd name="T35" fmla="*/ 100 h 364"/>
              <a:gd name="T36" fmla="*/ 48 w 288"/>
              <a:gd name="T37" fmla="*/ 122 h 364"/>
              <a:gd name="T38" fmla="*/ 72 w 288"/>
              <a:gd name="T39" fmla="*/ 132 h 364"/>
              <a:gd name="T40" fmla="*/ 120 w 288"/>
              <a:gd name="T41" fmla="*/ 148 h 364"/>
              <a:gd name="T42" fmla="*/ 96 w 288"/>
              <a:gd name="T43" fmla="*/ 158 h 364"/>
              <a:gd name="T44" fmla="*/ 106 w 288"/>
              <a:gd name="T45" fmla="*/ 180 h 364"/>
              <a:gd name="T46" fmla="*/ 130 w 288"/>
              <a:gd name="T47" fmla="*/ 170 h 364"/>
              <a:gd name="T48" fmla="*/ 120 w 288"/>
              <a:gd name="T49" fmla="*/ 148 h 364"/>
              <a:gd name="T50" fmla="*/ 52 w 288"/>
              <a:gd name="T51" fmla="*/ 150 h 364"/>
              <a:gd name="T52" fmla="*/ 52 w 288"/>
              <a:gd name="T53" fmla="*/ 176 h 364"/>
              <a:gd name="T54" fmla="*/ 78 w 288"/>
              <a:gd name="T55" fmla="*/ 176 h 364"/>
              <a:gd name="T56" fmla="*/ 78 w 288"/>
              <a:gd name="T57" fmla="*/ 150 h 364"/>
              <a:gd name="T58" fmla="*/ 216 w 288"/>
              <a:gd name="T59" fmla="*/ 348 h 364"/>
              <a:gd name="T60" fmla="*/ 40 w 288"/>
              <a:gd name="T61" fmla="*/ 364 h 364"/>
              <a:gd name="T62" fmla="*/ 8 w 288"/>
              <a:gd name="T63" fmla="*/ 346 h 364"/>
              <a:gd name="T64" fmla="*/ 2 w 288"/>
              <a:gd name="T65" fmla="*/ 32 h 364"/>
              <a:gd name="T66" fmla="*/ 32 w 288"/>
              <a:gd name="T67" fmla="*/ 0 h 364"/>
              <a:gd name="T68" fmla="*/ 208 w 288"/>
              <a:gd name="T69" fmla="*/ 6 h 364"/>
              <a:gd name="T70" fmla="*/ 224 w 288"/>
              <a:gd name="T71" fmla="*/ 158 h 364"/>
              <a:gd name="T72" fmla="*/ 206 w 288"/>
              <a:gd name="T73" fmla="*/ 148 h 364"/>
              <a:gd name="T74" fmla="*/ 194 w 288"/>
              <a:gd name="T75" fmla="*/ 36 h 364"/>
              <a:gd name="T76" fmla="*/ 36 w 288"/>
              <a:gd name="T77" fmla="*/ 30 h 364"/>
              <a:gd name="T78" fmla="*/ 32 w 288"/>
              <a:gd name="T79" fmla="*/ 274 h 364"/>
              <a:gd name="T80" fmla="*/ 156 w 288"/>
              <a:gd name="T81" fmla="*/ 324 h 364"/>
              <a:gd name="T82" fmla="*/ 216 w 288"/>
              <a:gd name="T83" fmla="*/ 348 h 364"/>
              <a:gd name="T84" fmla="*/ 120 w 288"/>
              <a:gd name="T85" fmla="*/ 304 h 364"/>
              <a:gd name="T86" fmla="*/ 92 w 288"/>
              <a:gd name="T87" fmla="*/ 324 h 364"/>
              <a:gd name="T88" fmla="*/ 112 w 288"/>
              <a:gd name="T89" fmla="*/ 342 h 364"/>
              <a:gd name="T90" fmla="*/ 288 w 288"/>
              <a:gd name="T91" fmla="*/ 256 h 364"/>
              <a:gd name="T92" fmla="*/ 282 w 288"/>
              <a:gd name="T93" fmla="*/ 188 h 364"/>
              <a:gd name="T94" fmla="*/ 254 w 288"/>
              <a:gd name="T95" fmla="*/ 190 h 364"/>
              <a:gd name="T96" fmla="*/ 242 w 288"/>
              <a:gd name="T97" fmla="*/ 174 h 364"/>
              <a:gd name="T98" fmla="*/ 216 w 288"/>
              <a:gd name="T99" fmla="*/ 186 h 364"/>
              <a:gd name="T100" fmla="*/ 198 w 288"/>
              <a:gd name="T101" fmla="*/ 164 h 364"/>
              <a:gd name="T102" fmla="*/ 180 w 288"/>
              <a:gd name="T103" fmla="*/ 118 h 364"/>
              <a:gd name="T104" fmla="*/ 162 w 288"/>
              <a:gd name="T105" fmla="*/ 100 h 364"/>
              <a:gd name="T106" fmla="*/ 118 w 288"/>
              <a:gd name="T107" fmla="*/ 212 h 364"/>
              <a:gd name="T108" fmla="*/ 92 w 288"/>
              <a:gd name="T109" fmla="*/ 212 h 364"/>
              <a:gd name="T110" fmla="*/ 166 w 288"/>
              <a:gd name="T111" fmla="*/ 312 h 364"/>
              <a:gd name="T112" fmla="*/ 216 w 288"/>
              <a:gd name="T113" fmla="*/ 332 h 364"/>
              <a:gd name="T114" fmla="*/ 276 w 288"/>
              <a:gd name="T115" fmla="*/ 300 h 364"/>
              <a:gd name="T116" fmla="*/ 288 w 288"/>
              <a:gd name="T117" fmla="*/ 256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8" h="364">
                <a:moveTo>
                  <a:pt x="130" y="74"/>
                </a:moveTo>
                <a:lnTo>
                  <a:pt x="130" y="74"/>
                </a:lnTo>
                <a:lnTo>
                  <a:pt x="128" y="78"/>
                </a:lnTo>
                <a:lnTo>
                  <a:pt x="126" y="80"/>
                </a:lnTo>
                <a:lnTo>
                  <a:pt x="122" y="82"/>
                </a:lnTo>
                <a:lnTo>
                  <a:pt x="120" y="84"/>
                </a:lnTo>
                <a:lnTo>
                  <a:pt x="106" y="84"/>
                </a:lnTo>
                <a:lnTo>
                  <a:pt x="106" y="84"/>
                </a:lnTo>
                <a:lnTo>
                  <a:pt x="102" y="82"/>
                </a:lnTo>
                <a:lnTo>
                  <a:pt x="100" y="80"/>
                </a:lnTo>
                <a:lnTo>
                  <a:pt x="98" y="78"/>
                </a:lnTo>
                <a:lnTo>
                  <a:pt x="96" y="74"/>
                </a:lnTo>
                <a:lnTo>
                  <a:pt x="96" y="62"/>
                </a:lnTo>
                <a:lnTo>
                  <a:pt x="96" y="62"/>
                </a:lnTo>
                <a:lnTo>
                  <a:pt x="98" y="58"/>
                </a:lnTo>
                <a:lnTo>
                  <a:pt x="100" y="54"/>
                </a:lnTo>
                <a:lnTo>
                  <a:pt x="102" y="52"/>
                </a:lnTo>
                <a:lnTo>
                  <a:pt x="106" y="52"/>
                </a:lnTo>
                <a:lnTo>
                  <a:pt x="120" y="52"/>
                </a:lnTo>
                <a:lnTo>
                  <a:pt x="120" y="52"/>
                </a:lnTo>
                <a:lnTo>
                  <a:pt x="122" y="52"/>
                </a:lnTo>
                <a:lnTo>
                  <a:pt x="126" y="54"/>
                </a:lnTo>
                <a:lnTo>
                  <a:pt x="128" y="58"/>
                </a:lnTo>
                <a:lnTo>
                  <a:pt x="130" y="62"/>
                </a:lnTo>
                <a:lnTo>
                  <a:pt x="130" y="74"/>
                </a:lnTo>
                <a:close/>
                <a:moveTo>
                  <a:pt x="82" y="62"/>
                </a:moveTo>
                <a:lnTo>
                  <a:pt x="82" y="62"/>
                </a:lnTo>
                <a:lnTo>
                  <a:pt x="80" y="58"/>
                </a:lnTo>
                <a:lnTo>
                  <a:pt x="78" y="54"/>
                </a:lnTo>
                <a:lnTo>
                  <a:pt x="74" y="52"/>
                </a:lnTo>
                <a:lnTo>
                  <a:pt x="72" y="52"/>
                </a:lnTo>
                <a:lnTo>
                  <a:pt x="58" y="52"/>
                </a:lnTo>
                <a:lnTo>
                  <a:pt x="58" y="52"/>
                </a:lnTo>
                <a:lnTo>
                  <a:pt x="54" y="52"/>
                </a:lnTo>
                <a:lnTo>
                  <a:pt x="52" y="54"/>
                </a:lnTo>
                <a:lnTo>
                  <a:pt x="50" y="58"/>
                </a:lnTo>
                <a:lnTo>
                  <a:pt x="48" y="62"/>
                </a:lnTo>
                <a:lnTo>
                  <a:pt x="48" y="74"/>
                </a:lnTo>
                <a:lnTo>
                  <a:pt x="48" y="74"/>
                </a:lnTo>
                <a:lnTo>
                  <a:pt x="50" y="78"/>
                </a:lnTo>
                <a:lnTo>
                  <a:pt x="52" y="80"/>
                </a:lnTo>
                <a:lnTo>
                  <a:pt x="54" y="82"/>
                </a:lnTo>
                <a:lnTo>
                  <a:pt x="58" y="84"/>
                </a:lnTo>
                <a:lnTo>
                  <a:pt x="72" y="84"/>
                </a:lnTo>
                <a:lnTo>
                  <a:pt x="72" y="84"/>
                </a:lnTo>
                <a:lnTo>
                  <a:pt x="74" y="82"/>
                </a:lnTo>
                <a:lnTo>
                  <a:pt x="78" y="80"/>
                </a:lnTo>
                <a:lnTo>
                  <a:pt x="80" y="78"/>
                </a:lnTo>
                <a:lnTo>
                  <a:pt x="82" y="74"/>
                </a:lnTo>
                <a:lnTo>
                  <a:pt x="82" y="62"/>
                </a:lnTo>
                <a:close/>
                <a:moveTo>
                  <a:pt x="154" y="52"/>
                </a:moveTo>
                <a:lnTo>
                  <a:pt x="154" y="52"/>
                </a:lnTo>
                <a:lnTo>
                  <a:pt x="150" y="52"/>
                </a:lnTo>
                <a:lnTo>
                  <a:pt x="148" y="54"/>
                </a:lnTo>
                <a:lnTo>
                  <a:pt x="146" y="58"/>
                </a:lnTo>
                <a:lnTo>
                  <a:pt x="144" y="62"/>
                </a:lnTo>
                <a:lnTo>
                  <a:pt x="144" y="74"/>
                </a:lnTo>
                <a:lnTo>
                  <a:pt x="144" y="74"/>
                </a:lnTo>
                <a:lnTo>
                  <a:pt x="146" y="78"/>
                </a:lnTo>
                <a:lnTo>
                  <a:pt x="148" y="80"/>
                </a:lnTo>
                <a:lnTo>
                  <a:pt x="150" y="82"/>
                </a:lnTo>
                <a:lnTo>
                  <a:pt x="154" y="84"/>
                </a:lnTo>
                <a:lnTo>
                  <a:pt x="168" y="84"/>
                </a:lnTo>
                <a:lnTo>
                  <a:pt x="168" y="84"/>
                </a:lnTo>
                <a:lnTo>
                  <a:pt x="170" y="82"/>
                </a:lnTo>
                <a:lnTo>
                  <a:pt x="174" y="80"/>
                </a:lnTo>
                <a:lnTo>
                  <a:pt x="176" y="78"/>
                </a:lnTo>
                <a:lnTo>
                  <a:pt x="178" y="74"/>
                </a:lnTo>
                <a:lnTo>
                  <a:pt x="178" y="62"/>
                </a:lnTo>
                <a:lnTo>
                  <a:pt x="178" y="62"/>
                </a:lnTo>
                <a:lnTo>
                  <a:pt x="176" y="58"/>
                </a:lnTo>
                <a:lnTo>
                  <a:pt x="174" y="54"/>
                </a:lnTo>
                <a:lnTo>
                  <a:pt x="170" y="52"/>
                </a:lnTo>
                <a:lnTo>
                  <a:pt x="168" y="52"/>
                </a:lnTo>
                <a:lnTo>
                  <a:pt x="154" y="52"/>
                </a:lnTo>
                <a:close/>
                <a:moveTo>
                  <a:pt x="130" y="110"/>
                </a:moveTo>
                <a:lnTo>
                  <a:pt x="130" y="110"/>
                </a:lnTo>
                <a:lnTo>
                  <a:pt x="128" y="106"/>
                </a:lnTo>
                <a:lnTo>
                  <a:pt x="126" y="102"/>
                </a:lnTo>
                <a:lnTo>
                  <a:pt x="122" y="100"/>
                </a:lnTo>
                <a:lnTo>
                  <a:pt x="120" y="100"/>
                </a:lnTo>
                <a:lnTo>
                  <a:pt x="106" y="100"/>
                </a:lnTo>
                <a:lnTo>
                  <a:pt x="106" y="100"/>
                </a:lnTo>
                <a:lnTo>
                  <a:pt x="102" y="100"/>
                </a:lnTo>
                <a:lnTo>
                  <a:pt x="100" y="102"/>
                </a:lnTo>
                <a:lnTo>
                  <a:pt x="98" y="106"/>
                </a:lnTo>
                <a:lnTo>
                  <a:pt x="96" y="110"/>
                </a:lnTo>
                <a:lnTo>
                  <a:pt x="96" y="122"/>
                </a:lnTo>
                <a:lnTo>
                  <a:pt x="96" y="122"/>
                </a:lnTo>
                <a:lnTo>
                  <a:pt x="98" y="126"/>
                </a:lnTo>
                <a:lnTo>
                  <a:pt x="100" y="128"/>
                </a:lnTo>
                <a:lnTo>
                  <a:pt x="102" y="130"/>
                </a:lnTo>
                <a:lnTo>
                  <a:pt x="106" y="132"/>
                </a:lnTo>
                <a:lnTo>
                  <a:pt x="120" y="132"/>
                </a:lnTo>
                <a:lnTo>
                  <a:pt x="120" y="132"/>
                </a:lnTo>
                <a:lnTo>
                  <a:pt x="122" y="130"/>
                </a:lnTo>
                <a:lnTo>
                  <a:pt x="126" y="128"/>
                </a:lnTo>
                <a:lnTo>
                  <a:pt x="128" y="126"/>
                </a:lnTo>
                <a:lnTo>
                  <a:pt x="130" y="122"/>
                </a:lnTo>
                <a:lnTo>
                  <a:pt x="130" y="110"/>
                </a:lnTo>
                <a:close/>
                <a:moveTo>
                  <a:pt x="82" y="110"/>
                </a:moveTo>
                <a:lnTo>
                  <a:pt x="82" y="110"/>
                </a:lnTo>
                <a:lnTo>
                  <a:pt x="80" y="106"/>
                </a:lnTo>
                <a:lnTo>
                  <a:pt x="78" y="102"/>
                </a:lnTo>
                <a:lnTo>
                  <a:pt x="74" y="100"/>
                </a:lnTo>
                <a:lnTo>
                  <a:pt x="72" y="100"/>
                </a:lnTo>
                <a:lnTo>
                  <a:pt x="58" y="100"/>
                </a:lnTo>
                <a:lnTo>
                  <a:pt x="58" y="100"/>
                </a:lnTo>
                <a:lnTo>
                  <a:pt x="54" y="100"/>
                </a:lnTo>
                <a:lnTo>
                  <a:pt x="52" y="102"/>
                </a:lnTo>
                <a:lnTo>
                  <a:pt x="50" y="106"/>
                </a:lnTo>
                <a:lnTo>
                  <a:pt x="48" y="110"/>
                </a:lnTo>
                <a:lnTo>
                  <a:pt x="48" y="122"/>
                </a:lnTo>
                <a:lnTo>
                  <a:pt x="48" y="122"/>
                </a:lnTo>
                <a:lnTo>
                  <a:pt x="50" y="126"/>
                </a:lnTo>
                <a:lnTo>
                  <a:pt x="52" y="128"/>
                </a:lnTo>
                <a:lnTo>
                  <a:pt x="54" y="130"/>
                </a:lnTo>
                <a:lnTo>
                  <a:pt x="58" y="132"/>
                </a:lnTo>
                <a:lnTo>
                  <a:pt x="72" y="132"/>
                </a:lnTo>
                <a:lnTo>
                  <a:pt x="72" y="132"/>
                </a:lnTo>
                <a:lnTo>
                  <a:pt x="74" y="130"/>
                </a:lnTo>
                <a:lnTo>
                  <a:pt x="78" y="128"/>
                </a:lnTo>
                <a:lnTo>
                  <a:pt x="80" y="126"/>
                </a:lnTo>
                <a:lnTo>
                  <a:pt x="82" y="122"/>
                </a:lnTo>
                <a:lnTo>
                  <a:pt x="82" y="110"/>
                </a:lnTo>
                <a:close/>
                <a:moveTo>
                  <a:pt x="120" y="148"/>
                </a:moveTo>
                <a:lnTo>
                  <a:pt x="106" y="148"/>
                </a:lnTo>
                <a:lnTo>
                  <a:pt x="106" y="148"/>
                </a:lnTo>
                <a:lnTo>
                  <a:pt x="102" y="148"/>
                </a:lnTo>
                <a:lnTo>
                  <a:pt x="100" y="150"/>
                </a:lnTo>
                <a:lnTo>
                  <a:pt x="98" y="154"/>
                </a:lnTo>
                <a:lnTo>
                  <a:pt x="96" y="158"/>
                </a:lnTo>
                <a:lnTo>
                  <a:pt x="96" y="170"/>
                </a:lnTo>
                <a:lnTo>
                  <a:pt x="96" y="170"/>
                </a:lnTo>
                <a:lnTo>
                  <a:pt x="98" y="174"/>
                </a:lnTo>
                <a:lnTo>
                  <a:pt x="100" y="176"/>
                </a:lnTo>
                <a:lnTo>
                  <a:pt x="102" y="178"/>
                </a:lnTo>
                <a:lnTo>
                  <a:pt x="106" y="180"/>
                </a:lnTo>
                <a:lnTo>
                  <a:pt x="120" y="180"/>
                </a:lnTo>
                <a:lnTo>
                  <a:pt x="120" y="180"/>
                </a:lnTo>
                <a:lnTo>
                  <a:pt x="122" y="178"/>
                </a:lnTo>
                <a:lnTo>
                  <a:pt x="126" y="176"/>
                </a:lnTo>
                <a:lnTo>
                  <a:pt x="128" y="174"/>
                </a:lnTo>
                <a:lnTo>
                  <a:pt x="130" y="170"/>
                </a:lnTo>
                <a:lnTo>
                  <a:pt x="130" y="158"/>
                </a:lnTo>
                <a:lnTo>
                  <a:pt x="130" y="158"/>
                </a:lnTo>
                <a:lnTo>
                  <a:pt x="128" y="154"/>
                </a:lnTo>
                <a:lnTo>
                  <a:pt x="126" y="150"/>
                </a:lnTo>
                <a:lnTo>
                  <a:pt x="122" y="148"/>
                </a:lnTo>
                <a:lnTo>
                  <a:pt x="120" y="148"/>
                </a:lnTo>
                <a:lnTo>
                  <a:pt x="120" y="148"/>
                </a:lnTo>
                <a:close/>
                <a:moveTo>
                  <a:pt x="72" y="148"/>
                </a:moveTo>
                <a:lnTo>
                  <a:pt x="58" y="148"/>
                </a:lnTo>
                <a:lnTo>
                  <a:pt x="58" y="148"/>
                </a:lnTo>
                <a:lnTo>
                  <a:pt x="54" y="148"/>
                </a:lnTo>
                <a:lnTo>
                  <a:pt x="52" y="150"/>
                </a:lnTo>
                <a:lnTo>
                  <a:pt x="50" y="154"/>
                </a:lnTo>
                <a:lnTo>
                  <a:pt x="48" y="158"/>
                </a:lnTo>
                <a:lnTo>
                  <a:pt x="48" y="170"/>
                </a:lnTo>
                <a:lnTo>
                  <a:pt x="48" y="170"/>
                </a:lnTo>
                <a:lnTo>
                  <a:pt x="50" y="174"/>
                </a:lnTo>
                <a:lnTo>
                  <a:pt x="52" y="176"/>
                </a:lnTo>
                <a:lnTo>
                  <a:pt x="54" y="178"/>
                </a:lnTo>
                <a:lnTo>
                  <a:pt x="58" y="180"/>
                </a:lnTo>
                <a:lnTo>
                  <a:pt x="72" y="180"/>
                </a:lnTo>
                <a:lnTo>
                  <a:pt x="72" y="180"/>
                </a:lnTo>
                <a:lnTo>
                  <a:pt x="74" y="178"/>
                </a:lnTo>
                <a:lnTo>
                  <a:pt x="78" y="176"/>
                </a:lnTo>
                <a:lnTo>
                  <a:pt x="80" y="174"/>
                </a:lnTo>
                <a:lnTo>
                  <a:pt x="82" y="170"/>
                </a:lnTo>
                <a:lnTo>
                  <a:pt x="82" y="158"/>
                </a:lnTo>
                <a:lnTo>
                  <a:pt x="82" y="158"/>
                </a:lnTo>
                <a:lnTo>
                  <a:pt x="80" y="154"/>
                </a:lnTo>
                <a:lnTo>
                  <a:pt x="78" y="150"/>
                </a:lnTo>
                <a:lnTo>
                  <a:pt x="74" y="148"/>
                </a:lnTo>
                <a:lnTo>
                  <a:pt x="72" y="148"/>
                </a:lnTo>
                <a:lnTo>
                  <a:pt x="72" y="148"/>
                </a:lnTo>
                <a:close/>
                <a:moveTo>
                  <a:pt x="216" y="348"/>
                </a:moveTo>
                <a:lnTo>
                  <a:pt x="216" y="348"/>
                </a:lnTo>
                <a:lnTo>
                  <a:pt x="216" y="348"/>
                </a:lnTo>
                <a:lnTo>
                  <a:pt x="216" y="348"/>
                </a:lnTo>
                <a:lnTo>
                  <a:pt x="210" y="354"/>
                </a:lnTo>
                <a:lnTo>
                  <a:pt x="202" y="360"/>
                </a:lnTo>
                <a:lnTo>
                  <a:pt x="194" y="362"/>
                </a:lnTo>
                <a:lnTo>
                  <a:pt x="184" y="364"/>
                </a:lnTo>
                <a:lnTo>
                  <a:pt x="40" y="364"/>
                </a:lnTo>
                <a:lnTo>
                  <a:pt x="40" y="364"/>
                </a:lnTo>
                <a:lnTo>
                  <a:pt x="32" y="364"/>
                </a:lnTo>
                <a:lnTo>
                  <a:pt x="26" y="360"/>
                </a:lnTo>
                <a:lnTo>
                  <a:pt x="18" y="358"/>
                </a:lnTo>
                <a:lnTo>
                  <a:pt x="12" y="352"/>
                </a:lnTo>
                <a:lnTo>
                  <a:pt x="8" y="346"/>
                </a:lnTo>
                <a:lnTo>
                  <a:pt x="4" y="340"/>
                </a:lnTo>
                <a:lnTo>
                  <a:pt x="2" y="332"/>
                </a:lnTo>
                <a:lnTo>
                  <a:pt x="0" y="324"/>
                </a:lnTo>
                <a:lnTo>
                  <a:pt x="0" y="40"/>
                </a:lnTo>
                <a:lnTo>
                  <a:pt x="0" y="40"/>
                </a:lnTo>
                <a:lnTo>
                  <a:pt x="2" y="32"/>
                </a:lnTo>
                <a:lnTo>
                  <a:pt x="4" y="24"/>
                </a:lnTo>
                <a:lnTo>
                  <a:pt x="8" y="18"/>
                </a:lnTo>
                <a:lnTo>
                  <a:pt x="12" y="12"/>
                </a:lnTo>
                <a:lnTo>
                  <a:pt x="18" y="6"/>
                </a:lnTo>
                <a:lnTo>
                  <a:pt x="26" y="4"/>
                </a:lnTo>
                <a:lnTo>
                  <a:pt x="32" y="0"/>
                </a:lnTo>
                <a:lnTo>
                  <a:pt x="40" y="0"/>
                </a:lnTo>
                <a:lnTo>
                  <a:pt x="184" y="0"/>
                </a:lnTo>
                <a:lnTo>
                  <a:pt x="184" y="0"/>
                </a:lnTo>
                <a:lnTo>
                  <a:pt x="192" y="0"/>
                </a:lnTo>
                <a:lnTo>
                  <a:pt x="200" y="4"/>
                </a:lnTo>
                <a:lnTo>
                  <a:pt x="208" y="6"/>
                </a:lnTo>
                <a:lnTo>
                  <a:pt x="214" y="12"/>
                </a:lnTo>
                <a:lnTo>
                  <a:pt x="218" y="18"/>
                </a:lnTo>
                <a:lnTo>
                  <a:pt x="222" y="24"/>
                </a:lnTo>
                <a:lnTo>
                  <a:pt x="224" y="32"/>
                </a:lnTo>
                <a:lnTo>
                  <a:pt x="224" y="40"/>
                </a:lnTo>
                <a:lnTo>
                  <a:pt x="224" y="158"/>
                </a:lnTo>
                <a:lnTo>
                  <a:pt x="224" y="158"/>
                </a:lnTo>
                <a:lnTo>
                  <a:pt x="224" y="158"/>
                </a:lnTo>
                <a:lnTo>
                  <a:pt x="224" y="158"/>
                </a:lnTo>
                <a:lnTo>
                  <a:pt x="218" y="154"/>
                </a:lnTo>
                <a:lnTo>
                  <a:pt x="212" y="150"/>
                </a:lnTo>
                <a:lnTo>
                  <a:pt x="206" y="148"/>
                </a:lnTo>
                <a:lnTo>
                  <a:pt x="198" y="148"/>
                </a:lnTo>
                <a:lnTo>
                  <a:pt x="198" y="148"/>
                </a:lnTo>
                <a:lnTo>
                  <a:pt x="194" y="148"/>
                </a:lnTo>
                <a:lnTo>
                  <a:pt x="194" y="40"/>
                </a:lnTo>
                <a:lnTo>
                  <a:pt x="194" y="40"/>
                </a:lnTo>
                <a:lnTo>
                  <a:pt x="194" y="36"/>
                </a:lnTo>
                <a:lnTo>
                  <a:pt x="192" y="32"/>
                </a:lnTo>
                <a:lnTo>
                  <a:pt x="188" y="30"/>
                </a:lnTo>
                <a:lnTo>
                  <a:pt x="184" y="30"/>
                </a:lnTo>
                <a:lnTo>
                  <a:pt x="40" y="30"/>
                </a:lnTo>
                <a:lnTo>
                  <a:pt x="40" y="30"/>
                </a:lnTo>
                <a:lnTo>
                  <a:pt x="36" y="30"/>
                </a:lnTo>
                <a:lnTo>
                  <a:pt x="34" y="32"/>
                </a:lnTo>
                <a:lnTo>
                  <a:pt x="32" y="36"/>
                </a:lnTo>
                <a:lnTo>
                  <a:pt x="30" y="40"/>
                </a:lnTo>
                <a:lnTo>
                  <a:pt x="30" y="270"/>
                </a:lnTo>
                <a:lnTo>
                  <a:pt x="30" y="270"/>
                </a:lnTo>
                <a:lnTo>
                  <a:pt x="32" y="274"/>
                </a:lnTo>
                <a:lnTo>
                  <a:pt x="34" y="276"/>
                </a:lnTo>
                <a:lnTo>
                  <a:pt x="36" y="278"/>
                </a:lnTo>
                <a:lnTo>
                  <a:pt x="40" y="280"/>
                </a:lnTo>
                <a:lnTo>
                  <a:pt x="110" y="280"/>
                </a:lnTo>
                <a:lnTo>
                  <a:pt x="156" y="324"/>
                </a:lnTo>
                <a:lnTo>
                  <a:pt x="156" y="324"/>
                </a:lnTo>
                <a:lnTo>
                  <a:pt x="160" y="328"/>
                </a:lnTo>
                <a:lnTo>
                  <a:pt x="160" y="328"/>
                </a:lnTo>
                <a:lnTo>
                  <a:pt x="172" y="336"/>
                </a:lnTo>
                <a:lnTo>
                  <a:pt x="186" y="342"/>
                </a:lnTo>
                <a:lnTo>
                  <a:pt x="200" y="346"/>
                </a:lnTo>
                <a:lnTo>
                  <a:pt x="216" y="348"/>
                </a:lnTo>
                <a:lnTo>
                  <a:pt x="216" y="348"/>
                </a:lnTo>
                <a:close/>
                <a:moveTo>
                  <a:pt x="132" y="324"/>
                </a:moveTo>
                <a:lnTo>
                  <a:pt x="132" y="324"/>
                </a:lnTo>
                <a:lnTo>
                  <a:pt x="132" y="316"/>
                </a:lnTo>
                <a:lnTo>
                  <a:pt x="126" y="310"/>
                </a:lnTo>
                <a:lnTo>
                  <a:pt x="120" y="304"/>
                </a:lnTo>
                <a:lnTo>
                  <a:pt x="112" y="304"/>
                </a:lnTo>
                <a:lnTo>
                  <a:pt x="112" y="304"/>
                </a:lnTo>
                <a:lnTo>
                  <a:pt x="106" y="304"/>
                </a:lnTo>
                <a:lnTo>
                  <a:pt x="98" y="310"/>
                </a:lnTo>
                <a:lnTo>
                  <a:pt x="94" y="316"/>
                </a:lnTo>
                <a:lnTo>
                  <a:pt x="92" y="324"/>
                </a:lnTo>
                <a:lnTo>
                  <a:pt x="92" y="324"/>
                </a:lnTo>
                <a:lnTo>
                  <a:pt x="94" y="330"/>
                </a:lnTo>
                <a:lnTo>
                  <a:pt x="98" y="338"/>
                </a:lnTo>
                <a:lnTo>
                  <a:pt x="106" y="342"/>
                </a:lnTo>
                <a:lnTo>
                  <a:pt x="112" y="342"/>
                </a:lnTo>
                <a:lnTo>
                  <a:pt x="112" y="342"/>
                </a:lnTo>
                <a:lnTo>
                  <a:pt x="120" y="342"/>
                </a:lnTo>
                <a:lnTo>
                  <a:pt x="126" y="338"/>
                </a:lnTo>
                <a:lnTo>
                  <a:pt x="132" y="330"/>
                </a:lnTo>
                <a:lnTo>
                  <a:pt x="132" y="324"/>
                </a:lnTo>
                <a:lnTo>
                  <a:pt x="132" y="324"/>
                </a:lnTo>
                <a:close/>
                <a:moveTo>
                  <a:pt x="288" y="256"/>
                </a:moveTo>
                <a:lnTo>
                  <a:pt x="288" y="256"/>
                </a:lnTo>
                <a:lnTo>
                  <a:pt x="288" y="256"/>
                </a:lnTo>
                <a:lnTo>
                  <a:pt x="288" y="200"/>
                </a:lnTo>
                <a:lnTo>
                  <a:pt x="288" y="200"/>
                </a:lnTo>
                <a:lnTo>
                  <a:pt x="286" y="192"/>
                </a:lnTo>
                <a:lnTo>
                  <a:pt x="282" y="188"/>
                </a:lnTo>
                <a:lnTo>
                  <a:pt x="276" y="184"/>
                </a:lnTo>
                <a:lnTo>
                  <a:pt x="270" y="182"/>
                </a:lnTo>
                <a:lnTo>
                  <a:pt x="270" y="182"/>
                </a:lnTo>
                <a:lnTo>
                  <a:pt x="264" y="182"/>
                </a:lnTo>
                <a:lnTo>
                  <a:pt x="258" y="186"/>
                </a:lnTo>
                <a:lnTo>
                  <a:pt x="254" y="190"/>
                </a:lnTo>
                <a:lnTo>
                  <a:pt x="252" y="196"/>
                </a:lnTo>
                <a:lnTo>
                  <a:pt x="252" y="190"/>
                </a:lnTo>
                <a:lnTo>
                  <a:pt x="252" y="190"/>
                </a:lnTo>
                <a:lnTo>
                  <a:pt x="250" y="184"/>
                </a:lnTo>
                <a:lnTo>
                  <a:pt x="246" y="178"/>
                </a:lnTo>
                <a:lnTo>
                  <a:pt x="242" y="174"/>
                </a:lnTo>
                <a:lnTo>
                  <a:pt x="234" y="172"/>
                </a:lnTo>
                <a:lnTo>
                  <a:pt x="234" y="172"/>
                </a:lnTo>
                <a:lnTo>
                  <a:pt x="228" y="174"/>
                </a:lnTo>
                <a:lnTo>
                  <a:pt x="222" y="176"/>
                </a:lnTo>
                <a:lnTo>
                  <a:pt x="218" y="180"/>
                </a:lnTo>
                <a:lnTo>
                  <a:pt x="216" y="186"/>
                </a:lnTo>
                <a:lnTo>
                  <a:pt x="216" y="182"/>
                </a:lnTo>
                <a:lnTo>
                  <a:pt x="216" y="182"/>
                </a:lnTo>
                <a:lnTo>
                  <a:pt x="214" y="174"/>
                </a:lnTo>
                <a:lnTo>
                  <a:pt x="212" y="168"/>
                </a:lnTo>
                <a:lnTo>
                  <a:pt x="206" y="164"/>
                </a:lnTo>
                <a:lnTo>
                  <a:pt x="198" y="164"/>
                </a:lnTo>
                <a:lnTo>
                  <a:pt x="198" y="164"/>
                </a:lnTo>
                <a:lnTo>
                  <a:pt x="192" y="164"/>
                </a:lnTo>
                <a:lnTo>
                  <a:pt x="186" y="168"/>
                </a:lnTo>
                <a:lnTo>
                  <a:pt x="182" y="172"/>
                </a:lnTo>
                <a:lnTo>
                  <a:pt x="180" y="176"/>
                </a:lnTo>
                <a:lnTo>
                  <a:pt x="180" y="118"/>
                </a:lnTo>
                <a:lnTo>
                  <a:pt x="180" y="118"/>
                </a:lnTo>
                <a:lnTo>
                  <a:pt x="180" y="110"/>
                </a:lnTo>
                <a:lnTo>
                  <a:pt x="176" y="104"/>
                </a:lnTo>
                <a:lnTo>
                  <a:pt x="170" y="100"/>
                </a:lnTo>
                <a:lnTo>
                  <a:pt x="162" y="100"/>
                </a:lnTo>
                <a:lnTo>
                  <a:pt x="162" y="100"/>
                </a:lnTo>
                <a:lnTo>
                  <a:pt x="156" y="100"/>
                </a:lnTo>
                <a:lnTo>
                  <a:pt x="150" y="104"/>
                </a:lnTo>
                <a:lnTo>
                  <a:pt x="146" y="110"/>
                </a:lnTo>
                <a:lnTo>
                  <a:pt x="144" y="118"/>
                </a:lnTo>
                <a:lnTo>
                  <a:pt x="144" y="238"/>
                </a:lnTo>
                <a:lnTo>
                  <a:pt x="118" y="212"/>
                </a:lnTo>
                <a:lnTo>
                  <a:pt x="118" y="212"/>
                </a:lnTo>
                <a:lnTo>
                  <a:pt x="112" y="208"/>
                </a:lnTo>
                <a:lnTo>
                  <a:pt x="104" y="206"/>
                </a:lnTo>
                <a:lnTo>
                  <a:pt x="98" y="208"/>
                </a:lnTo>
                <a:lnTo>
                  <a:pt x="92" y="212"/>
                </a:lnTo>
                <a:lnTo>
                  <a:pt x="92" y="212"/>
                </a:lnTo>
                <a:lnTo>
                  <a:pt x="88" y="218"/>
                </a:lnTo>
                <a:lnTo>
                  <a:pt x="86" y="224"/>
                </a:lnTo>
                <a:lnTo>
                  <a:pt x="88" y="232"/>
                </a:lnTo>
                <a:lnTo>
                  <a:pt x="92" y="238"/>
                </a:lnTo>
                <a:lnTo>
                  <a:pt x="166" y="312"/>
                </a:lnTo>
                <a:lnTo>
                  <a:pt x="166" y="312"/>
                </a:lnTo>
                <a:lnTo>
                  <a:pt x="170" y="314"/>
                </a:lnTo>
                <a:lnTo>
                  <a:pt x="170" y="314"/>
                </a:lnTo>
                <a:lnTo>
                  <a:pt x="180" y="322"/>
                </a:lnTo>
                <a:lnTo>
                  <a:pt x="190" y="328"/>
                </a:lnTo>
                <a:lnTo>
                  <a:pt x="204" y="330"/>
                </a:lnTo>
                <a:lnTo>
                  <a:pt x="216" y="332"/>
                </a:lnTo>
                <a:lnTo>
                  <a:pt x="216" y="332"/>
                </a:lnTo>
                <a:lnTo>
                  <a:pt x="230" y="330"/>
                </a:lnTo>
                <a:lnTo>
                  <a:pt x="244" y="326"/>
                </a:lnTo>
                <a:lnTo>
                  <a:pt x="256" y="320"/>
                </a:lnTo>
                <a:lnTo>
                  <a:pt x="268" y="312"/>
                </a:lnTo>
                <a:lnTo>
                  <a:pt x="276" y="300"/>
                </a:lnTo>
                <a:lnTo>
                  <a:pt x="282" y="288"/>
                </a:lnTo>
                <a:lnTo>
                  <a:pt x="286" y="274"/>
                </a:lnTo>
                <a:lnTo>
                  <a:pt x="288" y="260"/>
                </a:lnTo>
                <a:lnTo>
                  <a:pt x="288" y="260"/>
                </a:lnTo>
                <a:lnTo>
                  <a:pt x="288" y="256"/>
                </a:lnTo>
                <a:lnTo>
                  <a:pt x="288" y="2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68" name="Freeform 6"/>
          <p:cNvSpPr>
            <a:spLocks noEditPoints="1"/>
          </p:cNvSpPr>
          <p:nvPr/>
        </p:nvSpPr>
        <p:spPr bwMode="auto">
          <a:xfrm>
            <a:off x="4453505" y="3043796"/>
            <a:ext cx="339000" cy="337537"/>
          </a:xfrm>
          <a:custGeom>
            <a:avLst/>
            <a:gdLst>
              <a:gd name="T0" fmla="*/ 46 w 697"/>
              <a:gd name="T1" fmla="*/ 204 h 694"/>
              <a:gd name="T2" fmla="*/ 10 w 697"/>
              <a:gd name="T3" fmla="*/ 228 h 694"/>
              <a:gd name="T4" fmla="*/ 0 w 697"/>
              <a:gd name="T5" fmla="*/ 637 h 694"/>
              <a:gd name="T6" fmla="*/ 10 w 697"/>
              <a:gd name="T7" fmla="*/ 669 h 694"/>
              <a:gd name="T8" fmla="*/ 46 w 697"/>
              <a:gd name="T9" fmla="*/ 693 h 694"/>
              <a:gd name="T10" fmla="*/ 651 w 697"/>
              <a:gd name="T11" fmla="*/ 693 h 694"/>
              <a:gd name="T12" fmla="*/ 687 w 697"/>
              <a:gd name="T13" fmla="*/ 669 h 694"/>
              <a:gd name="T14" fmla="*/ 697 w 697"/>
              <a:gd name="T15" fmla="*/ 260 h 694"/>
              <a:gd name="T16" fmla="*/ 687 w 697"/>
              <a:gd name="T17" fmla="*/ 228 h 694"/>
              <a:gd name="T18" fmla="*/ 651 w 697"/>
              <a:gd name="T19" fmla="*/ 204 h 694"/>
              <a:gd name="T20" fmla="*/ 523 w 697"/>
              <a:gd name="T21" fmla="*/ 622 h 694"/>
              <a:gd name="T22" fmla="*/ 508 w 697"/>
              <a:gd name="T23" fmla="*/ 637 h 694"/>
              <a:gd name="T24" fmla="*/ 63 w 697"/>
              <a:gd name="T25" fmla="*/ 632 h 694"/>
              <a:gd name="T26" fmla="*/ 58 w 697"/>
              <a:gd name="T27" fmla="*/ 275 h 694"/>
              <a:gd name="T28" fmla="*/ 73 w 697"/>
              <a:gd name="T29" fmla="*/ 260 h 694"/>
              <a:gd name="T30" fmla="*/ 519 w 697"/>
              <a:gd name="T31" fmla="*/ 264 h 694"/>
              <a:gd name="T32" fmla="*/ 610 w 697"/>
              <a:gd name="T33" fmla="*/ 525 h 694"/>
              <a:gd name="T34" fmla="*/ 584 w 697"/>
              <a:gd name="T35" fmla="*/ 516 h 694"/>
              <a:gd name="T36" fmla="*/ 563 w 697"/>
              <a:gd name="T37" fmla="*/ 486 h 694"/>
              <a:gd name="T38" fmla="*/ 567 w 697"/>
              <a:gd name="T39" fmla="*/ 459 h 694"/>
              <a:gd name="T40" fmla="*/ 592 w 697"/>
              <a:gd name="T41" fmla="*/ 433 h 694"/>
              <a:gd name="T42" fmla="*/ 620 w 697"/>
              <a:gd name="T43" fmla="*/ 431 h 694"/>
              <a:gd name="T44" fmla="*/ 649 w 697"/>
              <a:gd name="T45" fmla="*/ 450 h 694"/>
              <a:gd name="T46" fmla="*/ 657 w 697"/>
              <a:gd name="T47" fmla="*/ 477 h 694"/>
              <a:gd name="T48" fmla="*/ 643 w 697"/>
              <a:gd name="T49" fmla="*/ 510 h 694"/>
              <a:gd name="T50" fmla="*/ 610 w 697"/>
              <a:gd name="T51" fmla="*/ 525 h 694"/>
              <a:gd name="T52" fmla="*/ 600 w 697"/>
              <a:gd name="T53" fmla="*/ 378 h 694"/>
              <a:gd name="T54" fmla="*/ 570 w 697"/>
              <a:gd name="T55" fmla="*/ 359 h 694"/>
              <a:gd name="T56" fmla="*/ 563 w 697"/>
              <a:gd name="T57" fmla="*/ 332 h 694"/>
              <a:gd name="T58" fmla="*/ 576 w 697"/>
              <a:gd name="T59" fmla="*/ 299 h 694"/>
              <a:gd name="T60" fmla="*/ 610 w 697"/>
              <a:gd name="T61" fmla="*/ 286 h 694"/>
              <a:gd name="T62" fmla="*/ 637 w 697"/>
              <a:gd name="T63" fmla="*/ 294 h 694"/>
              <a:gd name="T64" fmla="*/ 656 w 697"/>
              <a:gd name="T65" fmla="*/ 323 h 694"/>
              <a:gd name="T66" fmla="*/ 653 w 697"/>
              <a:gd name="T67" fmla="*/ 350 h 694"/>
              <a:gd name="T68" fmla="*/ 628 w 697"/>
              <a:gd name="T69" fmla="*/ 376 h 694"/>
              <a:gd name="T70" fmla="*/ 279 w 697"/>
              <a:gd name="T71" fmla="*/ 139 h 694"/>
              <a:gd name="T72" fmla="*/ 255 w 697"/>
              <a:gd name="T73" fmla="*/ 164 h 694"/>
              <a:gd name="T74" fmla="*/ 443 w 697"/>
              <a:gd name="T75" fmla="*/ 164 h 694"/>
              <a:gd name="T76" fmla="*/ 515 w 697"/>
              <a:gd name="T77" fmla="*/ 43 h 694"/>
              <a:gd name="T78" fmla="*/ 522 w 697"/>
              <a:gd name="T79" fmla="*/ 30 h 694"/>
              <a:gd name="T80" fmla="*/ 519 w 697"/>
              <a:gd name="T81" fmla="*/ 12 h 694"/>
              <a:gd name="T82" fmla="*/ 506 w 697"/>
              <a:gd name="T83" fmla="*/ 2 h 694"/>
              <a:gd name="T84" fmla="*/ 487 w 697"/>
              <a:gd name="T85" fmla="*/ 2 h 694"/>
              <a:gd name="T86" fmla="*/ 369 w 697"/>
              <a:gd name="T87" fmla="*/ 117 h 694"/>
              <a:gd name="T88" fmla="*/ 339 w 697"/>
              <a:gd name="T89" fmla="*/ 116 h 694"/>
              <a:gd name="T90" fmla="*/ 214 w 697"/>
              <a:gd name="T91" fmla="*/ 3 h 694"/>
              <a:gd name="T92" fmla="*/ 196 w 697"/>
              <a:gd name="T93" fmla="*/ 0 h 694"/>
              <a:gd name="T94" fmla="*/ 182 w 697"/>
              <a:gd name="T95" fmla="*/ 7 h 694"/>
              <a:gd name="T96" fmla="*/ 174 w 697"/>
              <a:gd name="T97" fmla="*/ 25 h 694"/>
              <a:gd name="T98" fmla="*/ 182 w 697"/>
              <a:gd name="T99" fmla="*/ 43 h 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97" h="694">
                <a:moveTo>
                  <a:pt x="639" y="203"/>
                </a:moveTo>
                <a:lnTo>
                  <a:pt x="58" y="203"/>
                </a:lnTo>
                <a:lnTo>
                  <a:pt x="58" y="203"/>
                </a:lnTo>
                <a:lnTo>
                  <a:pt x="46" y="204"/>
                </a:lnTo>
                <a:lnTo>
                  <a:pt x="35" y="206"/>
                </a:lnTo>
                <a:lnTo>
                  <a:pt x="26" y="212"/>
                </a:lnTo>
                <a:lnTo>
                  <a:pt x="17" y="219"/>
                </a:lnTo>
                <a:lnTo>
                  <a:pt x="10" y="228"/>
                </a:lnTo>
                <a:lnTo>
                  <a:pt x="5" y="238"/>
                </a:lnTo>
                <a:lnTo>
                  <a:pt x="2" y="248"/>
                </a:lnTo>
                <a:lnTo>
                  <a:pt x="0" y="260"/>
                </a:lnTo>
                <a:lnTo>
                  <a:pt x="0" y="637"/>
                </a:lnTo>
                <a:lnTo>
                  <a:pt x="0" y="637"/>
                </a:lnTo>
                <a:lnTo>
                  <a:pt x="2" y="649"/>
                </a:lnTo>
                <a:lnTo>
                  <a:pt x="5" y="659"/>
                </a:lnTo>
                <a:lnTo>
                  <a:pt x="10" y="669"/>
                </a:lnTo>
                <a:lnTo>
                  <a:pt x="17" y="677"/>
                </a:lnTo>
                <a:lnTo>
                  <a:pt x="26" y="685"/>
                </a:lnTo>
                <a:lnTo>
                  <a:pt x="35" y="689"/>
                </a:lnTo>
                <a:lnTo>
                  <a:pt x="46" y="693"/>
                </a:lnTo>
                <a:lnTo>
                  <a:pt x="58" y="694"/>
                </a:lnTo>
                <a:lnTo>
                  <a:pt x="639" y="694"/>
                </a:lnTo>
                <a:lnTo>
                  <a:pt x="639" y="694"/>
                </a:lnTo>
                <a:lnTo>
                  <a:pt x="651" y="693"/>
                </a:lnTo>
                <a:lnTo>
                  <a:pt x="662" y="689"/>
                </a:lnTo>
                <a:lnTo>
                  <a:pt x="672" y="685"/>
                </a:lnTo>
                <a:lnTo>
                  <a:pt x="680" y="677"/>
                </a:lnTo>
                <a:lnTo>
                  <a:pt x="687" y="669"/>
                </a:lnTo>
                <a:lnTo>
                  <a:pt x="692" y="659"/>
                </a:lnTo>
                <a:lnTo>
                  <a:pt x="696" y="649"/>
                </a:lnTo>
                <a:lnTo>
                  <a:pt x="697" y="637"/>
                </a:lnTo>
                <a:lnTo>
                  <a:pt x="697" y="260"/>
                </a:lnTo>
                <a:lnTo>
                  <a:pt x="697" y="260"/>
                </a:lnTo>
                <a:lnTo>
                  <a:pt x="696" y="248"/>
                </a:lnTo>
                <a:lnTo>
                  <a:pt x="692" y="238"/>
                </a:lnTo>
                <a:lnTo>
                  <a:pt x="687" y="228"/>
                </a:lnTo>
                <a:lnTo>
                  <a:pt x="680" y="219"/>
                </a:lnTo>
                <a:lnTo>
                  <a:pt x="672" y="212"/>
                </a:lnTo>
                <a:lnTo>
                  <a:pt x="662" y="206"/>
                </a:lnTo>
                <a:lnTo>
                  <a:pt x="651" y="204"/>
                </a:lnTo>
                <a:lnTo>
                  <a:pt x="639" y="203"/>
                </a:lnTo>
                <a:lnTo>
                  <a:pt x="639" y="203"/>
                </a:lnTo>
                <a:close/>
                <a:moveTo>
                  <a:pt x="523" y="622"/>
                </a:moveTo>
                <a:lnTo>
                  <a:pt x="523" y="622"/>
                </a:lnTo>
                <a:lnTo>
                  <a:pt x="522" y="627"/>
                </a:lnTo>
                <a:lnTo>
                  <a:pt x="519" y="632"/>
                </a:lnTo>
                <a:lnTo>
                  <a:pt x="514" y="635"/>
                </a:lnTo>
                <a:lnTo>
                  <a:pt x="508" y="637"/>
                </a:lnTo>
                <a:lnTo>
                  <a:pt x="73" y="637"/>
                </a:lnTo>
                <a:lnTo>
                  <a:pt x="73" y="637"/>
                </a:lnTo>
                <a:lnTo>
                  <a:pt x="68" y="635"/>
                </a:lnTo>
                <a:lnTo>
                  <a:pt x="63" y="632"/>
                </a:lnTo>
                <a:lnTo>
                  <a:pt x="59" y="627"/>
                </a:lnTo>
                <a:lnTo>
                  <a:pt x="58" y="622"/>
                </a:lnTo>
                <a:lnTo>
                  <a:pt x="58" y="275"/>
                </a:lnTo>
                <a:lnTo>
                  <a:pt x="58" y="275"/>
                </a:lnTo>
                <a:lnTo>
                  <a:pt x="59" y="269"/>
                </a:lnTo>
                <a:lnTo>
                  <a:pt x="63" y="264"/>
                </a:lnTo>
                <a:lnTo>
                  <a:pt x="68" y="262"/>
                </a:lnTo>
                <a:lnTo>
                  <a:pt x="73" y="260"/>
                </a:lnTo>
                <a:lnTo>
                  <a:pt x="508" y="260"/>
                </a:lnTo>
                <a:lnTo>
                  <a:pt x="508" y="260"/>
                </a:lnTo>
                <a:lnTo>
                  <a:pt x="514" y="262"/>
                </a:lnTo>
                <a:lnTo>
                  <a:pt x="519" y="264"/>
                </a:lnTo>
                <a:lnTo>
                  <a:pt x="522" y="269"/>
                </a:lnTo>
                <a:lnTo>
                  <a:pt x="523" y="275"/>
                </a:lnTo>
                <a:lnTo>
                  <a:pt x="523" y="622"/>
                </a:lnTo>
                <a:close/>
                <a:moveTo>
                  <a:pt x="610" y="525"/>
                </a:moveTo>
                <a:lnTo>
                  <a:pt x="610" y="525"/>
                </a:lnTo>
                <a:lnTo>
                  <a:pt x="600" y="524"/>
                </a:lnTo>
                <a:lnTo>
                  <a:pt x="592" y="520"/>
                </a:lnTo>
                <a:lnTo>
                  <a:pt x="584" y="516"/>
                </a:lnTo>
                <a:lnTo>
                  <a:pt x="576" y="510"/>
                </a:lnTo>
                <a:lnTo>
                  <a:pt x="570" y="503"/>
                </a:lnTo>
                <a:lnTo>
                  <a:pt x="567" y="496"/>
                </a:lnTo>
                <a:lnTo>
                  <a:pt x="563" y="486"/>
                </a:lnTo>
                <a:lnTo>
                  <a:pt x="563" y="477"/>
                </a:lnTo>
                <a:lnTo>
                  <a:pt x="563" y="477"/>
                </a:lnTo>
                <a:lnTo>
                  <a:pt x="563" y="467"/>
                </a:lnTo>
                <a:lnTo>
                  <a:pt x="567" y="459"/>
                </a:lnTo>
                <a:lnTo>
                  <a:pt x="570" y="450"/>
                </a:lnTo>
                <a:lnTo>
                  <a:pt x="576" y="444"/>
                </a:lnTo>
                <a:lnTo>
                  <a:pt x="584" y="438"/>
                </a:lnTo>
                <a:lnTo>
                  <a:pt x="592" y="433"/>
                </a:lnTo>
                <a:lnTo>
                  <a:pt x="600" y="431"/>
                </a:lnTo>
                <a:lnTo>
                  <a:pt x="610" y="430"/>
                </a:lnTo>
                <a:lnTo>
                  <a:pt x="610" y="430"/>
                </a:lnTo>
                <a:lnTo>
                  <a:pt x="620" y="431"/>
                </a:lnTo>
                <a:lnTo>
                  <a:pt x="628" y="433"/>
                </a:lnTo>
                <a:lnTo>
                  <a:pt x="637" y="438"/>
                </a:lnTo>
                <a:lnTo>
                  <a:pt x="643" y="444"/>
                </a:lnTo>
                <a:lnTo>
                  <a:pt x="649" y="450"/>
                </a:lnTo>
                <a:lnTo>
                  <a:pt x="653" y="459"/>
                </a:lnTo>
                <a:lnTo>
                  <a:pt x="656" y="467"/>
                </a:lnTo>
                <a:lnTo>
                  <a:pt x="657" y="477"/>
                </a:lnTo>
                <a:lnTo>
                  <a:pt x="657" y="477"/>
                </a:lnTo>
                <a:lnTo>
                  <a:pt x="656" y="486"/>
                </a:lnTo>
                <a:lnTo>
                  <a:pt x="653" y="496"/>
                </a:lnTo>
                <a:lnTo>
                  <a:pt x="649" y="503"/>
                </a:lnTo>
                <a:lnTo>
                  <a:pt x="643" y="510"/>
                </a:lnTo>
                <a:lnTo>
                  <a:pt x="637" y="516"/>
                </a:lnTo>
                <a:lnTo>
                  <a:pt x="628" y="520"/>
                </a:lnTo>
                <a:lnTo>
                  <a:pt x="620" y="524"/>
                </a:lnTo>
                <a:lnTo>
                  <a:pt x="610" y="525"/>
                </a:lnTo>
                <a:lnTo>
                  <a:pt x="610" y="525"/>
                </a:lnTo>
                <a:close/>
                <a:moveTo>
                  <a:pt x="610" y="379"/>
                </a:moveTo>
                <a:lnTo>
                  <a:pt x="610" y="379"/>
                </a:lnTo>
                <a:lnTo>
                  <a:pt x="600" y="378"/>
                </a:lnTo>
                <a:lnTo>
                  <a:pt x="592" y="376"/>
                </a:lnTo>
                <a:lnTo>
                  <a:pt x="584" y="371"/>
                </a:lnTo>
                <a:lnTo>
                  <a:pt x="576" y="366"/>
                </a:lnTo>
                <a:lnTo>
                  <a:pt x="570" y="359"/>
                </a:lnTo>
                <a:lnTo>
                  <a:pt x="567" y="350"/>
                </a:lnTo>
                <a:lnTo>
                  <a:pt x="563" y="342"/>
                </a:lnTo>
                <a:lnTo>
                  <a:pt x="563" y="332"/>
                </a:lnTo>
                <a:lnTo>
                  <a:pt x="563" y="332"/>
                </a:lnTo>
                <a:lnTo>
                  <a:pt x="563" y="323"/>
                </a:lnTo>
                <a:lnTo>
                  <a:pt x="567" y="314"/>
                </a:lnTo>
                <a:lnTo>
                  <a:pt x="570" y="306"/>
                </a:lnTo>
                <a:lnTo>
                  <a:pt x="576" y="299"/>
                </a:lnTo>
                <a:lnTo>
                  <a:pt x="584" y="294"/>
                </a:lnTo>
                <a:lnTo>
                  <a:pt x="592" y="289"/>
                </a:lnTo>
                <a:lnTo>
                  <a:pt x="600" y="287"/>
                </a:lnTo>
                <a:lnTo>
                  <a:pt x="610" y="286"/>
                </a:lnTo>
                <a:lnTo>
                  <a:pt x="610" y="286"/>
                </a:lnTo>
                <a:lnTo>
                  <a:pt x="620" y="287"/>
                </a:lnTo>
                <a:lnTo>
                  <a:pt x="628" y="289"/>
                </a:lnTo>
                <a:lnTo>
                  <a:pt x="637" y="294"/>
                </a:lnTo>
                <a:lnTo>
                  <a:pt x="643" y="299"/>
                </a:lnTo>
                <a:lnTo>
                  <a:pt x="649" y="306"/>
                </a:lnTo>
                <a:lnTo>
                  <a:pt x="653" y="314"/>
                </a:lnTo>
                <a:lnTo>
                  <a:pt x="656" y="323"/>
                </a:lnTo>
                <a:lnTo>
                  <a:pt x="657" y="332"/>
                </a:lnTo>
                <a:lnTo>
                  <a:pt x="657" y="332"/>
                </a:lnTo>
                <a:lnTo>
                  <a:pt x="656" y="342"/>
                </a:lnTo>
                <a:lnTo>
                  <a:pt x="653" y="350"/>
                </a:lnTo>
                <a:lnTo>
                  <a:pt x="649" y="359"/>
                </a:lnTo>
                <a:lnTo>
                  <a:pt x="643" y="366"/>
                </a:lnTo>
                <a:lnTo>
                  <a:pt x="637" y="371"/>
                </a:lnTo>
                <a:lnTo>
                  <a:pt x="628" y="376"/>
                </a:lnTo>
                <a:lnTo>
                  <a:pt x="620" y="378"/>
                </a:lnTo>
                <a:lnTo>
                  <a:pt x="610" y="379"/>
                </a:lnTo>
                <a:lnTo>
                  <a:pt x="610" y="379"/>
                </a:lnTo>
                <a:close/>
                <a:moveTo>
                  <a:pt x="279" y="139"/>
                </a:moveTo>
                <a:lnTo>
                  <a:pt x="279" y="139"/>
                </a:lnTo>
                <a:lnTo>
                  <a:pt x="270" y="146"/>
                </a:lnTo>
                <a:lnTo>
                  <a:pt x="262" y="155"/>
                </a:lnTo>
                <a:lnTo>
                  <a:pt x="255" y="164"/>
                </a:lnTo>
                <a:lnTo>
                  <a:pt x="249" y="174"/>
                </a:lnTo>
                <a:lnTo>
                  <a:pt x="449" y="174"/>
                </a:lnTo>
                <a:lnTo>
                  <a:pt x="449" y="174"/>
                </a:lnTo>
                <a:lnTo>
                  <a:pt x="443" y="164"/>
                </a:lnTo>
                <a:lnTo>
                  <a:pt x="435" y="155"/>
                </a:lnTo>
                <a:lnTo>
                  <a:pt x="427" y="146"/>
                </a:lnTo>
                <a:lnTo>
                  <a:pt x="418" y="139"/>
                </a:lnTo>
                <a:lnTo>
                  <a:pt x="515" y="43"/>
                </a:lnTo>
                <a:lnTo>
                  <a:pt x="515" y="43"/>
                </a:lnTo>
                <a:lnTo>
                  <a:pt x="519" y="39"/>
                </a:lnTo>
                <a:lnTo>
                  <a:pt x="521" y="34"/>
                </a:lnTo>
                <a:lnTo>
                  <a:pt x="522" y="30"/>
                </a:lnTo>
                <a:lnTo>
                  <a:pt x="522" y="25"/>
                </a:lnTo>
                <a:lnTo>
                  <a:pt x="522" y="20"/>
                </a:lnTo>
                <a:lnTo>
                  <a:pt x="521" y="15"/>
                </a:lnTo>
                <a:lnTo>
                  <a:pt x="519" y="12"/>
                </a:lnTo>
                <a:lnTo>
                  <a:pt x="515" y="7"/>
                </a:lnTo>
                <a:lnTo>
                  <a:pt x="515" y="7"/>
                </a:lnTo>
                <a:lnTo>
                  <a:pt x="511" y="3"/>
                </a:lnTo>
                <a:lnTo>
                  <a:pt x="506" y="2"/>
                </a:lnTo>
                <a:lnTo>
                  <a:pt x="502" y="0"/>
                </a:lnTo>
                <a:lnTo>
                  <a:pt x="497" y="0"/>
                </a:lnTo>
                <a:lnTo>
                  <a:pt x="492" y="0"/>
                </a:lnTo>
                <a:lnTo>
                  <a:pt x="487" y="2"/>
                </a:lnTo>
                <a:lnTo>
                  <a:pt x="484" y="3"/>
                </a:lnTo>
                <a:lnTo>
                  <a:pt x="479" y="7"/>
                </a:lnTo>
                <a:lnTo>
                  <a:pt x="369" y="117"/>
                </a:lnTo>
                <a:lnTo>
                  <a:pt x="369" y="117"/>
                </a:lnTo>
                <a:lnTo>
                  <a:pt x="358" y="116"/>
                </a:lnTo>
                <a:lnTo>
                  <a:pt x="349" y="115"/>
                </a:lnTo>
                <a:lnTo>
                  <a:pt x="349" y="115"/>
                </a:lnTo>
                <a:lnTo>
                  <a:pt x="339" y="116"/>
                </a:lnTo>
                <a:lnTo>
                  <a:pt x="328" y="117"/>
                </a:lnTo>
                <a:lnTo>
                  <a:pt x="217" y="7"/>
                </a:lnTo>
                <a:lnTo>
                  <a:pt x="217" y="7"/>
                </a:lnTo>
                <a:lnTo>
                  <a:pt x="214" y="3"/>
                </a:lnTo>
                <a:lnTo>
                  <a:pt x="210" y="2"/>
                </a:lnTo>
                <a:lnTo>
                  <a:pt x="205" y="0"/>
                </a:lnTo>
                <a:lnTo>
                  <a:pt x="200" y="0"/>
                </a:lnTo>
                <a:lnTo>
                  <a:pt x="196" y="0"/>
                </a:lnTo>
                <a:lnTo>
                  <a:pt x="191" y="2"/>
                </a:lnTo>
                <a:lnTo>
                  <a:pt x="186" y="3"/>
                </a:lnTo>
                <a:lnTo>
                  <a:pt x="182" y="7"/>
                </a:lnTo>
                <a:lnTo>
                  <a:pt x="182" y="7"/>
                </a:lnTo>
                <a:lnTo>
                  <a:pt x="179" y="10"/>
                </a:lnTo>
                <a:lnTo>
                  <a:pt x="176" y="15"/>
                </a:lnTo>
                <a:lnTo>
                  <a:pt x="175" y="20"/>
                </a:lnTo>
                <a:lnTo>
                  <a:pt x="174" y="25"/>
                </a:lnTo>
                <a:lnTo>
                  <a:pt x="175" y="30"/>
                </a:lnTo>
                <a:lnTo>
                  <a:pt x="176" y="34"/>
                </a:lnTo>
                <a:lnTo>
                  <a:pt x="179" y="39"/>
                </a:lnTo>
                <a:lnTo>
                  <a:pt x="182" y="43"/>
                </a:lnTo>
                <a:lnTo>
                  <a:pt x="279" y="1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grpSp>
        <p:nvGrpSpPr>
          <p:cNvPr id="71" name="Group 70"/>
          <p:cNvGrpSpPr/>
          <p:nvPr/>
        </p:nvGrpSpPr>
        <p:grpSpPr>
          <a:xfrm>
            <a:off x="1482363" y="2111372"/>
            <a:ext cx="355633" cy="241990"/>
            <a:chOff x="7245760" y="3924574"/>
            <a:chExt cx="422275" cy="287337"/>
          </a:xfrm>
          <a:solidFill>
            <a:schemeClr val="bg1"/>
          </a:solidFill>
        </p:grpSpPr>
        <p:sp>
          <p:nvSpPr>
            <p:cNvPr id="72" name="Freeform 298"/>
            <p:cNvSpPr>
              <a:spLocks/>
            </p:cNvSpPr>
            <p:nvPr/>
          </p:nvSpPr>
          <p:spPr bwMode="auto">
            <a:xfrm>
              <a:off x="7626760" y="3929337"/>
              <a:ext cx="41275" cy="277812"/>
            </a:xfrm>
            <a:custGeom>
              <a:avLst/>
              <a:gdLst>
                <a:gd name="T0" fmla="*/ 71 w 129"/>
                <a:gd name="T1" fmla="*/ 7 h 872"/>
                <a:gd name="T2" fmla="*/ 46 w 129"/>
                <a:gd name="T3" fmla="*/ 30 h 872"/>
                <a:gd name="T4" fmla="*/ 34 w 129"/>
                <a:gd name="T5" fmla="*/ 46 h 872"/>
                <a:gd name="T6" fmla="*/ 23 w 129"/>
                <a:gd name="T7" fmla="*/ 66 h 872"/>
                <a:gd name="T8" fmla="*/ 13 w 129"/>
                <a:gd name="T9" fmla="*/ 91 h 872"/>
                <a:gd name="T10" fmla="*/ 6 w 129"/>
                <a:gd name="T11" fmla="*/ 122 h 872"/>
                <a:gd name="T12" fmla="*/ 1 w 129"/>
                <a:gd name="T13" fmla="*/ 159 h 872"/>
                <a:gd name="T14" fmla="*/ 0 w 129"/>
                <a:gd name="T15" fmla="*/ 202 h 872"/>
                <a:gd name="T16" fmla="*/ 1 w 129"/>
                <a:gd name="T17" fmla="*/ 264 h 872"/>
                <a:gd name="T18" fmla="*/ 4 w 129"/>
                <a:gd name="T19" fmla="*/ 378 h 872"/>
                <a:gd name="T20" fmla="*/ 8 w 129"/>
                <a:gd name="T21" fmla="*/ 456 h 872"/>
                <a:gd name="T22" fmla="*/ 12 w 129"/>
                <a:gd name="T23" fmla="*/ 492 h 872"/>
                <a:gd name="T24" fmla="*/ 18 w 129"/>
                <a:gd name="T25" fmla="*/ 519 h 872"/>
                <a:gd name="T26" fmla="*/ 26 w 129"/>
                <a:gd name="T27" fmla="*/ 533 h 872"/>
                <a:gd name="T28" fmla="*/ 35 w 129"/>
                <a:gd name="T29" fmla="*/ 540 h 872"/>
                <a:gd name="T30" fmla="*/ 44 w 129"/>
                <a:gd name="T31" fmla="*/ 549 h 872"/>
                <a:gd name="T32" fmla="*/ 39 w 129"/>
                <a:gd name="T33" fmla="*/ 631 h 872"/>
                <a:gd name="T34" fmla="*/ 30 w 129"/>
                <a:gd name="T35" fmla="*/ 756 h 872"/>
                <a:gd name="T36" fmla="*/ 25 w 129"/>
                <a:gd name="T37" fmla="*/ 838 h 872"/>
                <a:gd name="T38" fmla="*/ 28 w 129"/>
                <a:gd name="T39" fmla="*/ 850 h 872"/>
                <a:gd name="T40" fmla="*/ 38 w 129"/>
                <a:gd name="T41" fmla="*/ 860 h 872"/>
                <a:gd name="T42" fmla="*/ 52 w 129"/>
                <a:gd name="T43" fmla="*/ 869 h 872"/>
                <a:gd name="T44" fmla="*/ 71 w 129"/>
                <a:gd name="T45" fmla="*/ 872 h 872"/>
                <a:gd name="T46" fmla="*/ 80 w 129"/>
                <a:gd name="T47" fmla="*/ 871 h 872"/>
                <a:gd name="T48" fmla="*/ 98 w 129"/>
                <a:gd name="T49" fmla="*/ 866 h 872"/>
                <a:gd name="T50" fmla="*/ 110 w 129"/>
                <a:gd name="T51" fmla="*/ 855 h 872"/>
                <a:gd name="T52" fmla="*/ 116 w 129"/>
                <a:gd name="T53" fmla="*/ 843 h 872"/>
                <a:gd name="T54" fmla="*/ 116 w 129"/>
                <a:gd name="T55" fmla="*/ 838 h 872"/>
                <a:gd name="T56" fmla="*/ 108 w 129"/>
                <a:gd name="T57" fmla="*/ 700 h 872"/>
                <a:gd name="T58" fmla="*/ 99 w 129"/>
                <a:gd name="T59" fmla="*/ 563 h 872"/>
                <a:gd name="T60" fmla="*/ 108 w 129"/>
                <a:gd name="T61" fmla="*/ 515 h 872"/>
                <a:gd name="T62" fmla="*/ 122 w 129"/>
                <a:gd name="T63" fmla="*/ 427 h 872"/>
                <a:gd name="T64" fmla="*/ 127 w 129"/>
                <a:gd name="T65" fmla="*/ 358 h 872"/>
                <a:gd name="T66" fmla="*/ 129 w 129"/>
                <a:gd name="T67" fmla="*/ 322 h 872"/>
                <a:gd name="T68" fmla="*/ 128 w 129"/>
                <a:gd name="T69" fmla="*/ 173 h 872"/>
                <a:gd name="T70" fmla="*/ 124 w 129"/>
                <a:gd name="T71" fmla="*/ 88 h 872"/>
                <a:gd name="T72" fmla="*/ 117 w 129"/>
                <a:gd name="T73" fmla="*/ 46 h 872"/>
                <a:gd name="T74" fmla="*/ 109 w 129"/>
                <a:gd name="T75" fmla="*/ 18 h 872"/>
                <a:gd name="T76" fmla="*/ 100 w 129"/>
                <a:gd name="T77" fmla="*/ 5 h 872"/>
                <a:gd name="T78" fmla="*/ 94 w 129"/>
                <a:gd name="T79" fmla="*/ 1 h 872"/>
                <a:gd name="T80" fmla="*/ 85 w 129"/>
                <a:gd name="T81" fmla="*/ 1 h 872"/>
                <a:gd name="T82" fmla="*/ 76 w 129"/>
                <a:gd name="T83" fmla="*/ 4 h 872"/>
                <a:gd name="T84" fmla="*/ 71 w 129"/>
                <a:gd name="T85" fmla="*/ 7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9" h="872">
                  <a:moveTo>
                    <a:pt x="71" y="7"/>
                  </a:moveTo>
                  <a:lnTo>
                    <a:pt x="71" y="7"/>
                  </a:lnTo>
                  <a:lnTo>
                    <a:pt x="59" y="17"/>
                  </a:lnTo>
                  <a:lnTo>
                    <a:pt x="46" y="30"/>
                  </a:lnTo>
                  <a:lnTo>
                    <a:pt x="40" y="38"/>
                  </a:lnTo>
                  <a:lnTo>
                    <a:pt x="34" y="46"/>
                  </a:lnTo>
                  <a:lnTo>
                    <a:pt x="28" y="56"/>
                  </a:lnTo>
                  <a:lnTo>
                    <a:pt x="23" y="66"/>
                  </a:lnTo>
                  <a:lnTo>
                    <a:pt x="18" y="78"/>
                  </a:lnTo>
                  <a:lnTo>
                    <a:pt x="13" y="91"/>
                  </a:lnTo>
                  <a:lnTo>
                    <a:pt x="9" y="106"/>
                  </a:lnTo>
                  <a:lnTo>
                    <a:pt x="6" y="122"/>
                  </a:lnTo>
                  <a:lnTo>
                    <a:pt x="4" y="139"/>
                  </a:lnTo>
                  <a:lnTo>
                    <a:pt x="1" y="159"/>
                  </a:lnTo>
                  <a:lnTo>
                    <a:pt x="0" y="180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" y="264"/>
                  </a:lnTo>
                  <a:lnTo>
                    <a:pt x="2" y="339"/>
                  </a:lnTo>
                  <a:lnTo>
                    <a:pt x="4" y="378"/>
                  </a:lnTo>
                  <a:lnTo>
                    <a:pt x="5" y="418"/>
                  </a:lnTo>
                  <a:lnTo>
                    <a:pt x="8" y="456"/>
                  </a:lnTo>
                  <a:lnTo>
                    <a:pt x="12" y="492"/>
                  </a:lnTo>
                  <a:lnTo>
                    <a:pt x="12" y="492"/>
                  </a:lnTo>
                  <a:lnTo>
                    <a:pt x="14" y="508"/>
                  </a:lnTo>
                  <a:lnTo>
                    <a:pt x="18" y="519"/>
                  </a:lnTo>
                  <a:lnTo>
                    <a:pt x="22" y="528"/>
                  </a:lnTo>
                  <a:lnTo>
                    <a:pt x="26" y="533"/>
                  </a:lnTo>
                  <a:lnTo>
                    <a:pt x="31" y="536"/>
                  </a:lnTo>
                  <a:lnTo>
                    <a:pt x="35" y="540"/>
                  </a:lnTo>
                  <a:lnTo>
                    <a:pt x="39" y="544"/>
                  </a:lnTo>
                  <a:lnTo>
                    <a:pt x="44" y="549"/>
                  </a:lnTo>
                  <a:lnTo>
                    <a:pt x="44" y="549"/>
                  </a:lnTo>
                  <a:lnTo>
                    <a:pt x="39" y="631"/>
                  </a:lnTo>
                  <a:lnTo>
                    <a:pt x="34" y="693"/>
                  </a:lnTo>
                  <a:lnTo>
                    <a:pt x="30" y="756"/>
                  </a:lnTo>
                  <a:lnTo>
                    <a:pt x="25" y="838"/>
                  </a:lnTo>
                  <a:lnTo>
                    <a:pt x="25" y="838"/>
                  </a:lnTo>
                  <a:lnTo>
                    <a:pt x="26" y="843"/>
                  </a:lnTo>
                  <a:lnTo>
                    <a:pt x="28" y="850"/>
                  </a:lnTo>
                  <a:lnTo>
                    <a:pt x="32" y="855"/>
                  </a:lnTo>
                  <a:lnTo>
                    <a:pt x="38" y="860"/>
                  </a:lnTo>
                  <a:lnTo>
                    <a:pt x="45" y="866"/>
                  </a:lnTo>
                  <a:lnTo>
                    <a:pt x="52" y="869"/>
                  </a:lnTo>
                  <a:lnTo>
                    <a:pt x="61" y="871"/>
                  </a:lnTo>
                  <a:lnTo>
                    <a:pt x="71" y="872"/>
                  </a:lnTo>
                  <a:lnTo>
                    <a:pt x="71" y="872"/>
                  </a:lnTo>
                  <a:lnTo>
                    <a:pt x="80" y="871"/>
                  </a:lnTo>
                  <a:lnTo>
                    <a:pt x="89" y="869"/>
                  </a:lnTo>
                  <a:lnTo>
                    <a:pt x="98" y="866"/>
                  </a:lnTo>
                  <a:lnTo>
                    <a:pt x="104" y="860"/>
                  </a:lnTo>
                  <a:lnTo>
                    <a:pt x="110" y="855"/>
                  </a:lnTo>
                  <a:lnTo>
                    <a:pt x="114" y="850"/>
                  </a:lnTo>
                  <a:lnTo>
                    <a:pt x="116" y="843"/>
                  </a:lnTo>
                  <a:lnTo>
                    <a:pt x="116" y="838"/>
                  </a:lnTo>
                  <a:lnTo>
                    <a:pt x="116" y="838"/>
                  </a:lnTo>
                  <a:lnTo>
                    <a:pt x="112" y="760"/>
                  </a:lnTo>
                  <a:lnTo>
                    <a:pt x="108" y="700"/>
                  </a:lnTo>
                  <a:lnTo>
                    <a:pt x="103" y="640"/>
                  </a:lnTo>
                  <a:lnTo>
                    <a:pt x="99" y="563"/>
                  </a:lnTo>
                  <a:lnTo>
                    <a:pt x="99" y="563"/>
                  </a:lnTo>
                  <a:lnTo>
                    <a:pt x="108" y="515"/>
                  </a:lnTo>
                  <a:lnTo>
                    <a:pt x="117" y="458"/>
                  </a:lnTo>
                  <a:lnTo>
                    <a:pt x="122" y="427"/>
                  </a:lnTo>
                  <a:lnTo>
                    <a:pt x="125" y="394"/>
                  </a:lnTo>
                  <a:lnTo>
                    <a:pt x="127" y="358"/>
                  </a:lnTo>
                  <a:lnTo>
                    <a:pt x="129" y="322"/>
                  </a:lnTo>
                  <a:lnTo>
                    <a:pt x="129" y="322"/>
                  </a:lnTo>
                  <a:lnTo>
                    <a:pt x="129" y="242"/>
                  </a:lnTo>
                  <a:lnTo>
                    <a:pt x="128" y="173"/>
                  </a:lnTo>
                  <a:lnTo>
                    <a:pt x="126" y="113"/>
                  </a:lnTo>
                  <a:lnTo>
                    <a:pt x="124" y="88"/>
                  </a:lnTo>
                  <a:lnTo>
                    <a:pt x="121" y="66"/>
                  </a:lnTo>
                  <a:lnTo>
                    <a:pt x="117" y="46"/>
                  </a:lnTo>
                  <a:lnTo>
                    <a:pt x="113" y="30"/>
                  </a:lnTo>
                  <a:lnTo>
                    <a:pt x="109" y="18"/>
                  </a:lnTo>
                  <a:lnTo>
                    <a:pt x="103" y="8"/>
                  </a:lnTo>
                  <a:lnTo>
                    <a:pt x="100" y="5"/>
                  </a:lnTo>
                  <a:lnTo>
                    <a:pt x="97" y="2"/>
                  </a:lnTo>
                  <a:lnTo>
                    <a:pt x="94" y="1"/>
                  </a:lnTo>
                  <a:lnTo>
                    <a:pt x="89" y="0"/>
                  </a:lnTo>
                  <a:lnTo>
                    <a:pt x="85" y="1"/>
                  </a:lnTo>
                  <a:lnTo>
                    <a:pt x="80" y="2"/>
                  </a:lnTo>
                  <a:lnTo>
                    <a:pt x="76" y="4"/>
                  </a:lnTo>
                  <a:lnTo>
                    <a:pt x="71" y="7"/>
                  </a:lnTo>
                  <a:lnTo>
                    <a:pt x="7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73" name="Freeform 299"/>
            <p:cNvSpPr>
              <a:spLocks/>
            </p:cNvSpPr>
            <p:nvPr/>
          </p:nvSpPr>
          <p:spPr bwMode="auto">
            <a:xfrm>
              <a:off x="7245760" y="3934099"/>
              <a:ext cx="63500" cy="268287"/>
            </a:xfrm>
            <a:custGeom>
              <a:avLst/>
              <a:gdLst>
                <a:gd name="T0" fmla="*/ 189 w 203"/>
                <a:gd name="T1" fmla="*/ 119 h 845"/>
                <a:gd name="T2" fmla="*/ 173 w 203"/>
                <a:gd name="T3" fmla="*/ 9 h 845"/>
                <a:gd name="T4" fmla="*/ 169 w 203"/>
                <a:gd name="T5" fmla="*/ 0 h 845"/>
                <a:gd name="T6" fmla="*/ 166 w 203"/>
                <a:gd name="T7" fmla="*/ 22 h 845"/>
                <a:gd name="T8" fmla="*/ 167 w 203"/>
                <a:gd name="T9" fmla="*/ 157 h 845"/>
                <a:gd name="T10" fmla="*/ 146 w 203"/>
                <a:gd name="T11" fmla="*/ 234 h 845"/>
                <a:gd name="T12" fmla="*/ 132 w 203"/>
                <a:gd name="T13" fmla="*/ 48 h 845"/>
                <a:gd name="T14" fmla="*/ 126 w 203"/>
                <a:gd name="T15" fmla="*/ 1 h 845"/>
                <a:gd name="T16" fmla="*/ 123 w 203"/>
                <a:gd name="T17" fmla="*/ 1 h 845"/>
                <a:gd name="T18" fmla="*/ 118 w 203"/>
                <a:gd name="T19" fmla="*/ 48 h 845"/>
                <a:gd name="T20" fmla="*/ 112 w 203"/>
                <a:gd name="T21" fmla="*/ 234 h 845"/>
                <a:gd name="T22" fmla="*/ 88 w 203"/>
                <a:gd name="T23" fmla="*/ 157 h 845"/>
                <a:gd name="T24" fmla="*/ 84 w 203"/>
                <a:gd name="T25" fmla="*/ 22 h 845"/>
                <a:gd name="T26" fmla="*/ 79 w 203"/>
                <a:gd name="T27" fmla="*/ 0 h 845"/>
                <a:gd name="T28" fmla="*/ 76 w 203"/>
                <a:gd name="T29" fmla="*/ 5 h 845"/>
                <a:gd name="T30" fmla="*/ 68 w 203"/>
                <a:gd name="T31" fmla="*/ 81 h 845"/>
                <a:gd name="T32" fmla="*/ 35 w 203"/>
                <a:gd name="T33" fmla="*/ 234 h 845"/>
                <a:gd name="T34" fmla="*/ 37 w 203"/>
                <a:gd name="T35" fmla="*/ 81 h 845"/>
                <a:gd name="T36" fmla="*/ 35 w 203"/>
                <a:gd name="T37" fmla="*/ 5 h 845"/>
                <a:gd name="T38" fmla="*/ 33 w 203"/>
                <a:gd name="T39" fmla="*/ 0 h 845"/>
                <a:gd name="T40" fmla="*/ 26 w 203"/>
                <a:gd name="T41" fmla="*/ 30 h 845"/>
                <a:gd name="T42" fmla="*/ 1 w 203"/>
                <a:gd name="T43" fmla="*/ 239 h 845"/>
                <a:gd name="T44" fmla="*/ 0 w 203"/>
                <a:gd name="T45" fmla="*/ 256 h 845"/>
                <a:gd name="T46" fmla="*/ 7 w 203"/>
                <a:gd name="T47" fmla="*/ 279 h 845"/>
                <a:gd name="T48" fmla="*/ 20 w 203"/>
                <a:gd name="T49" fmla="*/ 301 h 845"/>
                <a:gd name="T50" fmla="*/ 39 w 203"/>
                <a:gd name="T51" fmla="*/ 319 h 845"/>
                <a:gd name="T52" fmla="*/ 64 w 203"/>
                <a:gd name="T53" fmla="*/ 334 h 845"/>
                <a:gd name="T54" fmla="*/ 82 w 203"/>
                <a:gd name="T55" fmla="*/ 339 h 845"/>
                <a:gd name="T56" fmla="*/ 62 w 203"/>
                <a:gd name="T57" fmla="*/ 683 h 845"/>
                <a:gd name="T58" fmla="*/ 56 w 203"/>
                <a:gd name="T59" fmla="*/ 816 h 845"/>
                <a:gd name="T60" fmla="*/ 68 w 203"/>
                <a:gd name="T61" fmla="*/ 833 h 845"/>
                <a:gd name="T62" fmla="*/ 91 w 203"/>
                <a:gd name="T63" fmla="*/ 844 h 845"/>
                <a:gd name="T64" fmla="*/ 111 w 203"/>
                <a:gd name="T65" fmla="*/ 844 h 845"/>
                <a:gd name="T66" fmla="*/ 134 w 203"/>
                <a:gd name="T67" fmla="*/ 833 h 845"/>
                <a:gd name="T68" fmla="*/ 146 w 203"/>
                <a:gd name="T69" fmla="*/ 816 h 845"/>
                <a:gd name="T70" fmla="*/ 140 w 203"/>
                <a:gd name="T71" fmla="*/ 684 h 845"/>
                <a:gd name="T72" fmla="*/ 120 w 203"/>
                <a:gd name="T73" fmla="*/ 339 h 845"/>
                <a:gd name="T74" fmla="*/ 139 w 203"/>
                <a:gd name="T75" fmla="*/ 334 h 845"/>
                <a:gd name="T76" fmla="*/ 164 w 203"/>
                <a:gd name="T77" fmla="*/ 322 h 845"/>
                <a:gd name="T78" fmla="*/ 182 w 203"/>
                <a:gd name="T79" fmla="*/ 303 h 845"/>
                <a:gd name="T80" fmla="*/ 196 w 203"/>
                <a:gd name="T81" fmla="*/ 282 h 845"/>
                <a:gd name="T82" fmla="*/ 202 w 203"/>
                <a:gd name="T83" fmla="*/ 257 h 845"/>
                <a:gd name="T84" fmla="*/ 202 w 203"/>
                <a:gd name="T85" fmla="*/ 239 h 845"/>
                <a:gd name="T86" fmla="*/ 202 w 203"/>
                <a:gd name="T87" fmla="*/ 239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845">
                  <a:moveTo>
                    <a:pt x="202" y="239"/>
                  </a:moveTo>
                  <a:lnTo>
                    <a:pt x="202" y="239"/>
                  </a:lnTo>
                  <a:lnTo>
                    <a:pt x="189" y="119"/>
                  </a:lnTo>
                  <a:lnTo>
                    <a:pt x="183" y="76"/>
                  </a:lnTo>
                  <a:lnTo>
                    <a:pt x="178" y="37"/>
                  </a:lnTo>
                  <a:lnTo>
                    <a:pt x="173" y="9"/>
                  </a:lnTo>
                  <a:lnTo>
                    <a:pt x="171" y="2"/>
                  </a:lnTo>
                  <a:lnTo>
                    <a:pt x="169" y="0"/>
                  </a:lnTo>
                  <a:lnTo>
                    <a:pt x="169" y="0"/>
                  </a:lnTo>
                  <a:lnTo>
                    <a:pt x="168" y="1"/>
                  </a:lnTo>
                  <a:lnTo>
                    <a:pt x="167" y="5"/>
                  </a:lnTo>
                  <a:lnTo>
                    <a:pt x="166" y="22"/>
                  </a:lnTo>
                  <a:lnTo>
                    <a:pt x="166" y="48"/>
                  </a:lnTo>
                  <a:lnTo>
                    <a:pt x="166" y="81"/>
                  </a:lnTo>
                  <a:lnTo>
                    <a:pt x="167" y="157"/>
                  </a:lnTo>
                  <a:lnTo>
                    <a:pt x="167" y="234"/>
                  </a:lnTo>
                  <a:lnTo>
                    <a:pt x="146" y="234"/>
                  </a:lnTo>
                  <a:lnTo>
                    <a:pt x="146" y="234"/>
                  </a:lnTo>
                  <a:lnTo>
                    <a:pt x="140" y="157"/>
                  </a:lnTo>
                  <a:lnTo>
                    <a:pt x="134" y="81"/>
                  </a:lnTo>
                  <a:lnTo>
                    <a:pt x="132" y="48"/>
                  </a:lnTo>
                  <a:lnTo>
                    <a:pt x="129" y="22"/>
                  </a:lnTo>
                  <a:lnTo>
                    <a:pt x="127" y="5"/>
                  </a:lnTo>
                  <a:lnTo>
                    <a:pt x="126" y="1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23" y="1"/>
                  </a:lnTo>
                  <a:lnTo>
                    <a:pt x="121" y="5"/>
                  </a:lnTo>
                  <a:lnTo>
                    <a:pt x="119" y="22"/>
                  </a:lnTo>
                  <a:lnTo>
                    <a:pt x="118" y="48"/>
                  </a:lnTo>
                  <a:lnTo>
                    <a:pt x="117" y="81"/>
                  </a:lnTo>
                  <a:lnTo>
                    <a:pt x="115" y="157"/>
                  </a:lnTo>
                  <a:lnTo>
                    <a:pt x="112" y="234"/>
                  </a:lnTo>
                  <a:lnTo>
                    <a:pt x="91" y="234"/>
                  </a:lnTo>
                  <a:lnTo>
                    <a:pt x="91" y="234"/>
                  </a:lnTo>
                  <a:lnTo>
                    <a:pt x="88" y="157"/>
                  </a:lnTo>
                  <a:lnTo>
                    <a:pt x="86" y="81"/>
                  </a:lnTo>
                  <a:lnTo>
                    <a:pt x="85" y="48"/>
                  </a:lnTo>
                  <a:lnTo>
                    <a:pt x="84" y="22"/>
                  </a:lnTo>
                  <a:lnTo>
                    <a:pt x="81" y="5"/>
                  </a:lnTo>
                  <a:lnTo>
                    <a:pt x="80" y="1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77" y="1"/>
                  </a:lnTo>
                  <a:lnTo>
                    <a:pt x="76" y="5"/>
                  </a:lnTo>
                  <a:lnTo>
                    <a:pt x="74" y="22"/>
                  </a:lnTo>
                  <a:lnTo>
                    <a:pt x="70" y="48"/>
                  </a:lnTo>
                  <a:lnTo>
                    <a:pt x="68" y="81"/>
                  </a:lnTo>
                  <a:lnTo>
                    <a:pt x="62" y="157"/>
                  </a:lnTo>
                  <a:lnTo>
                    <a:pt x="56" y="234"/>
                  </a:lnTo>
                  <a:lnTo>
                    <a:pt x="35" y="234"/>
                  </a:lnTo>
                  <a:lnTo>
                    <a:pt x="35" y="234"/>
                  </a:lnTo>
                  <a:lnTo>
                    <a:pt x="36" y="157"/>
                  </a:lnTo>
                  <a:lnTo>
                    <a:pt x="37" y="81"/>
                  </a:lnTo>
                  <a:lnTo>
                    <a:pt x="37" y="48"/>
                  </a:lnTo>
                  <a:lnTo>
                    <a:pt x="37" y="22"/>
                  </a:lnTo>
                  <a:lnTo>
                    <a:pt x="35" y="5"/>
                  </a:lnTo>
                  <a:lnTo>
                    <a:pt x="35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2"/>
                  </a:lnTo>
                  <a:lnTo>
                    <a:pt x="29" y="7"/>
                  </a:lnTo>
                  <a:lnTo>
                    <a:pt x="26" y="30"/>
                  </a:lnTo>
                  <a:lnTo>
                    <a:pt x="21" y="61"/>
                  </a:lnTo>
                  <a:lnTo>
                    <a:pt x="16" y="100"/>
                  </a:lnTo>
                  <a:lnTo>
                    <a:pt x="1" y="239"/>
                  </a:lnTo>
                  <a:lnTo>
                    <a:pt x="1" y="239"/>
                  </a:lnTo>
                  <a:lnTo>
                    <a:pt x="0" y="248"/>
                  </a:lnTo>
                  <a:lnTo>
                    <a:pt x="0" y="256"/>
                  </a:lnTo>
                  <a:lnTo>
                    <a:pt x="2" y="264"/>
                  </a:lnTo>
                  <a:lnTo>
                    <a:pt x="3" y="272"/>
                  </a:lnTo>
                  <a:lnTo>
                    <a:pt x="7" y="279"/>
                  </a:lnTo>
                  <a:lnTo>
                    <a:pt x="10" y="287"/>
                  </a:lnTo>
                  <a:lnTo>
                    <a:pt x="14" y="295"/>
                  </a:lnTo>
                  <a:lnTo>
                    <a:pt x="20" y="301"/>
                  </a:lnTo>
                  <a:lnTo>
                    <a:pt x="25" y="309"/>
                  </a:lnTo>
                  <a:lnTo>
                    <a:pt x="31" y="314"/>
                  </a:lnTo>
                  <a:lnTo>
                    <a:pt x="39" y="319"/>
                  </a:lnTo>
                  <a:lnTo>
                    <a:pt x="47" y="325"/>
                  </a:lnTo>
                  <a:lnTo>
                    <a:pt x="55" y="329"/>
                  </a:lnTo>
                  <a:lnTo>
                    <a:pt x="64" y="334"/>
                  </a:lnTo>
                  <a:lnTo>
                    <a:pt x="73" y="337"/>
                  </a:lnTo>
                  <a:lnTo>
                    <a:pt x="82" y="339"/>
                  </a:lnTo>
                  <a:lnTo>
                    <a:pt x="82" y="339"/>
                  </a:lnTo>
                  <a:lnTo>
                    <a:pt x="76" y="466"/>
                  </a:lnTo>
                  <a:lnTo>
                    <a:pt x="69" y="574"/>
                  </a:lnTo>
                  <a:lnTo>
                    <a:pt x="62" y="683"/>
                  </a:lnTo>
                  <a:lnTo>
                    <a:pt x="55" y="810"/>
                  </a:lnTo>
                  <a:lnTo>
                    <a:pt x="55" y="810"/>
                  </a:lnTo>
                  <a:lnTo>
                    <a:pt x="56" y="816"/>
                  </a:lnTo>
                  <a:lnTo>
                    <a:pt x="59" y="821"/>
                  </a:lnTo>
                  <a:lnTo>
                    <a:pt x="63" y="828"/>
                  </a:lnTo>
                  <a:lnTo>
                    <a:pt x="68" y="833"/>
                  </a:lnTo>
                  <a:lnTo>
                    <a:pt x="75" y="838"/>
                  </a:lnTo>
                  <a:lnTo>
                    <a:pt x="82" y="842"/>
                  </a:lnTo>
                  <a:lnTo>
                    <a:pt x="91" y="844"/>
                  </a:lnTo>
                  <a:lnTo>
                    <a:pt x="101" y="845"/>
                  </a:lnTo>
                  <a:lnTo>
                    <a:pt x="101" y="845"/>
                  </a:lnTo>
                  <a:lnTo>
                    <a:pt x="111" y="844"/>
                  </a:lnTo>
                  <a:lnTo>
                    <a:pt x="120" y="842"/>
                  </a:lnTo>
                  <a:lnTo>
                    <a:pt x="128" y="838"/>
                  </a:lnTo>
                  <a:lnTo>
                    <a:pt x="134" y="833"/>
                  </a:lnTo>
                  <a:lnTo>
                    <a:pt x="140" y="828"/>
                  </a:lnTo>
                  <a:lnTo>
                    <a:pt x="144" y="821"/>
                  </a:lnTo>
                  <a:lnTo>
                    <a:pt x="146" y="816"/>
                  </a:lnTo>
                  <a:lnTo>
                    <a:pt x="147" y="810"/>
                  </a:lnTo>
                  <a:lnTo>
                    <a:pt x="147" y="810"/>
                  </a:lnTo>
                  <a:lnTo>
                    <a:pt x="140" y="684"/>
                  </a:lnTo>
                  <a:lnTo>
                    <a:pt x="133" y="574"/>
                  </a:lnTo>
                  <a:lnTo>
                    <a:pt x="127" y="466"/>
                  </a:lnTo>
                  <a:lnTo>
                    <a:pt x="120" y="339"/>
                  </a:lnTo>
                  <a:lnTo>
                    <a:pt x="120" y="339"/>
                  </a:lnTo>
                  <a:lnTo>
                    <a:pt x="130" y="337"/>
                  </a:lnTo>
                  <a:lnTo>
                    <a:pt x="139" y="334"/>
                  </a:lnTo>
                  <a:lnTo>
                    <a:pt x="147" y="330"/>
                  </a:lnTo>
                  <a:lnTo>
                    <a:pt x="156" y="326"/>
                  </a:lnTo>
                  <a:lnTo>
                    <a:pt x="164" y="322"/>
                  </a:lnTo>
                  <a:lnTo>
                    <a:pt x="170" y="316"/>
                  </a:lnTo>
                  <a:lnTo>
                    <a:pt x="177" y="310"/>
                  </a:lnTo>
                  <a:lnTo>
                    <a:pt x="182" y="303"/>
                  </a:lnTo>
                  <a:lnTo>
                    <a:pt x="188" y="297"/>
                  </a:lnTo>
                  <a:lnTo>
                    <a:pt x="192" y="289"/>
                  </a:lnTo>
                  <a:lnTo>
                    <a:pt x="196" y="282"/>
                  </a:lnTo>
                  <a:lnTo>
                    <a:pt x="198" y="274"/>
                  </a:lnTo>
                  <a:lnTo>
                    <a:pt x="201" y="265"/>
                  </a:lnTo>
                  <a:lnTo>
                    <a:pt x="202" y="257"/>
                  </a:lnTo>
                  <a:lnTo>
                    <a:pt x="203" y="248"/>
                  </a:lnTo>
                  <a:lnTo>
                    <a:pt x="202" y="239"/>
                  </a:lnTo>
                  <a:lnTo>
                    <a:pt x="202" y="239"/>
                  </a:lnTo>
                  <a:lnTo>
                    <a:pt x="200" y="220"/>
                  </a:lnTo>
                  <a:lnTo>
                    <a:pt x="202" y="239"/>
                  </a:lnTo>
                  <a:lnTo>
                    <a:pt x="202" y="2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74" name="Freeform 300"/>
            <p:cNvSpPr>
              <a:spLocks noEditPoints="1"/>
            </p:cNvSpPr>
            <p:nvPr/>
          </p:nvSpPr>
          <p:spPr bwMode="auto">
            <a:xfrm>
              <a:off x="7320373" y="3924574"/>
              <a:ext cx="287338" cy="287337"/>
            </a:xfrm>
            <a:custGeom>
              <a:avLst/>
              <a:gdLst>
                <a:gd name="T0" fmla="*/ 383 w 904"/>
                <a:gd name="T1" fmla="*/ 6 h 904"/>
                <a:gd name="T2" fmla="*/ 276 w 904"/>
                <a:gd name="T3" fmla="*/ 36 h 904"/>
                <a:gd name="T4" fmla="*/ 182 w 904"/>
                <a:gd name="T5" fmla="*/ 90 h 904"/>
                <a:gd name="T6" fmla="*/ 103 w 904"/>
                <a:gd name="T7" fmla="*/ 165 h 904"/>
                <a:gd name="T8" fmla="*/ 45 w 904"/>
                <a:gd name="T9" fmla="*/ 256 h 904"/>
                <a:gd name="T10" fmla="*/ 9 w 904"/>
                <a:gd name="T11" fmla="*/ 361 h 904"/>
                <a:gd name="T12" fmla="*/ 0 w 904"/>
                <a:gd name="T13" fmla="*/ 453 h 904"/>
                <a:gd name="T14" fmla="*/ 15 w 904"/>
                <a:gd name="T15" fmla="*/ 565 h 904"/>
                <a:gd name="T16" fmla="*/ 55 w 904"/>
                <a:gd name="T17" fmla="*/ 667 h 904"/>
                <a:gd name="T18" fmla="*/ 118 w 904"/>
                <a:gd name="T19" fmla="*/ 756 h 904"/>
                <a:gd name="T20" fmla="*/ 200 w 904"/>
                <a:gd name="T21" fmla="*/ 827 h 904"/>
                <a:gd name="T22" fmla="*/ 296 w 904"/>
                <a:gd name="T23" fmla="*/ 876 h 904"/>
                <a:gd name="T24" fmla="*/ 406 w 904"/>
                <a:gd name="T25" fmla="*/ 901 h 904"/>
                <a:gd name="T26" fmla="*/ 498 w 904"/>
                <a:gd name="T27" fmla="*/ 901 h 904"/>
                <a:gd name="T28" fmla="*/ 607 w 904"/>
                <a:gd name="T29" fmla="*/ 876 h 904"/>
                <a:gd name="T30" fmla="*/ 704 w 904"/>
                <a:gd name="T31" fmla="*/ 827 h 904"/>
                <a:gd name="T32" fmla="*/ 785 w 904"/>
                <a:gd name="T33" fmla="*/ 756 h 904"/>
                <a:gd name="T34" fmla="*/ 848 w 904"/>
                <a:gd name="T35" fmla="*/ 667 h 904"/>
                <a:gd name="T36" fmla="*/ 890 w 904"/>
                <a:gd name="T37" fmla="*/ 565 h 904"/>
                <a:gd name="T38" fmla="*/ 904 w 904"/>
                <a:gd name="T39" fmla="*/ 453 h 904"/>
                <a:gd name="T40" fmla="*/ 894 w 904"/>
                <a:gd name="T41" fmla="*/ 361 h 904"/>
                <a:gd name="T42" fmla="*/ 859 w 904"/>
                <a:gd name="T43" fmla="*/ 256 h 904"/>
                <a:gd name="T44" fmla="*/ 801 w 904"/>
                <a:gd name="T45" fmla="*/ 165 h 904"/>
                <a:gd name="T46" fmla="*/ 721 w 904"/>
                <a:gd name="T47" fmla="*/ 90 h 904"/>
                <a:gd name="T48" fmla="*/ 627 w 904"/>
                <a:gd name="T49" fmla="*/ 36 h 904"/>
                <a:gd name="T50" fmla="*/ 521 w 904"/>
                <a:gd name="T51" fmla="*/ 6 h 904"/>
                <a:gd name="T52" fmla="*/ 452 w 904"/>
                <a:gd name="T53" fmla="*/ 753 h 904"/>
                <a:gd name="T54" fmla="*/ 391 w 904"/>
                <a:gd name="T55" fmla="*/ 747 h 904"/>
                <a:gd name="T56" fmla="*/ 321 w 904"/>
                <a:gd name="T57" fmla="*/ 724 h 904"/>
                <a:gd name="T58" fmla="*/ 261 w 904"/>
                <a:gd name="T59" fmla="*/ 685 h 904"/>
                <a:gd name="T60" fmla="*/ 211 w 904"/>
                <a:gd name="T61" fmla="*/ 632 h 904"/>
                <a:gd name="T62" fmla="*/ 175 w 904"/>
                <a:gd name="T63" fmla="*/ 570 h 904"/>
                <a:gd name="T64" fmla="*/ 154 w 904"/>
                <a:gd name="T65" fmla="*/ 498 h 904"/>
                <a:gd name="T66" fmla="*/ 151 w 904"/>
                <a:gd name="T67" fmla="*/ 436 h 904"/>
                <a:gd name="T68" fmla="*/ 164 w 904"/>
                <a:gd name="T69" fmla="*/ 363 h 904"/>
                <a:gd name="T70" fmla="*/ 195 w 904"/>
                <a:gd name="T71" fmla="*/ 296 h 904"/>
                <a:gd name="T72" fmla="*/ 239 w 904"/>
                <a:gd name="T73" fmla="*/ 240 h 904"/>
                <a:gd name="T74" fmla="*/ 295 w 904"/>
                <a:gd name="T75" fmla="*/ 194 h 904"/>
                <a:gd name="T76" fmla="*/ 363 w 904"/>
                <a:gd name="T77" fmla="*/ 165 h 904"/>
                <a:gd name="T78" fmla="*/ 436 w 904"/>
                <a:gd name="T79" fmla="*/ 152 h 904"/>
                <a:gd name="T80" fmla="*/ 498 w 904"/>
                <a:gd name="T81" fmla="*/ 154 h 904"/>
                <a:gd name="T82" fmla="*/ 569 w 904"/>
                <a:gd name="T83" fmla="*/ 175 h 904"/>
                <a:gd name="T84" fmla="*/ 631 w 904"/>
                <a:gd name="T85" fmla="*/ 211 h 904"/>
                <a:gd name="T86" fmla="*/ 685 w 904"/>
                <a:gd name="T87" fmla="*/ 261 h 904"/>
                <a:gd name="T88" fmla="*/ 724 w 904"/>
                <a:gd name="T89" fmla="*/ 321 h 904"/>
                <a:gd name="T90" fmla="*/ 746 w 904"/>
                <a:gd name="T91" fmla="*/ 392 h 904"/>
                <a:gd name="T92" fmla="*/ 753 w 904"/>
                <a:gd name="T93" fmla="*/ 453 h 904"/>
                <a:gd name="T94" fmla="*/ 743 w 904"/>
                <a:gd name="T95" fmla="*/ 527 h 904"/>
                <a:gd name="T96" fmla="*/ 716 w 904"/>
                <a:gd name="T97" fmla="*/ 596 h 904"/>
                <a:gd name="T98" fmla="*/ 675 w 904"/>
                <a:gd name="T99" fmla="*/ 654 h 904"/>
                <a:gd name="T100" fmla="*/ 621 w 904"/>
                <a:gd name="T101" fmla="*/ 702 h 904"/>
                <a:gd name="T102" fmla="*/ 556 w 904"/>
                <a:gd name="T103" fmla="*/ 735 h 904"/>
                <a:gd name="T104" fmla="*/ 483 w 904"/>
                <a:gd name="T105" fmla="*/ 752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04" h="904">
                  <a:moveTo>
                    <a:pt x="452" y="0"/>
                  </a:moveTo>
                  <a:lnTo>
                    <a:pt x="452" y="0"/>
                  </a:lnTo>
                  <a:lnTo>
                    <a:pt x="429" y="1"/>
                  </a:lnTo>
                  <a:lnTo>
                    <a:pt x="406" y="4"/>
                  </a:lnTo>
                  <a:lnTo>
                    <a:pt x="383" y="6"/>
                  </a:lnTo>
                  <a:lnTo>
                    <a:pt x="360" y="10"/>
                  </a:lnTo>
                  <a:lnTo>
                    <a:pt x="339" y="16"/>
                  </a:lnTo>
                  <a:lnTo>
                    <a:pt x="318" y="21"/>
                  </a:lnTo>
                  <a:lnTo>
                    <a:pt x="296" y="29"/>
                  </a:lnTo>
                  <a:lnTo>
                    <a:pt x="276" y="36"/>
                  </a:lnTo>
                  <a:lnTo>
                    <a:pt x="256" y="45"/>
                  </a:lnTo>
                  <a:lnTo>
                    <a:pt x="237" y="56"/>
                  </a:lnTo>
                  <a:lnTo>
                    <a:pt x="217" y="67"/>
                  </a:lnTo>
                  <a:lnTo>
                    <a:pt x="200" y="78"/>
                  </a:lnTo>
                  <a:lnTo>
                    <a:pt x="182" y="90"/>
                  </a:lnTo>
                  <a:lnTo>
                    <a:pt x="164" y="104"/>
                  </a:lnTo>
                  <a:lnTo>
                    <a:pt x="148" y="119"/>
                  </a:lnTo>
                  <a:lnTo>
                    <a:pt x="133" y="133"/>
                  </a:lnTo>
                  <a:lnTo>
                    <a:pt x="118" y="149"/>
                  </a:lnTo>
                  <a:lnTo>
                    <a:pt x="103" y="165"/>
                  </a:lnTo>
                  <a:lnTo>
                    <a:pt x="90" y="183"/>
                  </a:lnTo>
                  <a:lnTo>
                    <a:pt x="77" y="200"/>
                  </a:lnTo>
                  <a:lnTo>
                    <a:pt x="66" y="218"/>
                  </a:lnTo>
                  <a:lnTo>
                    <a:pt x="55" y="237"/>
                  </a:lnTo>
                  <a:lnTo>
                    <a:pt x="45" y="256"/>
                  </a:lnTo>
                  <a:lnTo>
                    <a:pt x="36" y="277"/>
                  </a:lnTo>
                  <a:lnTo>
                    <a:pt x="28" y="297"/>
                  </a:lnTo>
                  <a:lnTo>
                    <a:pt x="21" y="318"/>
                  </a:lnTo>
                  <a:lnTo>
                    <a:pt x="15" y="340"/>
                  </a:lnTo>
                  <a:lnTo>
                    <a:pt x="9" y="361"/>
                  </a:lnTo>
                  <a:lnTo>
                    <a:pt x="6" y="383"/>
                  </a:lnTo>
                  <a:lnTo>
                    <a:pt x="3" y="406"/>
                  </a:lnTo>
                  <a:lnTo>
                    <a:pt x="2" y="429"/>
                  </a:lnTo>
                  <a:lnTo>
                    <a:pt x="0" y="453"/>
                  </a:lnTo>
                  <a:lnTo>
                    <a:pt x="0" y="453"/>
                  </a:lnTo>
                  <a:lnTo>
                    <a:pt x="2" y="475"/>
                  </a:lnTo>
                  <a:lnTo>
                    <a:pt x="3" y="498"/>
                  </a:lnTo>
                  <a:lnTo>
                    <a:pt x="6" y="521"/>
                  </a:lnTo>
                  <a:lnTo>
                    <a:pt x="9" y="544"/>
                  </a:lnTo>
                  <a:lnTo>
                    <a:pt x="15" y="565"/>
                  </a:lnTo>
                  <a:lnTo>
                    <a:pt x="21" y="587"/>
                  </a:lnTo>
                  <a:lnTo>
                    <a:pt x="28" y="608"/>
                  </a:lnTo>
                  <a:lnTo>
                    <a:pt x="36" y="628"/>
                  </a:lnTo>
                  <a:lnTo>
                    <a:pt x="45" y="648"/>
                  </a:lnTo>
                  <a:lnTo>
                    <a:pt x="55" y="667"/>
                  </a:lnTo>
                  <a:lnTo>
                    <a:pt x="66" y="687"/>
                  </a:lnTo>
                  <a:lnTo>
                    <a:pt x="77" y="705"/>
                  </a:lnTo>
                  <a:lnTo>
                    <a:pt x="90" y="722"/>
                  </a:lnTo>
                  <a:lnTo>
                    <a:pt x="103" y="740"/>
                  </a:lnTo>
                  <a:lnTo>
                    <a:pt x="118" y="756"/>
                  </a:lnTo>
                  <a:lnTo>
                    <a:pt x="133" y="771"/>
                  </a:lnTo>
                  <a:lnTo>
                    <a:pt x="148" y="786"/>
                  </a:lnTo>
                  <a:lnTo>
                    <a:pt x="164" y="801"/>
                  </a:lnTo>
                  <a:lnTo>
                    <a:pt x="182" y="814"/>
                  </a:lnTo>
                  <a:lnTo>
                    <a:pt x="200" y="827"/>
                  </a:lnTo>
                  <a:lnTo>
                    <a:pt x="217" y="838"/>
                  </a:lnTo>
                  <a:lnTo>
                    <a:pt x="237" y="849"/>
                  </a:lnTo>
                  <a:lnTo>
                    <a:pt x="256" y="859"/>
                  </a:lnTo>
                  <a:lnTo>
                    <a:pt x="276" y="868"/>
                  </a:lnTo>
                  <a:lnTo>
                    <a:pt x="296" y="876"/>
                  </a:lnTo>
                  <a:lnTo>
                    <a:pt x="318" y="883"/>
                  </a:lnTo>
                  <a:lnTo>
                    <a:pt x="339" y="889"/>
                  </a:lnTo>
                  <a:lnTo>
                    <a:pt x="360" y="895"/>
                  </a:lnTo>
                  <a:lnTo>
                    <a:pt x="383" y="898"/>
                  </a:lnTo>
                  <a:lnTo>
                    <a:pt x="406" y="901"/>
                  </a:lnTo>
                  <a:lnTo>
                    <a:pt x="429" y="904"/>
                  </a:lnTo>
                  <a:lnTo>
                    <a:pt x="452" y="904"/>
                  </a:lnTo>
                  <a:lnTo>
                    <a:pt x="452" y="904"/>
                  </a:lnTo>
                  <a:lnTo>
                    <a:pt x="475" y="904"/>
                  </a:lnTo>
                  <a:lnTo>
                    <a:pt x="498" y="901"/>
                  </a:lnTo>
                  <a:lnTo>
                    <a:pt x="521" y="898"/>
                  </a:lnTo>
                  <a:lnTo>
                    <a:pt x="543" y="895"/>
                  </a:lnTo>
                  <a:lnTo>
                    <a:pt x="564" y="889"/>
                  </a:lnTo>
                  <a:lnTo>
                    <a:pt x="586" y="883"/>
                  </a:lnTo>
                  <a:lnTo>
                    <a:pt x="607" y="876"/>
                  </a:lnTo>
                  <a:lnTo>
                    <a:pt x="627" y="868"/>
                  </a:lnTo>
                  <a:lnTo>
                    <a:pt x="648" y="859"/>
                  </a:lnTo>
                  <a:lnTo>
                    <a:pt x="667" y="849"/>
                  </a:lnTo>
                  <a:lnTo>
                    <a:pt x="686" y="838"/>
                  </a:lnTo>
                  <a:lnTo>
                    <a:pt x="704" y="827"/>
                  </a:lnTo>
                  <a:lnTo>
                    <a:pt x="721" y="814"/>
                  </a:lnTo>
                  <a:lnTo>
                    <a:pt x="739" y="801"/>
                  </a:lnTo>
                  <a:lnTo>
                    <a:pt x="755" y="786"/>
                  </a:lnTo>
                  <a:lnTo>
                    <a:pt x="771" y="771"/>
                  </a:lnTo>
                  <a:lnTo>
                    <a:pt x="785" y="756"/>
                  </a:lnTo>
                  <a:lnTo>
                    <a:pt x="801" y="740"/>
                  </a:lnTo>
                  <a:lnTo>
                    <a:pt x="814" y="722"/>
                  </a:lnTo>
                  <a:lnTo>
                    <a:pt x="827" y="705"/>
                  </a:lnTo>
                  <a:lnTo>
                    <a:pt x="837" y="687"/>
                  </a:lnTo>
                  <a:lnTo>
                    <a:pt x="848" y="667"/>
                  </a:lnTo>
                  <a:lnTo>
                    <a:pt x="859" y="648"/>
                  </a:lnTo>
                  <a:lnTo>
                    <a:pt x="868" y="628"/>
                  </a:lnTo>
                  <a:lnTo>
                    <a:pt x="875" y="608"/>
                  </a:lnTo>
                  <a:lnTo>
                    <a:pt x="883" y="587"/>
                  </a:lnTo>
                  <a:lnTo>
                    <a:pt x="890" y="565"/>
                  </a:lnTo>
                  <a:lnTo>
                    <a:pt x="894" y="544"/>
                  </a:lnTo>
                  <a:lnTo>
                    <a:pt x="898" y="521"/>
                  </a:lnTo>
                  <a:lnTo>
                    <a:pt x="900" y="498"/>
                  </a:lnTo>
                  <a:lnTo>
                    <a:pt x="903" y="475"/>
                  </a:lnTo>
                  <a:lnTo>
                    <a:pt x="904" y="453"/>
                  </a:lnTo>
                  <a:lnTo>
                    <a:pt x="904" y="453"/>
                  </a:lnTo>
                  <a:lnTo>
                    <a:pt x="903" y="429"/>
                  </a:lnTo>
                  <a:lnTo>
                    <a:pt x="900" y="406"/>
                  </a:lnTo>
                  <a:lnTo>
                    <a:pt x="898" y="383"/>
                  </a:lnTo>
                  <a:lnTo>
                    <a:pt x="894" y="361"/>
                  </a:lnTo>
                  <a:lnTo>
                    <a:pt x="890" y="340"/>
                  </a:lnTo>
                  <a:lnTo>
                    <a:pt x="883" y="318"/>
                  </a:lnTo>
                  <a:lnTo>
                    <a:pt x="875" y="297"/>
                  </a:lnTo>
                  <a:lnTo>
                    <a:pt x="868" y="277"/>
                  </a:lnTo>
                  <a:lnTo>
                    <a:pt x="859" y="256"/>
                  </a:lnTo>
                  <a:lnTo>
                    <a:pt x="848" y="237"/>
                  </a:lnTo>
                  <a:lnTo>
                    <a:pt x="837" y="218"/>
                  </a:lnTo>
                  <a:lnTo>
                    <a:pt x="827" y="200"/>
                  </a:lnTo>
                  <a:lnTo>
                    <a:pt x="814" y="183"/>
                  </a:lnTo>
                  <a:lnTo>
                    <a:pt x="801" y="165"/>
                  </a:lnTo>
                  <a:lnTo>
                    <a:pt x="785" y="149"/>
                  </a:lnTo>
                  <a:lnTo>
                    <a:pt x="771" y="133"/>
                  </a:lnTo>
                  <a:lnTo>
                    <a:pt x="755" y="119"/>
                  </a:lnTo>
                  <a:lnTo>
                    <a:pt x="739" y="104"/>
                  </a:lnTo>
                  <a:lnTo>
                    <a:pt x="721" y="90"/>
                  </a:lnTo>
                  <a:lnTo>
                    <a:pt x="704" y="78"/>
                  </a:lnTo>
                  <a:lnTo>
                    <a:pt x="686" y="67"/>
                  </a:lnTo>
                  <a:lnTo>
                    <a:pt x="667" y="56"/>
                  </a:lnTo>
                  <a:lnTo>
                    <a:pt x="648" y="45"/>
                  </a:lnTo>
                  <a:lnTo>
                    <a:pt x="627" y="36"/>
                  </a:lnTo>
                  <a:lnTo>
                    <a:pt x="607" y="29"/>
                  </a:lnTo>
                  <a:lnTo>
                    <a:pt x="586" y="21"/>
                  </a:lnTo>
                  <a:lnTo>
                    <a:pt x="564" y="16"/>
                  </a:lnTo>
                  <a:lnTo>
                    <a:pt x="543" y="10"/>
                  </a:lnTo>
                  <a:lnTo>
                    <a:pt x="521" y="6"/>
                  </a:lnTo>
                  <a:lnTo>
                    <a:pt x="498" y="4"/>
                  </a:lnTo>
                  <a:lnTo>
                    <a:pt x="475" y="1"/>
                  </a:lnTo>
                  <a:lnTo>
                    <a:pt x="452" y="0"/>
                  </a:lnTo>
                  <a:lnTo>
                    <a:pt x="452" y="0"/>
                  </a:lnTo>
                  <a:close/>
                  <a:moveTo>
                    <a:pt x="452" y="753"/>
                  </a:moveTo>
                  <a:lnTo>
                    <a:pt x="452" y="753"/>
                  </a:lnTo>
                  <a:lnTo>
                    <a:pt x="436" y="753"/>
                  </a:lnTo>
                  <a:lnTo>
                    <a:pt x="421" y="752"/>
                  </a:lnTo>
                  <a:lnTo>
                    <a:pt x="406" y="750"/>
                  </a:lnTo>
                  <a:lnTo>
                    <a:pt x="391" y="747"/>
                  </a:lnTo>
                  <a:lnTo>
                    <a:pt x="377" y="744"/>
                  </a:lnTo>
                  <a:lnTo>
                    <a:pt x="363" y="740"/>
                  </a:lnTo>
                  <a:lnTo>
                    <a:pt x="348" y="735"/>
                  </a:lnTo>
                  <a:lnTo>
                    <a:pt x="334" y="730"/>
                  </a:lnTo>
                  <a:lnTo>
                    <a:pt x="321" y="724"/>
                  </a:lnTo>
                  <a:lnTo>
                    <a:pt x="308" y="717"/>
                  </a:lnTo>
                  <a:lnTo>
                    <a:pt x="295" y="709"/>
                  </a:lnTo>
                  <a:lnTo>
                    <a:pt x="283" y="702"/>
                  </a:lnTo>
                  <a:lnTo>
                    <a:pt x="272" y="693"/>
                  </a:lnTo>
                  <a:lnTo>
                    <a:pt x="261" y="685"/>
                  </a:lnTo>
                  <a:lnTo>
                    <a:pt x="250" y="675"/>
                  </a:lnTo>
                  <a:lnTo>
                    <a:pt x="239" y="665"/>
                  </a:lnTo>
                  <a:lnTo>
                    <a:pt x="229" y="654"/>
                  </a:lnTo>
                  <a:lnTo>
                    <a:pt x="219" y="643"/>
                  </a:lnTo>
                  <a:lnTo>
                    <a:pt x="211" y="632"/>
                  </a:lnTo>
                  <a:lnTo>
                    <a:pt x="202" y="621"/>
                  </a:lnTo>
                  <a:lnTo>
                    <a:pt x="195" y="609"/>
                  </a:lnTo>
                  <a:lnTo>
                    <a:pt x="187" y="596"/>
                  </a:lnTo>
                  <a:lnTo>
                    <a:pt x="180" y="583"/>
                  </a:lnTo>
                  <a:lnTo>
                    <a:pt x="175" y="570"/>
                  </a:lnTo>
                  <a:lnTo>
                    <a:pt x="170" y="556"/>
                  </a:lnTo>
                  <a:lnTo>
                    <a:pt x="164" y="541"/>
                  </a:lnTo>
                  <a:lnTo>
                    <a:pt x="161" y="527"/>
                  </a:lnTo>
                  <a:lnTo>
                    <a:pt x="157" y="513"/>
                  </a:lnTo>
                  <a:lnTo>
                    <a:pt x="154" y="498"/>
                  </a:lnTo>
                  <a:lnTo>
                    <a:pt x="152" y="483"/>
                  </a:lnTo>
                  <a:lnTo>
                    <a:pt x="151" y="468"/>
                  </a:lnTo>
                  <a:lnTo>
                    <a:pt x="151" y="453"/>
                  </a:lnTo>
                  <a:lnTo>
                    <a:pt x="151" y="453"/>
                  </a:lnTo>
                  <a:lnTo>
                    <a:pt x="151" y="436"/>
                  </a:lnTo>
                  <a:lnTo>
                    <a:pt x="152" y="421"/>
                  </a:lnTo>
                  <a:lnTo>
                    <a:pt x="154" y="407"/>
                  </a:lnTo>
                  <a:lnTo>
                    <a:pt x="157" y="392"/>
                  </a:lnTo>
                  <a:lnTo>
                    <a:pt x="161" y="377"/>
                  </a:lnTo>
                  <a:lnTo>
                    <a:pt x="164" y="363"/>
                  </a:lnTo>
                  <a:lnTo>
                    <a:pt x="170" y="348"/>
                  </a:lnTo>
                  <a:lnTo>
                    <a:pt x="175" y="335"/>
                  </a:lnTo>
                  <a:lnTo>
                    <a:pt x="180" y="321"/>
                  </a:lnTo>
                  <a:lnTo>
                    <a:pt x="187" y="308"/>
                  </a:lnTo>
                  <a:lnTo>
                    <a:pt x="195" y="296"/>
                  </a:lnTo>
                  <a:lnTo>
                    <a:pt x="202" y="284"/>
                  </a:lnTo>
                  <a:lnTo>
                    <a:pt x="211" y="273"/>
                  </a:lnTo>
                  <a:lnTo>
                    <a:pt x="219" y="261"/>
                  </a:lnTo>
                  <a:lnTo>
                    <a:pt x="229" y="250"/>
                  </a:lnTo>
                  <a:lnTo>
                    <a:pt x="239" y="240"/>
                  </a:lnTo>
                  <a:lnTo>
                    <a:pt x="250" y="229"/>
                  </a:lnTo>
                  <a:lnTo>
                    <a:pt x="261" y="220"/>
                  </a:lnTo>
                  <a:lnTo>
                    <a:pt x="272" y="211"/>
                  </a:lnTo>
                  <a:lnTo>
                    <a:pt x="283" y="203"/>
                  </a:lnTo>
                  <a:lnTo>
                    <a:pt x="295" y="194"/>
                  </a:lnTo>
                  <a:lnTo>
                    <a:pt x="308" y="188"/>
                  </a:lnTo>
                  <a:lnTo>
                    <a:pt x="321" y="181"/>
                  </a:lnTo>
                  <a:lnTo>
                    <a:pt x="334" y="175"/>
                  </a:lnTo>
                  <a:lnTo>
                    <a:pt x="348" y="170"/>
                  </a:lnTo>
                  <a:lnTo>
                    <a:pt x="363" y="165"/>
                  </a:lnTo>
                  <a:lnTo>
                    <a:pt x="377" y="161"/>
                  </a:lnTo>
                  <a:lnTo>
                    <a:pt x="391" y="158"/>
                  </a:lnTo>
                  <a:lnTo>
                    <a:pt x="406" y="154"/>
                  </a:lnTo>
                  <a:lnTo>
                    <a:pt x="421" y="153"/>
                  </a:lnTo>
                  <a:lnTo>
                    <a:pt x="436" y="152"/>
                  </a:lnTo>
                  <a:lnTo>
                    <a:pt x="452" y="151"/>
                  </a:lnTo>
                  <a:lnTo>
                    <a:pt x="452" y="151"/>
                  </a:lnTo>
                  <a:lnTo>
                    <a:pt x="468" y="152"/>
                  </a:lnTo>
                  <a:lnTo>
                    <a:pt x="483" y="153"/>
                  </a:lnTo>
                  <a:lnTo>
                    <a:pt x="498" y="154"/>
                  </a:lnTo>
                  <a:lnTo>
                    <a:pt x="512" y="158"/>
                  </a:lnTo>
                  <a:lnTo>
                    <a:pt x="527" y="161"/>
                  </a:lnTo>
                  <a:lnTo>
                    <a:pt x="541" y="165"/>
                  </a:lnTo>
                  <a:lnTo>
                    <a:pt x="556" y="170"/>
                  </a:lnTo>
                  <a:lnTo>
                    <a:pt x="569" y="175"/>
                  </a:lnTo>
                  <a:lnTo>
                    <a:pt x="583" y="181"/>
                  </a:lnTo>
                  <a:lnTo>
                    <a:pt x="596" y="188"/>
                  </a:lnTo>
                  <a:lnTo>
                    <a:pt x="608" y="194"/>
                  </a:lnTo>
                  <a:lnTo>
                    <a:pt x="621" y="203"/>
                  </a:lnTo>
                  <a:lnTo>
                    <a:pt x="631" y="211"/>
                  </a:lnTo>
                  <a:lnTo>
                    <a:pt x="643" y="220"/>
                  </a:lnTo>
                  <a:lnTo>
                    <a:pt x="654" y="229"/>
                  </a:lnTo>
                  <a:lnTo>
                    <a:pt x="665" y="240"/>
                  </a:lnTo>
                  <a:lnTo>
                    <a:pt x="675" y="250"/>
                  </a:lnTo>
                  <a:lnTo>
                    <a:pt x="685" y="261"/>
                  </a:lnTo>
                  <a:lnTo>
                    <a:pt x="693" y="273"/>
                  </a:lnTo>
                  <a:lnTo>
                    <a:pt x="702" y="284"/>
                  </a:lnTo>
                  <a:lnTo>
                    <a:pt x="710" y="296"/>
                  </a:lnTo>
                  <a:lnTo>
                    <a:pt x="716" y="308"/>
                  </a:lnTo>
                  <a:lnTo>
                    <a:pt x="724" y="321"/>
                  </a:lnTo>
                  <a:lnTo>
                    <a:pt x="729" y="335"/>
                  </a:lnTo>
                  <a:lnTo>
                    <a:pt x="734" y="348"/>
                  </a:lnTo>
                  <a:lnTo>
                    <a:pt x="739" y="363"/>
                  </a:lnTo>
                  <a:lnTo>
                    <a:pt x="743" y="377"/>
                  </a:lnTo>
                  <a:lnTo>
                    <a:pt x="746" y="392"/>
                  </a:lnTo>
                  <a:lnTo>
                    <a:pt x="750" y="407"/>
                  </a:lnTo>
                  <a:lnTo>
                    <a:pt x="752" y="421"/>
                  </a:lnTo>
                  <a:lnTo>
                    <a:pt x="753" y="436"/>
                  </a:lnTo>
                  <a:lnTo>
                    <a:pt x="753" y="453"/>
                  </a:lnTo>
                  <a:lnTo>
                    <a:pt x="753" y="453"/>
                  </a:lnTo>
                  <a:lnTo>
                    <a:pt x="753" y="468"/>
                  </a:lnTo>
                  <a:lnTo>
                    <a:pt x="752" y="483"/>
                  </a:lnTo>
                  <a:lnTo>
                    <a:pt x="750" y="498"/>
                  </a:lnTo>
                  <a:lnTo>
                    <a:pt x="746" y="513"/>
                  </a:lnTo>
                  <a:lnTo>
                    <a:pt x="743" y="527"/>
                  </a:lnTo>
                  <a:lnTo>
                    <a:pt x="739" y="541"/>
                  </a:lnTo>
                  <a:lnTo>
                    <a:pt x="734" y="556"/>
                  </a:lnTo>
                  <a:lnTo>
                    <a:pt x="729" y="570"/>
                  </a:lnTo>
                  <a:lnTo>
                    <a:pt x="724" y="583"/>
                  </a:lnTo>
                  <a:lnTo>
                    <a:pt x="716" y="596"/>
                  </a:lnTo>
                  <a:lnTo>
                    <a:pt x="710" y="609"/>
                  </a:lnTo>
                  <a:lnTo>
                    <a:pt x="702" y="621"/>
                  </a:lnTo>
                  <a:lnTo>
                    <a:pt x="693" y="632"/>
                  </a:lnTo>
                  <a:lnTo>
                    <a:pt x="685" y="643"/>
                  </a:lnTo>
                  <a:lnTo>
                    <a:pt x="675" y="654"/>
                  </a:lnTo>
                  <a:lnTo>
                    <a:pt x="665" y="665"/>
                  </a:lnTo>
                  <a:lnTo>
                    <a:pt x="654" y="675"/>
                  </a:lnTo>
                  <a:lnTo>
                    <a:pt x="643" y="685"/>
                  </a:lnTo>
                  <a:lnTo>
                    <a:pt x="631" y="693"/>
                  </a:lnTo>
                  <a:lnTo>
                    <a:pt x="621" y="702"/>
                  </a:lnTo>
                  <a:lnTo>
                    <a:pt x="608" y="709"/>
                  </a:lnTo>
                  <a:lnTo>
                    <a:pt x="596" y="717"/>
                  </a:lnTo>
                  <a:lnTo>
                    <a:pt x="583" y="724"/>
                  </a:lnTo>
                  <a:lnTo>
                    <a:pt x="569" y="730"/>
                  </a:lnTo>
                  <a:lnTo>
                    <a:pt x="556" y="735"/>
                  </a:lnTo>
                  <a:lnTo>
                    <a:pt x="541" y="740"/>
                  </a:lnTo>
                  <a:lnTo>
                    <a:pt x="527" y="744"/>
                  </a:lnTo>
                  <a:lnTo>
                    <a:pt x="512" y="747"/>
                  </a:lnTo>
                  <a:lnTo>
                    <a:pt x="498" y="750"/>
                  </a:lnTo>
                  <a:lnTo>
                    <a:pt x="483" y="752"/>
                  </a:lnTo>
                  <a:lnTo>
                    <a:pt x="468" y="753"/>
                  </a:lnTo>
                  <a:lnTo>
                    <a:pt x="452" y="753"/>
                  </a:lnTo>
                  <a:lnTo>
                    <a:pt x="452" y="7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</p:grpSp>
      <p:grpSp>
        <p:nvGrpSpPr>
          <p:cNvPr id="75" name="Group 138"/>
          <p:cNvGrpSpPr>
            <a:grpSpLocks noChangeAspect="1"/>
          </p:cNvGrpSpPr>
          <p:nvPr/>
        </p:nvGrpSpPr>
        <p:grpSpPr bwMode="auto">
          <a:xfrm>
            <a:off x="1212440" y="3379333"/>
            <a:ext cx="407279" cy="352692"/>
            <a:chOff x="4418" y="1677"/>
            <a:chExt cx="3171" cy="2746"/>
          </a:xfrm>
          <a:solidFill>
            <a:schemeClr val="bg1"/>
          </a:solidFill>
        </p:grpSpPr>
        <p:sp>
          <p:nvSpPr>
            <p:cNvPr id="76" name="Freeform 140"/>
            <p:cNvSpPr>
              <a:spLocks/>
            </p:cNvSpPr>
            <p:nvPr/>
          </p:nvSpPr>
          <p:spPr bwMode="auto">
            <a:xfrm>
              <a:off x="6235" y="2277"/>
              <a:ext cx="544" cy="544"/>
            </a:xfrm>
            <a:custGeom>
              <a:avLst/>
              <a:gdLst>
                <a:gd name="T0" fmla="*/ 544 w 1089"/>
                <a:gd name="T1" fmla="*/ 0 h 1088"/>
                <a:gd name="T2" fmla="*/ 625 w 1089"/>
                <a:gd name="T3" fmla="*/ 6 h 1088"/>
                <a:gd name="T4" fmla="*/ 702 w 1089"/>
                <a:gd name="T5" fmla="*/ 23 h 1088"/>
                <a:gd name="T6" fmla="*/ 773 w 1089"/>
                <a:gd name="T7" fmla="*/ 50 h 1088"/>
                <a:gd name="T8" fmla="*/ 840 w 1089"/>
                <a:gd name="T9" fmla="*/ 87 h 1088"/>
                <a:gd name="T10" fmla="*/ 900 w 1089"/>
                <a:gd name="T11" fmla="*/ 133 h 1088"/>
                <a:gd name="T12" fmla="*/ 954 w 1089"/>
                <a:gd name="T13" fmla="*/ 187 h 1088"/>
                <a:gd name="T14" fmla="*/ 1000 w 1089"/>
                <a:gd name="T15" fmla="*/ 248 h 1088"/>
                <a:gd name="T16" fmla="*/ 1039 w 1089"/>
                <a:gd name="T17" fmla="*/ 316 h 1088"/>
                <a:gd name="T18" fmla="*/ 1065 w 1089"/>
                <a:gd name="T19" fmla="*/ 387 h 1088"/>
                <a:gd name="T20" fmla="*/ 1083 w 1089"/>
                <a:gd name="T21" fmla="*/ 464 h 1088"/>
                <a:gd name="T22" fmla="*/ 1089 w 1089"/>
                <a:gd name="T23" fmla="*/ 545 h 1088"/>
                <a:gd name="T24" fmla="*/ 1083 w 1089"/>
                <a:gd name="T25" fmla="*/ 624 h 1088"/>
                <a:gd name="T26" fmla="*/ 1065 w 1089"/>
                <a:gd name="T27" fmla="*/ 701 h 1088"/>
                <a:gd name="T28" fmla="*/ 1039 w 1089"/>
                <a:gd name="T29" fmla="*/ 774 h 1088"/>
                <a:gd name="T30" fmla="*/ 1000 w 1089"/>
                <a:gd name="T31" fmla="*/ 841 h 1088"/>
                <a:gd name="T32" fmla="*/ 954 w 1089"/>
                <a:gd name="T33" fmla="*/ 901 h 1088"/>
                <a:gd name="T34" fmla="*/ 900 w 1089"/>
                <a:gd name="T35" fmla="*/ 955 h 1088"/>
                <a:gd name="T36" fmla="*/ 840 w 1089"/>
                <a:gd name="T37" fmla="*/ 1001 h 1088"/>
                <a:gd name="T38" fmla="*/ 773 w 1089"/>
                <a:gd name="T39" fmla="*/ 1038 h 1088"/>
                <a:gd name="T40" fmla="*/ 702 w 1089"/>
                <a:gd name="T41" fmla="*/ 1065 h 1088"/>
                <a:gd name="T42" fmla="*/ 625 w 1089"/>
                <a:gd name="T43" fmla="*/ 1082 h 1088"/>
                <a:gd name="T44" fmla="*/ 544 w 1089"/>
                <a:gd name="T45" fmla="*/ 1088 h 1088"/>
                <a:gd name="T46" fmla="*/ 463 w 1089"/>
                <a:gd name="T47" fmla="*/ 1082 h 1088"/>
                <a:gd name="T48" fmla="*/ 386 w 1089"/>
                <a:gd name="T49" fmla="*/ 1065 h 1088"/>
                <a:gd name="T50" fmla="*/ 315 w 1089"/>
                <a:gd name="T51" fmla="*/ 1038 h 1088"/>
                <a:gd name="T52" fmla="*/ 248 w 1089"/>
                <a:gd name="T53" fmla="*/ 1001 h 1088"/>
                <a:gd name="T54" fmla="*/ 188 w 1089"/>
                <a:gd name="T55" fmla="*/ 955 h 1088"/>
                <a:gd name="T56" fmla="*/ 134 w 1089"/>
                <a:gd name="T57" fmla="*/ 901 h 1088"/>
                <a:gd name="T58" fmla="*/ 88 w 1089"/>
                <a:gd name="T59" fmla="*/ 841 h 1088"/>
                <a:gd name="T60" fmla="*/ 52 w 1089"/>
                <a:gd name="T61" fmla="*/ 774 h 1088"/>
                <a:gd name="T62" fmla="*/ 23 w 1089"/>
                <a:gd name="T63" fmla="*/ 701 h 1088"/>
                <a:gd name="T64" fmla="*/ 6 w 1089"/>
                <a:gd name="T65" fmla="*/ 624 h 1088"/>
                <a:gd name="T66" fmla="*/ 0 w 1089"/>
                <a:gd name="T67" fmla="*/ 545 h 1088"/>
                <a:gd name="T68" fmla="*/ 6 w 1089"/>
                <a:gd name="T69" fmla="*/ 464 h 1088"/>
                <a:gd name="T70" fmla="*/ 23 w 1089"/>
                <a:gd name="T71" fmla="*/ 387 h 1088"/>
                <a:gd name="T72" fmla="*/ 52 w 1089"/>
                <a:gd name="T73" fmla="*/ 316 h 1088"/>
                <a:gd name="T74" fmla="*/ 88 w 1089"/>
                <a:gd name="T75" fmla="*/ 248 h 1088"/>
                <a:gd name="T76" fmla="*/ 134 w 1089"/>
                <a:gd name="T77" fmla="*/ 187 h 1088"/>
                <a:gd name="T78" fmla="*/ 188 w 1089"/>
                <a:gd name="T79" fmla="*/ 133 h 1088"/>
                <a:gd name="T80" fmla="*/ 248 w 1089"/>
                <a:gd name="T81" fmla="*/ 87 h 1088"/>
                <a:gd name="T82" fmla="*/ 315 w 1089"/>
                <a:gd name="T83" fmla="*/ 50 h 1088"/>
                <a:gd name="T84" fmla="*/ 386 w 1089"/>
                <a:gd name="T85" fmla="*/ 23 h 1088"/>
                <a:gd name="T86" fmla="*/ 463 w 1089"/>
                <a:gd name="T87" fmla="*/ 6 h 1088"/>
                <a:gd name="T88" fmla="*/ 544 w 1089"/>
                <a:gd name="T89" fmla="*/ 0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89" h="1088">
                  <a:moveTo>
                    <a:pt x="544" y="0"/>
                  </a:moveTo>
                  <a:lnTo>
                    <a:pt x="625" y="6"/>
                  </a:lnTo>
                  <a:lnTo>
                    <a:pt x="702" y="23"/>
                  </a:lnTo>
                  <a:lnTo>
                    <a:pt x="773" y="50"/>
                  </a:lnTo>
                  <a:lnTo>
                    <a:pt x="840" y="87"/>
                  </a:lnTo>
                  <a:lnTo>
                    <a:pt x="900" y="133"/>
                  </a:lnTo>
                  <a:lnTo>
                    <a:pt x="954" y="187"/>
                  </a:lnTo>
                  <a:lnTo>
                    <a:pt x="1000" y="248"/>
                  </a:lnTo>
                  <a:lnTo>
                    <a:pt x="1039" y="316"/>
                  </a:lnTo>
                  <a:lnTo>
                    <a:pt x="1065" y="387"/>
                  </a:lnTo>
                  <a:lnTo>
                    <a:pt x="1083" y="464"/>
                  </a:lnTo>
                  <a:lnTo>
                    <a:pt x="1089" y="545"/>
                  </a:lnTo>
                  <a:lnTo>
                    <a:pt x="1083" y="624"/>
                  </a:lnTo>
                  <a:lnTo>
                    <a:pt x="1065" y="701"/>
                  </a:lnTo>
                  <a:lnTo>
                    <a:pt x="1039" y="774"/>
                  </a:lnTo>
                  <a:lnTo>
                    <a:pt x="1000" y="841"/>
                  </a:lnTo>
                  <a:lnTo>
                    <a:pt x="954" y="901"/>
                  </a:lnTo>
                  <a:lnTo>
                    <a:pt x="900" y="955"/>
                  </a:lnTo>
                  <a:lnTo>
                    <a:pt x="840" y="1001"/>
                  </a:lnTo>
                  <a:lnTo>
                    <a:pt x="773" y="1038"/>
                  </a:lnTo>
                  <a:lnTo>
                    <a:pt x="702" y="1065"/>
                  </a:lnTo>
                  <a:lnTo>
                    <a:pt x="625" y="1082"/>
                  </a:lnTo>
                  <a:lnTo>
                    <a:pt x="544" y="1088"/>
                  </a:lnTo>
                  <a:lnTo>
                    <a:pt x="463" y="1082"/>
                  </a:lnTo>
                  <a:lnTo>
                    <a:pt x="386" y="1065"/>
                  </a:lnTo>
                  <a:lnTo>
                    <a:pt x="315" y="1038"/>
                  </a:lnTo>
                  <a:lnTo>
                    <a:pt x="248" y="1001"/>
                  </a:lnTo>
                  <a:lnTo>
                    <a:pt x="188" y="955"/>
                  </a:lnTo>
                  <a:lnTo>
                    <a:pt x="134" y="901"/>
                  </a:lnTo>
                  <a:lnTo>
                    <a:pt x="88" y="841"/>
                  </a:lnTo>
                  <a:lnTo>
                    <a:pt x="52" y="774"/>
                  </a:lnTo>
                  <a:lnTo>
                    <a:pt x="23" y="701"/>
                  </a:lnTo>
                  <a:lnTo>
                    <a:pt x="6" y="624"/>
                  </a:lnTo>
                  <a:lnTo>
                    <a:pt x="0" y="545"/>
                  </a:lnTo>
                  <a:lnTo>
                    <a:pt x="6" y="464"/>
                  </a:lnTo>
                  <a:lnTo>
                    <a:pt x="23" y="387"/>
                  </a:lnTo>
                  <a:lnTo>
                    <a:pt x="52" y="316"/>
                  </a:lnTo>
                  <a:lnTo>
                    <a:pt x="88" y="248"/>
                  </a:lnTo>
                  <a:lnTo>
                    <a:pt x="134" y="187"/>
                  </a:lnTo>
                  <a:lnTo>
                    <a:pt x="188" y="133"/>
                  </a:lnTo>
                  <a:lnTo>
                    <a:pt x="248" y="87"/>
                  </a:lnTo>
                  <a:lnTo>
                    <a:pt x="315" y="50"/>
                  </a:lnTo>
                  <a:lnTo>
                    <a:pt x="386" y="23"/>
                  </a:lnTo>
                  <a:lnTo>
                    <a:pt x="463" y="6"/>
                  </a:lnTo>
                  <a:lnTo>
                    <a:pt x="54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77" name="Freeform 141"/>
            <p:cNvSpPr>
              <a:spLocks/>
            </p:cNvSpPr>
            <p:nvPr/>
          </p:nvSpPr>
          <p:spPr bwMode="auto">
            <a:xfrm>
              <a:off x="4418" y="1677"/>
              <a:ext cx="1807" cy="2073"/>
            </a:xfrm>
            <a:custGeom>
              <a:avLst/>
              <a:gdLst>
                <a:gd name="T0" fmla="*/ 3615 w 3615"/>
                <a:gd name="T1" fmla="*/ 0 h 4147"/>
                <a:gd name="T2" fmla="*/ 3518 w 3615"/>
                <a:gd name="T3" fmla="*/ 88 h 4147"/>
                <a:gd name="T4" fmla="*/ 3449 w 3615"/>
                <a:gd name="T5" fmla="*/ 198 h 4147"/>
                <a:gd name="T6" fmla="*/ 3407 w 3615"/>
                <a:gd name="T7" fmla="*/ 323 h 4147"/>
                <a:gd name="T8" fmla="*/ 3341 w 3615"/>
                <a:gd name="T9" fmla="*/ 367 h 4147"/>
                <a:gd name="T10" fmla="*/ 3224 w 3615"/>
                <a:gd name="T11" fmla="*/ 340 h 4147"/>
                <a:gd name="T12" fmla="*/ 3093 w 3615"/>
                <a:gd name="T13" fmla="*/ 340 h 4147"/>
                <a:gd name="T14" fmla="*/ 2970 w 3615"/>
                <a:gd name="T15" fmla="*/ 373 h 4147"/>
                <a:gd name="T16" fmla="*/ 2870 w 3615"/>
                <a:gd name="T17" fmla="*/ 427 h 4147"/>
                <a:gd name="T18" fmla="*/ 494 w 3615"/>
                <a:gd name="T19" fmla="*/ 431 h 4147"/>
                <a:gd name="T20" fmla="*/ 446 w 3615"/>
                <a:gd name="T21" fmla="*/ 467 h 4147"/>
                <a:gd name="T22" fmla="*/ 427 w 3615"/>
                <a:gd name="T23" fmla="*/ 525 h 4147"/>
                <a:gd name="T24" fmla="*/ 396 w 3615"/>
                <a:gd name="T25" fmla="*/ 2189 h 4147"/>
                <a:gd name="T26" fmla="*/ 369 w 3615"/>
                <a:gd name="T27" fmla="*/ 2323 h 4147"/>
                <a:gd name="T28" fmla="*/ 379 w 3615"/>
                <a:gd name="T29" fmla="*/ 2460 h 4147"/>
                <a:gd name="T30" fmla="*/ 427 w 3615"/>
                <a:gd name="T31" fmla="*/ 2587 h 4147"/>
                <a:gd name="T32" fmla="*/ 398 w 3615"/>
                <a:gd name="T33" fmla="*/ 2884 h 4147"/>
                <a:gd name="T34" fmla="*/ 369 w 3615"/>
                <a:gd name="T35" fmla="*/ 3017 h 4147"/>
                <a:gd name="T36" fmla="*/ 377 w 3615"/>
                <a:gd name="T37" fmla="*/ 3153 h 4147"/>
                <a:gd name="T38" fmla="*/ 427 w 3615"/>
                <a:gd name="T39" fmla="*/ 3286 h 4147"/>
                <a:gd name="T40" fmla="*/ 431 w 3615"/>
                <a:gd name="T41" fmla="*/ 3652 h 4147"/>
                <a:gd name="T42" fmla="*/ 467 w 3615"/>
                <a:gd name="T43" fmla="*/ 3700 h 4147"/>
                <a:gd name="T44" fmla="*/ 525 w 3615"/>
                <a:gd name="T45" fmla="*/ 3719 h 4147"/>
                <a:gd name="T46" fmla="*/ 737 w 3615"/>
                <a:gd name="T47" fmla="*/ 3771 h 4147"/>
                <a:gd name="T48" fmla="*/ 858 w 3615"/>
                <a:gd name="T49" fmla="*/ 3848 h 4147"/>
                <a:gd name="T50" fmla="*/ 989 w 3615"/>
                <a:gd name="T51" fmla="*/ 3885 h 4147"/>
                <a:gd name="T52" fmla="*/ 1121 w 3615"/>
                <a:gd name="T53" fmla="*/ 3885 h 4147"/>
                <a:gd name="T54" fmla="*/ 1208 w 3615"/>
                <a:gd name="T55" fmla="*/ 3935 h 4147"/>
                <a:gd name="T56" fmla="*/ 1277 w 3615"/>
                <a:gd name="T57" fmla="*/ 4052 h 4147"/>
                <a:gd name="T58" fmla="*/ 1375 w 3615"/>
                <a:gd name="T59" fmla="*/ 4147 h 4147"/>
                <a:gd name="T60" fmla="*/ 448 w 3615"/>
                <a:gd name="T61" fmla="*/ 4141 h 4147"/>
                <a:gd name="T62" fmla="*/ 304 w 3615"/>
                <a:gd name="T63" fmla="*/ 4097 h 4147"/>
                <a:gd name="T64" fmla="*/ 181 w 3615"/>
                <a:gd name="T65" fmla="*/ 4018 h 4147"/>
                <a:gd name="T66" fmla="*/ 85 w 3615"/>
                <a:gd name="T67" fmla="*/ 3906 h 4147"/>
                <a:gd name="T68" fmla="*/ 23 w 3615"/>
                <a:gd name="T69" fmla="*/ 3771 h 4147"/>
                <a:gd name="T70" fmla="*/ 0 w 3615"/>
                <a:gd name="T71" fmla="*/ 3621 h 4147"/>
                <a:gd name="T72" fmla="*/ 6 w 3615"/>
                <a:gd name="T73" fmla="*/ 448 h 4147"/>
                <a:gd name="T74" fmla="*/ 48 w 3615"/>
                <a:gd name="T75" fmla="*/ 304 h 4147"/>
                <a:gd name="T76" fmla="*/ 129 w 3615"/>
                <a:gd name="T77" fmla="*/ 181 h 4147"/>
                <a:gd name="T78" fmla="*/ 240 w 3615"/>
                <a:gd name="T79" fmla="*/ 84 h 4147"/>
                <a:gd name="T80" fmla="*/ 373 w 3615"/>
                <a:gd name="T81" fmla="*/ 23 h 4147"/>
                <a:gd name="T82" fmla="*/ 525 w 3615"/>
                <a:gd name="T83" fmla="*/ 0 h 4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615" h="4147">
                  <a:moveTo>
                    <a:pt x="2381" y="0"/>
                  </a:moveTo>
                  <a:lnTo>
                    <a:pt x="3615" y="0"/>
                  </a:lnTo>
                  <a:lnTo>
                    <a:pt x="3564" y="42"/>
                  </a:lnTo>
                  <a:lnTo>
                    <a:pt x="3518" y="88"/>
                  </a:lnTo>
                  <a:lnTo>
                    <a:pt x="3480" y="142"/>
                  </a:lnTo>
                  <a:lnTo>
                    <a:pt x="3449" y="198"/>
                  </a:lnTo>
                  <a:lnTo>
                    <a:pt x="3424" y="259"/>
                  </a:lnTo>
                  <a:lnTo>
                    <a:pt x="3407" y="323"/>
                  </a:lnTo>
                  <a:lnTo>
                    <a:pt x="3397" y="392"/>
                  </a:lnTo>
                  <a:lnTo>
                    <a:pt x="3341" y="367"/>
                  </a:lnTo>
                  <a:lnTo>
                    <a:pt x="3284" y="350"/>
                  </a:lnTo>
                  <a:lnTo>
                    <a:pt x="3224" y="340"/>
                  </a:lnTo>
                  <a:lnTo>
                    <a:pt x="3162" y="336"/>
                  </a:lnTo>
                  <a:lnTo>
                    <a:pt x="3093" y="340"/>
                  </a:lnTo>
                  <a:lnTo>
                    <a:pt x="3026" y="354"/>
                  </a:lnTo>
                  <a:lnTo>
                    <a:pt x="2970" y="373"/>
                  </a:lnTo>
                  <a:lnTo>
                    <a:pt x="2920" y="398"/>
                  </a:lnTo>
                  <a:lnTo>
                    <a:pt x="2870" y="427"/>
                  </a:lnTo>
                  <a:lnTo>
                    <a:pt x="525" y="427"/>
                  </a:lnTo>
                  <a:lnTo>
                    <a:pt x="494" y="431"/>
                  </a:lnTo>
                  <a:lnTo>
                    <a:pt x="467" y="446"/>
                  </a:lnTo>
                  <a:lnTo>
                    <a:pt x="446" y="467"/>
                  </a:lnTo>
                  <a:lnTo>
                    <a:pt x="431" y="494"/>
                  </a:lnTo>
                  <a:lnTo>
                    <a:pt x="427" y="525"/>
                  </a:lnTo>
                  <a:lnTo>
                    <a:pt x="427" y="2123"/>
                  </a:lnTo>
                  <a:lnTo>
                    <a:pt x="396" y="2189"/>
                  </a:lnTo>
                  <a:lnTo>
                    <a:pt x="377" y="2256"/>
                  </a:lnTo>
                  <a:lnTo>
                    <a:pt x="369" y="2323"/>
                  </a:lnTo>
                  <a:lnTo>
                    <a:pt x="369" y="2393"/>
                  </a:lnTo>
                  <a:lnTo>
                    <a:pt x="379" y="2460"/>
                  </a:lnTo>
                  <a:lnTo>
                    <a:pt x="398" y="2526"/>
                  </a:lnTo>
                  <a:lnTo>
                    <a:pt x="427" y="2587"/>
                  </a:lnTo>
                  <a:lnTo>
                    <a:pt x="427" y="2822"/>
                  </a:lnTo>
                  <a:lnTo>
                    <a:pt x="398" y="2884"/>
                  </a:lnTo>
                  <a:lnTo>
                    <a:pt x="379" y="2949"/>
                  </a:lnTo>
                  <a:lnTo>
                    <a:pt x="369" y="3017"/>
                  </a:lnTo>
                  <a:lnTo>
                    <a:pt x="367" y="3086"/>
                  </a:lnTo>
                  <a:lnTo>
                    <a:pt x="377" y="3153"/>
                  </a:lnTo>
                  <a:lnTo>
                    <a:pt x="396" y="3221"/>
                  </a:lnTo>
                  <a:lnTo>
                    <a:pt x="427" y="3286"/>
                  </a:lnTo>
                  <a:lnTo>
                    <a:pt x="427" y="3621"/>
                  </a:lnTo>
                  <a:lnTo>
                    <a:pt x="431" y="3652"/>
                  </a:lnTo>
                  <a:lnTo>
                    <a:pt x="446" y="3679"/>
                  </a:lnTo>
                  <a:lnTo>
                    <a:pt x="467" y="3700"/>
                  </a:lnTo>
                  <a:lnTo>
                    <a:pt x="494" y="3715"/>
                  </a:lnTo>
                  <a:lnTo>
                    <a:pt x="525" y="3719"/>
                  </a:lnTo>
                  <a:lnTo>
                    <a:pt x="685" y="3719"/>
                  </a:lnTo>
                  <a:lnTo>
                    <a:pt x="737" y="3771"/>
                  </a:lnTo>
                  <a:lnTo>
                    <a:pt x="794" y="3814"/>
                  </a:lnTo>
                  <a:lnTo>
                    <a:pt x="858" y="3848"/>
                  </a:lnTo>
                  <a:lnTo>
                    <a:pt x="925" y="3871"/>
                  </a:lnTo>
                  <a:lnTo>
                    <a:pt x="989" y="3885"/>
                  </a:lnTo>
                  <a:lnTo>
                    <a:pt x="1052" y="3889"/>
                  </a:lnTo>
                  <a:lnTo>
                    <a:pt x="1121" y="3885"/>
                  </a:lnTo>
                  <a:lnTo>
                    <a:pt x="1187" y="3870"/>
                  </a:lnTo>
                  <a:lnTo>
                    <a:pt x="1208" y="3935"/>
                  </a:lnTo>
                  <a:lnTo>
                    <a:pt x="1239" y="3997"/>
                  </a:lnTo>
                  <a:lnTo>
                    <a:pt x="1277" y="4052"/>
                  </a:lnTo>
                  <a:lnTo>
                    <a:pt x="1323" y="4102"/>
                  </a:lnTo>
                  <a:lnTo>
                    <a:pt x="1375" y="4147"/>
                  </a:lnTo>
                  <a:lnTo>
                    <a:pt x="525" y="4147"/>
                  </a:lnTo>
                  <a:lnTo>
                    <a:pt x="448" y="4141"/>
                  </a:lnTo>
                  <a:lnTo>
                    <a:pt x="373" y="4124"/>
                  </a:lnTo>
                  <a:lnTo>
                    <a:pt x="304" y="4097"/>
                  </a:lnTo>
                  <a:lnTo>
                    <a:pt x="240" y="4062"/>
                  </a:lnTo>
                  <a:lnTo>
                    <a:pt x="181" y="4018"/>
                  </a:lnTo>
                  <a:lnTo>
                    <a:pt x="129" y="3966"/>
                  </a:lnTo>
                  <a:lnTo>
                    <a:pt x="85" y="3906"/>
                  </a:lnTo>
                  <a:lnTo>
                    <a:pt x="48" y="3843"/>
                  </a:lnTo>
                  <a:lnTo>
                    <a:pt x="23" y="3771"/>
                  </a:lnTo>
                  <a:lnTo>
                    <a:pt x="6" y="3698"/>
                  </a:lnTo>
                  <a:lnTo>
                    <a:pt x="0" y="3621"/>
                  </a:lnTo>
                  <a:lnTo>
                    <a:pt x="0" y="525"/>
                  </a:lnTo>
                  <a:lnTo>
                    <a:pt x="6" y="448"/>
                  </a:lnTo>
                  <a:lnTo>
                    <a:pt x="23" y="375"/>
                  </a:lnTo>
                  <a:lnTo>
                    <a:pt x="48" y="304"/>
                  </a:lnTo>
                  <a:lnTo>
                    <a:pt x="85" y="240"/>
                  </a:lnTo>
                  <a:lnTo>
                    <a:pt x="129" y="181"/>
                  </a:lnTo>
                  <a:lnTo>
                    <a:pt x="181" y="129"/>
                  </a:lnTo>
                  <a:lnTo>
                    <a:pt x="240" y="84"/>
                  </a:lnTo>
                  <a:lnTo>
                    <a:pt x="304" y="50"/>
                  </a:lnTo>
                  <a:lnTo>
                    <a:pt x="373" y="23"/>
                  </a:lnTo>
                  <a:lnTo>
                    <a:pt x="448" y="5"/>
                  </a:lnTo>
                  <a:lnTo>
                    <a:pt x="525" y="0"/>
                  </a:lnTo>
                  <a:lnTo>
                    <a:pt x="23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78" name="Freeform 142"/>
            <p:cNvSpPr>
              <a:spLocks noEditPoints="1"/>
            </p:cNvSpPr>
            <p:nvPr/>
          </p:nvSpPr>
          <p:spPr bwMode="auto">
            <a:xfrm>
              <a:off x="5251" y="1677"/>
              <a:ext cx="2338" cy="2746"/>
            </a:xfrm>
            <a:custGeom>
              <a:avLst/>
              <a:gdLst>
                <a:gd name="T0" fmla="*/ 546 w 4676"/>
                <a:gd name="T1" fmla="*/ 4809 h 5493"/>
                <a:gd name="T2" fmla="*/ 402 w 4676"/>
                <a:gd name="T3" fmla="*/ 4911 h 5493"/>
                <a:gd name="T4" fmla="*/ 325 w 4676"/>
                <a:gd name="T5" fmla="*/ 5073 h 5493"/>
                <a:gd name="T6" fmla="*/ 2691 w 4676"/>
                <a:gd name="T7" fmla="*/ 5171 h 5493"/>
                <a:gd name="T8" fmla="*/ 2668 w 4676"/>
                <a:gd name="T9" fmla="*/ 5015 h 5493"/>
                <a:gd name="T10" fmla="*/ 2566 w 4676"/>
                <a:gd name="T11" fmla="*/ 4869 h 5493"/>
                <a:gd name="T12" fmla="*/ 2404 w 4676"/>
                <a:gd name="T13" fmla="*/ 4794 h 5493"/>
                <a:gd name="T14" fmla="*/ 3076 w 4676"/>
                <a:gd name="T15" fmla="*/ 0 h 5493"/>
                <a:gd name="T16" fmla="*/ 4303 w 4676"/>
                <a:gd name="T17" fmla="*/ 23 h 5493"/>
                <a:gd name="T18" fmla="*/ 4495 w 4676"/>
                <a:gd name="T19" fmla="*/ 129 h 5493"/>
                <a:gd name="T20" fmla="*/ 4626 w 4676"/>
                <a:gd name="T21" fmla="*/ 304 h 5493"/>
                <a:gd name="T22" fmla="*/ 4676 w 4676"/>
                <a:gd name="T23" fmla="*/ 525 h 5493"/>
                <a:gd name="T24" fmla="*/ 4653 w 4676"/>
                <a:gd name="T25" fmla="*/ 3771 h 5493"/>
                <a:gd name="T26" fmla="*/ 4547 w 4676"/>
                <a:gd name="T27" fmla="*/ 3966 h 5493"/>
                <a:gd name="T28" fmla="*/ 4372 w 4676"/>
                <a:gd name="T29" fmla="*/ 4097 h 5493"/>
                <a:gd name="T30" fmla="*/ 4151 w 4676"/>
                <a:gd name="T31" fmla="*/ 4147 h 5493"/>
                <a:gd name="T32" fmla="*/ 2497 w 4676"/>
                <a:gd name="T33" fmla="*/ 4489 h 5493"/>
                <a:gd name="T34" fmla="*/ 2718 w 4676"/>
                <a:gd name="T35" fmla="*/ 4586 h 5493"/>
                <a:gd name="T36" fmla="*/ 2887 w 4676"/>
                <a:gd name="T37" fmla="*/ 4751 h 5493"/>
                <a:gd name="T38" fmla="*/ 2989 w 4676"/>
                <a:gd name="T39" fmla="*/ 4969 h 5493"/>
                <a:gd name="T40" fmla="*/ 3010 w 4676"/>
                <a:gd name="T41" fmla="*/ 5331 h 5493"/>
                <a:gd name="T42" fmla="*/ 2964 w 4676"/>
                <a:gd name="T43" fmla="*/ 5444 h 5493"/>
                <a:gd name="T44" fmla="*/ 2851 w 4676"/>
                <a:gd name="T45" fmla="*/ 5493 h 5493"/>
                <a:gd name="T46" fmla="*/ 79 w 4676"/>
                <a:gd name="T47" fmla="*/ 5469 h 5493"/>
                <a:gd name="T48" fmla="*/ 6 w 4676"/>
                <a:gd name="T49" fmla="*/ 5375 h 5493"/>
                <a:gd name="T50" fmla="*/ 6 w 4676"/>
                <a:gd name="T51" fmla="*/ 5052 h 5493"/>
                <a:gd name="T52" fmla="*/ 81 w 4676"/>
                <a:gd name="T53" fmla="*/ 4819 h 5493"/>
                <a:gd name="T54" fmla="*/ 231 w 4676"/>
                <a:gd name="T55" fmla="*/ 4634 h 5493"/>
                <a:gd name="T56" fmla="*/ 437 w 4676"/>
                <a:gd name="T57" fmla="*/ 4513 h 5493"/>
                <a:gd name="T58" fmla="*/ 596 w 4676"/>
                <a:gd name="T59" fmla="*/ 4193 h 5493"/>
                <a:gd name="T60" fmla="*/ 744 w 4676"/>
                <a:gd name="T61" fmla="*/ 4087 h 5493"/>
                <a:gd name="T62" fmla="*/ 844 w 4676"/>
                <a:gd name="T63" fmla="*/ 3933 h 5493"/>
                <a:gd name="T64" fmla="*/ 931 w 4676"/>
                <a:gd name="T65" fmla="*/ 3885 h 5493"/>
                <a:gd name="T66" fmla="*/ 1127 w 4676"/>
                <a:gd name="T67" fmla="*/ 3871 h 5493"/>
                <a:gd name="T68" fmla="*/ 1316 w 4676"/>
                <a:gd name="T69" fmla="*/ 3771 h 5493"/>
                <a:gd name="T70" fmla="*/ 4182 w 4676"/>
                <a:gd name="T71" fmla="*/ 3715 h 5493"/>
                <a:gd name="T72" fmla="*/ 4245 w 4676"/>
                <a:gd name="T73" fmla="*/ 3652 h 5493"/>
                <a:gd name="T74" fmla="*/ 4278 w 4676"/>
                <a:gd name="T75" fmla="*/ 2358 h 5493"/>
                <a:gd name="T76" fmla="*/ 4307 w 4676"/>
                <a:gd name="T77" fmla="*/ 2148 h 5493"/>
                <a:gd name="T78" fmla="*/ 4249 w 4676"/>
                <a:gd name="T79" fmla="*/ 1946 h 5493"/>
                <a:gd name="T80" fmla="*/ 4292 w 4676"/>
                <a:gd name="T81" fmla="*/ 1442 h 5493"/>
                <a:gd name="T82" fmla="*/ 4301 w 4676"/>
                <a:gd name="T83" fmla="*/ 1211 h 5493"/>
                <a:gd name="T84" fmla="*/ 4249 w 4676"/>
                <a:gd name="T85" fmla="*/ 525 h 5493"/>
                <a:gd name="T86" fmla="*/ 4209 w 4676"/>
                <a:gd name="T87" fmla="*/ 446 h 5493"/>
                <a:gd name="T88" fmla="*/ 3816 w 4676"/>
                <a:gd name="T89" fmla="*/ 427 h 5493"/>
                <a:gd name="T90" fmla="*/ 3605 w 4676"/>
                <a:gd name="T91" fmla="*/ 342 h 5493"/>
                <a:gd name="T92" fmla="*/ 3407 w 4676"/>
                <a:gd name="T93" fmla="*/ 350 h 5493"/>
                <a:gd name="T94" fmla="*/ 3284 w 4676"/>
                <a:gd name="T95" fmla="*/ 323 h 5493"/>
                <a:gd name="T96" fmla="*/ 3210 w 4676"/>
                <a:gd name="T97" fmla="*/ 142 h 5493"/>
                <a:gd name="T98" fmla="*/ 3076 w 4676"/>
                <a:gd name="T99" fmla="*/ 0 h 5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676" h="5493">
                  <a:moveTo>
                    <a:pt x="667" y="4788"/>
                  </a:moveTo>
                  <a:lnTo>
                    <a:pt x="606" y="4794"/>
                  </a:lnTo>
                  <a:lnTo>
                    <a:pt x="546" y="4809"/>
                  </a:lnTo>
                  <a:lnTo>
                    <a:pt x="492" y="4834"/>
                  </a:lnTo>
                  <a:lnTo>
                    <a:pt x="444" y="4869"/>
                  </a:lnTo>
                  <a:lnTo>
                    <a:pt x="402" y="4911"/>
                  </a:lnTo>
                  <a:lnTo>
                    <a:pt x="367" y="4959"/>
                  </a:lnTo>
                  <a:lnTo>
                    <a:pt x="342" y="5015"/>
                  </a:lnTo>
                  <a:lnTo>
                    <a:pt x="325" y="5073"/>
                  </a:lnTo>
                  <a:lnTo>
                    <a:pt x="319" y="5136"/>
                  </a:lnTo>
                  <a:lnTo>
                    <a:pt x="319" y="5171"/>
                  </a:lnTo>
                  <a:lnTo>
                    <a:pt x="2691" y="5171"/>
                  </a:lnTo>
                  <a:lnTo>
                    <a:pt x="2691" y="5136"/>
                  </a:lnTo>
                  <a:lnTo>
                    <a:pt x="2685" y="5073"/>
                  </a:lnTo>
                  <a:lnTo>
                    <a:pt x="2668" y="5015"/>
                  </a:lnTo>
                  <a:lnTo>
                    <a:pt x="2643" y="4959"/>
                  </a:lnTo>
                  <a:lnTo>
                    <a:pt x="2608" y="4911"/>
                  </a:lnTo>
                  <a:lnTo>
                    <a:pt x="2566" y="4869"/>
                  </a:lnTo>
                  <a:lnTo>
                    <a:pt x="2518" y="4834"/>
                  </a:lnTo>
                  <a:lnTo>
                    <a:pt x="2464" y="4809"/>
                  </a:lnTo>
                  <a:lnTo>
                    <a:pt x="2404" y="4794"/>
                  </a:lnTo>
                  <a:lnTo>
                    <a:pt x="2343" y="4788"/>
                  </a:lnTo>
                  <a:lnTo>
                    <a:pt x="667" y="4788"/>
                  </a:lnTo>
                  <a:close/>
                  <a:moveTo>
                    <a:pt x="3076" y="0"/>
                  </a:moveTo>
                  <a:lnTo>
                    <a:pt x="4151" y="0"/>
                  </a:lnTo>
                  <a:lnTo>
                    <a:pt x="4228" y="5"/>
                  </a:lnTo>
                  <a:lnTo>
                    <a:pt x="4303" y="23"/>
                  </a:lnTo>
                  <a:lnTo>
                    <a:pt x="4372" y="50"/>
                  </a:lnTo>
                  <a:lnTo>
                    <a:pt x="4436" y="84"/>
                  </a:lnTo>
                  <a:lnTo>
                    <a:pt x="4495" y="129"/>
                  </a:lnTo>
                  <a:lnTo>
                    <a:pt x="4547" y="181"/>
                  </a:lnTo>
                  <a:lnTo>
                    <a:pt x="4592" y="240"/>
                  </a:lnTo>
                  <a:lnTo>
                    <a:pt x="4626" y="304"/>
                  </a:lnTo>
                  <a:lnTo>
                    <a:pt x="4653" y="375"/>
                  </a:lnTo>
                  <a:lnTo>
                    <a:pt x="4670" y="448"/>
                  </a:lnTo>
                  <a:lnTo>
                    <a:pt x="4676" y="525"/>
                  </a:lnTo>
                  <a:lnTo>
                    <a:pt x="4676" y="3621"/>
                  </a:lnTo>
                  <a:lnTo>
                    <a:pt x="4670" y="3698"/>
                  </a:lnTo>
                  <a:lnTo>
                    <a:pt x="4653" y="3771"/>
                  </a:lnTo>
                  <a:lnTo>
                    <a:pt x="4626" y="3843"/>
                  </a:lnTo>
                  <a:lnTo>
                    <a:pt x="4592" y="3906"/>
                  </a:lnTo>
                  <a:lnTo>
                    <a:pt x="4547" y="3966"/>
                  </a:lnTo>
                  <a:lnTo>
                    <a:pt x="4495" y="4018"/>
                  </a:lnTo>
                  <a:lnTo>
                    <a:pt x="4436" y="4062"/>
                  </a:lnTo>
                  <a:lnTo>
                    <a:pt x="4372" y="4097"/>
                  </a:lnTo>
                  <a:lnTo>
                    <a:pt x="4303" y="4124"/>
                  </a:lnTo>
                  <a:lnTo>
                    <a:pt x="4228" y="4141"/>
                  </a:lnTo>
                  <a:lnTo>
                    <a:pt x="4151" y="4147"/>
                  </a:lnTo>
                  <a:lnTo>
                    <a:pt x="2414" y="4147"/>
                  </a:lnTo>
                  <a:lnTo>
                    <a:pt x="2414" y="4474"/>
                  </a:lnTo>
                  <a:lnTo>
                    <a:pt x="2497" y="4489"/>
                  </a:lnTo>
                  <a:lnTo>
                    <a:pt x="2574" y="4513"/>
                  </a:lnTo>
                  <a:lnTo>
                    <a:pt x="2649" y="4545"/>
                  </a:lnTo>
                  <a:lnTo>
                    <a:pt x="2718" y="4586"/>
                  </a:lnTo>
                  <a:lnTo>
                    <a:pt x="2780" y="4634"/>
                  </a:lnTo>
                  <a:lnTo>
                    <a:pt x="2837" y="4690"/>
                  </a:lnTo>
                  <a:lnTo>
                    <a:pt x="2887" y="4751"/>
                  </a:lnTo>
                  <a:lnTo>
                    <a:pt x="2930" y="4819"/>
                  </a:lnTo>
                  <a:lnTo>
                    <a:pt x="2964" y="4892"/>
                  </a:lnTo>
                  <a:lnTo>
                    <a:pt x="2989" y="4969"/>
                  </a:lnTo>
                  <a:lnTo>
                    <a:pt x="3005" y="5052"/>
                  </a:lnTo>
                  <a:lnTo>
                    <a:pt x="3010" y="5136"/>
                  </a:lnTo>
                  <a:lnTo>
                    <a:pt x="3010" y="5331"/>
                  </a:lnTo>
                  <a:lnTo>
                    <a:pt x="3005" y="5375"/>
                  </a:lnTo>
                  <a:lnTo>
                    <a:pt x="2989" y="5412"/>
                  </a:lnTo>
                  <a:lnTo>
                    <a:pt x="2964" y="5444"/>
                  </a:lnTo>
                  <a:lnTo>
                    <a:pt x="2931" y="5469"/>
                  </a:lnTo>
                  <a:lnTo>
                    <a:pt x="2893" y="5487"/>
                  </a:lnTo>
                  <a:lnTo>
                    <a:pt x="2851" y="5493"/>
                  </a:lnTo>
                  <a:lnTo>
                    <a:pt x="160" y="5493"/>
                  </a:lnTo>
                  <a:lnTo>
                    <a:pt x="117" y="5487"/>
                  </a:lnTo>
                  <a:lnTo>
                    <a:pt x="79" y="5469"/>
                  </a:lnTo>
                  <a:lnTo>
                    <a:pt x="46" y="5444"/>
                  </a:lnTo>
                  <a:lnTo>
                    <a:pt x="21" y="5412"/>
                  </a:lnTo>
                  <a:lnTo>
                    <a:pt x="6" y="5375"/>
                  </a:lnTo>
                  <a:lnTo>
                    <a:pt x="0" y="5331"/>
                  </a:lnTo>
                  <a:lnTo>
                    <a:pt x="0" y="5136"/>
                  </a:lnTo>
                  <a:lnTo>
                    <a:pt x="6" y="5052"/>
                  </a:lnTo>
                  <a:lnTo>
                    <a:pt x="21" y="4969"/>
                  </a:lnTo>
                  <a:lnTo>
                    <a:pt x="46" y="4892"/>
                  </a:lnTo>
                  <a:lnTo>
                    <a:pt x="81" y="4819"/>
                  </a:lnTo>
                  <a:lnTo>
                    <a:pt x="123" y="4751"/>
                  </a:lnTo>
                  <a:lnTo>
                    <a:pt x="173" y="4690"/>
                  </a:lnTo>
                  <a:lnTo>
                    <a:pt x="231" y="4634"/>
                  </a:lnTo>
                  <a:lnTo>
                    <a:pt x="292" y="4586"/>
                  </a:lnTo>
                  <a:lnTo>
                    <a:pt x="362" y="4545"/>
                  </a:lnTo>
                  <a:lnTo>
                    <a:pt x="437" y="4513"/>
                  </a:lnTo>
                  <a:lnTo>
                    <a:pt x="513" y="4489"/>
                  </a:lnTo>
                  <a:lnTo>
                    <a:pt x="596" y="4474"/>
                  </a:lnTo>
                  <a:lnTo>
                    <a:pt x="596" y="4193"/>
                  </a:lnTo>
                  <a:lnTo>
                    <a:pt x="650" y="4164"/>
                  </a:lnTo>
                  <a:lnTo>
                    <a:pt x="700" y="4128"/>
                  </a:lnTo>
                  <a:lnTo>
                    <a:pt x="744" y="4087"/>
                  </a:lnTo>
                  <a:lnTo>
                    <a:pt x="785" y="4041"/>
                  </a:lnTo>
                  <a:lnTo>
                    <a:pt x="817" y="3989"/>
                  </a:lnTo>
                  <a:lnTo>
                    <a:pt x="844" y="3933"/>
                  </a:lnTo>
                  <a:lnTo>
                    <a:pt x="856" y="3902"/>
                  </a:lnTo>
                  <a:lnTo>
                    <a:pt x="866" y="3870"/>
                  </a:lnTo>
                  <a:lnTo>
                    <a:pt x="931" y="3885"/>
                  </a:lnTo>
                  <a:lnTo>
                    <a:pt x="1000" y="3889"/>
                  </a:lnTo>
                  <a:lnTo>
                    <a:pt x="1064" y="3885"/>
                  </a:lnTo>
                  <a:lnTo>
                    <a:pt x="1127" y="3871"/>
                  </a:lnTo>
                  <a:lnTo>
                    <a:pt x="1194" y="3848"/>
                  </a:lnTo>
                  <a:lnTo>
                    <a:pt x="1258" y="3814"/>
                  </a:lnTo>
                  <a:lnTo>
                    <a:pt x="1316" y="3771"/>
                  </a:lnTo>
                  <a:lnTo>
                    <a:pt x="1368" y="3719"/>
                  </a:lnTo>
                  <a:lnTo>
                    <a:pt x="4151" y="3719"/>
                  </a:lnTo>
                  <a:lnTo>
                    <a:pt x="4182" y="3715"/>
                  </a:lnTo>
                  <a:lnTo>
                    <a:pt x="4209" y="3700"/>
                  </a:lnTo>
                  <a:lnTo>
                    <a:pt x="4230" y="3679"/>
                  </a:lnTo>
                  <a:lnTo>
                    <a:pt x="4245" y="3652"/>
                  </a:lnTo>
                  <a:lnTo>
                    <a:pt x="4249" y="3621"/>
                  </a:lnTo>
                  <a:lnTo>
                    <a:pt x="4249" y="2426"/>
                  </a:lnTo>
                  <a:lnTo>
                    <a:pt x="4278" y="2358"/>
                  </a:lnTo>
                  <a:lnTo>
                    <a:pt x="4297" y="2289"/>
                  </a:lnTo>
                  <a:lnTo>
                    <a:pt x="4307" y="2218"/>
                  </a:lnTo>
                  <a:lnTo>
                    <a:pt x="4307" y="2148"/>
                  </a:lnTo>
                  <a:lnTo>
                    <a:pt x="4297" y="2077"/>
                  </a:lnTo>
                  <a:lnTo>
                    <a:pt x="4278" y="2010"/>
                  </a:lnTo>
                  <a:lnTo>
                    <a:pt x="4249" y="1946"/>
                  </a:lnTo>
                  <a:lnTo>
                    <a:pt x="4249" y="1548"/>
                  </a:lnTo>
                  <a:lnTo>
                    <a:pt x="4274" y="1496"/>
                  </a:lnTo>
                  <a:lnTo>
                    <a:pt x="4292" y="1442"/>
                  </a:lnTo>
                  <a:lnTo>
                    <a:pt x="4307" y="1365"/>
                  </a:lnTo>
                  <a:lnTo>
                    <a:pt x="4309" y="1288"/>
                  </a:lnTo>
                  <a:lnTo>
                    <a:pt x="4301" y="1211"/>
                  </a:lnTo>
                  <a:lnTo>
                    <a:pt x="4280" y="1136"/>
                  </a:lnTo>
                  <a:lnTo>
                    <a:pt x="4249" y="1064"/>
                  </a:lnTo>
                  <a:lnTo>
                    <a:pt x="4249" y="525"/>
                  </a:lnTo>
                  <a:lnTo>
                    <a:pt x="4245" y="494"/>
                  </a:lnTo>
                  <a:lnTo>
                    <a:pt x="4230" y="467"/>
                  </a:lnTo>
                  <a:lnTo>
                    <a:pt x="4209" y="446"/>
                  </a:lnTo>
                  <a:lnTo>
                    <a:pt x="4182" y="431"/>
                  </a:lnTo>
                  <a:lnTo>
                    <a:pt x="4151" y="427"/>
                  </a:lnTo>
                  <a:lnTo>
                    <a:pt x="3816" y="427"/>
                  </a:lnTo>
                  <a:lnTo>
                    <a:pt x="3751" y="388"/>
                  </a:lnTo>
                  <a:lnTo>
                    <a:pt x="3680" y="360"/>
                  </a:lnTo>
                  <a:lnTo>
                    <a:pt x="3605" y="342"/>
                  </a:lnTo>
                  <a:lnTo>
                    <a:pt x="3528" y="336"/>
                  </a:lnTo>
                  <a:lnTo>
                    <a:pt x="3466" y="340"/>
                  </a:lnTo>
                  <a:lnTo>
                    <a:pt x="3407" y="350"/>
                  </a:lnTo>
                  <a:lnTo>
                    <a:pt x="3349" y="367"/>
                  </a:lnTo>
                  <a:lnTo>
                    <a:pt x="3293" y="392"/>
                  </a:lnTo>
                  <a:lnTo>
                    <a:pt x="3284" y="323"/>
                  </a:lnTo>
                  <a:lnTo>
                    <a:pt x="3266" y="259"/>
                  </a:lnTo>
                  <a:lnTo>
                    <a:pt x="3243" y="198"/>
                  </a:lnTo>
                  <a:lnTo>
                    <a:pt x="3210" y="142"/>
                  </a:lnTo>
                  <a:lnTo>
                    <a:pt x="3172" y="88"/>
                  </a:lnTo>
                  <a:lnTo>
                    <a:pt x="3126" y="42"/>
                  </a:lnTo>
                  <a:lnTo>
                    <a:pt x="30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79" name="Freeform 143"/>
            <p:cNvSpPr>
              <a:spLocks noEditPoints="1"/>
            </p:cNvSpPr>
            <p:nvPr/>
          </p:nvSpPr>
          <p:spPr bwMode="auto">
            <a:xfrm>
              <a:off x="5768" y="1785"/>
              <a:ext cx="1478" cy="1529"/>
            </a:xfrm>
            <a:custGeom>
              <a:avLst/>
              <a:gdLst>
                <a:gd name="T0" fmla="*/ 1291 w 2954"/>
                <a:gd name="T1" fmla="*/ 795 h 3060"/>
                <a:gd name="T2" fmla="*/ 1044 w 2954"/>
                <a:gd name="T3" fmla="*/ 909 h 3060"/>
                <a:gd name="T4" fmla="*/ 856 w 2954"/>
                <a:gd name="T5" fmla="*/ 1098 h 3060"/>
                <a:gd name="T6" fmla="*/ 744 w 2954"/>
                <a:gd name="T7" fmla="*/ 1344 h 3060"/>
                <a:gd name="T8" fmla="*/ 727 w 2954"/>
                <a:gd name="T9" fmla="*/ 1625 h 3060"/>
                <a:gd name="T10" fmla="*/ 810 w 2954"/>
                <a:gd name="T11" fmla="*/ 1887 h 3060"/>
                <a:gd name="T12" fmla="*/ 975 w 2954"/>
                <a:gd name="T13" fmla="*/ 2097 h 3060"/>
                <a:gd name="T14" fmla="*/ 1204 w 2954"/>
                <a:gd name="T15" fmla="*/ 2237 h 3060"/>
                <a:gd name="T16" fmla="*/ 1477 w 2954"/>
                <a:gd name="T17" fmla="*/ 2288 h 3060"/>
                <a:gd name="T18" fmla="*/ 1750 w 2954"/>
                <a:gd name="T19" fmla="*/ 2237 h 3060"/>
                <a:gd name="T20" fmla="*/ 1979 w 2954"/>
                <a:gd name="T21" fmla="*/ 2097 h 3060"/>
                <a:gd name="T22" fmla="*/ 2145 w 2954"/>
                <a:gd name="T23" fmla="*/ 1887 h 3060"/>
                <a:gd name="T24" fmla="*/ 2227 w 2954"/>
                <a:gd name="T25" fmla="*/ 1625 h 3060"/>
                <a:gd name="T26" fmla="*/ 2210 w 2954"/>
                <a:gd name="T27" fmla="*/ 1344 h 3060"/>
                <a:gd name="T28" fmla="*/ 2098 w 2954"/>
                <a:gd name="T29" fmla="*/ 1098 h 3060"/>
                <a:gd name="T30" fmla="*/ 1910 w 2954"/>
                <a:gd name="T31" fmla="*/ 909 h 3060"/>
                <a:gd name="T32" fmla="*/ 1664 w 2954"/>
                <a:gd name="T33" fmla="*/ 795 h 3060"/>
                <a:gd name="T34" fmla="*/ 1223 w 2954"/>
                <a:gd name="T35" fmla="*/ 0 h 3060"/>
                <a:gd name="T36" fmla="*/ 1821 w 2954"/>
                <a:gd name="T37" fmla="*/ 21 h 3060"/>
                <a:gd name="T38" fmla="*/ 1918 w 2954"/>
                <a:gd name="T39" fmla="*/ 118 h 3060"/>
                <a:gd name="T40" fmla="*/ 1939 w 2954"/>
                <a:gd name="T41" fmla="*/ 426 h 3060"/>
                <a:gd name="T42" fmla="*/ 2137 w 2954"/>
                <a:gd name="T43" fmla="*/ 535 h 3060"/>
                <a:gd name="T44" fmla="*/ 2422 w 2954"/>
                <a:gd name="T45" fmla="*/ 455 h 3060"/>
                <a:gd name="T46" fmla="*/ 2535 w 2954"/>
                <a:gd name="T47" fmla="*/ 445 h 3060"/>
                <a:gd name="T48" fmla="*/ 2647 w 2954"/>
                <a:gd name="T49" fmla="*/ 508 h 3060"/>
                <a:gd name="T50" fmla="*/ 2945 w 2954"/>
                <a:gd name="T51" fmla="*/ 1023 h 3060"/>
                <a:gd name="T52" fmla="*/ 2949 w 2954"/>
                <a:gd name="T53" fmla="*/ 1144 h 3060"/>
                <a:gd name="T54" fmla="*/ 2885 w 2954"/>
                <a:gd name="T55" fmla="*/ 1246 h 3060"/>
                <a:gd name="T56" fmla="*/ 2666 w 2954"/>
                <a:gd name="T57" fmla="*/ 1431 h 3060"/>
                <a:gd name="T58" fmla="*/ 2672 w 2954"/>
                <a:gd name="T59" fmla="*/ 1581 h 3060"/>
                <a:gd name="T60" fmla="*/ 2851 w 2954"/>
                <a:gd name="T61" fmla="*/ 1791 h 3060"/>
                <a:gd name="T62" fmla="*/ 2933 w 2954"/>
                <a:gd name="T63" fmla="*/ 1879 h 3060"/>
                <a:gd name="T64" fmla="*/ 2954 w 2954"/>
                <a:gd name="T65" fmla="*/ 1997 h 3060"/>
                <a:gd name="T66" fmla="*/ 2674 w 2954"/>
                <a:gd name="T67" fmla="*/ 2515 h 3060"/>
                <a:gd name="T68" fmla="*/ 2585 w 2954"/>
                <a:gd name="T69" fmla="*/ 2597 h 3060"/>
                <a:gd name="T70" fmla="*/ 2458 w 2954"/>
                <a:gd name="T71" fmla="*/ 2617 h 3060"/>
                <a:gd name="T72" fmla="*/ 2199 w 2954"/>
                <a:gd name="T73" fmla="*/ 2482 h 3060"/>
                <a:gd name="T74" fmla="*/ 2008 w 2954"/>
                <a:gd name="T75" fmla="*/ 2603 h 3060"/>
                <a:gd name="T76" fmla="*/ 1933 w 2954"/>
                <a:gd name="T77" fmla="*/ 2898 h 3060"/>
                <a:gd name="T78" fmla="*/ 1862 w 2954"/>
                <a:gd name="T79" fmla="*/ 3013 h 3060"/>
                <a:gd name="T80" fmla="*/ 1731 w 2954"/>
                <a:gd name="T81" fmla="*/ 3060 h 3060"/>
                <a:gd name="T82" fmla="*/ 1133 w 2954"/>
                <a:gd name="T83" fmla="*/ 3038 h 3060"/>
                <a:gd name="T84" fmla="*/ 1037 w 2954"/>
                <a:gd name="T85" fmla="*/ 2942 h 3060"/>
                <a:gd name="T86" fmla="*/ 1015 w 2954"/>
                <a:gd name="T87" fmla="*/ 2636 h 3060"/>
                <a:gd name="T88" fmla="*/ 817 w 2954"/>
                <a:gd name="T89" fmla="*/ 2526 h 3060"/>
                <a:gd name="T90" fmla="*/ 542 w 2954"/>
                <a:gd name="T91" fmla="*/ 2534 h 3060"/>
                <a:gd name="T92" fmla="*/ 583 w 2954"/>
                <a:gd name="T93" fmla="*/ 2388 h 3060"/>
                <a:gd name="T94" fmla="*/ 646 w 2954"/>
                <a:gd name="T95" fmla="*/ 2205 h 3060"/>
                <a:gd name="T96" fmla="*/ 635 w 2954"/>
                <a:gd name="T97" fmla="*/ 2016 h 3060"/>
                <a:gd name="T98" fmla="*/ 385 w 2954"/>
                <a:gd name="T99" fmla="*/ 1548 h 3060"/>
                <a:gd name="T100" fmla="*/ 288 w 2954"/>
                <a:gd name="T101" fmla="*/ 1433 h 3060"/>
                <a:gd name="T102" fmla="*/ 69 w 2954"/>
                <a:gd name="T103" fmla="*/ 1246 h 3060"/>
                <a:gd name="T104" fmla="*/ 6 w 2954"/>
                <a:gd name="T105" fmla="*/ 1144 h 3060"/>
                <a:gd name="T106" fmla="*/ 9 w 2954"/>
                <a:gd name="T107" fmla="*/ 1024 h 3060"/>
                <a:gd name="T108" fmla="*/ 306 w 2954"/>
                <a:gd name="T109" fmla="*/ 512 h 3060"/>
                <a:gd name="T110" fmla="*/ 408 w 2954"/>
                <a:gd name="T111" fmla="*/ 449 h 3060"/>
                <a:gd name="T112" fmla="*/ 498 w 2954"/>
                <a:gd name="T113" fmla="*/ 445 h 3060"/>
                <a:gd name="T114" fmla="*/ 756 w 2954"/>
                <a:gd name="T115" fmla="*/ 580 h 3060"/>
                <a:gd name="T116" fmla="*/ 946 w 2954"/>
                <a:gd name="T117" fmla="*/ 457 h 3060"/>
                <a:gd name="T118" fmla="*/ 1021 w 2954"/>
                <a:gd name="T119" fmla="*/ 162 h 3060"/>
                <a:gd name="T120" fmla="*/ 1092 w 2954"/>
                <a:gd name="T121" fmla="*/ 46 h 3060"/>
                <a:gd name="T122" fmla="*/ 1223 w 2954"/>
                <a:gd name="T123" fmla="*/ 0 h 3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54" h="3060">
                  <a:moveTo>
                    <a:pt x="1477" y="772"/>
                  </a:moveTo>
                  <a:lnTo>
                    <a:pt x="1383" y="778"/>
                  </a:lnTo>
                  <a:lnTo>
                    <a:pt x="1291" y="795"/>
                  </a:lnTo>
                  <a:lnTo>
                    <a:pt x="1204" y="824"/>
                  </a:lnTo>
                  <a:lnTo>
                    <a:pt x="1121" y="861"/>
                  </a:lnTo>
                  <a:lnTo>
                    <a:pt x="1044" y="909"/>
                  </a:lnTo>
                  <a:lnTo>
                    <a:pt x="975" y="963"/>
                  </a:lnTo>
                  <a:lnTo>
                    <a:pt x="912" y="1026"/>
                  </a:lnTo>
                  <a:lnTo>
                    <a:pt x="856" y="1098"/>
                  </a:lnTo>
                  <a:lnTo>
                    <a:pt x="810" y="1175"/>
                  </a:lnTo>
                  <a:lnTo>
                    <a:pt x="771" y="1257"/>
                  </a:lnTo>
                  <a:lnTo>
                    <a:pt x="744" y="1344"/>
                  </a:lnTo>
                  <a:lnTo>
                    <a:pt x="727" y="1435"/>
                  </a:lnTo>
                  <a:lnTo>
                    <a:pt x="721" y="1531"/>
                  </a:lnTo>
                  <a:lnTo>
                    <a:pt x="727" y="1625"/>
                  </a:lnTo>
                  <a:lnTo>
                    <a:pt x="744" y="1716"/>
                  </a:lnTo>
                  <a:lnTo>
                    <a:pt x="771" y="1804"/>
                  </a:lnTo>
                  <a:lnTo>
                    <a:pt x="810" y="1887"/>
                  </a:lnTo>
                  <a:lnTo>
                    <a:pt x="856" y="1962"/>
                  </a:lnTo>
                  <a:lnTo>
                    <a:pt x="912" y="2033"/>
                  </a:lnTo>
                  <a:lnTo>
                    <a:pt x="975" y="2097"/>
                  </a:lnTo>
                  <a:lnTo>
                    <a:pt x="1044" y="2153"/>
                  </a:lnTo>
                  <a:lnTo>
                    <a:pt x="1121" y="2199"/>
                  </a:lnTo>
                  <a:lnTo>
                    <a:pt x="1204" y="2237"/>
                  </a:lnTo>
                  <a:lnTo>
                    <a:pt x="1291" y="2264"/>
                  </a:lnTo>
                  <a:lnTo>
                    <a:pt x="1383" y="2282"/>
                  </a:lnTo>
                  <a:lnTo>
                    <a:pt x="1477" y="2288"/>
                  </a:lnTo>
                  <a:lnTo>
                    <a:pt x="1571" y="2282"/>
                  </a:lnTo>
                  <a:lnTo>
                    <a:pt x="1664" y="2264"/>
                  </a:lnTo>
                  <a:lnTo>
                    <a:pt x="1750" y="2237"/>
                  </a:lnTo>
                  <a:lnTo>
                    <a:pt x="1833" y="2199"/>
                  </a:lnTo>
                  <a:lnTo>
                    <a:pt x="1910" y="2153"/>
                  </a:lnTo>
                  <a:lnTo>
                    <a:pt x="1979" y="2097"/>
                  </a:lnTo>
                  <a:lnTo>
                    <a:pt x="2043" y="2033"/>
                  </a:lnTo>
                  <a:lnTo>
                    <a:pt x="2098" y="1962"/>
                  </a:lnTo>
                  <a:lnTo>
                    <a:pt x="2145" y="1887"/>
                  </a:lnTo>
                  <a:lnTo>
                    <a:pt x="2183" y="1804"/>
                  </a:lnTo>
                  <a:lnTo>
                    <a:pt x="2210" y="1716"/>
                  </a:lnTo>
                  <a:lnTo>
                    <a:pt x="2227" y="1625"/>
                  </a:lnTo>
                  <a:lnTo>
                    <a:pt x="2235" y="1531"/>
                  </a:lnTo>
                  <a:lnTo>
                    <a:pt x="2227" y="1435"/>
                  </a:lnTo>
                  <a:lnTo>
                    <a:pt x="2210" y="1344"/>
                  </a:lnTo>
                  <a:lnTo>
                    <a:pt x="2183" y="1257"/>
                  </a:lnTo>
                  <a:lnTo>
                    <a:pt x="2145" y="1175"/>
                  </a:lnTo>
                  <a:lnTo>
                    <a:pt x="2098" y="1098"/>
                  </a:lnTo>
                  <a:lnTo>
                    <a:pt x="2043" y="1026"/>
                  </a:lnTo>
                  <a:lnTo>
                    <a:pt x="1979" y="963"/>
                  </a:lnTo>
                  <a:lnTo>
                    <a:pt x="1910" y="909"/>
                  </a:lnTo>
                  <a:lnTo>
                    <a:pt x="1833" y="861"/>
                  </a:lnTo>
                  <a:lnTo>
                    <a:pt x="1750" y="824"/>
                  </a:lnTo>
                  <a:lnTo>
                    <a:pt x="1664" y="795"/>
                  </a:lnTo>
                  <a:lnTo>
                    <a:pt x="1571" y="778"/>
                  </a:lnTo>
                  <a:lnTo>
                    <a:pt x="1477" y="772"/>
                  </a:lnTo>
                  <a:close/>
                  <a:moveTo>
                    <a:pt x="1223" y="0"/>
                  </a:moveTo>
                  <a:lnTo>
                    <a:pt x="1731" y="0"/>
                  </a:lnTo>
                  <a:lnTo>
                    <a:pt x="1779" y="6"/>
                  </a:lnTo>
                  <a:lnTo>
                    <a:pt x="1821" y="21"/>
                  </a:lnTo>
                  <a:lnTo>
                    <a:pt x="1862" y="46"/>
                  </a:lnTo>
                  <a:lnTo>
                    <a:pt x="1893" y="79"/>
                  </a:lnTo>
                  <a:lnTo>
                    <a:pt x="1918" y="118"/>
                  </a:lnTo>
                  <a:lnTo>
                    <a:pt x="1933" y="162"/>
                  </a:lnTo>
                  <a:lnTo>
                    <a:pt x="1939" y="210"/>
                  </a:lnTo>
                  <a:lnTo>
                    <a:pt x="1939" y="426"/>
                  </a:lnTo>
                  <a:lnTo>
                    <a:pt x="2008" y="457"/>
                  </a:lnTo>
                  <a:lnTo>
                    <a:pt x="2073" y="493"/>
                  </a:lnTo>
                  <a:lnTo>
                    <a:pt x="2137" y="535"/>
                  </a:lnTo>
                  <a:lnTo>
                    <a:pt x="2199" y="580"/>
                  </a:lnTo>
                  <a:lnTo>
                    <a:pt x="2389" y="470"/>
                  </a:lnTo>
                  <a:lnTo>
                    <a:pt x="2422" y="455"/>
                  </a:lnTo>
                  <a:lnTo>
                    <a:pt x="2458" y="445"/>
                  </a:lnTo>
                  <a:lnTo>
                    <a:pt x="2493" y="441"/>
                  </a:lnTo>
                  <a:lnTo>
                    <a:pt x="2535" y="445"/>
                  </a:lnTo>
                  <a:lnTo>
                    <a:pt x="2577" y="458"/>
                  </a:lnTo>
                  <a:lnTo>
                    <a:pt x="2614" y="480"/>
                  </a:lnTo>
                  <a:lnTo>
                    <a:pt x="2647" y="508"/>
                  </a:lnTo>
                  <a:lnTo>
                    <a:pt x="2674" y="545"/>
                  </a:lnTo>
                  <a:lnTo>
                    <a:pt x="2928" y="986"/>
                  </a:lnTo>
                  <a:lnTo>
                    <a:pt x="2945" y="1023"/>
                  </a:lnTo>
                  <a:lnTo>
                    <a:pt x="2953" y="1063"/>
                  </a:lnTo>
                  <a:lnTo>
                    <a:pt x="2954" y="1103"/>
                  </a:lnTo>
                  <a:lnTo>
                    <a:pt x="2949" y="1144"/>
                  </a:lnTo>
                  <a:lnTo>
                    <a:pt x="2933" y="1182"/>
                  </a:lnTo>
                  <a:lnTo>
                    <a:pt x="2912" y="1217"/>
                  </a:lnTo>
                  <a:lnTo>
                    <a:pt x="2885" y="1246"/>
                  </a:lnTo>
                  <a:lnTo>
                    <a:pt x="2851" y="1271"/>
                  </a:lnTo>
                  <a:lnTo>
                    <a:pt x="2660" y="1381"/>
                  </a:lnTo>
                  <a:lnTo>
                    <a:pt x="2666" y="1431"/>
                  </a:lnTo>
                  <a:lnTo>
                    <a:pt x="2672" y="1481"/>
                  </a:lnTo>
                  <a:lnTo>
                    <a:pt x="2676" y="1531"/>
                  </a:lnTo>
                  <a:lnTo>
                    <a:pt x="2672" y="1581"/>
                  </a:lnTo>
                  <a:lnTo>
                    <a:pt x="2666" y="1629"/>
                  </a:lnTo>
                  <a:lnTo>
                    <a:pt x="2660" y="1679"/>
                  </a:lnTo>
                  <a:lnTo>
                    <a:pt x="2851" y="1791"/>
                  </a:lnTo>
                  <a:lnTo>
                    <a:pt x="2885" y="1814"/>
                  </a:lnTo>
                  <a:lnTo>
                    <a:pt x="2912" y="1845"/>
                  </a:lnTo>
                  <a:lnTo>
                    <a:pt x="2933" y="1879"/>
                  </a:lnTo>
                  <a:lnTo>
                    <a:pt x="2949" y="1916"/>
                  </a:lnTo>
                  <a:lnTo>
                    <a:pt x="2954" y="1956"/>
                  </a:lnTo>
                  <a:lnTo>
                    <a:pt x="2954" y="1997"/>
                  </a:lnTo>
                  <a:lnTo>
                    <a:pt x="2945" y="2037"/>
                  </a:lnTo>
                  <a:lnTo>
                    <a:pt x="2928" y="2076"/>
                  </a:lnTo>
                  <a:lnTo>
                    <a:pt x="2674" y="2515"/>
                  </a:lnTo>
                  <a:lnTo>
                    <a:pt x="2651" y="2547"/>
                  </a:lnTo>
                  <a:lnTo>
                    <a:pt x="2620" y="2576"/>
                  </a:lnTo>
                  <a:lnTo>
                    <a:pt x="2585" y="2597"/>
                  </a:lnTo>
                  <a:lnTo>
                    <a:pt x="2547" y="2613"/>
                  </a:lnTo>
                  <a:lnTo>
                    <a:pt x="2493" y="2619"/>
                  </a:lnTo>
                  <a:lnTo>
                    <a:pt x="2458" y="2617"/>
                  </a:lnTo>
                  <a:lnTo>
                    <a:pt x="2422" y="2607"/>
                  </a:lnTo>
                  <a:lnTo>
                    <a:pt x="2389" y="2592"/>
                  </a:lnTo>
                  <a:lnTo>
                    <a:pt x="2199" y="2482"/>
                  </a:lnTo>
                  <a:lnTo>
                    <a:pt x="2137" y="2526"/>
                  </a:lnTo>
                  <a:lnTo>
                    <a:pt x="2073" y="2567"/>
                  </a:lnTo>
                  <a:lnTo>
                    <a:pt x="2008" y="2603"/>
                  </a:lnTo>
                  <a:lnTo>
                    <a:pt x="1939" y="2636"/>
                  </a:lnTo>
                  <a:lnTo>
                    <a:pt x="1939" y="2852"/>
                  </a:lnTo>
                  <a:lnTo>
                    <a:pt x="1933" y="2898"/>
                  </a:lnTo>
                  <a:lnTo>
                    <a:pt x="1918" y="2942"/>
                  </a:lnTo>
                  <a:lnTo>
                    <a:pt x="1893" y="2981"/>
                  </a:lnTo>
                  <a:lnTo>
                    <a:pt x="1862" y="3013"/>
                  </a:lnTo>
                  <a:lnTo>
                    <a:pt x="1821" y="3038"/>
                  </a:lnTo>
                  <a:lnTo>
                    <a:pt x="1779" y="3054"/>
                  </a:lnTo>
                  <a:lnTo>
                    <a:pt x="1731" y="3060"/>
                  </a:lnTo>
                  <a:lnTo>
                    <a:pt x="1223" y="3060"/>
                  </a:lnTo>
                  <a:lnTo>
                    <a:pt x="1175" y="3054"/>
                  </a:lnTo>
                  <a:lnTo>
                    <a:pt x="1133" y="3038"/>
                  </a:lnTo>
                  <a:lnTo>
                    <a:pt x="1092" y="3013"/>
                  </a:lnTo>
                  <a:lnTo>
                    <a:pt x="1062" y="2981"/>
                  </a:lnTo>
                  <a:lnTo>
                    <a:pt x="1037" y="2942"/>
                  </a:lnTo>
                  <a:lnTo>
                    <a:pt x="1021" y="2898"/>
                  </a:lnTo>
                  <a:lnTo>
                    <a:pt x="1015" y="2852"/>
                  </a:lnTo>
                  <a:lnTo>
                    <a:pt x="1015" y="2636"/>
                  </a:lnTo>
                  <a:lnTo>
                    <a:pt x="946" y="2603"/>
                  </a:lnTo>
                  <a:lnTo>
                    <a:pt x="881" y="2567"/>
                  </a:lnTo>
                  <a:lnTo>
                    <a:pt x="817" y="2526"/>
                  </a:lnTo>
                  <a:lnTo>
                    <a:pt x="756" y="2482"/>
                  </a:lnTo>
                  <a:lnTo>
                    <a:pt x="577" y="2584"/>
                  </a:lnTo>
                  <a:lnTo>
                    <a:pt x="542" y="2534"/>
                  </a:lnTo>
                  <a:lnTo>
                    <a:pt x="502" y="2490"/>
                  </a:lnTo>
                  <a:lnTo>
                    <a:pt x="546" y="2442"/>
                  </a:lnTo>
                  <a:lnTo>
                    <a:pt x="583" y="2388"/>
                  </a:lnTo>
                  <a:lnTo>
                    <a:pt x="613" y="2330"/>
                  </a:lnTo>
                  <a:lnTo>
                    <a:pt x="635" y="2268"/>
                  </a:lnTo>
                  <a:lnTo>
                    <a:pt x="646" y="2205"/>
                  </a:lnTo>
                  <a:lnTo>
                    <a:pt x="652" y="2141"/>
                  </a:lnTo>
                  <a:lnTo>
                    <a:pt x="648" y="2078"/>
                  </a:lnTo>
                  <a:lnTo>
                    <a:pt x="635" y="2016"/>
                  </a:lnTo>
                  <a:lnTo>
                    <a:pt x="615" y="1956"/>
                  </a:lnTo>
                  <a:lnTo>
                    <a:pt x="586" y="1899"/>
                  </a:lnTo>
                  <a:lnTo>
                    <a:pt x="385" y="1548"/>
                  </a:lnTo>
                  <a:lnTo>
                    <a:pt x="358" y="1506"/>
                  </a:lnTo>
                  <a:lnTo>
                    <a:pt x="325" y="1467"/>
                  </a:lnTo>
                  <a:lnTo>
                    <a:pt x="288" y="1433"/>
                  </a:lnTo>
                  <a:lnTo>
                    <a:pt x="294" y="1381"/>
                  </a:lnTo>
                  <a:lnTo>
                    <a:pt x="104" y="1271"/>
                  </a:lnTo>
                  <a:lnTo>
                    <a:pt x="69" y="1246"/>
                  </a:lnTo>
                  <a:lnTo>
                    <a:pt x="42" y="1215"/>
                  </a:lnTo>
                  <a:lnTo>
                    <a:pt x="21" y="1180"/>
                  </a:lnTo>
                  <a:lnTo>
                    <a:pt x="6" y="1144"/>
                  </a:lnTo>
                  <a:lnTo>
                    <a:pt x="0" y="1103"/>
                  </a:lnTo>
                  <a:lnTo>
                    <a:pt x="0" y="1063"/>
                  </a:lnTo>
                  <a:lnTo>
                    <a:pt x="9" y="1024"/>
                  </a:lnTo>
                  <a:lnTo>
                    <a:pt x="27" y="986"/>
                  </a:lnTo>
                  <a:lnTo>
                    <a:pt x="281" y="545"/>
                  </a:lnTo>
                  <a:lnTo>
                    <a:pt x="306" y="512"/>
                  </a:lnTo>
                  <a:lnTo>
                    <a:pt x="334" y="485"/>
                  </a:lnTo>
                  <a:lnTo>
                    <a:pt x="369" y="462"/>
                  </a:lnTo>
                  <a:lnTo>
                    <a:pt x="408" y="449"/>
                  </a:lnTo>
                  <a:lnTo>
                    <a:pt x="435" y="443"/>
                  </a:lnTo>
                  <a:lnTo>
                    <a:pt x="461" y="441"/>
                  </a:lnTo>
                  <a:lnTo>
                    <a:pt x="498" y="445"/>
                  </a:lnTo>
                  <a:lnTo>
                    <a:pt x="533" y="455"/>
                  </a:lnTo>
                  <a:lnTo>
                    <a:pt x="565" y="470"/>
                  </a:lnTo>
                  <a:lnTo>
                    <a:pt x="756" y="580"/>
                  </a:lnTo>
                  <a:lnTo>
                    <a:pt x="817" y="535"/>
                  </a:lnTo>
                  <a:lnTo>
                    <a:pt x="881" y="493"/>
                  </a:lnTo>
                  <a:lnTo>
                    <a:pt x="946" y="457"/>
                  </a:lnTo>
                  <a:lnTo>
                    <a:pt x="1015" y="426"/>
                  </a:lnTo>
                  <a:lnTo>
                    <a:pt x="1015" y="210"/>
                  </a:lnTo>
                  <a:lnTo>
                    <a:pt x="1021" y="162"/>
                  </a:lnTo>
                  <a:lnTo>
                    <a:pt x="1037" y="118"/>
                  </a:lnTo>
                  <a:lnTo>
                    <a:pt x="1062" y="79"/>
                  </a:lnTo>
                  <a:lnTo>
                    <a:pt x="1092" y="46"/>
                  </a:lnTo>
                  <a:lnTo>
                    <a:pt x="1133" y="21"/>
                  </a:lnTo>
                  <a:lnTo>
                    <a:pt x="1175" y="6"/>
                  </a:lnTo>
                  <a:lnTo>
                    <a:pt x="122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80" name="Freeform 144"/>
            <p:cNvSpPr>
              <a:spLocks noEditPoints="1"/>
            </p:cNvSpPr>
            <p:nvPr/>
          </p:nvSpPr>
          <p:spPr bwMode="auto">
            <a:xfrm>
              <a:off x="4761" y="2423"/>
              <a:ext cx="1173" cy="1214"/>
            </a:xfrm>
            <a:custGeom>
              <a:avLst/>
              <a:gdLst>
                <a:gd name="T0" fmla="*/ 1027 w 2345"/>
                <a:gd name="T1" fmla="*/ 779 h 2428"/>
                <a:gd name="T2" fmla="*/ 850 w 2345"/>
                <a:gd name="T3" fmla="*/ 889 h 2428"/>
                <a:gd name="T4" fmla="*/ 738 w 2345"/>
                <a:gd name="T5" fmla="*/ 1068 h 2428"/>
                <a:gd name="T6" fmla="*/ 721 w 2345"/>
                <a:gd name="T7" fmla="*/ 1288 h 2428"/>
                <a:gd name="T8" fmla="*/ 804 w 2345"/>
                <a:gd name="T9" fmla="*/ 1482 h 2428"/>
                <a:gd name="T10" fmla="*/ 962 w 2345"/>
                <a:gd name="T11" fmla="*/ 1619 h 2428"/>
                <a:gd name="T12" fmla="*/ 1171 w 2345"/>
                <a:gd name="T13" fmla="*/ 1669 h 2428"/>
                <a:gd name="T14" fmla="*/ 1383 w 2345"/>
                <a:gd name="T15" fmla="*/ 1619 h 2428"/>
                <a:gd name="T16" fmla="*/ 1541 w 2345"/>
                <a:gd name="T17" fmla="*/ 1482 h 2428"/>
                <a:gd name="T18" fmla="*/ 1623 w 2345"/>
                <a:gd name="T19" fmla="*/ 1288 h 2428"/>
                <a:gd name="T20" fmla="*/ 1606 w 2345"/>
                <a:gd name="T21" fmla="*/ 1068 h 2428"/>
                <a:gd name="T22" fmla="*/ 1496 w 2345"/>
                <a:gd name="T23" fmla="*/ 889 h 2428"/>
                <a:gd name="T24" fmla="*/ 1317 w 2345"/>
                <a:gd name="T25" fmla="*/ 779 h 2428"/>
                <a:gd name="T26" fmla="*/ 971 w 2345"/>
                <a:gd name="T27" fmla="*/ 0 h 2428"/>
                <a:gd name="T28" fmla="*/ 1458 w 2345"/>
                <a:gd name="T29" fmla="*/ 21 h 2428"/>
                <a:gd name="T30" fmla="*/ 1533 w 2345"/>
                <a:gd name="T31" fmla="*/ 121 h 2428"/>
                <a:gd name="T32" fmla="*/ 1612 w 2345"/>
                <a:gd name="T33" fmla="*/ 369 h 2428"/>
                <a:gd name="T34" fmla="*/ 1896 w 2345"/>
                <a:gd name="T35" fmla="*/ 371 h 2428"/>
                <a:gd name="T36" fmla="*/ 2012 w 2345"/>
                <a:gd name="T37" fmla="*/ 352 h 2428"/>
                <a:gd name="T38" fmla="*/ 2100 w 2345"/>
                <a:gd name="T39" fmla="*/ 402 h 2428"/>
                <a:gd name="T40" fmla="*/ 2339 w 2345"/>
                <a:gd name="T41" fmla="*/ 820 h 2428"/>
                <a:gd name="T42" fmla="*/ 2327 w 2345"/>
                <a:gd name="T43" fmla="*/ 937 h 2428"/>
                <a:gd name="T44" fmla="*/ 2262 w 2345"/>
                <a:gd name="T45" fmla="*/ 1007 h 2428"/>
                <a:gd name="T46" fmla="*/ 2122 w 2345"/>
                <a:gd name="T47" fmla="*/ 1213 h 2428"/>
                <a:gd name="T48" fmla="*/ 2262 w 2345"/>
                <a:gd name="T49" fmla="*/ 1419 h 2428"/>
                <a:gd name="T50" fmla="*/ 2335 w 2345"/>
                <a:gd name="T51" fmla="*/ 1501 h 2428"/>
                <a:gd name="T52" fmla="*/ 2339 w 2345"/>
                <a:gd name="T53" fmla="*/ 1609 h 2428"/>
                <a:gd name="T54" fmla="*/ 2102 w 2345"/>
                <a:gd name="T55" fmla="*/ 2021 h 2428"/>
                <a:gd name="T56" fmla="*/ 2021 w 2345"/>
                <a:gd name="T57" fmla="*/ 2071 h 2428"/>
                <a:gd name="T58" fmla="*/ 1921 w 2345"/>
                <a:gd name="T59" fmla="*/ 2068 h 2428"/>
                <a:gd name="T60" fmla="*/ 1679 w 2345"/>
                <a:gd name="T61" fmla="*/ 2014 h 2428"/>
                <a:gd name="T62" fmla="*/ 1539 w 2345"/>
                <a:gd name="T63" fmla="*/ 2260 h 2428"/>
                <a:gd name="T64" fmla="*/ 1491 w 2345"/>
                <a:gd name="T65" fmla="*/ 2378 h 2428"/>
                <a:gd name="T66" fmla="*/ 1373 w 2345"/>
                <a:gd name="T67" fmla="*/ 2428 h 2428"/>
                <a:gd name="T68" fmla="*/ 887 w 2345"/>
                <a:gd name="T69" fmla="*/ 2404 h 2428"/>
                <a:gd name="T70" fmla="*/ 812 w 2345"/>
                <a:gd name="T71" fmla="*/ 2304 h 2428"/>
                <a:gd name="T72" fmla="*/ 733 w 2345"/>
                <a:gd name="T73" fmla="*/ 2056 h 2428"/>
                <a:gd name="T74" fmla="*/ 448 w 2345"/>
                <a:gd name="T75" fmla="*/ 2054 h 2428"/>
                <a:gd name="T76" fmla="*/ 323 w 2345"/>
                <a:gd name="T77" fmla="*/ 2071 h 2428"/>
                <a:gd name="T78" fmla="*/ 242 w 2345"/>
                <a:gd name="T79" fmla="*/ 2021 h 2428"/>
                <a:gd name="T80" fmla="*/ 6 w 2345"/>
                <a:gd name="T81" fmla="*/ 1609 h 2428"/>
                <a:gd name="T82" fmla="*/ 11 w 2345"/>
                <a:gd name="T83" fmla="*/ 1501 h 2428"/>
                <a:gd name="T84" fmla="*/ 82 w 2345"/>
                <a:gd name="T85" fmla="*/ 1419 h 2428"/>
                <a:gd name="T86" fmla="*/ 223 w 2345"/>
                <a:gd name="T87" fmla="*/ 1213 h 2428"/>
                <a:gd name="T88" fmla="*/ 82 w 2345"/>
                <a:gd name="T89" fmla="*/ 1007 h 2428"/>
                <a:gd name="T90" fmla="*/ 11 w 2345"/>
                <a:gd name="T91" fmla="*/ 924 h 2428"/>
                <a:gd name="T92" fmla="*/ 6 w 2345"/>
                <a:gd name="T93" fmla="*/ 816 h 2428"/>
                <a:gd name="T94" fmla="*/ 242 w 2345"/>
                <a:gd name="T95" fmla="*/ 404 h 2428"/>
                <a:gd name="T96" fmla="*/ 323 w 2345"/>
                <a:gd name="T97" fmla="*/ 354 h 2428"/>
                <a:gd name="T98" fmla="*/ 423 w 2345"/>
                <a:gd name="T99" fmla="*/ 358 h 2428"/>
                <a:gd name="T100" fmla="*/ 665 w 2345"/>
                <a:gd name="T101" fmla="*/ 412 h 2428"/>
                <a:gd name="T102" fmla="*/ 806 w 2345"/>
                <a:gd name="T103" fmla="*/ 165 h 2428"/>
                <a:gd name="T104" fmla="*/ 854 w 2345"/>
                <a:gd name="T105" fmla="*/ 48 h 2428"/>
                <a:gd name="T106" fmla="*/ 971 w 2345"/>
                <a:gd name="T107" fmla="*/ 0 h 2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45" h="2428">
                  <a:moveTo>
                    <a:pt x="1171" y="756"/>
                  </a:moveTo>
                  <a:lnTo>
                    <a:pt x="1098" y="762"/>
                  </a:lnTo>
                  <a:lnTo>
                    <a:pt x="1027" y="779"/>
                  </a:lnTo>
                  <a:lnTo>
                    <a:pt x="962" y="806"/>
                  </a:lnTo>
                  <a:lnTo>
                    <a:pt x="902" y="843"/>
                  </a:lnTo>
                  <a:lnTo>
                    <a:pt x="850" y="889"/>
                  </a:lnTo>
                  <a:lnTo>
                    <a:pt x="804" y="943"/>
                  </a:lnTo>
                  <a:lnTo>
                    <a:pt x="767" y="1003"/>
                  </a:lnTo>
                  <a:lnTo>
                    <a:pt x="738" y="1068"/>
                  </a:lnTo>
                  <a:lnTo>
                    <a:pt x="721" y="1140"/>
                  </a:lnTo>
                  <a:lnTo>
                    <a:pt x="715" y="1213"/>
                  </a:lnTo>
                  <a:lnTo>
                    <a:pt x="721" y="1288"/>
                  </a:lnTo>
                  <a:lnTo>
                    <a:pt x="738" y="1357"/>
                  </a:lnTo>
                  <a:lnTo>
                    <a:pt x="767" y="1423"/>
                  </a:lnTo>
                  <a:lnTo>
                    <a:pt x="804" y="1482"/>
                  </a:lnTo>
                  <a:lnTo>
                    <a:pt x="850" y="1536"/>
                  </a:lnTo>
                  <a:lnTo>
                    <a:pt x="902" y="1582"/>
                  </a:lnTo>
                  <a:lnTo>
                    <a:pt x="962" y="1619"/>
                  </a:lnTo>
                  <a:lnTo>
                    <a:pt x="1027" y="1646"/>
                  </a:lnTo>
                  <a:lnTo>
                    <a:pt x="1098" y="1663"/>
                  </a:lnTo>
                  <a:lnTo>
                    <a:pt x="1171" y="1669"/>
                  </a:lnTo>
                  <a:lnTo>
                    <a:pt x="1246" y="1663"/>
                  </a:lnTo>
                  <a:lnTo>
                    <a:pt x="1317" y="1646"/>
                  </a:lnTo>
                  <a:lnTo>
                    <a:pt x="1383" y="1619"/>
                  </a:lnTo>
                  <a:lnTo>
                    <a:pt x="1442" y="1582"/>
                  </a:lnTo>
                  <a:lnTo>
                    <a:pt x="1496" y="1536"/>
                  </a:lnTo>
                  <a:lnTo>
                    <a:pt x="1541" y="1482"/>
                  </a:lnTo>
                  <a:lnTo>
                    <a:pt x="1579" y="1423"/>
                  </a:lnTo>
                  <a:lnTo>
                    <a:pt x="1606" y="1357"/>
                  </a:lnTo>
                  <a:lnTo>
                    <a:pt x="1623" y="1288"/>
                  </a:lnTo>
                  <a:lnTo>
                    <a:pt x="1629" y="1213"/>
                  </a:lnTo>
                  <a:lnTo>
                    <a:pt x="1623" y="1140"/>
                  </a:lnTo>
                  <a:lnTo>
                    <a:pt x="1606" y="1068"/>
                  </a:lnTo>
                  <a:lnTo>
                    <a:pt x="1579" y="1003"/>
                  </a:lnTo>
                  <a:lnTo>
                    <a:pt x="1541" y="943"/>
                  </a:lnTo>
                  <a:lnTo>
                    <a:pt x="1496" y="889"/>
                  </a:lnTo>
                  <a:lnTo>
                    <a:pt x="1442" y="843"/>
                  </a:lnTo>
                  <a:lnTo>
                    <a:pt x="1383" y="806"/>
                  </a:lnTo>
                  <a:lnTo>
                    <a:pt x="1317" y="779"/>
                  </a:lnTo>
                  <a:lnTo>
                    <a:pt x="1246" y="762"/>
                  </a:lnTo>
                  <a:lnTo>
                    <a:pt x="1171" y="756"/>
                  </a:lnTo>
                  <a:close/>
                  <a:moveTo>
                    <a:pt x="971" y="0"/>
                  </a:moveTo>
                  <a:lnTo>
                    <a:pt x="1373" y="0"/>
                  </a:lnTo>
                  <a:lnTo>
                    <a:pt x="1417" y="5"/>
                  </a:lnTo>
                  <a:lnTo>
                    <a:pt x="1458" y="21"/>
                  </a:lnTo>
                  <a:lnTo>
                    <a:pt x="1491" y="48"/>
                  </a:lnTo>
                  <a:lnTo>
                    <a:pt x="1516" y="81"/>
                  </a:lnTo>
                  <a:lnTo>
                    <a:pt x="1533" y="121"/>
                  </a:lnTo>
                  <a:lnTo>
                    <a:pt x="1539" y="165"/>
                  </a:lnTo>
                  <a:lnTo>
                    <a:pt x="1539" y="335"/>
                  </a:lnTo>
                  <a:lnTo>
                    <a:pt x="1612" y="369"/>
                  </a:lnTo>
                  <a:lnTo>
                    <a:pt x="1679" y="412"/>
                  </a:lnTo>
                  <a:lnTo>
                    <a:pt x="1744" y="458"/>
                  </a:lnTo>
                  <a:lnTo>
                    <a:pt x="1896" y="371"/>
                  </a:lnTo>
                  <a:lnTo>
                    <a:pt x="1937" y="354"/>
                  </a:lnTo>
                  <a:lnTo>
                    <a:pt x="1979" y="348"/>
                  </a:lnTo>
                  <a:lnTo>
                    <a:pt x="2012" y="352"/>
                  </a:lnTo>
                  <a:lnTo>
                    <a:pt x="2045" y="362"/>
                  </a:lnTo>
                  <a:lnTo>
                    <a:pt x="2075" y="379"/>
                  </a:lnTo>
                  <a:lnTo>
                    <a:pt x="2100" y="402"/>
                  </a:lnTo>
                  <a:lnTo>
                    <a:pt x="2122" y="431"/>
                  </a:lnTo>
                  <a:lnTo>
                    <a:pt x="2323" y="779"/>
                  </a:lnTo>
                  <a:lnTo>
                    <a:pt x="2339" y="820"/>
                  </a:lnTo>
                  <a:lnTo>
                    <a:pt x="2345" y="862"/>
                  </a:lnTo>
                  <a:lnTo>
                    <a:pt x="2341" y="907"/>
                  </a:lnTo>
                  <a:lnTo>
                    <a:pt x="2327" y="937"/>
                  </a:lnTo>
                  <a:lnTo>
                    <a:pt x="2312" y="964"/>
                  </a:lnTo>
                  <a:lnTo>
                    <a:pt x="2289" y="987"/>
                  </a:lnTo>
                  <a:lnTo>
                    <a:pt x="2262" y="1007"/>
                  </a:lnTo>
                  <a:lnTo>
                    <a:pt x="2110" y="1095"/>
                  </a:lnTo>
                  <a:lnTo>
                    <a:pt x="2118" y="1153"/>
                  </a:lnTo>
                  <a:lnTo>
                    <a:pt x="2122" y="1213"/>
                  </a:lnTo>
                  <a:lnTo>
                    <a:pt x="2118" y="1272"/>
                  </a:lnTo>
                  <a:lnTo>
                    <a:pt x="2110" y="1330"/>
                  </a:lnTo>
                  <a:lnTo>
                    <a:pt x="2262" y="1419"/>
                  </a:lnTo>
                  <a:lnTo>
                    <a:pt x="2293" y="1442"/>
                  </a:lnTo>
                  <a:lnTo>
                    <a:pt x="2318" y="1471"/>
                  </a:lnTo>
                  <a:lnTo>
                    <a:pt x="2335" y="1501"/>
                  </a:lnTo>
                  <a:lnTo>
                    <a:pt x="2343" y="1538"/>
                  </a:lnTo>
                  <a:lnTo>
                    <a:pt x="2345" y="1575"/>
                  </a:lnTo>
                  <a:lnTo>
                    <a:pt x="2339" y="1609"/>
                  </a:lnTo>
                  <a:lnTo>
                    <a:pt x="2323" y="1646"/>
                  </a:lnTo>
                  <a:lnTo>
                    <a:pt x="2122" y="1994"/>
                  </a:lnTo>
                  <a:lnTo>
                    <a:pt x="2102" y="2021"/>
                  </a:lnTo>
                  <a:lnTo>
                    <a:pt x="2079" y="2043"/>
                  </a:lnTo>
                  <a:lnTo>
                    <a:pt x="2052" y="2060"/>
                  </a:lnTo>
                  <a:lnTo>
                    <a:pt x="2021" y="2071"/>
                  </a:lnTo>
                  <a:lnTo>
                    <a:pt x="1979" y="2077"/>
                  </a:lnTo>
                  <a:lnTo>
                    <a:pt x="1950" y="2075"/>
                  </a:lnTo>
                  <a:lnTo>
                    <a:pt x="1921" y="2068"/>
                  </a:lnTo>
                  <a:lnTo>
                    <a:pt x="1896" y="2054"/>
                  </a:lnTo>
                  <a:lnTo>
                    <a:pt x="1744" y="1967"/>
                  </a:lnTo>
                  <a:lnTo>
                    <a:pt x="1679" y="2014"/>
                  </a:lnTo>
                  <a:lnTo>
                    <a:pt x="1612" y="2056"/>
                  </a:lnTo>
                  <a:lnTo>
                    <a:pt x="1539" y="2091"/>
                  </a:lnTo>
                  <a:lnTo>
                    <a:pt x="1539" y="2260"/>
                  </a:lnTo>
                  <a:lnTo>
                    <a:pt x="1533" y="2304"/>
                  </a:lnTo>
                  <a:lnTo>
                    <a:pt x="1516" y="2345"/>
                  </a:lnTo>
                  <a:lnTo>
                    <a:pt x="1491" y="2378"/>
                  </a:lnTo>
                  <a:lnTo>
                    <a:pt x="1458" y="2404"/>
                  </a:lnTo>
                  <a:lnTo>
                    <a:pt x="1417" y="2420"/>
                  </a:lnTo>
                  <a:lnTo>
                    <a:pt x="1373" y="2428"/>
                  </a:lnTo>
                  <a:lnTo>
                    <a:pt x="971" y="2428"/>
                  </a:lnTo>
                  <a:lnTo>
                    <a:pt x="927" y="2420"/>
                  </a:lnTo>
                  <a:lnTo>
                    <a:pt x="887" y="2404"/>
                  </a:lnTo>
                  <a:lnTo>
                    <a:pt x="854" y="2378"/>
                  </a:lnTo>
                  <a:lnTo>
                    <a:pt x="829" y="2345"/>
                  </a:lnTo>
                  <a:lnTo>
                    <a:pt x="812" y="2304"/>
                  </a:lnTo>
                  <a:lnTo>
                    <a:pt x="806" y="2260"/>
                  </a:lnTo>
                  <a:lnTo>
                    <a:pt x="806" y="2091"/>
                  </a:lnTo>
                  <a:lnTo>
                    <a:pt x="733" y="2056"/>
                  </a:lnTo>
                  <a:lnTo>
                    <a:pt x="665" y="2014"/>
                  </a:lnTo>
                  <a:lnTo>
                    <a:pt x="600" y="1967"/>
                  </a:lnTo>
                  <a:lnTo>
                    <a:pt x="448" y="2054"/>
                  </a:lnTo>
                  <a:lnTo>
                    <a:pt x="409" y="2071"/>
                  </a:lnTo>
                  <a:lnTo>
                    <a:pt x="365" y="2077"/>
                  </a:lnTo>
                  <a:lnTo>
                    <a:pt x="323" y="2071"/>
                  </a:lnTo>
                  <a:lnTo>
                    <a:pt x="292" y="2060"/>
                  </a:lnTo>
                  <a:lnTo>
                    <a:pt x="265" y="2043"/>
                  </a:lnTo>
                  <a:lnTo>
                    <a:pt x="242" y="2021"/>
                  </a:lnTo>
                  <a:lnTo>
                    <a:pt x="223" y="1994"/>
                  </a:lnTo>
                  <a:lnTo>
                    <a:pt x="21" y="1646"/>
                  </a:lnTo>
                  <a:lnTo>
                    <a:pt x="6" y="1609"/>
                  </a:lnTo>
                  <a:lnTo>
                    <a:pt x="0" y="1573"/>
                  </a:lnTo>
                  <a:lnTo>
                    <a:pt x="2" y="1538"/>
                  </a:lnTo>
                  <a:lnTo>
                    <a:pt x="11" y="1501"/>
                  </a:lnTo>
                  <a:lnTo>
                    <a:pt x="27" y="1469"/>
                  </a:lnTo>
                  <a:lnTo>
                    <a:pt x="52" y="1442"/>
                  </a:lnTo>
                  <a:lnTo>
                    <a:pt x="82" y="1419"/>
                  </a:lnTo>
                  <a:lnTo>
                    <a:pt x="234" y="1330"/>
                  </a:lnTo>
                  <a:lnTo>
                    <a:pt x="227" y="1272"/>
                  </a:lnTo>
                  <a:lnTo>
                    <a:pt x="223" y="1213"/>
                  </a:lnTo>
                  <a:lnTo>
                    <a:pt x="227" y="1153"/>
                  </a:lnTo>
                  <a:lnTo>
                    <a:pt x="234" y="1095"/>
                  </a:lnTo>
                  <a:lnTo>
                    <a:pt x="82" y="1007"/>
                  </a:lnTo>
                  <a:lnTo>
                    <a:pt x="52" y="984"/>
                  </a:lnTo>
                  <a:lnTo>
                    <a:pt x="27" y="955"/>
                  </a:lnTo>
                  <a:lnTo>
                    <a:pt x="11" y="924"/>
                  </a:lnTo>
                  <a:lnTo>
                    <a:pt x="2" y="887"/>
                  </a:lnTo>
                  <a:lnTo>
                    <a:pt x="0" y="853"/>
                  </a:lnTo>
                  <a:lnTo>
                    <a:pt x="6" y="816"/>
                  </a:lnTo>
                  <a:lnTo>
                    <a:pt x="21" y="779"/>
                  </a:lnTo>
                  <a:lnTo>
                    <a:pt x="223" y="431"/>
                  </a:lnTo>
                  <a:lnTo>
                    <a:pt x="242" y="404"/>
                  </a:lnTo>
                  <a:lnTo>
                    <a:pt x="265" y="383"/>
                  </a:lnTo>
                  <a:lnTo>
                    <a:pt x="292" y="366"/>
                  </a:lnTo>
                  <a:lnTo>
                    <a:pt x="323" y="354"/>
                  </a:lnTo>
                  <a:lnTo>
                    <a:pt x="367" y="348"/>
                  </a:lnTo>
                  <a:lnTo>
                    <a:pt x="394" y="350"/>
                  </a:lnTo>
                  <a:lnTo>
                    <a:pt x="423" y="358"/>
                  </a:lnTo>
                  <a:lnTo>
                    <a:pt x="448" y="371"/>
                  </a:lnTo>
                  <a:lnTo>
                    <a:pt x="600" y="458"/>
                  </a:lnTo>
                  <a:lnTo>
                    <a:pt x="665" y="412"/>
                  </a:lnTo>
                  <a:lnTo>
                    <a:pt x="733" y="369"/>
                  </a:lnTo>
                  <a:lnTo>
                    <a:pt x="806" y="335"/>
                  </a:lnTo>
                  <a:lnTo>
                    <a:pt x="806" y="165"/>
                  </a:lnTo>
                  <a:lnTo>
                    <a:pt x="812" y="121"/>
                  </a:lnTo>
                  <a:lnTo>
                    <a:pt x="829" y="81"/>
                  </a:lnTo>
                  <a:lnTo>
                    <a:pt x="854" y="48"/>
                  </a:lnTo>
                  <a:lnTo>
                    <a:pt x="887" y="21"/>
                  </a:lnTo>
                  <a:lnTo>
                    <a:pt x="927" y="5"/>
                  </a:lnTo>
                  <a:lnTo>
                    <a:pt x="9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</p:grpSp>
      <p:sp>
        <p:nvSpPr>
          <p:cNvPr id="83" name="Freeform 4838"/>
          <p:cNvSpPr>
            <a:spLocks noEditPoints="1"/>
          </p:cNvSpPr>
          <p:nvPr/>
        </p:nvSpPr>
        <p:spPr bwMode="auto">
          <a:xfrm>
            <a:off x="5563049" y="2846975"/>
            <a:ext cx="422222" cy="419738"/>
          </a:xfrm>
          <a:custGeom>
            <a:avLst/>
            <a:gdLst>
              <a:gd name="T0" fmla="*/ 24 w 340"/>
              <a:gd name="T1" fmla="*/ 266 h 338"/>
              <a:gd name="T2" fmla="*/ 18 w 340"/>
              <a:gd name="T3" fmla="*/ 270 h 338"/>
              <a:gd name="T4" fmla="*/ 14 w 340"/>
              <a:gd name="T5" fmla="*/ 276 h 338"/>
              <a:gd name="T6" fmla="*/ 16 w 340"/>
              <a:gd name="T7" fmla="*/ 280 h 338"/>
              <a:gd name="T8" fmla="*/ 20 w 340"/>
              <a:gd name="T9" fmla="*/ 286 h 338"/>
              <a:gd name="T10" fmla="*/ 316 w 340"/>
              <a:gd name="T11" fmla="*/ 286 h 338"/>
              <a:gd name="T12" fmla="*/ 320 w 340"/>
              <a:gd name="T13" fmla="*/ 286 h 338"/>
              <a:gd name="T14" fmla="*/ 324 w 340"/>
              <a:gd name="T15" fmla="*/ 280 h 338"/>
              <a:gd name="T16" fmla="*/ 326 w 340"/>
              <a:gd name="T17" fmla="*/ 276 h 338"/>
              <a:gd name="T18" fmla="*/ 322 w 340"/>
              <a:gd name="T19" fmla="*/ 270 h 338"/>
              <a:gd name="T20" fmla="*/ 316 w 340"/>
              <a:gd name="T21" fmla="*/ 266 h 338"/>
              <a:gd name="T22" fmla="*/ 298 w 340"/>
              <a:gd name="T23" fmla="*/ 192 h 338"/>
              <a:gd name="T24" fmla="*/ 316 w 340"/>
              <a:gd name="T25" fmla="*/ 192 h 338"/>
              <a:gd name="T26" fmla="*/ 322 w 340"/>
              <a:gd name="T27" fmla="*/ 190 h 338"/>
              <a:gd name="T28" fmla="*/ 326 w 340"/>
              <a:gd name="T29" fmla="*/ 182 h 338"/>
              <a:gd name="T30" fmla="*/ 324 w 340"/>
              <a:gd name="T31" fmla="*/ 178 h 338"/>
              <a:gd name="T32" fmla="*/ 320 w 340"/>
              <a:gd name="T33" fmla="*/ 172 h 338"/>
              <a:gd name="T34" fmla="*/ 24 w 340"/>
              <a:gd name="T35" fmla="*/ 172 h 338"/>
              <a:gd name="T36" fmla="*/ 20 w 340"/>
              <a:gd name="T37" fmla="*/ 172 h 338"/>
              <a:gd name="T38" fmla="*/ 16 w 340"/>
              <a:gd name="T39" fmla="*/ 178 h 338"/>
              <a:gd name="T40" fmla="*/ 14 w 340"/>
              <a:gd name="T41" fmla="*/ 182 h 338"/>
              <a:gd name="T42" fmla="*/ 18 w 340"/>
              <a:gd name="T43" fmla="*/ 190 h 338"/>
              <a:gd name="T44" fmla="*/ 24 w 340"/>
              <a:gd name="T45" fmla="*/ 192 h 338"/>
              <a:gd name="T46" fmla="*/ 42 w 340"/>
              <a:gd name="T47" fmla="*/ 266 h 338"/>
              <a:gd name="T48" fmla="*/ 248 w 340"/>
              <a:gd name="T49" fmla="*/ 266 h 338"/>
              <a:gd name="T50" fmla="*/ 230 w 340"/>
              <a:gd name="T51" fmla="*/ 192 h 338"/>
              <a:gd name="T52" fmla="*/ 248 w 340"/>
              <a:gd name="T53" fmla="*/ 266 h 338"/>
              <a:gd name="T54" fmla="*/ 162 w 340"/>
              <a:gd name="T55" fmla="*/ 266 h 338"/>
              <a:gd name="T56" fmla="*/ 178 w 340"/>
              <a:gd name="T57" fmla="*/ 192 h 338"/>
              <a:gd name="T58" fmla="*/ 110 w 340"/>
              <a:gd name="T59" fmla="*/ 266 h 338"/>
              <a:gd name="T60" fmla="*/ 92 w 340"/>
              <a:gd name="T61" fmla="*/ 192 h 338"/>
              <a:gd name="T62" fmla="*/ 110 w 340"/>
              <a:gd name="T63" fmla="*/ 266 h 338"/>
              <a:gd name="T64" fmla="*/ 340 w 340"/>
              <a:gd name="T65" fmla="*/ 322 h 338"/>
              <a:gd name="T66" fmla="*/ 334 w 340"/>
              <a:gd name="T67" fmla="*/ 334 h 338"/>
              <a:gd name="T68" fmla="*/ 324 w 340"/>
              <a:gd name="T69" fmla="*/ 338 h 338"/>
              <a:gd name="T70" fmla="*/ 16 w 340"/>
              <a:gd name="T71" fmla="*/ 338 h 338"/>
              <a:gd name="T72" fmla="*/ 6 w 340"/>
              <a:gd name="T73" fmla="*/ 334 h 338"/>
              <a:gd name="T74" fmla="*/ 0 w 340"/>
              <a:gd name="T75" fmla="*/ 322 h 338"/>
              <a:gd name="T76" fmla="*/ 2 w 340"/>
              <a:gd name="T77" fmla="*/ 316 h 338"/>
              <a:gd name="T78" fmla="*/ 10 w 340"/>
              <a:gd name="T79" fmla="*/ 308 h 338"/>
              <a:gd name="T80" fmla="*/ 324 w 340"/>
              <a:gd name="T81" fmla="*/ 306 h 338"/>
              <a:gd name="T82" fmla="*/ 330 w 340"/>
              <a:gd name="T83" fmla="*/ 308 h 338"/>
              <a:gd name="T84" fmla="*/ 338 w 340"/>
              <a:gd name="T85" fmla="*/ 316 h 338"/>
              <a:gd name="T86" fmla="*/ 340 w 340"/>
              <a:gd name="T87" fmla="*/ 322 h 338"/>
              <a:gd name="T88" fmla="*/ 82 w 340"/>
              <a:gd name="T89" fmla="*/ 154 h 338"/>
              <a:gd name="T90" fmla="*/ 84 w 340"/>
              <a:gd name="T91" fmla="*/ 136 h 338"/>
              <a:gd name="T92" fmla="*/ 98 w 340"/>
              <a:gd name="T93" fmla="*/ 104 h 338"/>
              <a:gd name="T94" fmla="*/ 120 w 340"/>
              <a:gd name="T95" fmla="*/ 80 h 338"/>
              <a:gd name="T96" fmla="*/ 152 w 340"/>
              <a:gd name="T97" fmla="*/ 68 h 338"/>
              <a:gd name="T98" fmla="*/ 170 w 340"/>
              <a:gd name="T99" fmla="*/ 66 h 338"/>
              <a:gd name="T100" fmla="*/ 204 w 340"/>
              <a:gd name="T101" fmla="*/ 72 h 338"/>
              <a:gd name="T102" fmla="*/ 232 w 340"/>
              <a:gd name="T103" fmla="*/ 92 h 338"/>
              <a:gd name="T104" fmla="*/ 250 w 340"/>
              <a:gd name="T105" fmla="*/ 118 h 338"/>
              <a:gd name="T106" fmla="*/ 258 w 340"/>
              <a:gd name="T107" fmla="*/ 154 h 338"/>
              <a:gd name="T108" fmla="*/ 192 w 340"/>
              <a:gd name="T109" fmla="*/ 54 h 338"/>
              <a:gd name="T110" fmla="*/ 148 w 340"/>
              <a:gd name="T111" fmla="*/ 26 h 338"/>
              <a:gd name="T112" fmla="*/ 192 w 340"/>
              <a:gd name="T113" fmla="*/ 26 h 338"/>
              <a:gd name="T114" fmla="*/ 192 w 340"/>
              <a:gd name="T115" fmla="*/ 54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0" h="338">
                <a:moveTo>
                  <a:pt x="24" y="266"/>
                </a:moveTo>
                <a:lnTo>
                  <a:pt x="24" y="266"/>
                </a:lnTo>
                <a:lnTo>
                  <a:pt x="20" y="268"/>
                </a:lnTo>
                <a:lnTo>
                  <a:pt x="18" y="270"/>
                </a:lnTo>
                <a:lnTo>
                  <a:pt x="16" y="272"/>
                </a:lnTo>
                <a:lnTo>
                  <a:pt x="14" y="276"/>
                </a:lnTo>
                <a:lnTo>
                  <a:pt x="14" y="276"/>
                </a:lnTo>
                <a:lnTo>
                  <a:pt x="16" y="280"/>
                </a:lnTo>
                <a:lnTo>
                  <a:pt x="18" y="284"/>
                </a:lnTo>
                <a:lnTo>
                  <a:pt x="20" y="286"/>
                </a:lnTo>
                <a:lnTo>
                  <a:pt x="24" y="286"/>
                </a:lnTo>
                <a:lnTo>
                  <a:pt x="316" y="286"/>
                </a:lnTo>
                <a:lnTo>
                  <a:pt x="316" y="286"/>
                </a:lnTo>
                <a:lnTo>
                  <a:pt x="320" y="286"/>
                </a:lnTo>
                <a:lnTo>
                  <a:pt x="322" y="284"/>
                </a:lnTo>
                <a:lnTo>
                  <a:pt x="324" y="280"/>
                </a:lnTo>
                <a:lnTo>
                  <a:pt x="326" y="276"/>
                </a:lnTo>
                <a:lnTo>
                  <a:pt x="326" y="276"/>
                </a:lnTo>
                <a:lnTo>
                  <a:pt x="324" y="272"/>
                </a:lnTo>
                <a:lnTo>
                  <a:pt x="322" y="270"/>
                </a:lnTo>
                <a:lnTo>
                  <a:pt x="320" y="268"/>
                </a:lnTo>
                <a:lnTo>
                  <a:pt x="316" y="266"/>
                </a:lnTo>
                <a:lnTo>
                  <a:pt x="298" y="266"/>
                </a:lnTo>
                <a:lnTo>
                  <a:pt x="298" y="192"/>
                </a:lnTo>
                <a:lnTo>
                  <a:pt x="316" y="192"/>
                </a:lnTo>
                <a:lnTo>
                  <a:pt x="316" y="192"/>
                </a:lnTo>
                <a:lnTo>
                  <a:pt x="320" y="192"/>
                </a:lnTo>
                <a:lnTo>
                  <a:pt x="322" y="190"/>
                </a:lnTo>
                <a:lnTo>
                  <a:pt x="324" y="186"/>
                </a:lnTo>
                <a:lnTo>
                  <a:pt x="326" y="182"/>
                </a:lnTo>
                <a:lnTo>
                  <a:pt x="326" y="182"/>
                </a:lnTo>
                <a:lnTo>
                  <a:pt x="324" y="178"/>
                </a:lnTo>
                <a:lnTo>
                  <a:pt x="322" y="176"/>
                </a:lnTo>
                <a:lnTo>
                  <a:pt x="320" y="172"/>
                </a:lnTo>
                <a:lnTo>
                  <a:pt x="316" y="172"/>
                </a:lnTo>
                <a:lnTo>
                  <a:pt x="24" y="172"/>
                </a:lnTo>
                <a:lnTo>
                  <a:pt x="24" y="172"/>
                </a:lnTo>
                <a:lnTo>
                  <a:pt x="20" y="172"/>
                </a:lnTo>
                <a:lnTo>
                  <a:pt x="18" y="176"/>
                </a:lnTo>
                <a:lnTo>
                  <a:pt x="16" y="178"/>
                </a:lnTo>
                <a:lnTo>
                  <a:pt x="14" y="182"/>
                </a:lnTo>
                <a:lnTo>
                  <a:pt x="14" y="182"/>
                </a:lnTo>
                <a:lnTo>
                  <a:pt x="16" y="186"/>
                </a:lnTo>
                <a:lnTo>
                  <a:pt x="18" y="190"/>
                </a:lnTo>
                <a:lnTo>
                  <a:pt x="20" y="192"/>
                </a:lnTo>
                <a:lnTo>
                  <a:pt x="24" y="192"/>
                </a:lnTo>
                <a:lnTo>
                  <a:pt x="42" y="192"/>
                </a:lnTo>
                <a:lnTo>
                  <a:pt x="42" y="266"/>
                </a:lnTo>
                <a:lnTo>
                  <a:pt x="24" y="266"/>
                </a:lnTo>
                <a:close/>
                <a:moveTo>
                  <a:pt x="248" y="266"/>
                </a:moveTo>
                <a:lnTo>
                  <a:pt x="230" y="266"/>
                </a:lnTo>
                <a:lnTo>
                  <a:pt x="230" y="192"/>
                </a:lnTo>
                <a:lnTo>
                  <a:pt x="248" y="192"/>
                </a:lnTo>
                <a:lnTo>
                  <a:pt x="248" y="266"/>
                </a:lnTo>
                <a:close/>
                <a:moveTo>
                  <a:pt x="178" y="266"/>
                </a:moveTo>
                <a:lnTo>
                  <a:pt x="162" y="266"/>
                </a:lnTo>
                <a:lnTo>
                  <a:pt x="162" y="192"/>
                </a:lnTo>
                <a:lnTo>
                  <a:pt x="178" y="192"/>
                </a:lnTo>
                <a:lnTo>
                  <a:pt x="178" y="266"/>
                </a:lnTo>
                <a:close/>
                <a:moveTo>
                  <a:pt x="110" y="266"/>
                </a:moveTo>
                <a:lnTo>
                  <a:pt x="92" y="266"/>
                </a:lnTo>
                <a:lnTo>
                  <a:pt x="92" y="192"/>
                </a:lnTo>
                <a:lnTo>
                  <a:pt x="110" y="192"/>
                </a:lnTo>
                <a:lnTo>
                  <a:pt x="110" y="266"/>
                </a:lnTo>
                <a:close/>
                <a:moveTo>
                  <a:pt x="340" y="322"/>
                </a:moveTo>
                <a:lnTo>
                  <a:pt x="340" y="322"/>
                </a:lnTo>
                <a:lnTo>
                  <a:pt x="338" y="328"/>
                </a:lnTo>
                <a:lnTo>
                  <a:pt x="334" y="334"/>
                </a:lnTo>
                <a:lnTo>
                  <a:pt x="330" y="336"/>
                </a:lnTo>
                <a:lnTo>
                  <a:pt x="324" y="338"/>
                </a:lnTo>
                <a:lnTo>
                  <a:pt x="16" y="338"/>
                </a:lnTo>
                <a:lnTo>
                  <a:pt x="16" y="338"/>
                </a:lnTo>
                <a:lnTo>
                  <a:pt x="10" y="336"/>
                </a:lnTo>
                <a:lnTo>
                  <a:pt x="6" y="334"/>
                </a:lnTo>
                <a:lnTo>
                  <a:pt x="2" y="328"/>
                </a:lnTo>
                <a:lnTo>
                  <a:pt x="0" y="322"/>
                </a:lnTo>
                <a:lnTo>
                  <a:pt x="0" y="322"/>
                </a:lnTo>
                <a:lnTo>
                  <a:pt x="2" y="316"/>
                </a:lnTo>
                <a:lnTo>
                  <a:pt x="6" y="310"/>
                </a:lnTo>
                <a:lnTo>
                  <a:pt x="10" y="308"/>
                </a:lnTo>
                <a:lnTo>
                  <a:pt x="16" y="306"/>
                </a:lnTo>
                <a:lnTo>
                  <a:pt x="324" y="306"/>
                </a:lnTo>
                <a:lnTo>
                  <a:pt x="324" y="306"/>
                </a:lnTo>
                <a:lnTo>
                  <a:pt x="330" y="308"/>
                </a:lnTo>
                <a:lnTo>
                  <a:pt x="334" y="310"/>
                </a:lnTo>
                <a:lnTo>
                  <a:pt x="338" y="316"/>
                </a:lnTo>
                <a:lnTo>
                  <a:pt x="340" y="322"/>
                </a:lnTo>
                <a:lnTo>
                  <a:pt x="340" y="322"/>
                </a:lnTo>
                <a:close/>
                <a:moveTo>
                  <a:pt x="258" y="154"/>
                </a:moveTo>
                <a:lnTo>
                  <a:pt x="82" y="154"/>
                </a:lnTo>
                <a:lnTo>
                  <a:pt x="82" y="154"/>
                </a:lnTo>
                <a:lnTo>
                  <a:pt x="84" y="136"/>
                </a:lnTo>
                <a:lnTo>
                  <a:pt x="90" y="118"/>
                </a:lnTo>
                <a:lnTo>
                  <a:pt x="98" y="104"/>
                </a:lnTo>
                <a:lnTo>
                  <a:pt x="108" y="92"/>
                </a:lnTo>
                <a:lnTo>
                  <a:pt x="120" y="80"/>
                </a:lnTo>
                <a:lnTo>
                  <a:pt x="136" y="72"/>
                </a:lnTo>
                <a:lnTo>
                  <a:pt x="152" y="68"/>
                </a:lnTo>
                <a:lnTo>
                  <a:pt x="170" y="66"/>
                </a:lnTo>
                <a:lnTo>
                  <a:pt x="170" y="66"/>
                </a:lnTo>
                <a:lnTo>
                  <a:pt x="188" y="68"/>
                </a:lnTo>
                <a:lnTo>
                  <a:pt x="204" y="72"/>
                </a:lnTo>
                <a:lnTo>
                  <a:pt x="220" y="80"/>
                </a:lnTo>
                <a:lnTo>
                  <a:pt x="232" y="92"/>
                </a:lnTo>
                <a:lnTo>
                  <a:pt x="242" y="104"/>
                </a:lnTo>
                <a:lnTo>
                  <a:pt x="250" y="118"/>
                </a:lnTo>
                <a:lnTo>
                  <a:pt x="256" y="136"/>
                </a:lnTo>
                <a:lnTo>
                  <a:pt x="258" y="154"/>
                </a:lnTo>
                <a:lnTo>
                  <a:pt x="258" y="154"/>
                </a:lnTo>
                <a:close/>
                <a:moveTo>
                  <a:pt x="192" y="54"/>
                </a:moveTo>
                <a:lnTo>
                  <a:pt x="148" y="54"/>
                </a:lnTo>
                <a:lnTo>
                  <a:pt x="148" y="26"/>
                </a:lnTo>
                <a:lnTo>
                  <a:pt x="170" y="0"/>
                </a:lnTo>
                <a:lnTo>
                  <a:pt x="192" y="26"/>
                </a:lnTo>
                <a:lnTo>
                  <a:pt x="192" y="26"/>
                </a:lnTo>
                <a:lnTo>
                  <a:pt x="192" y="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grpSp>
        <p:nvGrpSpPr>
          <p:cNvPr id="3" name="Group 51"/>
          <p:cNvGrpSpPr>
            <a:grpSpLocks noChangeAspect="1"/>
          </p:cNvGrpSpPr>
          <p:nvPr/>
        </p:nvGrpSpPr>
        <p:grpSpPr bwMode="auto">
          <a:xfrm>
            <a:off x="3226950" y="3763368"/>
            <a:ext cx="469710" cy="469424"/>
            <a:chOff x="1238" y="519"/>
            <a:chExt cx="3280" cy="3278"/>
          </a:xfrm>
          <a:solidFill>
            <a:schemeClr val="bg1"/>
          </a:solidFill>
        </p:grpSpPr>
        <p:sp>
          <p:nvSpPr>
            <p:cNvPr id="84" name="Freeform 53"/>
            <p:cNvSpPr>
              <a:spLocks/>
            </p:cNvSpPr>
            <p:nvPr/>
          </p:nvSpPr>
          <p:spPr bwMode="auto">
            <a:xfrm>
              <a:off x="1238" y="1134"/>
              <a:ext cx="2870" cy="1844"/>
            </a:xfrm>
            <a:custGeom>
              <a:avLst/>
              <a:gdLst>
                <a:gd name="T0" fmla="*/ 0 w 5740"/>
                <a:gd name="T1" fmla="*/ 0 h 3688"/>
                <a:gd name="T2" fmla="*/ 1159 w 5740"/>
                <a:gd name="T3" fmla="*/ 0 h 3688"/>
                <a:gd name="T4" fmla="*/ 2595 w 5740"/>
                <a:gd name="T5" fmla="*/ 3277 h 3688"/>
                <a:gd name="T6" fmla="*/ 5740 w 5740"/>
                <a:gd name="T7" fmla="*/ 3277 h 3688"/>
                <a:gd name="T8" fmla="*/ 5740 w 5740"/>
                <a:gd name="T9" fmla="*/ 3688 h 3688"/>
                <a:gd name="T10" fmla="*/ 2326 w 5740"/>
                <a:gd name="T11" fmla="*/ 3688 h 3688"/>
                <a:gd name="T12" fmla="*/ 892 w 5740"/>
                <a:gd name="T13" fmla="*/ 408 h 3688"/>
                <a:gd name="T14" fmla="*/ 0 w 5740"/>
                <a:gd name="T15" fmla="*/ 408 h 3688"/>
                <a:gd name="T16" fmla="*/ 0 w 5740"/>
                <a:gd name="T17" fmla="*/ 0 h 3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40" h="3688">
                  <a:moveTo>
                    <a:pt x="0" y="0"/>
                  </a:moveTo>
                  <a:lnTo>
                    <a:pt x="1159" y="0"/>
                  </a:lnTo>
                  <a:lnTo>
                    <a:pt x="2595" y="3277"/>
                  </a:lnTo>
                  <a:lnTo>
                    <a:pt x="5740" y="3277"/>
                  </a:lnTo>
                  <a:lnTo>
                    <a:pt x="5740" y="3688"/>
                  </a:lnTo>
                  <a:lnTo>
                    <a:pt x="2326" y="3688"/>
                  </a:lnTo>
                  <a:lnTo>
                    <a:pt x="892" y="408"/>
                  </a:lnTo>
                  <a:lnTo>
                    <a:pt x="0" y="40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85" name="Freeform 54"/>
            <p:cNvSpPr>
              <a:spLocks/>
            </p:cNvSpPr>
            <p:nvPr/>
          </p:nvSpPr>
          <p:spPr bwMode="auto">
            <a:xfrm>
              <a:off x="2468" y="3182"/>
              <a:ext cx="615" cy="615"/>
            </a:xfrm>
            <a:custGeom>
              <a:avLst/>
              <a:gdLst>
                <a:gd name="T0" fmla="*/ 617 w 1231"/>
                <a:gd name="T1" fmla="*/ 0 h 1230"/>
                <a:gd name="T2" fmla="*/ 698 w 1231"/>
                <a:gd name="T3" fmla="*/ 6 h 1230"/>
                <a:gd name="T4" fmla="*/ 780 w 1231"/>
                <a:gd name="T5" fmla="*/ 22 h 1230"/>
                <a:gd name="T6" fmla="*/ 856 w 1231"/>
                <a:gd name="T7" fmla="*/ 50 h 1230"/>
                <a:gd name="T8" fmla="*/ 926 w 1231"/>
                <a:gd name="T9" fmla="*/ 84 h 1230"/>
                <a:gd name="T10" fmla="*/ 992 w 1231"/>
                <a:gd name="T11" fmla="*/ 130 h 1230"/>
                <a:gd name="T12" fmla="*/ 1051 w 1231"/>
                <a:gd name="T13" fmla="*/ 182 h 1230"/>
                <a:gd name="T14" fmla="*/ 1103 w 1231"/>
                <a:gd name="T15" fmla="*/ 239 h 1230"/>
                <a:gd name="T16" fmla="*/ 1147 w 1231"/>
                <a:gd name="T17" fmla="*/ 305 h 1230"/>
                <a:gd name="T18" fmla="*/ 1183 w 1231"/>
                <a:gd name="T19" fmla="*/ 377 h 1230"/>
                <a:gd name="T20" fmla="*/ 1209 w 1231"/>
                <a:gd name="T21" fmla="*/ 453 h 1230"/>
                <a:gd name="T22" fmla="*/ 1225 w 1231"/>
                <a:gd name="T23" fmla="*/ 532 h 1230"/>
                <a:gd name="T24" fmla="*/ 1231 w 1231"/>
                <a:gd name="T25" fmla="*/ 616 h 1230"/>
                <a:gd name="T26" fmla="*/ 1225 w 1231"/>
                <a:gd name="T27" fmla="*/ 698 h 1230"/>
                <a:gd name="T28" fmla="*/ 1209 w 1231"/>
                <a:gd name="T29" fmla="*/ 780 h 1230"/>
                <a:gd name="T30" fmla="*/ 1183 w 1231"/>
                <a:gd name="T31" fmla="*/ 855 h 1230"/>
                <a:gd name="T32" fmla="*/ 1147 w 1231"/>
                <a:gd name="T33" fmla="*/ 925 h 1230"/>
                <a:gd name="T34" fmla="*/ 1103 w 1231"/>
                <a:gd name="T35" fmla="*/ 991 h 1230"/>
                <a:gd name="T36" fmla="*/ 1051 w 1231"/>
                <a:gd name="T37" fmla="*/ 1051 h 1230"/>
                <a:gd name="T38" fmla="*/ 992 w 1231"/>
                <a:gd name="T39" fmla="*/ 1102 h 1230"/>
                <a:gd name="T40" fmla="*/ 926 w 1231"/>
                <a:gd name="T41" fmla="*/ 1146 h 1230"/>
                <a:gd name="T42" fmla="*/ 856 w 1231"/>
                <a:gd name="T43" fmla="*/ 1182 h 1230"/>
                <a:gd name="T44" fmla="*/ 780 w 1231"/>
                <a:gd name="T45" fmla="*/ 1208 h 1230"/>
                <a:gd name="T46" fmla="*/ 698 w 1231"/>
                <a:gd name="T47" fmla="*/ 1224 h 1230"/>
                <a:gd name="T48" fmla="*/ 617 w 1231"/>
                <a:gd name="T49" fmla="*/ 1230 h 1230"/>
                <a:gd name="T50" fmla="*/ 533 w 1231"/>
                <a:gd name="T51" fmla="*/ 1224 h 1230"/>
                <a:gd name="T52" fmla="*/ 453 w 1231"/>
                <a:gd name="T53" fmla="*/ 1208 h 1230"/>
                <a:gd name="T54" fmla="*/ 377 w 1231"/>
                <a:gd name="T55" fmla="*/ 1182 h 1230"/>
                <a:gd name="T56" fmla="*/ 305 w 1231"/>
                <a:gd name="T57" fmla="*/ 1146 h 1230"/>
                <a:gd name="T58" fmla="*/ 240 w 1231"/>
                <a:gd name="T59" fmla="*/ 1102 h 1230"/>
                <a:gd name="T60" fmla="*/ 182 w 1231"/>
                <a:gd name="T61" fmla="*/ 1051 h 1230"/>
                <a:gd name="T62" fmla="*/ 130 w 1231"/>
                <a:gd name="T63" fmla="*/ 991 h 1230"/>
                <a:gd name="T64" fmla="*/ 84 w 1231"/>
                <a:gd name="T65" fmla="*/ 925 h 1230"/>
                <a:gd name="T66" fmla="*/ 50 w 1231"/>
                <a:gd name="T67" fmla="*/ 855 h 1230"/>
                <a:gd name="T68" fmla="*/ 22 w 1231"/>
                <a:gd name="T69" fmla="*/ 780 h 1230"/>
                <a:gd name="T70" fmla="*/ 6 w 1231"/>
                <a:gd name="T71" fmla="*/ 698 h 1230"/>
                <a:gd name="T72" fmla="*/ 0 w 1231"/>
                <a:gd name="T73" fmla="*/ 616 h 1230"/>
                <a:gd name="T74" fmla="*/ 6 w 1231"/>
                <a:gd name="T75" fmla="*/ 532 h 1230"/>
                <a:gd name="T76" fmla="*/ 22 w 1231"/>
                <a:gd name="T77" fmla="*/ 453 h 1230"/>
                <a:gd name="T78" fmla="*/ 50 w 1231"/>
                <a:gd name="T79" fmla="*/ 377 h 1230"/>
                <a:gd name="T80" fmla="*/ 84 w 1231"/>
                <a:gd name="T81" fmla="*/ 305 h 1230"/>
                <a:gd name="T82" fmla="*/ 130 w 1231"/>
                <a:gd name="T83" fmla="*/ 239 h 1230"/>
                <a:gd name="T84" fmla="*/ 182 w 1231"/>
                <a:gd name="T85" fmla="*/ 182 h 1230"/>
                <a:gd name="T86" fmla="*/ 240 w 1231"/>
                <a:gd name="T87" fmla="*/ 130 h 1230"/>
                <a:gd name="T88" fmla="*/ 305 w 1231"/>
                <a:gd name="T89" fmla="*/ 84 h 1230"/>
                <a:gd name="T90" fmla="*/ 377 w 1231"/>
                <a:gd name="T91" fmla="*/ 50 h 1230"/>
                <a:gd name="T92" fmla="*/ 453 w 1231"/>
                <a:gd name="T93" fmla="*/ 22 h 1230"/>
                <a:gd name="T94" fmla="*/ 533 w 1231"/>
                <a:gd name="T95" fmla="*/ 6 h 1230"/>
                <a:gd name="T96" fmla="*/ 617 w 1231"/>
                <a:gd name="T97" fmla="*/ 0 h 1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31" h="1230">
                  <a:moveTo>
                    <a:pt x="617" y="0"/>
                  </a:moveTo>
                  <a:lnTo>
                    <a:pt x="698" y="6"/>
                  </a:lnTo>
                  <a:lnTo>
                    <a:pt x="780" y="22"/>
                  </a:lnTo>
                  <a:lnTo>
                    <a:pt x="856" y="50"/>
                  </a:lnTo>
                  <a:lnTo>
                    <a:pt x="926" y="84"/>
                  </a:lnTo>
                  <a:lnTo>
                    <a:pt x="992" y="130"/>
                  </a:lnTo>
                  <a:lnTo>
                    <a:pt x="1051" y="182"/>
                  </a:lnTo>
                  <a:lnTo>
                    <a:pt x="1103" y="239"/>
                  </a:lnTo>
                  <a:lnTo>
                    <a:pt x="1147" y="305"/>
                  </a:lnTo>
                  <a:lnTo>
                    <a:pt x="1183" y="377"/>
                  </a:lnTo>
                  <a:lnTo>
                    <a:pt x="1209" y="453"/>
                  </a:lnTo>
                  <a:lnTo>
                    <a:pt x="1225" y="532"/>
                  </a:lnTo>
                  <a:lnTo>
                    <a:pt x="1231" y="616"/>
                  </a:lnTo>
                  <a:lnTo>
                    <a:pt x="1225" y="698"/>
                  </a:lnTo>
                  <a:lnTo>
                    <a:pt x="1209" y="780"/>
                  </a:lnTo>
                  <a:lnTo>
                    <a:pt x="1183" y="855"/>
                  </a:lnTo>
                  <a:lnTo>
                    <a:pt x="1147" y="925"/>
                  </a:lnTo>
                  <a:lnTo>
                    <a:pt x="1103" y="991"/>
                  </a:lnTo>
                  <a:lnTo>
                    <a:pt x="1051" y="1051"/>
                  </a:lnTo>
                  <a:lnTo>
                    <a:pt x="992" y="1102"/>
                  </a:lnTo>
                  <a:lnTo>
                    <a:pt x="926" y="1146"/>
                  </a:lnTo>
                  <a:lnTo>
                    <a:pt x="856" y="1182"/>
                  </a:lnTo>
                  <a:lnTo>
                    <a:pt x="780" y="1208"/>
                  </a:lnTo>
                  <a:lnTo>
                    <a:pt x="698" y="1224"/>
                  </a:lnTo>
                  <a:lnTo>
                    <a:pt x="617" y="1230"/>
                  </a:lnTo>
                  <a:lnTo>
                    <a:pt x="533" y="1224"/>
                  </a:lnTo>
                  <a:lnTo>
                    <a:pt x="453" y="1208"/>
                  </a:lnTo>
                  <a:lnTo>
                    <a:pt x="377" y="1182"/>
                  </a:lnTo>
                  <a:lnTo>
                    <a:pt x="305" y="1146"/>
                  </a:lnTo>
                  <a:lnTo>
                    <a:pt x="240" y="1102"/>
                  </a:lnTo>
                  <a:lnTo>
                    <a:pt x="182" y="1051"/>
                  </a:lnTo>
                  <a:lnTo>
                    <a:pt x="130" y="991"/>
                  </a:lnTo>
                  <a:lnTo>
                    <a:pt x="84" y="925"/>
                  </a:lnTo>
                  <a:lnTo>
                    <a:pt x="50" y="855"/>
                  </a:lnTo>
                  <a:lnTo>
                    <a:pt x="22" y="780"/>
                  </a:lnTo>
                  <a:lnTo>
                    <a:pt x="6" y="698"/>
                  </a:lnTo>
                  <a:lnTo>
                    <a:pt x="0" y="616"/>
                  </a:lnTo>
                  <a:lnTo>
                    <a:pt x="6" y="532"/>
                  </a:lnTo>
                  <a:lnTo>
                    <a:pt x="22" y="453"/>
                  </a:lnTo>
                  <a:lnTo>
                    <a:pt x="50" y="377"/>
                  </a:lnTo>
                  <a:lnTo>
                    <a:pt x="84" y="305"/>
                  </a:lnTo>
                  <a:lnTo>
                    <a:pt x="130" y="239"/>
                  </a:lnTo>
                  <a:lnTo>
                    <a:pt x="182" y="182"/>
                  </a:lnTo>
                  <a:lnTo>
                    <a:pt x="240" y="130"/>
                  </a:lnTo>
                  <a:lnTo>
                    <a:pt x="305" y="84"/>
                  </a:lnTo>
                  <a:lnTo>
                    <a:pt x="377" y="50"/>
                  </a:lnTo>
                  <a:lnTo>
                    <a:pt x="453" y="22"/>
                  </a:lnTo>
                  <a:lnTo>
                    <a:pt x="533" y="6"/>
                  </a:lnTo>
                  <a:lnTo>
                    <a:pt x="6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86" name="Freeform 55"/>
            <p:cNvSpPr>
              <a:spLocks/>
            </p:cNvSpPr>
            <p:nvPr/>
          </p:nvSpPr>
          <p:spPr bwMode="auto">
            <a:xfrm>
              <a:off x="3493" y="3182"/>
              <a:ext cx="615" cy="615"/>
            </a:xfrm>
            <a:custGeom>
              <a:avLst/>
              <a:gdLst>
                <a:gd name="T0" fmla="*/ 614 w 1230"/>
                <a:gd name="T1" fmla="*/ 0 h 1230"/>
                <a:gd name="T2" fmla="*/ 698 w 1230"/>
                <a:gd name="T3" fmla="*/ 6 h 1230"/>
                <a:gd name="T4" fmla="*/ 778 w 1230"/>
                <a:gd name="T5" fmla="*/ 22 h 1230"/>
                <a:gd name="T6" fmla="*/ 853 w 1230"/>
                <a:gd name="T7" fmla="*/ 50 h 1230"/>
                <a:gd name="T8" fmla="*/ 925 w 1230"/>
                <a:gd name="T9" fmla="*/ 84 h 1230"/>
                <a:gd name="T10" fmla="*/ 991 w 1230"/>
                <a:gd name="T11" fmla="*/ 130 h 1230"/>
                <a:gd name="T12" fmla="*/ 1049 w 1230"/>
                <a:gd name="T13" fmla="*/ 182 h 1230"/>
                <a:gd name="T14" fmla="*/ 1101 w 1230"/>
                <a:gd name="T15" fmla="*/ 239 h 1230"/>
                <a:gd name="T16" fmla="*/ 1146 w 1230"/>
                <a:gd name="T17" fmla="*/ 305 h 1230"/>
                <a:gd name="T18" fmla="*/ 1180 w 1230"/>
                <a:gd name="T19" fmla="*/ 377 h 1230"/>
                <a:gd name="T20" fmla="*/ 1208 w 1230"/>
                <a:gd name="T21" fmla="*/ 453 h 1230"/>
                <a:gd name="T22" fmla="*/ 1224 w 1230"/>
                <a:gd name="T23" fmla="*/ 532 h 1230"/>
                <a:gd name="T24" fmla="*/ 1230 w 1230"/>
                <a:gd name="T25" fmla="*/ 616 h 1230"/>
                <a:gd name="T26" fmla="*/ 1224 w 1230"/>
                <a:gd name="T27" fmla="*/ 698 h 1230"/>
                <a:gd name="T28" fmla="*/ 1208 w 1230"/>
                <a:gd name="T29" fmla="*/ 780 h 1230"/>
                <a:gd name="T30" fmla="*/ 1180 w 1230"/>
                <a:gd name="T31" fmla="*/ 855 h 1230"/>
                <a:gd name="T32" fmla="*/ 1146 w 1230"/>
                <a:gd name="T33" fmla="*/ 925 h 1230"/>
                <a:gd name="T34" fmla="*/ 1101 w 1230"/>
                <a:gd name="T35" fmla="*/ 991 h 1230"/>
                <a:gd name="T36" fmla="*/ 1049 w 1230"/>
                <a:gd name="T37" fmla="*/ 1051 h 1230"/>
                <a:gd name="T38" fmla="*/ 991 w 1230"/>
                <a:gd name="T39" fmla="*/ 1102 h 1230"/>
                <a:gd name="T40" fmla="*/ 925 w 1230"/>
                <a:gd name="T41" fmla="*/ 1146 h 1230"/>
                <a:gd name="T42" fmla="*/ 853 w 1230"/>
                <a:gd name="T43" fmla="*/ 1182 h 1230"/>
                <a:gd name="T44" fmla="*/ 778 w 1230"/>
                <a:gd name="T45" fmla="*/ 1208 h 1230"/>
                <a:gd name="T46" fmla="*/ 698 w 1230"/>
                <a:gd name="T47" fmla="*/ 1224 h 1230"/>
                <a:gd name="T48" fmla="*/ 614 w 1230"/>
                <a:gd name="T49" fmla="*/ 1230 h 1230"/>
                <a:gd name="T50" fmla="*/ 532 w 1230"/>
                <a:gd name="T51" fmla="*/ 1224 h 1230"/>
                <a:gd name="T52" fmla="*/ 450 w 1230"/>
                <a:gd name="T53" fmla="*/ 1208 h 1230"/>
                <a:gd name="T54" fmla="*/ 375 w 1230"/>
                <a:gd name="T55" fmla="*/ 1182 h 1230"/>
                <a:gd name="T56" fmla="*/ 305 w 1230"/>
                <a:gd name="T57" fmla="*/ 1146 h 1230"/>
                <a:gd name="T58" fmla="*/ 239 w 1230"/>
                <a:gd name="T59" fmla="*/ 1102 h 1230"/>
                <a:gd name="T60" fmla="*/ 179 w 1230"/>
                <a:gd name="T61" fmla="*/ 1051 h 1230"/>
                <a:gd name="T62" fmla="*/ 127 w 1230"/>
                <a:gd name="T63" fmla="*/ 991 h 1230"/>
                <a:gd name="T64" fmla="*/ 83 w 1230"/>
                <a:gd name="T65" fmla="*/ 925 h 1230"/>
                <a:gd name="T66" fmla="*/ 48 w 1230"/>
                <a:gd name="T67" fmla="*/ 855 h 1230"/>
                <a:gd name="T68" fmla="*/ 22 w 1230"/>
                <a:gd name="T69" fmla="*/ 780 h 1230"/>
                <a:gd name="T70" fmla="*/ 6 w 1230"/>
                <a:gd name="T71" fmla="*/ 698 h 1230"/>
                <a:gd name="T72" fmla="*/ 0 w 1230"/>
                <a:gd name="T73" fmla="*/ 616 h 1230"/>
                <a:gd name="T74" fmla="*/ 6 w 1230"/>
                <a:gd name="T75" fmla="*/ 532 h 1230"/>
                <a:gd name="T76" fmla="*/ 22 w 1230"/>
                <a:gd name="T77" fmla="*/ 453 h 1230"/>
                <a:gd name="T78" fmla="*/ 48 w 1230"/>
                <a:gd name="T79" fmla="*/ 377 h 1230"/>
                <a:gd name="T80" fmla="*/ 83 w 1230"/>
                <a:gd name="T81" fmla="*/ 305 h 1230"/>
                <a:gd name="T82" fmla="*/ 127 w 1230"/>
                <a:gd name="T83" fmla="*/ 239 h 1230"/>
                <a:gd name="T84" fmla="*/ 179 w 1230"/>
                <a:gd name="T85" fmla="*/ 182 h 1230"/>
                <a:gd name="T86" fmla="*/ 239 w 1230"/>
                <a:gd name="T87" fmla="*/ 130 h 1230"/>
                <a:gd name="T88" fmla="*/ 305 w 1230"/>
                <a:gd name="T89" fmla="*/ 84 h 1230"/>
                <a:gd name="T90" fmla="*/ 375 w 1230"/>
                <a:gd name="T91" fmla="*/ 50 h 1230"/>
                <a:gd name="T92" fmla="*/ 450 w 1230"/>
                <a:gd name="T93" fmla="*/ 22 h 1230"/>
                <a:gd name="T94" fmla="*/ 532 w 1230"/>
                <a:gd name="T95" fmla="*/ 6 h 1230"/>
                <a:gd name="T96" fmla="*/ 614 w 1230"/>
                <a:gd name="T97" fmla="*/ 0 h 1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30" h="1230">
                  <a:moveTo>
                    <a:pt x="614" y="0"/>
                  </a:moveTo>
                  <a:lnTo>
                    <a:pt x="698" y="6"/>
                  </a:lnTo>
                  <a:lnTo>
                    <a:pt x="778" y="22"/>
                  </a:lnTo>
                  <a:lnTo>
                    <a:pt x="853" y="50"/>
                  </a:lnTo>
                  <a:lnTo>
                    <a:pt x="925" y="84"/>
                  </a:lnTo>
                  <a:lnTo>
                    <a:pt x="991" y="130"/>
                  </a:lnTo>
                  <a:lnTo>
                    <a:pt x="1049" y="182"/>
                  </a:lnTo>
                  <a:lnTo>
                    <a:pt x="1101" y="239"/>
                  </a:lnTo>
                  <a:lnTo>
                    <a:pt x="1146" y="305"/>
                  </a:lnTo>
                  <a:lnTo>
                    <a:pt x="1180" y="377"/>
                  </a:lnTo>
                  <a:lnTo>
                    <a:pt x="1208" y="453"/>
                  </a:lnTo>
                  <a:lnTo>
                    <a:pt x="1224" y="532"/>
                  </a:lnTo>
                  <a:lnTo>
                    <a:pt x="1230" y="616"/>
                  </a:lnTo>
                  <a:lnTo>
                    <a:pt x="1224" y="698"/>
                  </a:lnTo>
                  <a:lnTo>
                    <a:pt x="1208" y="780"/>
                  </a:lnTo>
                  <a:lnTo>
                    <a:pt x="1180" y="855"/>
                  </a:lnTo>
                  <a:lnTo>
                    <a:pt x="1146" y="925"/>
                  </a:lnTo>
                  <a:lnTo>
                    <a:pt x="1101" y="991"/>
                  </a:lnTo>
                  <a:lnTo>
                    <a:pt x="1049" y="1051"/>
                  </a:lnTo>
                  <a:lnTo>
                    <a:pt x="991" y="1102"/>
                  </a:lnTo>
                  <a:lnTo>
                    <a:pt x="925" y="1146"/>
                  </a:lnTo>
                  <a:lnTo>
                    <a:pt x="853" y="1182"/>
                  </a:lnTo>
                  <a:lnTo>
                    <a:pt x="778" y="1208"/>
                  </a:lnTo>
                  <a:lnTo>
                    <a:pt x="698" y="1224"/>
                  </a:lnTo>
                  <a:lnTo>
                    <a:pt x="614" y="1230"/>
                  </a:lnTo>
                  <a:lnTo>
                    <a:pt x="532" y="1224"/>
                  </a:lnTo>
                  <a:lnTo>
                    <a:pt x="450" y="1208"/>
                  </a:lnTo>
                  <a:lnTo>
                    <a:pt x="375" y="1182"/>
                  </a:lnTo>
                  <a:lnTo>
                    <a:pt x="305" y="1146"/>
                  </a:lnTo>
                  <a:lnTo>
                    <a:pt x="239" y="1102"/>
                  </a:lnTo>
                  <a:lnTo>
                    <a:pt x="179" y="1051"/>
                  </a:lnTo>
                  <a:lnTo>
                    <a:pt x="127" y="991"/>
                  </a:lnTo>
                  <a:lnTo>
                    <a:pt x="83" y="925"/>
                  </a:lnTo>
                  <a:lnTo>
                    <a:pt x="48" y="855"/>
                  </a:lnTo>
                  <a:lnTo>
                    <a:pt x="22" y="780"/>
                  </a:lnTo>
                  <a:lnTo>
                    <a:pt x="6" y="698"/>
                  </a:lnTo>
                  <a:lnTo>
                    <a:pt x="0" y="616"/>
                  </a:lnTo>
                  <a:lnTo>
                    <a:pt x="6" y="532"/>
                  </a:lnTo>
                  <a:lnTo>
                    <a:pt x="22" y="453"/>
                  </a:lnTo>
                  <a:lnTo>
                    <a:pt x="48" y="377"/>
                  </a:lnTo>
                  <a:lnTo>
                    <a:pt x="83" y="305"/>
                  </a:lnTo>
                  <a:lnTo>
                    <a:pt x="127" y="239"/>
                  </a:lnTo>
                  <a:lnTo>
                    <a:pt x="179" y="182"/>
                  </a:lnTo>
                  <a:lnTo>
                    <a:pt x="239" y="130"/>
                  </a:lnTo>
                  <a:lnTo>
                    <a:pt x="305" y="84"/>
                  </a:lnTo>
                  <a:lnTo>
                    <a:pt x="375" y="50"/>
                  </a:lnTo>
                  <a:lnTo>
                    <a:pt x="450" y="22"/>
                  </a:lnTo>
                  <a:lnTo>
                    <a:pt x="532" y="6"/>
                  </a:lnTo>
                  <a:lnTo>
                    <a:pt x="6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87" name="Freeform 56"/>
            <p:cNvSpPr>
              <a:spLocks noEditPoints="1"/>
            </p:cNvSpPr>
            <p:nvPr/>
          </p:nvSpPr>
          <p:spPr bwMode="auto">
            <a:xfrm>
              <a:off x="3083" y="519"/>
              <a:ext cx="1435" cy="1434"/>
            </a:xfrm>
            <a:custGeom>
              <a:avLst/>
              <a:gdLst>
                <a:gd name="T0" fmla="*/ 1231 w 2870"/>
                <a:gd name="T1" fmla="*/ 1230 h 2868"/>
                <a:gd name="T2" fmla="*/ 614 w 2870"/>
                <a:gd name="T3" fmla="*/ 1638 h 2868"/>
                <a:gd name="T4" fmla="*/ 1231 w 2870"/>
                <a:gd name="T5" fmla="*/ 2254 h 2868"/>
                <a:gd name="T6" fmla="*/ 1639 w 2870"/>
                <a:gd name="T7" fmla="*/ 1638 h 2868"/>
                <a:gd name="T8" fmla="*/ 2254 w 2870"/>
                <a:gd name="T9" fmla="*/ 1230 h 2868"/>
                <a:gd name="T10" fmla="*/ 1639 w 2870"/>
                <a:gd name="T11" fmla="*/ 616 h 2868"/>
                <a:gd name="T12" fmla="*/ 1434 w 2870"/>
                <a:gd name="T13" fmla="*/ 0 h 2868"/>
                <a:gd name="T14" fmla="*/ 1693 w 2870"/>
                <a:gd name="T15" fmla="*/ 24 h 2868"/>
                <a:gd name="T16" fmla="*/ 1935 w 2870"/>
                <a:gd name="T17" fmla="*/ 90 h 2868"/>
                <a:gd name="T18" fmla="*/ 2158 w 2870"/>
                <a:gd name="T19" fmla="*/ 195 h 2868"/>
                <a:gd name="T20" fmla="*/ 2359 w 2870"/>
                <a:gd name="T21" fmla="*/ 337 h 2868"/>
                <a:gd name="T22" fmla="*/ 2533 w 2870"/>
                <a:gd name="T23" fmla="*/ 510 h 2868"/>
                <a:gd name="T24" fmla="*/ 2675 w 2870"/>
                <a:gd name="T25" fmla="*/ 712 h 2868"/>
                <a:gd name="T26" fmla="*/ 2780 w 2870"/>
                <a:gd name="T27" fmla="*/ 935 h 2868"/>
                <a:gd name="T28" fmla="*/ 2846 w 2870"/>
                <a:gd name="T29" fmla="*/ 1176 h 2868"/>
                <a:gd name="T30" fmla="*/ 2870 w 2870"/>
                <a:gd name="T31" fmla="*/ 1435 h 2868"/>
                <a:gd name="T32" fmla="*/ 2846 w 2870"/>
                <a:gd name="T33" fmla="*/ 1692 h 2868"/>
                <a:gd name="T34" fmla="*/ 2780 w 2870"/>
                <a:gd name="T35" fmla="*/ 1936 h 2868"/>
                <a:gd name="T36" fmla="*/ 2675 w 2870"/>
                <a:gd name="T37" fmla="*/ 2159 h 2868"/>
                <a:gd name="T38" fmla="*/ 2533 w 2870"/>
                <a:gd name="T39" fmla="*/ 2358 h 2868"/>
                <a:gd name="T40" fmla="*/ 2359 w 2870"/>
                <a:gd name="T41" fmla="*/ 2532 h 2868"/>
                <a:gd name="T42" fmla="*/ 2158 w 2870"/>
                <a:gd name="T43" fmla="*/ 2673 h 2868"/>
                <a:gd name="T44" fmla="*/ 1935 w 2870"/>
                <a:gd name="T45" fmla="*/ 2779 h 2868"/>
                <a:gd name="T46" fmla="*/ 1693 w 2870"/>
                <a:gd name="T47" fmla="*/ 2844 h 2868"/>
                <a:gd name="T48" fmla="*/ 1434 w 2870"/>
                <a:gd name="T49" fmla="*/ 2868 h 2868"/>
                <a:gd name="T50" fmla="*/ 1177 w 2870"/>
                <a:gd name="T51" fmla="*/ 2844 h 2868"/>
                <a:gd name="T52" fmla="*/ 933 w 2870"/>
                <a:gd name="T53" fmla="*/ 2779 h 2868"/>
                <a:gd name="T54" fmla="*/ 710 w 2870"/>
                <a:gd name="T55" fmla="*/ 2673 h 2868"/>
                <a:gd name="T56" fmla="*/ 510 w 2870"/>
                <a:gd name="T57" fmla="*/ 2532 h 2868"/>
                <a:gd name="T58" fmla="*/ 337 w 2870"/>
                <a:gd name="T59" fmla="*/ 2358 h 2868"/>
                <a:gd name="T60" fmla="*/ 195 w 2870"/>
                <a:gd name="T61" fmla="*/ 2159 h 2868"/>
                <a:gd name="T62" fmla="*/ 90 w 2870"/>
                <a:gd name="T63" fmla="*/ 1936 h 2868"/>
                <a:gd name="T64" fmla="*/ 24 w 2870"/>
                <a:gd name="T65" fmla="*/ 1692 h 2868"/>
                <a:gd name="T66" fmla="*/ 0 w 2870"/>
                <a:gd name="T67" fmla="*/ 1435 h 2868"/>
                <a:gd name="T68" fmla="*/ 24 w 2870"/>
                <a:gd name="T69" fmla="*/ 1176 h 2868"/>
                <a:gd name="T70" fmla="*/ 90 w 2870"/>
                <a:gd name="T71" fmla="*/ 935 h 2868"/>
                <a:gd name="T72" fmla="*/ 195 w 2870"/>
                <a:gd name="T73" fmla="*/ 712 h 2868"/>
                <a:gd name="T74" fmla="*/ 337 w 2870"/>
                <a:gd name="T75" fmla="*/ 510 h 2868"/>
                <a:gd name="T76" fmla="*/ 510 w 2870"/>
                <a:gd name="T77" fmla="*/ 337 h 2868"/>
                <a:gd name="T78" fmla="*/ 710 w 2870"/>
                <a:gd name="T79" fmla="*/ 195 h 2868"/>
                <a:gd name="T80" fmla="*/ 933 w 2870"/>
                <a:gd name="T81" fmla="*/ 90 h 2868"/>
                <a:gd name="T82" fmla="*/ 1177 w 2870"/>
                <a:gd name="T83" fmla="*/ 24 h 2868"/>
                <a:gd name="T84" fmla="*/ 1434 w 2870"/>
                <a:gd name="T85" fmla="*/ 0 h 2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70" h="2868">
                  <a:moveTo>
                    <a:pt x="1231" y="616"/>
                  </a:moveTo>
                  <a:lnTo>
                    <a:pt x="1231" y="1230"/>
                  </a:lnTo>
                  <a:lnTo>
                    <a:pt x="614" y="1230"/>
                  </a:lnTo>
                  <a:lnTo>
                    <a:pt x="614" y="1638"/>
                  </a:lnTo>
                  <a:lnTo>
                    <a:pt x="1231" y="1638"/>
                  </a:lnTo>
                  <a:lnTo>
                    <a:pt x="1231" y="2254"/>
                  </a:lnTo>
                  <a:lnTo>
                    <a:pt x="1639" y="2254"/>
                  </a:lnTo>
                  <a:lnTo>
                    <a:pt x="1639" y="1638"/>
                  </a:lnTo>
                  <a:lnTo>
                    <a:pt x="2254" y="1638"/>
                  </a:lnTo>
                  <a:lnTo>
                    <a:pt x="2254" y="1230"/>
                  </a:lnTo>
                  <a:lnTo>
                    <a:pt x="1639" y="1230"/>
                  </a:lnTo>
                  <a:lnTo>
                    <a:pt x="1639" y="616"/>
                  </a:lnTo>
                  <a:lnTo>
                    <a:pt x="1231" y="616"/>
                  </a:lnTo>
                  <a:close/>
                  <a:moveTo>
                    <a:pt x="1434" y="0"/>
                  </a:moveTo>
                  <a:lnTo>
                    <a:pt x="1566" y="6"/>
                  </a:lnTo>
                  <a:lnTo>
                    <a:pt x="1693" y="24"/>
                  </a:lnTo>
                  <a:lnTo>
                    <a:pt x="1817" y="52"/>
                  </a:lnTo>
                  <a:lnTo>
                    <a:pt x="1935" y="90"/>
                  </a:lnTo>
                  <a:lnTo>
                    <a:pt x="2050" y="138"/>
                  </a:lnTo>
                  <a:lnTo>
                    <a:pt x="2158" y="195"/>
                  </a:lnTo>
                  <a:lnTo>
                    <a:pt x="2262" y="263"/>
                  </a:lnTo>
                  <a:lnTo>
                    <a:pt x="2359" y="337"/>
                  </a:lnTo>
                  <a:lnTo>
                    <a:pt x="2449" y="421"/>
                  </a:lnTo>
                  <a:lnTo>
                    <a:pt x="2533" y="510"/>
                  </a:lnTo>
                  <a:lnTo>
                    <a:pt x="2607" y="608"/>
                  </a:lnTo>
                  <a:lnTo>
                    <a:pt x="2675" y="712"/>
                  </a:lnTo>
                  <a:lnTo>
                    <a:pt x="2732" y="819"/>
                  </a:lnTo>
                  <a:lnTo>
                    <a:pt x="2780" y="935"/>
                  </a:lnTo>
                  <a:lnTo>
                    <a:pt x="2818" y="1052"/>
                  </a:lnTo>
                  <a:lnTo>
                    <a:pt x="2846" y="1176"/>
                  </a:lnTo>
                  <a:lnTo>
                    <a:pt x="2864" y="1304"/>
                  </a:lnTo>
                  <a:lnTo>
                    <a:pt x="2870" y="1435"/>
                  </a:lnTo>
                  <a:lnTo>
                    <a:pt x="2864" y="1565"/>
                  </a:lnTo>
                  <a:lnTo>
                    <a:pt x="2846" y="1692"/>
                  </a:lnTo>
                  <a:lnTo>
                    <a:pt x="2818" y="1816"/>
                  </a:lnTo>
                  <a:lnTo>
                    <a:pt x="2780" y="1936"/>
                  </a:lnTo>
                  <a:lnTo>
                    <a:pt x="2732" y="2049"/>
                  </a:lnTo>
                  <a:lnTo>
                    <a:pt x="2675" y="2159"/>
                  </a:lnTo>
                  <a:lnTo>
                    <a:pt x="2607" y="2260"/>
                  </a:lnTo>
                  <a:lnTo>
                    <a:pt x="2533" y="2358"/>
                  </a:lnTo>
                  <a:lnTo>
                    <a:pt x="2449" y="2448"/>
                  </a:lnTo>
                  <a:lnTo>
                    <a:pt x="2359" y="2532"/>
                  </a:lnTo>
                  <a:lnTo>
                    <a:pt x="2262" y="2605"/>
                  </a:lnTo>
                  <a:lnTo>
                    <a:pt x="2158" y="2673"/>
                  </a:lnTo>
                  <a:lnTo>
                    <a:pt x="2050" y="2731"/>
                  </a:lnTo>
                  <a:lnTo>
                    <a:pt x="1935" y="2779"/>
                  </a:lnTo>
                  <a:lnTo>
                    <a:pt x="1817" y="2817"/>
                  </a:lnTo>
                  <a:lnTo>
                    <a:pt x="1693" y="2844"/>
                  </a:lnTo>
                  <a:lnTo>
                    <a:pt x="1566" y="2862"/>
                  </a:lnTo>
                  <a:lnTo>
                    <a:pt x="1434" y="2868"/>
                  </a:lnTo>
                  <a:lnTo>
                    <a:pt x="1304" y="2862"/>
                  </a:lnTo>
                  <a:lnTo>
                    <a:pt x="1177" y="2844"/>
                  </a:lnTo>
                  <a:lnTo>
                    <a:pt x="1053" y="2817"/>
                  </a:lnTo>
                  <a:lnTo>
                    <a:pt x="933" y="2779"/>
                  </a:lnTo>
                  <a:lnTo>
                    <a:pt x="820" y="2731"/>
                  </a:lnTo>
                  <a:lnTo>
                    <a:pt x="710" y="2673"/>
                  </a:lnTo>
                  <a:lnTo>
                    <a:pt x="606" y="2605"/>
                  </a:lnTo>
                  <a:lnTo>
                    <a:pt x="510" y="2532"/>
                  </a:lnTo>
                  <a:lnTo>
                    <a:pt x="421" y="2448"/>
                  </a:lnTo>
                  <a:lnTo>
                    <a:pt x="337" y="2358"/>
                  </a:lnTo>
                  <a:lnTo>
                    <a:pt x="263" y="2260"/>
                  </a:lnTo>
                  <a:lnTo>
                    <a:pt x="195" y="2159"/>
                  </a:lnTo>
                  <a:lnTo>
                    <a:pt x="138" y="2049"/>
                  </a:lnTo>
                  <a:lnTo>
                    <a:pt x="90" y="1936"/>
                  </a:lnTo>
                  <a:lnTo>
                    <a:pt x="52" y="1816"/>
                  </a:lnTo>
                  <a:lnTo>
                    <a:pt x="24" y="1692"/>
                  </a:lnTo>
                  <a:lnTo>
                    <a:pt x="6" y="1565"/>
                  </a:lnTo>
                  <a:lnTo>
                    <a:pt x="0" y="1435"/>
                  </a:lnTo>
                  <a:lnTo>
                    <a:pt x="6" y="1304"/>
                  </a:lnTo>
                  <a:lnTo>
                    <a:pt x="24" y="1176"/>
                  </a:lnTo>
                  <a:lnTo>
                    <a:pt x="52" y="1052"/>
                  </a:lnTo>
                  <a:lnTo>
                    <a:pt x="90" y="935"/>
                  </a:lnTo>
                  <a:lnTo>
                    <a:pt x="138" y="819"/>
                  </a:lnTo>
                  <a:lnTo>
                    <a:pt x="195" y="712"/>
                  </a:lnTo>
                  <a:lnTo>
                    <a:pt x="263" y="608"/>
                  </a:lnTo>
                  <a:lnTo>
                    <a:pt x="337" y="510"/>
                  </a:lnTo>
                  <a:lnTo>
                    <a:pt x="421" y="421"/>
                  </a:lnTo>
                  <a:lnTo>
                    <a:pt x="510" y="337"/>
                  </a:lnTo>
                  <a:lnTo>
                    <a:pt x="606" y="263"/>
                  </a:lnTo>
                  <a:lnTo>
                    <a:pt x="710" y="195"/>
                  </a:lnTo>
                  <a:lnTo>
                    <a:pt x="820" y="138"/>
                  </a:lnTo>
                  <a:lnTo>
                    <a:pt x="933" y="90"/>
                  </a:lnTo>
                  <a:lnTo>
                    <a:pt x="1053" y="52"/>
                  </a:lnTo>
                  <a:lnTo>
                    <a:pt x="1177" y="24"/>
                  </a:lnTo>
                  <a:lnTo>
                    <a:pt x="1304" y="6"/>
                  </a:lnTo>
                  <a:lnTo>
                    <a:pt x="14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88" name="Freeform 57"/>
            <p:cNvSpPr>
              <a:spLocks/>
            </p:cNvSpPr>
            <p:nvPr/>
          </p:nvSpPr>
          <p:spPr bwMode="auto">
            <a:xfrm>
              <a:off x="2263" y="1544"/>
              <a:ext cx="2081" cy="1024"/>
            </a:xfrm>
            <a:custGeom>
              <a:avLst/>
              <a:gdLst>
                <a:gd name="T0" fmla="*/ 0 w 4163"/>
                <a:gd name="T1" fmla="*/ 0 h 2049"/>
                <a:gd name="T2" fmla="*/ 1343 w 4163"/>
                <a:gd name="T3" fmla="*/ 0 h 2049"/>
                <a:gd name="T4" fmla="*/ 1397 w 4163"/>
                <a:gd name="T5" fmla="*/ 132 h 2049"/>
                <a:gd name="T6" fmla="*/ 1458 w 4163"/>
                <a:gd name="T7" fmla="*/ 257 h 2049"/>
                <a:gd name="T8" fmla="*/ 1528 w 4163"/>
                <a:gd name="T9" fmla="*/ 379 h 2049"/>
                <a:gd name="T10" fmla="*/ 1608 w 4163"/>
                <a:gd name="T11" fmla="*/ 492 h 2049"/>
                <a:gd name="T12" fmla="*/ 1696 w 4163"/>
                <a:gd name="T13" fmla="*/ 602 h 2049"/>
                <a:gd name="T14" fmla="*/ 1791 w 4163"/>
                <a:gd name="T15" fmla="*/ 702 h 2049"/>
                <a:gd name="T16" fmla="*/ 1895 w 4163"/>
                <a:gd name="T17" fmla="*/ 795 h 2049"/>
                <a:gd name="T18" fmla="*/ 2005 w 4163"/>
                <a:gd name="T19" fmla="*/ 883 h 2049"/>
                <a:gd name="T20" fmla="*/ 2121 w 4163"/>
                <a:gd name="T21" fmla="*/ 959 h 2049"/>
                <a:gd name="T22" fmla="*/ 2242 w 4163"/>
                <a:gd name="T23" fmla="*/ 1029 h 2049"/>
                <a:gd name="T24" fmla="*/ 2370 w 4163"/>
                <a:gd name="T25" fmla="*/ 1088 h 2049"/>
                <a:gd name="T26" fmla="*/ 2502 w 4163"/>
                <a:gd name="T27" fmla="*/ 1138 h 2049"/>
                <a:gd name="T28" fmla="*/ 2639 w 4163"/>
                <a:gd name="T29" fmla="*/ 1176 h 2049"/>
                <a:gd name="T30" fmla="*/ 2781 w 4163"/>
                <a:gd name="T31" fmla="*/ 1206 h 2049"/>
                <a:gd name="T32" fmla="*/ 2926 w 4163"/>
                <a:gd name="T33" fmla="*/ 1224 h 2049"/>
                <a:gd name="T34" fmla="*/ 3074 w 4163"/>
                <a:gd name="T35" fmla="*/ 1230 h 2049"/>
                <a:gd name="T36" fmla="*/ 3210 w 4163"/>
                <a:gd name="T37" fmla="*/ 1224 h 2049"/>
                <a:gd name="T38" fmla="*/ 3341 w 4163"/>
                <a:gd name="T39" fmla="*/ 1210 h 2049"/>
                <a:gd name="T40" fmla="*/ 3471 w 4163"/>
                <a:gd name="T41" fmla="*/ 1186 h 2049"/>
                <a:gd name="T42" fmla="*/ 3597 w 4163"/>
                <a:gd name="T43" fmla="*/ 1152 h 2049"/>
                <a:gd name="T44" fmla="*/ 3718 w 4163"/>
                <a:gd name="T45" fmla="*/ 1110 h 2049"/>
                <a:gd name="T46" fmla="*/ 3836 w 4163"/>
                <a:gd name="T47" fmla="*/ 1061 h 2049"/>
                <a:gd name="T48" fmla="*/ 3950 w 4163"/>
                <a:gd name="T49" fmla="*/ 1003 h 2049"/>
                <a:gd name="T50" fmla="*/ 4059 w 4163"/>
                <a:gd name="T51" fmla="*/ 939 h 2049"/>
                <a:gd name="T52" fmla="*/ 4163 w 4163"/>
                <a:gd name="T53" fmla="*/ 867 h 2049"/>
                <a:gd name="T54" fmla="*/ 3690 w 4163"/>
                <a:gd name="T55" fmla="*/ 2049 h 2049"/>
                <a:gd name="T56" fmla="*/ 820 w 4163"/>
                <a:gd name="T57" fmla="*/ 2049 h 2049"/>
                <a:gd name="T58" fmla="*/ 0 w 4163"/>
                <a:gd name="T59" fmla="*/ 0 h 20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163" h="2049">
                  <a:moveTo>
                    <a:pt x="0" y="0"/>
                  </a:moveTo>
                  <a:lnTo>
                    <a:pt x="1343" y="0"/>
                  </a:lnTo>
                  <a:lnTo>
                    <a:pt x="1397" y="132"/>
                  </a:lnTo>
                  <a:lnTo>
                    <a:pt x="1458" y="257"/>
                  </a:lnTo>
                  <a:lnTo>
                    <a:pt x="1528" y="379"/>
                  </a:lnTo>
                  <a:lnTo>
                    <a:pt x="1608" y="492"/>
                  </a:lnTo>
                  <a:lnTo>
                    <a:pt x="1696" y="602"/>
                  </a:lnTo>
                  <a:lnTo>
                    <a:pt x="1791" y="702"/>
                  </a:lnTo>
                  <a:lnTo>
                    <a:pt x="1895" y="795"/>
                  </a:lnTo>
                  <a:lnTo>
                    <a:pt x="2005" y="883"/>
                  </a:lnTo>
                  <a:lnTo>
                    <a:pt x="2121" y="959"/>
                  </a:lnTo>
                  <a:lnTo>
                    <a:pt x="2242" y="1029"/>
                  </a:lnTo>
                  <a:lnTo>
                    <a:pt x="2370" y="1088"/>
                  </a:lnTo>
                  <a:lnTo>
                    <a:pt x="2502" y="1138"/>
                  </a:lnTo>
                  <a:lnTo>
                    <a:pt x="2639" y="1176"/>
                  </a:lnTo>
                  <a:lnTo>
                    <a:pt x="2781" y="1206"/>
                  </a:lnTo>
                  <a:lnTo>
                    <a:pt x="2926" y="1224"/>
                  </a:lnTo>
                  <a:lnTo>
                    <a:pt x="3074" y="1230"/>
                  </a:lnTo>
                  <a:lnTo>
                    <a:pt x="3210" y="1224"/>
                  </a:lnTo>
                  <a:lnTo>
                    <a:pt x="3341" y="1210"/>
                  </a:lnTo>
                  <a:lnTo>
                    <a:pt x="3471" y="1186"/>
                  </a:lnTo>
                  <a:lnTo>
                    <a:pt x="3597" y="1152"/>
                  </a:lnTo>
                  <a:lnTo>
                    <a:pt x="3718" y="1110"/>
                  </a:lnTo>
                  <a:lnTo>
                    <a:pt x="3836" y="1061"/>
                  </a:lnTo>
                  <a:lnTo>
                    <a:pt x="3950" y="1003"/>
                  </a:lnTo>
                  <a:lnTo>
                    <a:pt x="4059" y="939"/>
                  </a:lnTo>
                  <a:lnTo>
                    <a:pt x="4163" y="867"/>
                  </a:lnTo>
                  <a:lnTo>
                    <a:pt x="3690" y="2049"/>
                  </a:lnTo>
                  <a:lnTo>
                    <a:pt x="820" y="204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</p:grpSp>
      <p:sp>
        <p:nvSpPr>
          <p:cNvPr id="93" name="Freeform 62"/>
          <p:cNvSpPr>
            <a:spLocks noEditPoints="1"/>
          </p:cNvSpPr>
          <p:nvPr/>
        </p:nvSpPr>
        <p:spPr bwMode="auto">
          <a:xfrm>
            <a:off x="1105151" y="2667774"/>
            <a:ext cx="272958" cy="285857"/>
          </a:xfrm>
          <a:custGeom>
            <a:avLst/>
            <a:gdLst>
              <a:gd name="T0" fmla="*/ 2214 w 3385"/>
              <a:gd name="T1" fmla="*/ 2613 h 3547"/>
              <a:gd name="T2" fmla="*/ 2403 w 3385"/>
              <a:gd name="T3" fmla="*/ 1881 h 3547"/>
              <a:gd name="T4" fmla="*/ 2587 w 3385"/>
              <a:gd name="T5" fmla="*/ 1591 h 3547"/>
              <a:gd name="T6" fmla="*/ 1868 w 3385"/>
              <a:gd name="T7" fmla="*/ 1881 h 3547"/>
              <a:gd name="T8" fmla="*/ 793 w 3385"/>
              <a:gd name="T9" fmla="*/ 1591 h 3547"/>
              <a:gd name="T10" fmla="*/ 1156 w 3385"/>
              <a:gd name="T11" fmla="*/ 1591 h 3547"/>
              <a:gd name="T12" fmla="*/ 308 w 3385"/>
              <a:gd name="T13" fmla="*/ 1370 h 3547"/>
              <a:gd name="T14" fmla="*/ 228 w 3385"/>
              <a:gd name="T15" fmla="*/ 1407 h 3547"/>
              <a:gd name="T16" fmla="*/ 177 w 3385"/>
              <a:gd name="T17" fmla="*/ 1480 h 3547"/>
              <a:gd name="T18" fmla="*/ 170 w 3385"/>
              <a:gd name="T19" fmla="*/ 1570 h 3547"/>
              <a:gd name="T20" fmla="*/ 208 w 3385"/>
              <a:gd name="T21" fmla="*/ 1650 h 3547"/>
              <a:gd name="T22" fmla="*/ 279 w 3385"/>
              <a:gd name="T23" fmla="*/ 1701 h 3547"/>
              <a:gd name="T24" fmla="*/ 371 w 3385"/>
              <a:gd name="T25" fmla="*/ 1710 h 3547"/>
              <a:gd name="T26" fmla="*/ 451 w 3385"/>
              <a:gd name="T27" fmla="*/ 1672 h 3547"/>
              <a:gd name="T28" fmla="*/ 502 w 3385"/>
              <a:gd name="T29" fmla="*/ 1600 h 3547"/>
              <a:gd name="T30" fmla="*/ 510 w 3385"/>
              <a:gd name="T31" fmla="*/ 1509 h 3547"/>
              <a:gd name="T32" fmla="*/ 472 w 3385"/>
              <a:gd name="T33" fmla="*/ 1429 h 3547"/>
              <a:gd name="T34" fmla="*/ 400 w 3385"/>
              <a:gd name="T35" fmla="*/ 1378 h 3547"/>
              <a:gd name="T36" fmla="*/ 977 w 3385"/>
              <a:gd name="T37" fmla="*/ 794 h 3547"/>
              <a:gd name="T38" fmla="*/ 895 w 3385"/>
              <a:gd name="T39" fmla="*/ 1128 h 3547"/>
              <a:gd name="T40" fmla="*/ 1484 w 3385"/>
              <a:gd name="T41" fmla="*/ 624 h 3547"/>
              <a:gd name="T42" fmla="*/ 1828 w 3385"/>
              <a:gd name="T43" fmla="*/ 510 h 3547"/>
              <a:gd name="T44" fmla="*/ 2253 w 3385"/>
              <a:gd name="T45" fmla="*/ 676 h 3547"/>
              <a:gd name="T46" fmla="*/ 2989 w 3385"/>
              <a:gd name="T47" fmla="*/ 0 h 3547"/>
              <a:gd name="T48" fmla="*/ 3048 w 3385"/>
              <a:gd name="T49" fmla="*/ 23 h 3547"/>
              <a:gd name="T50" fmla="*/ 3087 w 3385"/>
              <a:gd name="T51" fmla="*/ 77 h 3547"/>
              <a:gd name="T52" fmla="*/ 642 w 3385"/>
              <a:gd name="T53" fmla="*/ 1386 h 3547"/>
              <a:gd name="T54" fmla="*/ 677 w 3385"/>
              <a:gd name="T55" fmla="*/ 1499 h 3547"/>
              <a:gd name="T56" fmla="*/ 3382 w 3385"/>
              <a:gd name="T57" fmla="*/ 3459 h 3547"/>
              <a:gd name="T58" fmla="*/ 3342 w 3385"/>
              <a:gd name="T59" fmla="*/ 3522 h 3547"/>
              <a:gd name="T60" fmla="*/ 3271 w 3385"/>
              <a:gd name="T61" fmla="*/ 3547 h 3547"/>
              <a:gd name="T62" fmla="*/ 238 w 3385"/>
              <a:gd name="T63" fmla="*/ 3536 h 3547"/>
              <a:gd name="T64" fmla="*/ 186 w 3385"/>
              <a:gd name="T65" fmla="*/ 3483 h 3547"/>
              <a:gd name="T66" fmla="*/ 174 w 3385"/>
              <a:gd name="T67" fmla="*/ 1835 h 3547"/>
              <a:gd name="T68" fmla="*/ 74 w 3385"/>
              <a:gd name="T69" fmla="*/ 1750 h 3547"/>
              <a:gd name="T70" fmla="*/ 13 w 3385"/>
              <a:gd name="T71" fmla="*/ 1631 h 3547"/>
              <a:gd name="T72" fmla="*/ 0 w 3385"/>
              <a:gd name="T73" fmla="*/ 1540 h 3547"/>
              <a:gd name="T74" fmla="*/ 29 w 3385"/>
              <a:gd name="T75" fmla="*/ 1402 h 3547"/>
              <a:gd name="T76" fmla="*/ 109 w 3385"/>
              <a:gd name="T77" fmla="*/ 1292 h 3547"/>
              <a:gd name="T78" fmla="*/ 37 w 3385"/>
              <a:gd name="T79" fmla="*/ 1047 h 3547"/>
              <a:gd name="T80" fmla="*/ 59 w 3385"/>
              <a:gd name="T81" fmla="*/ 986 h 3547"/>
              <a:gd name="T82" fmla="*/ 114 w 3385"/>
              <a:gd name="T83" fmla="*/ 948 h 3547"/>
              <a:gd name="T84" fmla="*/ 2989 w 3385"/>
              <a:gd name="T85" fmla="*/ 0 h 3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385" h="3547">
                <a:moveTo>
                  <a:pt x="1601" y="2229"/>
                </a:moveTo>
                <a:lnTo>
                  <a:pt x="1601" y="2996"/>
                </a:lnTo>
                <a:lnTo>
                  <a:pt x="2214" y="2613"/>
                </a:lnTo>
                <a:lnTo>
                  <a:pt x="1601" y="2229"/>
                </a:lnTo>
                <a:close/>
                <a:moveTo>
                  <a:pt x="2587" y="1591"/>
                </a:moveTo>
                <a:lnTo>
                  <a:pt x="2403" y="1881"/>
                </a:lnTo>
                <a:lnTo>
                  <a:pt x="2766" y="1881"/>
                </a:lnTo>
                <a:lnTo>
                  <a:pt x="2951" y="1591"/>
                </a:lnTo>
                <a:lnTo>
                  <a:pt x="2587" y="1591"/>
                </a:lnTo>
                <a:close/>
                <a:moveTo>
                  <a:pt x="1691" y="1591"/>
                </a:moveTo>
                <a:lnTo>
                  <a:pt x="1506" y="1881"/>
                </a:lnTo>
                <a:lnTo>
                  <a:pt x="1868" y="1881"/>
                </a:lnTo>
                <a:lnTo>
                  <a:pt x="2054" y="1591"/>
                </a:lnTo>
                <a:lnTo>
                  <a:pt x="1691" y="1591"/>
                </a:lnTo>
                <a:close/>
                <a:moveTo>
                  <a:pt x="793" y="1591"/>
                </a:moveTo>
                <a:lnTo>
                  <a:pt x="608" y="1881"/>
                </a:lnTo>
                <a:lnTo>
                  <a:pt x="972" y="1881"/>
                </a:lnTo>
                <a:lnTo>
                  <a:pt x="1156" y="1591"/>
                </a:lnTo>
                <a:lnTo>
                  <a:pt x="793" y="1591"/>
                </a:lnTo>
                <a:close/>
                <a:moveTo>
                  <a:pt x="340" y="1367"/>
                </a:moveTo>
                <a:lnTo>
                  <a:pt x="308" y="1370"/>
                </a:lnTo>
                <a:lnTo>
                  <a:pt x="279" y="1378"/>
                </a:lnTo>
                <a:lnTo>
                  <a:pt x="253" y="1391"/>
                </a:lnTo>
                <a:lnTo>
                  <a:pt x="228" y="1407"/>
                </a:lnTo>
                <a:lnTo>
                  <a:pt x="208" y="1429"/>
                </a:lnTo>
                <a:lnTo>
                  <a:pt x="190" y="1453"/>
                </a:lnTo>
                <a:lnTo>
                  <a:pt x="177" y="1480"/>
                </a:lnTo>
                <a:lnTo>
                  <a:pt x="170" y="1509"/>
                </a:lnTo>
                <a:lnTo>
                  <a:pt x="167" y="1540"/>
                </a:lnTo>
                <a:lnTo>
                  <a:pt x="170" y="1570"/>
                </a:lnTo>
                <a:lnTo>
                  <a:pt x="177" y="1600"/>
                </a:lnTo>
                <a:lnTo>
                  <a:pt x="190" y="1627"/>
                </a:lnTo>
                <a:lnTo>
                  <a:pt x="208" y="1650"/>
                </a:lnTo>
                <a:lnTo>
                  <a:pt x="228" y="1672"/>
                </a:lnTo>
                <a:lnTo>
                  <a:pt x="253" y="1689"/>
                </a:lnTo>
                <a:lnTo>
                  <a:pt x="279" y="1701"/>
                </a:lnTo>
                <a:lnTo>
                  <a:pt x="308" y="1710"/>
                </a:lnTo>
                <a:lnTo>
                  <a:pt x="340" y="1712"/>
                </a:lnTo>
                <a:lnTo>
                  <a:pt x="371" y="1710"/>
                </a:lnTo>
                <a:lnTo>
                  <a:pt x="400" y="1701"/>
                </a:lnTo>
                <a:lnTo>
                  <a:pt x="428" y="1689"/>
                </a:lnTo>
                <a:lnTo>
                  <a:pt x="451" y="1672"/>
                </a:lnTo>
                <a:lnTo>
                  <a:pt x="472" y="1650"/>
                </a:lnTo>
                <a:lnTo>
                  <a:pt x="489" y="1627"/>
                </a:lnTo>
                <a:lnTo>
                  <a:pt x="502" y="1600"/>
                </a:lnTo>
                <a:lnTo>
                  <a:pt x="510" y="1570"/>
                </a:lnTo>
                <a:lnTo>
                  <a:pt x="513" y="1540"/>
                </a:lnTo>
                <a:lnTo>
                  <a:pt x="510" y="1509"/>
                </a:lnTo>
                <a:lnTo>
                  <a:pt x="502" y="1480"/>
                </a:lnTo>
                <a:lnTo>
                  <a:pt x="489" y="1453"/>
                </a:lnTo>
                <a:lnTo>
                  <a:pt x="472" y="1429"/>
                </a:lnTo>
                <a:lnTo>
                  <a:pt x="451" y="1407"/>
                </a:lnTo>
                <a:lnTo>
                  <a:pt x="428" y="1391"/>
                </a:lnTo>
                <a:lnTo>
                  <a:pt x="400" y="1378"/>
                </a:lnTo>
                <a:lnTo>
                  <a:pt x="371" y="1370"/>
                </a:lnTo>
                <a:lnTo>
                  <a:pt x="340" y="1367"/>
                </a:lnTo>
                <a:close/>
                <a:moveTo>
                  <a:pt x="977" y="794"/>
                </a:moveTo>
                <a:lnTo>
                  <a:pt x="633" y="908"/>
                </a:lnTo>
                <a:lnTo>
                  <a:pt x="551" y="1242"/>
                </a:lnTo>
                <a:lnTo>
                  <a:pt x="895" y="1128"/>
                </a:lnTo>
                <a:lnTo>
                  <a:pt x="977" y="794"/>
                </a:lnTo>
                <a:close/>
                <a:moveTo>
                  <a:pt x="1828" y="510"/>
                </a:moveTo>
                <a:lnTo>
                  <a:pt x="1484" y="624"/>
                </a:lnTo>
                <a:lnTo>
                  <a:pt x="1402" y="959"/>
                </a:lnTo>
                <a:lnTo>
                  <a:pt x="1746" y="845"/>
                </a:lnTo>
                <a:lnTo>
                  <a:pt x="1828" y="510"/>
                </a:lnTo>
                <a:close/>
                <a:moveTo>
                  <a:pt x="2679" y="227"/>
                </a:moveTo>
                <a:lnTo>
                  <a:pt x="2335" y="341"/>
                </a:lnTo>
                <a:lnTo>
                  <a:pt x="2253" y="676"/>
                </a:lnTo>
                <a:lnTo>
                  <a:pt x="2597" y="561"/>
                </a:lnTo>
                <a:lnTo>
                  <a:pt x="2679" y="227"/>
                </a:lnTo>
                <a:close/>
                <a:moveTo>
                  <a:pt x="2989" y="0"/>
                </a:moveTo>
                <a:lnTo>
                  <a:pt x="3011" y="3"/>
                </a:lnTo>
                <a:lnTo>
                  <a:pt x="3030" y="12"/>
                </a:lnTo>
                <a:lnTo>
                  <a:pt x="3048" y="23"/>
                </a:lnTo>
                <a:lnTo>
                  <a:pt x="3065" y="38"/>
                </a:lnTo>
                <a:lnTo>
                  <a:pt x="3078" y="56"/>
                </a:lnTo>
                <a:lnTo>
                  <a:pt x="3087" y="77"/>
                </a:lnTo>
                <a:lnTo>
                  <a:pt x="3224" y="485"/>
                </a:lnTo>
                <a:lnTo>
                  <a:pt x="622" y="1351"/>
                </a:lnTo>
                <a:lnTo>
                  <a:pt x="642" y="1386"/>
                </a:lnTo>
                <a:lnTo>
                  <a:pt x="658" y="1421"/>
                </a:lnTo>
                <a:lnTo>
                  <a:pt x="670" y="1459"/>
                </a:lnTo>
                <a:lnTo>
                  <a:pt x="677" y="1499"/>
                </a:lnTo>
                <a:lnTo>
                  <a:pt x="3385" y="1499"/>
                </a:lnTo>
                <a:lnTo>
                  <a:pt x="3385" y="3433"/>
                </a:lnTo>
                <a:lnTo>
                  <a:pt x="3382" y="3459"/>
                </a:lnTo>
                <a:lnTo>
                  <a:pt x="3373" y="3483"/>
                </a:lnTo>
                <a:lnTo>
                  <a:pt x="3360" y="3505"/>
                </a:lnTo>
                <a:lnTo>
                  <a:pt x="3342" y="3522"/>
                </a:lnTo>
                <a:lnTo>
                  <a:pt x="3321" y="3536"/>
                </a:lnTo>
                <a:lnTo>
                  <a:pt x="3297" y="3544"/>
                </a:lnTo>
                <a:lnTo>
                  <a:pt x="3271" y="3547"/>
                </a:lnTo>
                <a:lnTo>
                  <a:pt x="288" y="3547"/>
                </a:lnTo>
                <a:lnTo>
                  <a:pt x="262" y="3544"/>
                </a:lnTo>
                <a:lnTo>
                  <a:pt x="238" y="3536"/>
                </a:lnTo>
                <a:lnTo>
                  <a:pt x="216" y="3522"/>
                </a:lnTo>
                <a:lnTo>
                  <a:pt x="199" y="3505"/>
                </a:lnTo>
                <a:lnTo>
                  <a:pt x="186" y="3483"/>
                </a:lnTo>
                <a:lnTo>
                  <a:pt x="177" y="3459"/>
                </a:lnTo>
                <a:lnTo>
                  <a:pt x="174" y="3433"/>
                </a:lnTo>
                <a:lnTo>
                  <a:pt x="174" y="1835"/>
                </a:lnTo>
                <a:lnTo>
                  <a:pt x="137" y="1811"/>
                </a:lnTo>
                <a:lnTo>
                  <a:pt x="104" y="1782"/>
                </a:lnTo>
                <a:lnTo>
                  <a:pt x="74" y="1750"/>
                </a:lnTo>
                <a:lnTo>
                  <a:pt x="49" y="1713"/>
                </a:lnTo>
                <a:lnTo>
                  <a:pt x="28" y="1674"/>
                </a:lnTo>
                <a:lnTo>
                  <a:pt x="13" y="1631"/>
                </a:lnTo>
                <a:lnTo>
                  <a:pt x="3" y="1587"/>
                </a:lnTo>
                <a:lnTo>
                  <a:pt x="0" y="1540"/>
                </a:lnTo>
                <a:lnTo>
                  <a:pt x="0" y="1540"/>
                </a:lnTo>
                <a:lnTo>
                  <a:pt x="4" y="1492"/>
                </a:lnTo>
                <a:lnTo>
                  <a:pt x="14" y="1445"/>
                </a:lnTo>
                <a:lnTo>
                  <a:pt x="29" y="1402"/>
                </a:lnTo>
                <a:lnTo>
                  <a:pt x="51" y="1362"/>
                </a:lnTo>
                <a:lnTo>
                  <a:pt x="78" y="1324"/>
                </a:lnTo>
                <a:lnTo>
                  <a:pt x="109" y="1292"/>
                </a:lnTo>
                <a:lnTo>
                  <a:pt x="42" y="1091"/>
                </a:lnTo>
                <a:lnTo>
                  <a:pt x="37" y="1069"/>
                </a:lnTo>
                <a:lnTo>
                  <a:pt x="37" y="1047"/>
                </a:lnTo>
                <a:lnTo>
                  <a:pt x="40" y="1025"/>
                </a:lnTo>
                <a:lnTo>
                  <a:pt x="49" y="1004"/>
                </a:lnTo>
                <a:lnTo>
                  <a:pt x="59" y="986"/>
                </a:lnTo>
                <a:lnTo>
                  <a:pt x="75" y="971"/>
                </a:lnTo>
                <a:lnTo>
                  <a:pt x="93" y="958"/>
                </a:lnTo>
                <a:lnTo>
                  <a:pt x="114" y="948"/>
                </a:lnTo>
                <a:lnTo>
                  <a:pt x="2943" y="5"/>
                </a:lnTo>
                <a:lnTo>
                  <a:pt x="2966" y="0"/>
                </a:lnTo>
                <a:lnTo>
                  <a:pt x="2989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grpSp>
        <p:nvGrpSpPr>
          <p:cNvPr id="96" name="Group 65"/>
          <p:cNvGrpSpPr>
            <a:grpSpLocks noChangeAspect="1"/>
          </p:cNvGrpSpPr>
          <p:nvPr/>
        </p:nvGrpSpPr>
        <p:grpSpPr bwMode="auto">
          <a:xfrm>
            <a:off x="2637188" y="2397786"/>
            <a:ext cx="342446" cy="374313"/>
            <a:chOff x="-1729" y="3070"/>
            <a:chExt cx="720" cy="787"/>
          </a:xfrm>
          <a:solidFill>
            <a:schemeClr val="bg1"/>
          </a:solidFill>
        </p:grpSpPr>
        <p:sp>
          <p:nvSpPr>
            <p:cNvPr id="99" name="Freeform 67"/>
            <p:cNvSpPr>
              <a:spLocks/>
            </p:cNvSpPr>
            <p:nvPr/>
          </p:nvSpPr>
          <p:spPr bwMode="auto">
            <a:xfrm>
              <a:off x="-1590" y="3474"/>
              <a:ext cx="162" cy="174"/>
            </a:xfrm>
            <a:custGeom>
              <a:avLst/>
              <a:gdLst>
                <a:gd name="T0" fmla="*/ 738 w 811"/>
                <a:gd name="T1" fmla="*/ 0 h 869"/>
                <a:gd name="T2" fmla="*/ 760 w 811"/>
                <a:gd name="T3" fmla="*/ 5 h 869"/>
                <a:gd name="T4" fmla="*/ 778 w 811"/>
                <a:gd name="T5" fmla="*/ 13 h 869"/>
                <a:gd name="T6" fmla="*/ 792 w 811"/>
                <a:gd name="T7" fmla="*/ 28 h 869"/>
                <a:gd name="T8" fmla="*/ 803 w 811"/>
                <a:gd name="T9" fmla="*/ 46 h 869"/>
                <a:gd name="T10" fmla="*/ 809 w 811"/>
                <a:gd name="T11" fmla="*/ 67 h 869"/>
                <a:gd name="T12" fmla="*/ 811 w 811"/>
                <a:gd name="T13" fmla="*/ 90 h 869"/>
                <a:gd name="T14" fmla="*/ 802 w 811"/>
                <a:gd name="T15" fmla="*/ 262 h 869"/>
                <a:gd name="T16" fmla="*/ 799 w 811"/>
                <a:gd name="T17" fmla="*/ 434 h 869"/>
                <a:gd name="T18" fmla="*/ 802 w 811"/>
                <a:gd name="T19" fmla="*/ 605 h 869"/>
                <a:gd name="T20" fmla="*/ 811 w 811"/>
                <a:gd name="T21" fmla="*/ 777 h 869"/>
                <a:gd name="T22" fmla="*/ 809 w 811"/>
                <a:gd name="T23" fmla="*/ 801 h 869"/>
                <a:gd name="T24" fmla="*/ 803 w 811"/>
                <a:gd name="T25" fmla="*/ 822 h 869"/>
                <a:gd name="T26" fmla="*/ 792 w 811"/>
                <a:gd name="T27" fmla="*/ 840 h 869"/>
                <a:gd name="T28" fmla="*/ 778 w 811"/>
                <a:gd name="T29" fmla="*/ 855 h 869"/>
                <a:gd name="T30" fmla="*/ 760 w 811"/>
                <a:gd name="T31" fmla="*/ 864 h 869"/>
                <a:gd name="T32" fmla="*/ 738 w 811"/>
                <a:gd name="T33" fmla="*/ 869 h 869"/>
                <a:gd name="T34" fmla="*/ 714 w 811"/>
                <a:gd name="T35" fmla="*/ 868 h 869"/>
                <a:gd name="T36" fmla="*/ 612 w 811"/>
                <a:gd name="T37" fmla="*/ 850 h 869"/>
                <a:gd name="T38" fmla="*/ 515 w 811"/>
                <a:gd name="T39" fmla="*/ 829 h 869"/>
                <a:gd name="T40" fmla="*/ 424 w 811"/>
                <a:gd name="T41" fmla="*/ 807 h 869"/>
                <a:gd name="T42" fmla="*/ 337 w 811"/>
                <a:gd name="T43" fmla="*/ 783 h 869"/>
                <a:gd name="T44" fmla="*/ 257 w 811"/>
                <a:gd name="T45" fmla="*/ 758 h 869"/>
                <a:gd name="T46" fmla="*/ 182 w 811"/>
                <a:gd name="T47" fmla="*/ 731 h 869"/>
                <a:gd name="T48" fmla="*/ 112 w 811"/>
                <a:gd name="T49" fmla="*/ 703 h 869"/>
                <a:gd name="T50" fmla="*/ 86 w 811"/>
                <a:gd name="T51" fmla="*/ 688 h 869"/>
                <a:gd name="T52" fmla="*/ 62 w 811"/>
                <a:gd name="T53" fmla="*/ 667 h 869"/>
                <a:gd name="T54" fmla="*/ 40 w 811"/>
                <a:gd name="T55" fmla="*/ 641 h 869"/>
                <a:gd name="T56" fmla="*/ 23 w 811"/>
                <a:gd name="T57" fmla="*/ 611 h 869"/>
                <a:gd name="T58" fmla="*/ 11 w 811"/>
                <a:gd name="T59" fmla="*/ 581 h 869"/>
                <a:gd name="T60" fmla="*/ 5 w 811"/>
                <a:gd name="T61" fmla="*/ 551 h 869"/>
                <a:gd name="T62" fmla="*/ 1 w 811"/>
                <a:gd name="T63" fmla="*/ 493 h 869"/>
                <a:gd name="T64" fmla="*/ 0 w 811"/>
                <a:gd name="T65" fmla="*/ 434 h 869"/>
                <a:gd name="T66" fmla="*/ 1 w 811"/>
                <a:gd name="T67" fmla="*/ 375 h 869"/>
                <a:gd name="T68" fmla="*/ 5 w 811"/>
                <a:gd name="T69" fmla="*/ 316 h 869"/>
                <a:gd name="T70" fmla="*/ 11 w 811"/>
                <a:gd name="T71" fmla="*/ 286 h 869"/>
                <a:gd name="T72" fmla="*/ 23 w 811"/>
                <a:gd name="T73" fmla="*/ 256 h 869"/>
                <a:gd name="T74" fmla="*/ 40 w 811"/>
                <a:gd name="T75" fmla="*/ 227 h 869"/>
                <a:gd name="T76" fmla="*/ 62 w 811"/>
                <a:gd name="T77" fmla="*/ 202 h 869"/>
                <a:gd name="T78" fmla="*/ 86 w 811"/>
                <a:gd name="T79" fmla="*/ 180 h 869"/>
                <a:gd name="T80" fmla="*/ 112 w 811"/>
                <a:gd name="T81" fmla="*/ 164 h 869"/>
                <a:gd name="T82" fmla="*/ 182 w 811"/>
                <a:gd name="T83" fmla="*/ 136 h 869"/>
                <a:gd name="T84" fmla="*/ 257 w 811"/>
                <a:gd name="T85" fmla="*/ 110 h 869"/>
                <a:gd name="T86" fmla="*/ 337 w 811"/>
                <a:gd name="T87" fmla="*/ 84 h 869"/>
                <a:gd name="T88" fmla="*/ 424 w 811"/>
                <a:gd name="T89" fmla="*/ 61 h 869"/>
                <a:gd name="T90" fmla="*/ 515 w 811"/>
                <a:gd name="T91" fmla="*/ 38 h 869"/>
                <a:gd name="T92" fmla="*/ 612 w 811"/>
                <a:gd name="T93" fmla="*/ 19 h 869"/>
                <a:gd name="T94" fmla="*/ 714 w 811"/>
                <a:gd name="T95" fmla="*/ 1 h 869"/>
                <a:gd name="T96" fmla="*/ 738 w 811"/>
                <a:gd name="T97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11" h="869">
                  <a:moveTo>
                    <a:pt x="738" y="0"/>
                  </a:moveTo>
                  <a:lnTo>
                    <a:pt x="760" y="5"/>
                  </a:lnTo>
                  <a:lnTo>
                    <a:pt x="778" y="13"/>
                  </a:lnTo>
                  <a:lnTo>
                    <a:pt x="792" y="28"/>
                  </a:lnTo>
                  <a:lnTo>
                    <a:pt x="803" y="46"/>
                  </a:lnTo>
                  <a:lnTo>
                    <a:pt x="809" y="67"/>
                  </a:lnTo>
                  <a:lnTo>
                    <a:pt x="811" y="90"/>
                  </a:lnTo>
                  <a:lnTo>
                    <a:pt x="802" y="262"/>
                  </a:lnTo>
                  <a:lnTo>
                    <a:pt x="799" y="434"/>
                  </a:lnTo>
                  <a:lnTo>
                    <a:pt x="802" y="605"/>
                  </a:lnTo>
                  <a:lnTo>
                    <a:pt x="811" y="777"/>
                  </a:lnTo>
                  <a:lnTo>
                    <a:pt x="809" y="801"/>
                  </a:lnTo>
                  <a:lnTo>
                    <a:pt x="803" y="822"/>
                  </a:lnTo>
                  <a:lnTo>
                    <a:pt x="792" y="840"/>
                  </a:lnTo>
                  <a:lnTo>
                    <a:pt x="778" y="855"/>
                  </a:lnTo>
                  <a:lnTo>
                    <a:pt x="760" y="864"/>
                  </a:lnTo>
                  <a:lnTo>
                    <a:pt x="738" y="869"/>
                  </a:lnTo>
                  <a:lnTo>
                    <a:pt x="714" y="868"/>
                  </a:lnTo>
                  <a:lnTo>
                    <a:pt x="612" y="850"/>
                  </a:lnTo>
                  <a:lnTo>
                    <a:pt x="515" y="829"/>
                  </a:lnTo>
                  <a:lnTo>
                    <a:pt x="424" y="807"/>
                  </a:lnTo>
                  <a:lnTo>
                    <a:pt x="337" y="783"/>
                  </a:lnTo>
                  <a:lnTo>
                    <a:pt x="257" y="758"/>
                  </a:lnTo>
                  <a:lnTo>
                    <a:pt x="182" y="731"/>
                  </a:lnTo>
                  <a:lnTo>
                    <a:pt x="112" y="703"/>
                  </a:lnTo>
                  <a:lnTo>
                    <a:pt x="86" y="688"/>
                  </a:lnTo>
                  <a:lnTo>
                    <a:pt x="62" y="667"/>
                  </a:lnTo>
                  <a:lnTo>
                    <a:pt x="40" y="641"/>
                  </a:lnTo>
                  <a:lnTo>
                    <a:pt x="23" y="611"/>
                  </a:lnTo>
                  <a:lnTo>
                    <a:pt x="11" y="581"/>
                  </a:lnTo>
                  <a:lnTo>
                    <a:pt x="5" y="551"/>
                  </a:lnTo>
                  <a:lnTo>
                    <a:pt x="1" y="493"/>
                  </a:lnTo>
                  <a:lnTo>
                    <a:pt x="0" y="434"/>
                  </a:lnTo>
                  <a:lnTo>
                    <a:pt x="1" y="375"/>
                  </a:lnTo>
                  <a:lnTo>
                    <a:pt x="5" y="316"/>
                  </a:lnTo>
                  <a:lnTo>
                    <a:pt x="11" y="286"/>
                  </a:lnTo>
                  <a:lnTo>
                    <a:pt x="23" y="256"/>
                  </a:lnTo>
                  <a:lnTo>
                    <a:pt x="40" y="227"/>
                  </a:lnTo>
                  <a:lnTo>
                    <a:pt x="62" y="202"/>
                  </a:lnTo>
                  <a:lnTo>
                    <a:pt x="86" y="180"/>
                  </a:lnTo>
                  <a:lnTo>
                    <a:pt x="112" y="164"/>
                  </a:lnTo>
                  <a:lnTo>
                    <a:pt x="182" y="136"/>
                  </a:lnTo>
                  <a:lnTo>
                    <a:pt x="257" y="110"/>
                  </a:lnTo>
                  <a:lnTo>
                    <a:pt x="337" y="84"/>
                  </a:lnTo>
                  <a:lnTo>
                    <a:pt x="424" y="61"/>
                  </a:lnTo>
                  <a:lnTo>
                    <a:pt x="515" y="38"/>
                  </a:lnTo>
                  <a:lnTo>
                    <a:pt x="612" y="19"/>
                  </a:lnTo>
                  <a:lnTo>
                    <a:pt x="714" y="1"/>
                  </a:lnTo>
                  <a:lnTo>
                    <a:pt x="7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00" name="Freeform 68"/>
            <p:cNvSpPr>
              <a:spLocks/>
            </p:cNvSpPr>
            <p:nvPr/>
          </p:nvSpPr>
          <p:spPr bwMode="auto">
            <a:xfrm>
              <a:off x="-1572" y="3652"/>
              <a:ext cx="181" cy="180"/>
            </a:xfrm>
            <a:custGeom>
              <a:avLst/>
              <a:gdLst>
                <a:gd name="T0" fmla="*/ 35 w 904"/>
                <a:gd name="T1" fmla="*/ 0 h 900"/>
                <a:gd name="T2" fmla="*/ 52 w 904"/>
                <a:gd name="T3" fmla="*/ 1 h 900"/>
                <a:gd name="T4" fmla="*/ 71 w 904"/>
                <a:gd name="T5" fmla="*/ 6 h 900"/>
                <a:gd name="T6" fmla="*/ 156 w 904"/>
                <a:gd name="T7" fmla="*/ 35 h 900"/>
                <a:gd name="T8" fmla="*/ 246 w 904"/>
                <a:gd name="T9" fmla="*/ 60 h 900"/>
                <a:gd name="T10" fmla="*/ 339 w 904"/>
                <a:gd name="T11" fmla="*/ 84 h 900"/>
                <a:gd name="T12" fmla="*/ 436 w 904"/>
                <a:gd name="T13" fmla="*/ 106 h 900"/>
                <a:gd name="T14" fmla="*/ 537 w 904"/>
                <a:gd name="T15" fmla="*/ 125 h 900"/>
                <a:gd name="T16" fmla="*/ 641 w 904"/>
                <a:gd name="T17" fmla="*/ 142 h 900"/>
                <a:gd name="T18" fmla="*/ 669 w 904"/>
                <a:gd name="T19" fmla="*/ 150 h 900"/>
                <a:gd name="T20" fmla="*/ 695 w 904"/>
                <a:gd name="T21" fmla="*/ 164 h 900"/>
                <a:gd name="T22" fmla="*/ 720 w 904"/>
                <a:gd name="T23" fmla="*/ 183 h 900"/>
                <a:gd name="T24" fmla="*/ 739 w 904"/>
                <a:gd name="T25" fmla="*/ 208 h 900"/>
                <a:gd name="T26" fmla="*/ 752 w 904"/>
                <a:gd name="T27" fmla="*/ 234 h 900"/>
                <a:gd name="T28" fmla="*/ 761 w 904"/>
                <a:gd name="T29" fmla="*/ 262 h 900"/>
                <a:gd name="T30" fmla="*/ 778 w 904"/>
                <a:gd name="T31" fmla="*/ 365 h 900"/>
                <a:gd name="T32" fmla="*/ 797 w 904"/>
                <a:gd name="T33" fmla="*/ 465 h 900"/>
                <a:gd name="T34" fmla="*/ 819 w 904"/>
                <a:gd name="T35" fmla="*/ 563 h 900"/>
                <a:gd name="T36" fmla="*/ 842 w 904"/>
                <a:gd name="T37" fmla="*/ 656 h 900"/>
                <a:gd name="T38" fmla="*/ 869 w 904"/>
                <a:gd name="T39" fmla="*/ 746 h 900"/>
                <a:gd name="T40" fmla="*/ 897 w 904"/>
                <a:gd name="T41" fmla="*/ 830 h 900"/>
                <a:gd name="T42" fmla="*/ 903 w 904"/>
                <a:gd name="T43" fmla="*/ 850 h 900"/>
                <a:gd name="T44" fmla="*/ 904 w 904"/>
                <a:gd name="T45" fmla="*/ 867 h 900"/>
                <a:gd name="T46" fmla="*/ 900 w 904"/>
                <a:gd name="T47" fmla="*/ 880 h 900"/>
                <a:gd name="T48" fmla="*/ 894 w 904"/>
                <a:gd name="T49" fmla="*/ 891 h 900"/>
                <a:gd name="T50" fmla="*/ 885 w 904"/>
                <a:gd name="T51" fmla="*/ 898 h 900"/>
                <a:gd name="T52" fmla="*/ 871 w 904"/>
                <a:gd name="T53" fmla="*/ 900 h 900"/>
                <a:gd name="T54" fmla="*/ 854 w 904"/>
                <a:gd name="T55" fmla="*/ 900 h 900"/>
                <a:gd name="T56" fmla="*/ 835 w 904"/>
                <a:gd name="T57" fmla="*/ 894 h 900"/>
                <a:gd name="T58" fmla="*/ 741 w 904"/>
                <a:gd name="T59" fmla="*/ 854 h 900"/>
                <a:gd name="T60" fmla="*/ 652 w 904"/>
                <a:gd name="T61" fmla="*/ 808 h 900"/>
                <a:gd name="T62" fmla="*/ 567 w 904"/>
                <a:gd name="T63" fmla="*/ 756 h 900"/>
                <a:gd name="T64" fmla="*/ 485 w 904"/>
                <a:gd name="T65" fmla="*/ 698 h 900"/>
                <a:gd name="T66" fmla="*/ 407 w 904"/>
                <a:gd name="T67" fmla="*/ 636 h 900"/>
                <a:gd name="T68" fmla="*/ 334 w 904"/>
                <a:gd name="T69" fmla="*/ 568 h 900"/>
                <a:gd name="T70" fmla="*/ 265 w 904"/>
                <a:gd name="T71" fmla="*/ 495 h 900"/>
                <a:gd name="T72" fmla="*/ 202 w 904"/>
                <a:gd name="T73" fmla="*/ 418 h 900"/>
                <a:gd name="T74" fmla="*/ 145 w 904"/>
                <a:gd name="T75" fmla="*/ 336 h 900"/>
                <a:gd name="T76" fmla="*/ 93 w 904"/>
                <a:gd name="T77" fmla="*/ 250 h 900"/>
                <a:gd name="T78" fmla="*/ 47 w 904"/>
                <a:gd name="T79" fmla="*/ 160 h 900"/>
                <a:gd name="T80" fmla="*/ 7 w 904"/>
                <a:gd name="T81" fmla="*/ 69 h 900"/>
                <a:gd name="T82" fmla="*/ 1 w 904"/>
                <a:gd name="T83" fmla="*/ 49 h 900"/>
                <a:gd name="T84" fmla="*/ 0 w 904"/>
                <a:gd name="T85" fmla="*/ 32 h 900"/>
                <a:gd name="T86" fmla="*/ 3 w 904"/>
                <a:gd name="T87" fmla="*/ 19 h 900"/>
                <a:gd name="T88" fmla="*/ 11 w 904"/>
                <a:gd name="T89" fmla="*/ 9 h 900"/>
                <a:gd name="T90" fmla="*/ 20 w 904"/>
                <a:gd name="T91" fmla="*/ 2 h 900"/>
                <a:gd name="T92" fmla="*/ 35 w 904"/>
                <a:gd name="T93" fmla="*/ 0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4" h="900">
                  <a:moveTo>
                    <a:pt x="35" y="0"/>
                  </a:moveTo>
                  <a:lnTo>
                    <a:pt x="52" y="1"/>
                  </a:lnTo>
                  <a:lnTo>
                    <a:pt x="71" y="6"/>
                  </a:lnTo>
                  <a:lnTo>
                    <a:pt x="156" y="35"/>
                  </a:lnTo>
                  <a:lnTo>
                    <a:pt x="246" y="60"/>
                  </a:lnTo>
                  <a:lnTo>
                    <a:pt x="339" y="84"/>
                  </a:lnTo>
                  <a:lnTo>
                    <a:pt x="436" y="106"/>
                  </a:lnTo>
                  <a:lnTo>
                    <a:pt x="537" y="125"/>
                  </a:lnTo>
                  <a:lnTo>
                    <a:pt x="641" y="142"/>
                  </a:lnTo>
                  <a:lnTo>
                    <a:pt x="669" y="150"/>
                  </a:lnTo>
                  <a:lnTo>
                    <a:pt x="695" y="164"/>
                  </a:lnTo>
                  <a:lnTo>
                    <a:pt x="720" y="183"/>
                  </a:lnTo>
                  <a:lnTo>
                    <a:pt x="739" y="208"/>
                  </a:lnTo>
                  <a:lnTo>
                    <a:pt x="752" y="234"/>
                  </a:lnTo>
                  <a:lnTo>
                    <a:pt x="761" y="262"/>
                  </a:lnTo>
                  <a:lnTo>
                    <a:pt x="778" y="365"/>
                  </a:lnTo>
                  <a:lnTo>
                    <a:pt x="797" y="465"/>
                  </a:lnTo>
                  <a:lnTo>
                    <a:pt x="819" y="563"/>
                  </a:lnTo>
                  <a:lnTo>
                    <a:pt x="842" y="656"/>
                  </a:lnTo>
                  <a:lnTo>
                    <a:pt x="869" y="746"/>
                  </a:lnTo>
                  <a:lnTo>
                    <a:pt x="897" y="830"/>
                  </a:lnTo>
                  <a:lnTo>
                    <a:pt x="903" y="850"/>
                  </a:lnTo>
                  <a:lnTo>
                    <a:pt x="904" y="867"/>
                  </a:lnTo>
                  <a:lnTo>
                    <a:pt x="900" y="880"/>
                  </a:lnTo>
                  <a:lnTo>
                    <a:pt x="894" y="891"/>
                  </a:lnTo>
                  <a:lnTo>
                    <a:pt x="885" y="898"/>
                  </a:lnTo>
                  <a:lnTo>
                    <a:pt x="871" y="900"/>
                  </a:lnTo>
                  <a:lnTo>
                    <a:pt x="854" y="900"/>
                  </a:lnTo>
                  <a:lnTo>
                    <a:pt x="835" y="894"/>
                  </a:lnTo>
                  <a:lnTo>
                    <a:pt x="741" y="854"/>
                  </a:lnTo>
                  <a:lnTo>
                    <a:pt x="652" y="808"/>
                  </a:lnTo>
                  <a:lnTo>
                    <a:pt x="567" y="756"/>
                  </a:lnTo>
                  <a:lnTo>
                    <a:pt x="485" y="698"/>
                  </a:lnTo>
                  <a:lnTo>
                    <a:pt x="407" y="636"/>
                  </a:lnTo>
                  <a:lnTo>
                    <a:pt x="334" y="568"/>
                  </a:lnTo>
                  <a:lnTo>
                    <a:pt x="265" y="495"/>
                  </a:lnTo>
                  <a:lnTo>
                    <a:pt x="202" y="418"/>
                  </a:lnTo>
                  <a:lnTo>
                    <a:pt x="145" y="336"/>
                  </a:lnTo>
                  <a:lnTo>
                    <a:pt x="93" y="250"/>
                  </a:lnTo>
                  <a:lnTo>
                    <a:pt x="47" y="160"/>
                  </a:lnTo>
                  <a:lnTo>
                    <a:pt x="7" y="69"/>
                  </a:lnTo>
                  <a:lnTo>
                    <a:pt x="1" y="49"/>
                  </a:lnTo>
                  <a:lnTo>
                    <a:pt x="0" y="32"/>
                  </a:lnTo>
                  <a:lnTo>
                    <a:pt x="3" y="19"/>
                  </a:lnTo>
                  <a:lnTo>
                    <a:pt x="11" y="9"/>
                  </a:lnTo>
                  <a:lnTo>
                    <a:pt x="20" y="2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01" name="Freeform 69"/>
            <p:cNvSpPr>
              <a:spLocks/>
            </p:cNvSpPr>
            <p:nvPr/>
          </p:nvSpPr>
          <p:spPr bwMode="auto">
            <a:xfrm>
              <a:off x="-1387" y="3271"/>
              <a:ext cx="175" cy="162"/>
            </a:xfrm>
            <a:custGeom>
              <a:avLst/>
              <a:gdLst>
                <a:gd name="T0" fmla="*/ 436 w 871"/>
                <a:gd name="T1" fmla="*/ 0 h 809"/>
                <a:gd name="T2" fmla="*/ 494 w 871"/>
                <a:gd name="T3" fmla="*/ 2 h 809"/>
                <a:gd name="T4" fmla="*/ 552 w 871"/>
                <a:gd name="T5" fmla="*/ 4 h 809"/>
                <a:gd name="T6" fmla="*/ 583 w 871"/>
                <a:gd name="T7" fmla="*/ 10 h 809"/>
                <a:gd name="T8" fmla="*/ 613 w 871"/>
                <a:gd name="T9" fmla="*/ 23 h 809"/>
                <a:gd name="T10" fmla="*/ 642 w 871"/>
                <a:gd name="T11" fmla="*/ 40 h 809"/>
                <a:gd name="T12" fmla="*/ 669 w 871"/>
                <a:gd name="T13" fmla="*/ 62 h 809"/>
                <a:gd name="T14" fmla="*/ 690 w 871"/>
                <a:gd name="T15" fmla="*/ 86 h 809"/>
                <a:gd name="T16" fmla="*/ 705 w 871"/>
                <a:gd name="T17" fmla="*/ 113 h 809"/>
                <a:gd name="T18" fmla="*/ 733 w 871"/>
                <a:gd name="T19" fmla="*/ 182 h 809"/>
                <a:gd name="T20" fmla="*/ 761 w 871"/>
                <a:gd name="T21" fmla="*/ 256 h 809"/>
                <a:gd name="T22" fmla="*/ 785 w 871"/>
                <a:gd name="T23" fmla="*/ 337 h 809"/>
                <a:gd name="T24" fmla="*/ 809 w 871"/>
                <a:gd name="T25" fmla="*/ 422 h 809"/>
                <a:gd name="T26" fmla="*/ 831 w 871"/>
                <a:gd name="T27" fmla="*/ 514 h 809"/>
                <a:gd name="T28" fmla="*/ 852 w 871"/>
                <a:gd name="T29" fmla="*/ 611 h 809"/>
                <a:gd name="T30" fmla="*/ 870 w 871"/>
                <a:gd name="T31" fmla="*/ 713 h 809"/>
                <a:gd name="T32" fmla="*/ 871 w 871"/>
                <a:gd name="T33" fmla="*/ 737 h 809"/>
                <a:gd name="T34" fmla="*/ 866 w 871"/>
                <a:gd name="T35" fmla="*/ 757 h 809"/>
                <a:gd name="T36" fmla="*/ 856 w 871"/>
                <a:gd name="T37" fmla="*/ 777 h 809"/>
                <a:gd name="T38" fmla="*/ 843 w 871"/>
                <a:gd name="T39" fmla="*/ 791 h 809"/>
                <a:gd name="T40" fmla="*/ 825 w 871"/>
                <a:gd name="T41" fmla="*/ 802 h 809"/>
                <a:gd name="T42" fmla="*/ 803 w 871"/>
                <a:gd name="T43" fmla="*/ 808 h 809"/>
                <a:gd name="T44" fmla="*/ 779 w 871"/>
                <a:gd name="T45" fmla="*/ 809 h 809"/>
                <a:gd name="T46" fmla="*/ 608 w 871"/>
                <a:gd name="T47" fmla="*/ 801 h 809"/>
                <a:gd name="T48" fmla="*/ 436 w 871"/>
                <a:gd name="T49" fmla="*/ 797 h 809"/>
                <a:gd name="T50" fmla="*/ 263 w 871"/>
                <a:gd name="T51" fmla="*/ 801 h 809"/>
                <a:gd name="T52" fmla="*/ 92 w 871"/>
                <a:gd name="T53" fmla="*/ 809 h 809"/>
                <a:gd name="T54" fmla="*/ 67 w 871"/>
                <a:gd name="T55" fmla="*/ 808 h 809"/>
                <a:gd name="T56" fmla="*/ 46 w 871"/>
                <a:gd name="T57" fmla="*/ 802 h 809"/>
                <a:gd name="T58" fmla="*/ 27 w 871"/>
                <a:gd name="T59" fmla="*/ 791 h 809"/>
                <a:gd name="T60" fmla="*/ 14 w 871"/>
                <a:gd name="T61" fmla="*/ 777 h 809"/>
                <a:gd name="T62" fmla="*/ 4 w 871"/>
                <a:gd name="T63" fmla="*/ 757 h 809"/>
                <a:gd name="T64" fmla="*/ 0 w 871"/>
                <a:gd name="T65" fmla="*/ 737 h 809"/>
                <a:gd name="T66" fmla="*/ 1 w 871"/>
                <a:gd name="T67" fmla="*/ 713 h 809"/>
                <a:gd name="T68" fmla="*/ 19 w 871"/>
                <a:gd name="T69" fmla="*/ 611 h 809"/>
                <a:gd name="T70" fmla="*/ 40 w 871"/>
                <a:gd name="T71" fmla="*/ 514 h 809"/>
                <a:gd name="T72" fmla="*/ 61 w 871"/>
                <a:gd name="T73" fmla="*/ 422 h 809"/>
                <a:gd name="T74" fmla="*/ 86 w 871"/>
                <a:gd name="T75" fmla="*/ 337 h 809"/>
                <a:gd name="T76" fmla="*/ 111 w 871"/>
                <a:gd name="T77" fmla="*/ 256 h 809"/>
                <a:gd name="T78" fmla="*/ 138 w 871"/>
                <a:gd name="T79" fmla="*/ 182 h 809"/>
                <a:gd name="T80" fmla="*/ 166 w 871"/>
                <a:gd name="T81" fmla="*/ 113 h 809"/>
                <a:gd name="T82" fmla="*/ 180 w 871"/>
                <a:gd name="T83" fmla="*/ 86 h 809"/>
                <a:gd name="T84" fmla="*/ 202 w 871"/>
                <a:gd name="T85" fmla="*/ 62 h 809"/>
                <a:gd name="T86" fmla="*/ 229 w 871"/>
                <a:gd name="T87" fmla="*/ 40 h 809"/>
                <a:gd name="T88" fmla="*/ 258 w 871"/>
                <a:gd name="T89" fmla="*/ 23 h 809"/>
                <a:gd name="T90" fmla="*/ 288 w 871"/>
                <a:gd name="T91" fmla="*/ 10 h 809"/>
                <a:gd name="T92" fmla="*/ 317 w 871"/>
                <a:gd name="T93" fmla="*/ 4 h 809"/>
                <a:gd name="T94" fmla="*/ 376 w 871"/>
                <a:gd name="T95" fmla="*/ 2 h 809"/>
                <a:gd name="T96" fmla="*/ 436 w 871"/>
                <a:gd name="T97" fmla="*/ 0 h 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71" h="809">
                  <a:moveTo>
                    <a:pt x="436" y="0"/>
                  </a:moveTo>
                  <a:lnTo>
                    <a:pt x="494" y="2"/>
                  </a:lnTo>
                  <a:lnTo>
                    <a:pt x="552" y="4"/>
                  </a:lnTo>
                  <a:lnTo>
                    <a:pt x="583" y="10"/>
                  </a:lnTo>
                  <a:lnTo>
                    <a:pt x="613" y="23"/>
                  </a:lnTo>
                  <a:lnTo>
                    <a:pt x="642" y="40"/>
                  </a:lnTo>
                  <a:lnTo>
                    <a:pt x="669" y="62"/>
                  </a:lnTo>
                  <a:lnTo>
                    <a:pt x="690" y="86"/>
                  </a:lnTo>
                  <a:lnTo>
                    <a:pt x="705" y="113"/>
                  </a:lnTo>
                  <a:lnTo>
                    <a:pt x="733" y="182"/>
                  </a:lnTo>
                  <a:lnTo>
                    <a:pt x="761" y="256"/>
                  </a:lnTo>
                  <a:lnTo>
                    <a:pt x="785" y="337"/>
                  </a:lnTo>
                  <a:lnTo>
                    <a:pt x="809" y="422"/>
                  </a:lnTo>
                  <a:lnTo>
                    <a:pt x="831" y="514"/>
                  </a:lnTo>
                  <a:lnTo>
                    <a:pt x="852" y="611"/>
                  </a:lnTo>
                  <a:lnTo>
                    <a:pt x="870" y="713"/>
                  </a:lnTo>
                  <a:lnTo>
                    <a:pt x="871" y="737"/>
                  </a:lnTo>
                  <a:lnTo>
                    <a:pt x="866" y="757"/>
                  </a:lnTo>
                  <a:lnTo>
                    <a:pt x="856" y="777"/>
                  </a:lnTo>
                  <a:lnTo>
                    <a:pt x="843" y="791"/>
                  </a:lnTo>
                  <a:lnTo>
                    <a:pt x="825" y="802"/>
                  </a:lnTo>
                  <a:lnTo>
                    <a:pt x="803" y="808"/>
                  </a:lnTo>
                  <a:lnTo>
                    <a:pt x="779" y="809"/>
                  </a:lnTo>
                  <a:lnTo>
                    <a:pt x="608" y="801"/>
                  </a:lnTo>
                  <a:lnTo>
                    <a:pt x="436" y="797"/>
                  </a:lnTo>
                  <a:lnTo>
                    <a:pt x="263" y="801"/>
                  </a:lnTo>
                  <a:lnTo>
                    <a:pt x="92" y="809"/>
                  </a:lnTo>
                  <a:lnTo>
                    <a:pt x="67" y="808"/>
                  </a:lnTo>
                  <a:lnTo>
                    <a:pt x="46" y="802"/>
                  </a:lnTo>
                  <a:lnTo>
                    <a:pt x="27" y="791"/>
                  </a:lnTo>
                  <a:lnTo>
                    <a:pt x="14" y="777"/>
                  </a:lnTo>
                  <a:lnTo>
                    <a:pt x="4" y="757"/>
                  </a:lnTo>
                  <a:lnTo>
                    <a:pt x="0" y="737"/>
                  </a:lnTo>
                  <a:lnTo>
                    <a:pt x="1" y="713"/>
                  </a:lnTo>
                  <a:lnTo>
                    <a:pt x="19" y="611"/>
                  </a:lnTo>
                  <a:lnTo>
                    <a:pt x="40" y="514"/>
                  </a:lnTo>
                  <a:lnTo>
                    <a:pt x="61" y="422"/>
                  </a:lnTo>
                  <a:lnTo>
                    <a:pt x="86" y="337"/>
                  </a:lnTo>
                  <a:lnTo>
                    <a:pt x="111" y="256"/>
                  </a:lnTo>
                  <a:lnTo>
                    <a:pt x="138" y="182"/>
                  </a:lnTo>
                  <a:lnTo>
                    <a:pt x="166" y="113"/>
                  </a:lnTo>
                  <a:lnTo>
                    <a:pt x="180" y="86"/>
                  </a:lnTo>
                  <a:lnTo>
                    <a:pt x="202" y="62"/>
                  </a:lnTo>
                  <a:lnTo>
                    <a:pt x="229" y="40"/>
                  </a:lnTo>
                  <a:lnTo>
                    <a:pt x="258" y="23"/>
                  </a:lnTo>
                  <a:lnTo>
                    <a:pt x="288" y="10"/>
                  </a:lnTo>
                  <a:lnTo>
                    <a:pt x="317" y="4"/>
                  </a:lnTo>
                  <a:lnTo>
                    <a:pt x="376" y="2"/>
                  </a:lnTo>
                  <a:lnTo>
                    <a:pt x="4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02" name="Freeform 70"/>
            <p:cNvSpPr>
              <a:spLocks/>
            </p:cNvSpPr>
            <p:nvPr/>
          </p:nvSpPr>
          <p:spPr bwMode="auto">
            <a:xfrm>
              <a:off x="-1572" y="3289"/>
              <a:ext cx="181" cy="180"/>
            </a:xfrm>
            <a:custGeom>
              <a:avLst/>
              <a:gdLst>
                <a:gd name="T0" fmla="*/ 871 w 904"/>
                <a:gd name="T1" fmla="*/ 0 h 901"/>
                <a:gd name="T2" fmla="*/ 885 w 904"/>
                <a:gd name="T3" fmla="*/ 4 h 901"/>
                <a:gd name="T4" fmla="*/ 894 w 904"/>
                <a:gd name="T5" fmla="*/ 10 h 901"/>
                <a:gd name="T6" fmla="*/ 900 w 904"/>
                <a:gd name="T7" fmla="*/ 21 h 901"/>
                <a:gd name="T8" fmla="*/ 904 w 904"/>
                <a:gd name="T9" fmla="*/ 35 h 901"/>
                <a:gd name="T10" fmla="*/ 903 w 904"/>
                <a:gd name="T11" fmla="*/ 52 h 901"/>
                <a:gd name="T12" fmla="*/ 897 w 904"/>
                <a:gd name="T13" fmla="*/ 71 h 901"/>
                <a:gd name="T14" fmla="*/ 869 w 904"/>
                <a:gd name="T15" fmla="*/ 156 h 901"/>
                <a:gd name="T16" fmla="*/ 842 w 904"/>
                <a:gd name="T17" fmla="*/ 246 h 901"/>
                <a:gd name="T18" fmla="*/ 819 w 904"/>
                <a:gd name="T19" fmla="*/ 339 h 901"/>
                <a:gd name="T20" fmla="*/ 797 w 904"/>
                <a:gd name="T21" fmla="*/ 435 h 901"/>
                <a:gd name="T22" fmla="*/ 778 w 904"/>
                <a:gd name="T23" fmla="*/ 536 h 901"/>
                <a:gd name="T24" fmla="*/ 761 w 904"/>
                <a:gd name="T25" fmla="*/ 639 h 901"/>
                <a:gd name="T26" fmla="*/ 752 w 904"/>
                <a:gd name="T27" fmla="*/ 668 h 901"/>
                <a:gd name="T28" fmla="*/ 739 w 904"/>
                <a:gd name="T29" fmla="*/ 694 h 901"/>
                <a:gd name="T30" fmla="*/ 720 w 904"/>
                <a:gd name="T31" fmla="*/ 717 h 901"/>
                <a:gd name="T32" fmla="*/ 695 w 904"/>
                <a:gd name="T33" fmla="*/ 736 h 901"/>
                <a:gd name="T34" fmla="*/ 669 w 904"/>
                <a:gd name="T35" fmla="*/ 751 h 901"/>
                <a:gd name="T36" fmla="*/ 641 w 904"/>
                <a:gd name="T37" fmla="*/ 759 h 901"/>
                <a:gd name="T38" fmla="*/ 537 w 904"/>
                <a:gd name="T39" fmla="*/ 776 h 901"/>
                <a:gd name="T40" fmla="*/ 436 w 904"/>
                <a:gd name="T41" fmla="*/ 796 h 901"/>
                <a:gd name="T42" fmla="*/ 339 w 904"/>
                <a:gd name="T43" fmla="*/ 816 h 901"/>
                <a:gd name="T44" fmla="*/ 246 w 904"/>
                <a:gd name="T45" fmla="*/ 840 h 901"/>
                <a:gd name="T46" fmla="*/ 156 w 904"/>
                <a:gd name="T47" fmla="*/ 867 h 901"/>
                <a:gd name="T48" fmla="*/ 71 w 904"/>
                <a:gd name="T49" fmla="*/ 895 h 901"/>
                <a:gd name="T50" fmla="*/ 52 w 904"/>
                <a:gd name="T51" fmla="*/ 901 h 901"/>
                <a:gd name="T52" fmla="*/ 35 w 904"/>
                <a:gd name="T53" fmla="*/ 901 h 901"/>
                <a:gd name="T54" fmla="*/ 20 w 904"/>
                <a:gd name="T55" fmla="*/ 899 h 901"/>
                <a:gd name="T56" fmla="*/ 11 w 904"/>
                <a:gd name="T57" fmla="*/ 892 h 901"/>
                <a:gd name="T58" fmla="*/ 3 w 904"/>
                <a:gd name="T59" fmla="*/ 882 h 901"/>
                <a:gd name="T60" fmla="*/ 0 w 904"/>
                <a:gd name="T61" fmla="*/ 868 h 901"/>
                <a:gd name="T62" fmla="*/ 1 w 904"/>
                <a:gd name="T63" fmla="*/ 853 h 901"/>
                <a:gd name="T64" fmla="*/ 7 w 904"/>
                <a:gd name="T65" fmla="*/ 833 h 901"/>
                <a:gd name="T66" fmla="*/ 47 w 904"/>
                <a:gd name="T67" fmla="*/ 740 h 901"/>
                <a:gd name="T68" fmla="*/ 93 w 904"/>
                <a:gd name="T69" fmla="*/ 651 h 901"/>
                <a:gd name="T70" fmla="*/ 145 w 904"/>
                <a:gd name="T71" fmla="*/ 565 h 901"/>
                <a:gd name="T72" fmla="*/ 202 w 904"/>
                <a:gd name="T73" fmla="*/ 484 h 901"/>
                <a:gd name="T74" fmla="*/ 265 w 904"/>
                <a:gd name="T75" fmla="*/ 406 h 901"/>
                <a:gd name="T76" fmla="*/ 334 w 904"/>
                <a:gd name="T77" fmla="*/ 333 h 901"/>
                <a:gd name="T78" fmla="*/ 407 w 904"/>
                <a:gd name="T79" fmla="*/ 265 h 901"/>
                <a:gd name="T80" fmla="*/ 485 w 904"/>
                <a:gd name="T81" fmla="*/ 202 h 901"/>
                <a:gd name="T82" fmla="*/ 567 w 904"/>
                <a:gd name="T83" fmla="*/ 145 h 901"/>
                <a:gd name="T84" fmla="*/ 652 w 904"/>
                <a:gd name="T85" fmla="*/ 93 h 901"/>
                <a:gd name="T86" fmla="*/ 741 w 904"/>
                <a:gd name="T87" fmla="*/ 47 h 901"/>
                <a:gd name="T88" fmla="*/ 835 w 904"/>
                <a:gd name="T89" fmla="*/ 7 h 901"/>
                <a:gd name="T90" fmla="*/ 854 w 904"/>
                <a:gd name="T91" fmla="*/ 1 h 901"/>
                <a:gd name="T92" fmla="*/ 871 w 904"/>
                <a:gd name="T93" fmla="*/ 0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4" h="901">
                  <a:moveTo>
                    <a:pt x="871" y="0"/>
                  </a:moveTo>
                  <a:lnTo>
                    <a:pt x="885" y="4"/>
                  </a:lnTo>
                  <a:lnTo>
                    <a:pt x="894" y="10"/>
                  </a:lnTo>
                  <a:lnTo>
                    <a:pt x="900" y="21"/>
                  </a:lnTo>
                  <a:lnTo>
                    <a:pt x="904" y="35"/>
                  </a:lnTo>
                  <a:lnTo>
                    <a:pt x="903" y="52"/>
                  </a:lnTo>
                  <a:lnTo>
                    <a:pt x="897" y="71"/>
                  </a:lnTo>
                  <a:lnTo>
                    <a:pt x="869" y="156"/>
                  </a:lnTo>
                  <a:lnTo>
                    <a:pt x="842" y="246"/>
                  </a:lnTo>
                  <a:lnTo>
                    <a:pt x="819" y="339"/>
                  </a:lnTo>
                  <a:lnTo>
                    <a:pt x="797" y="435"/>
                  </a:lnTo>
                  <a:lnTo>
                    <a:pt x="778" y="536"/>
                  </a:lnTo>
                  <a:lnTo>
                    <a:pt x="761" y="639"/>
                  </a:lnTo>
                  <a:lnTo>
                    <a:pt x="752" y="668"/>
                  </a:lnTo>
                  <a:lnTo>
                    <a:pt x="739" y="694"/>
                  </a:lnTo>
                  <a:lnTo>
                    <a:pt x="720" y="717"/>
                  </a:lnTo>
                  <a:lnTo>
                    <a:pt x="695" y="736"/>
                  </a:lnTo>
                  <a:lnTo>
                    <a:pt x="669" y="751"/>
                  </a:lnTo>
                  <a:lnTo>
                    <a:pt x="641" y="759"/>
                  </a:lnTo>
                  <a:lnTo>
                    <a:pt x="537" y="776"/>
                  </a:lnTo>
                  <a:lnTo>
                    <a:pt x="436" y="796"/>
                  </a:lnTo>
                  <a:lnTo>
                    <a:pt x="339" y="816"/>
                  </a:lnTo>
                  <a:lnTo>
                    <a:pt x="246" y="840"/>
                  </a:lnTo>
                  <a:lnTo>
                    <a:pt x="156" y="867"/>
                  </a:lnTo>
                  <a:lnTo>
                    <a:pt x="71" y="895"/>
                  </a:lnTo>
                  <a:lnTo>
                    <a:pt x="52" y="901"/>
                  </a:lnTo>
                  <a:lnTo>
                    <a:pt x="35" y="901"/>
                  </a:lnTo>
                  <a:lnTo>
                    <a:pt x="20" y="899"/>
                  </a:lnTo>
                  <a:lnTo>
                    <a:pt x="11" y="892"/>
                  </a:lnTo>
                  <a:lnTo>
                    <a:pt x="3" y="882"/>
                  </a:lnTo>
                  <a:lnTo>
                    <a:pt x="0" y="868"/>
                  </a:lnTo>
                  <a:lnTo>
                    <a:pt x="1" y="853"/>
                  </a:lnTo>
                  <a:lnTo>
                    <a:pt x="7" y="833"/>
                  </a:lnTo>
                  <a:lnTo>
                    <a:pt x="47" y="740"/>
                  </a:lnTo>
                  <a:lnTo>
                    <a:pt x="93" y="651"/>
                  </a:lnTo>
                  <a:lnTo>
                    <a:pt x="145" y="565"/>
                  </a:lnTo>
                  <a:lnTo>
                    <a:pt x="202" y="484"/>
                  </a:lnTo>
                  <a:lnTo>
                    <a:pt x="265" y="406"/>
                  </a:lnTo>
                  <a:lnTo>
                    <a:pt x="334" y="333"/>
                  </a:lnTo>
                  <a:lnTo>
                    <a:pt x="407" y="265"/>
                  </a:lnTo>
                  <a:lnTo>
                    <a:pt x="485" y="202"/>
                  </a:lnTo>
                  <a:lnTo>
                    <a:pt x="567" y="145"/>
                  </a:lnTo>
                  <a:lnTo>
                    <a:pt x="652" y="93"/>
                  </a:lnTo>
                  <a:lnTo>
                    <a:pt x="741" y="47"/>
                  </a:lnTo>
                  <a:lnTo>
                    <a:pt x="835" y="7"/>
                  </a:lnTo>
                  <a:lnTo>
                    <a:pt x="854" y="1"/>
                  </a:lnTo>
                  <a:lnTo>
                    <a:pt x="8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03" name="Freeform 71"/>
            <p:cNvSpPr>
              <a:spLocks/>
            </p:cNvSpPr>
            <p:nvPr/>
          </p:nvSpPr>
          <p:spPr bwMode="auto">
            <a:xfrm>
              <a:off x="-1208" y="3289"/>
              <a:ext cx="181" cy="180"/>
            </a:xfrm>
            <a:custGeom>
              <a:avLst/>
              <a:gdLst>
                <a:gd name="T0" fmla="*/ 32 w 904"/>
                <a:gd name="T1" fmla="*/ 0 h 901"/>
                <a:gd name="T2" fmla="*/ 49 w 904"/>
                <a:gd name="T3" fmla="*/ 1 h 901"/>
                <a:gd name="T4" fmla="*/ 69 w 904"/>
                <a:gd name="T5" fmla="*/ 7 h 901"/>
                <a:gd name="T6" fmla="*/ 162 w 904"/>
                <a:gd name="T7" fmla="*/ 47 h 901"/>
                <a:gd name="T8" fmla="*/ 252 w 904"/>
                <a:gd name="T9" fmla="*/ 93 h 901"/>
                <a:gd name="T10" fmla="*/ 337 w 904"/>
                <a:gd name="T11" fmla="*/ 145 h 901"/>
                <a:gd name="T12" fmla="*/ 419 w 904"/>
                <a:gd name="T13" fmla="*/ 202 h 901"/>
                <a:gd name="T14" fmla="*/ 497 w 904"/>
                <a:gd name="T15" fmla="*/ 265 h 901"/>
                <a:gd name="T16" fmla="*/ 569 w 904"/>
                <a:gd name="T17" fmla="*/ 333 h 901"/>
                <a:gd name="T18" fmla="*/ 638 w 904"/>
                <a:gd name="T19" fmla="*/ 406 h 901"/>
                <a:gd name="T20" fmla="*/ 701 w 904"/>
                <a:gd name="T21" fmla="*/ 484 h 901"/>
                <a:gd name="T22" fmla="*/ 758 w 904"/>
                <a:gd name="T23" fmla="*/ 565 h 901"/>
                <a:gd name="T24" fmla="*/ 811 w 904"/>
                <a:gd name="T25" fmla="*/ 651 h 901"/>
                <a:gd name="T26" fmla="*/ 857 w 904"/>
                <a:gd name="T27" fmla="*/ 740 h 901"/>
                <a:gd name="T28" fmla="*/ 897 w 904"/>
                <a:gd name="T29" fmla="*/ 833 h 901"/>
                <a:gd name="T30" fmla="*/ 903 w 904"/>
                <a:gd name="T31" fmla="*/ 853 h 901"/>
                <a:gd name="T32" fmla="*/ 904 w 904"/>
                <a:gd name="T33" fmla="*/ 868 h 901"/>
                <a:gd name="T34" fmla="*/ 900 w 904"/>
                <a:gd name="T35" fmla="*/ 882 h 901"/>
                <a:gd name="T36" fmla="*/ 893 w 904"/>
                <a:gd name="T37" fmla="*/ 892 h 901"/>
                <a:gd name="T38" fmla="*/ 883 w 904"/>
                <a:gd name="T39" fmla="*/ 899 h 901"/>
                <a:gd name="T40" fmla="*/ 869 w 904"/>
                <a:gd name="T41" fmla="*/ 901 h 901"/>
                <a:gd name="T42" fmla="*/ 852 w 904"/>
                <a:gd name="T43" fmla="*/ 900 h 901"/>
                <a:gd name="T44" fmla="*/ 832 w 904"/>
                <a:gd name="T45" fmla="*/ 895 h 901"/>
                <a:gd name="T46" fmla="*/ 748 w 904"/>
                <a:gd name="T47" fmla="*/ 867 h 901"/>
                <a:gd name="T48" fmla="*/ 658 w 904"/>
                <a:gd name="T49" fmla="*/ 840 h 901"/>
                <a:gd name="T50" fmla="*/ 564 w 904"/>
                <a:gd name="T51" fmla="*/ 816 h 901"/>
                <a:gd name="T52" fmla="*/ 468 w 904"/>
                <a:gd name="T53" fmla="*/ 796 h 901"/>
                <a:gd name="T54" fmla="*/ 367 w 904"/>
                <a:gd name="T55" fmla="*/ 776 h 901"/>
                <a:gd name="T56" fmla="*/ 263 w 904"/>
                <a:gd name="T57" fmla="*/ 759 h 901"/>
                <a:gd name="T58" fmla="*/ 235 w 904"/>
                <a:gd name="T59" fmla="*/ 751 h 901"/>
                <a:gd name="T60" fmla="*/ 208 w 904"/>
                <a:gd name="T61" fmla="*/ 736 h 901"/>
                <a:gd name="T62" fmla="*/ 184 w 904"/>
                <a:gd name="T63" fmla="*/ 717 h 901"/>
                <a:gd name="T64" fmla="*/ 164 w 904"/>
                <a:gd name="T65" fmla="*/ 694 h 901"/>
                <a:gd name="T66" fmla="*/ 151 w 904"/>
                <a:gd name="T67" fmla="*/ 668 h 901"/>
                <a:gd name="T68" fmla="*/ 143 w 904"/>
                <a:gd name="T69" fmla="*/ 639 h 901"/>
                <a:gd name="T70" fmla="*/ 126 w 904"/>
                <a:gd name="T71" fmla="*/ 536 h 901"/>
                <a:gd name="T72" fmla="*/ 106 w 904"/>
                <a:gd name="T73" fmla="*/ 435 h 901"/>
                <a:gd name="T74" fmla="*/ 84 w 904"/>
                <a:gd name="T75" fmla="*/ 339 h 901"/>
                <a:gd name="T76" fmla="*/ 61 w 904"/>
                <a:gd name="T77" fmla="*/ 246 h 901"/>
                <a:gd name="T78" fmla="*/ 35 w 904"/>
                <a:gd name="T79" fmla="*/ 156 h 901"/>
                <a:gd name="T80" fmla="*/ 7 w 904"/>
                <a:gd name="T81" fmla="*/ 71 h 901"/>
                <a:gd name="T82" fmla="*/ 1 w 904"/>
                <a:gd name="T83" fmla="*/ 52 h 901"/>
                <a:gd name="T84" fmla="*/ 0 w 904"/>
                <a:gd name="T85" fmla="*/ 35 h 901"/>
                <a:gd name="T86" fmla="*/ 3 w 904"/>
                <a:gd name="T87" fmla="*/ 21 h 901"/>
                <a:gd name="T88" fmla="*/ 9 w 904"/>
                <a:gd name="T89" fmla="*/ 10 h 901"/>
                <a:gd name="T90" fmla="*/ 19 w 904"/>
                <a:gd name="T91" fmla="*/ 4 h 901"/>
                <a:gd name="T92" fmla="*/ 32 w 904"/>
                <a:gd name="T93" fmla="*/ 0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4" h="901">
                  <a:moveTo>
                    <a:pt x="32" y="0"/>
                  </a:moveTo>
                  <a:lnTo>
                    <a:pt x="49" y="1"/>
                  </a:lnTo>
                  <a:lnTo>
                    <a:pt x="69" y="7"/>
                  </a:lnTo>
                  <a:lnTo>
                    <a:pt x="162" y="47"/>
                  </a:lnTo>
                  <a:lnTo>
                    <a:pt x="252" y="93"/>
                  </a:lnTo>
                  <a:lnTo>
                    <a:pt x="337" y="145"/>
                  </a:lnTo>
                  <a:lnTo>
                    <a:pt x="419" y="202"/>
                  </a:lnTo>
                  <a:lnTo>
                    <a:pt x="497" y="265"/>
                  </a:lnTo>
                  <a:lnTo>
                    <a:pt x="569" y="333"/>
                  </a:lnTo>
                  <a:lnTo>
                    <a:pt x="638" y="406"/>
                  </a:lnTo>
                  <a:lnTo>
                    <a:pt x="701" y="484"/>
                  </a:lnTo>
                  <a:lnTo>
                    <a:pt x="758" y="565"/>
                  </a:lnTo>
                  <a:lnTo>
                    <a:pt x="811" y="651"/>
                  </a:lnTo>
                  <a:lnTo>
                    <a:pt x="857" y="740"/>
                  </a:lnTo>
                  <a:lnTo>
                    <a:pt x="897" y="833"/>
                  </a:lnTo>
                  <a:lnTo>
                    <a:pt x="903" y="853"/>
                  </a:lnTo>
                  <a:lnTo>
                    <a:pt x="904" y="868"/>
                  </a:lnTo>
                  <a:lnTo>
                    <a:pt x="900" y="882"/>
                  </a:lnTo>
                  <a:lnTo>
                    <a:pt x="893" y="892"/>
                  </a:lnTo>
                  <a:lnTo>
                    <a:pt x="883" y="899"/>
                  </a:lnTo>
                  <a:lnTo>
                    <a:pt x="869" y="901"/>
                  </a:lnTo>
                  <a:lnTo>
                    <a:pt x="852" y="900"/>
                  </a:lnTo>
                  <a:lnTo>
                    <a:pt x="832" y="895"/>
                  </a:lnTo>
                  <a:lnTo>
                    <a:pt x="748" y="867"/>
                  </a:lnTo>
                  <a:lnTo>
                    <a:pt x="658" y="840"/>
                  </a:lnTo>
                  <a:lnTo>
                    <a:pt x="564" y="816"/>
                  </a:lnTo>
                  <a:lnTo>
                    <a:pt x="468" y="796"/>
                  </a:lnTo>
                  <a:lnTo>
                    <a:pt x="367" y="776"/>
                  </a:lnTo>
                  <a:lnTo>
                    <a:pt x="263" y="759"/>
                  </a:lnTo>
                  <a:lnTo>
                    <a:pt x="235" y="751"/>
                  </a:lnTo>
                  <a:lnTo>
                    <a:pt x="208" y="736"/>
                  </a:lnTo>
                  <a:lnTo>
                    <a:pt x="184" y="717"/>
                  </a:lnTo>
                  <a:lnTo>
                    <a:pt x="164" y="694"/>
                  </a:lnTo>
                  <a:lnTo>
                    <a:pt x="151" y="668"/>
                  </a:lnTo>
                  <a:lnTo>
                    <a:pt x="143" y="639"/>
                  </a:lnTo>
                  <a:lnTo>
                    <a:pt x="126" y="536"/>
                  </a:lnTo>
                  <a:lnTo>
                    <a:pt x="106" y="435"/>
                  </a:lnTo>
                  <a:lnTo>
                    <a:pt x="84" y="339"/>
                  </a:lnTo>
                  <a:lnTo>
                    <a:pt x="61" y="246"/>
                  </a:lnTo>
                  <a:lnTo>
                    <a:pt x="35" y="156"/>
                  </a:lnTo>
                  <a:lnTo>
                    <a:pt x="7" y="71"/>
                  </a:lnTo>
                  <a:lnTo>
                    <a:pt x="1" y="52"/>
                  </a:lnTo>
                  <a:lnTo>
                    <a:pt x="0" y="35"/>
                  </a:lnTo>
                  <a:lnTo>
                    <a:pt x="3" y="21"/>
                  </a:lnTo>
                  <a:lnTo>
                    <a:pt x="9" y="10"/>
                  </a:lnTo>
                  <a:lnTo>
                    <a:pt x="19" y="4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04" name="Freeform 72"/>
            <p:cNvSpPr>
              <a:spLocks/>
            </p:cNvSpPr>
            <p:nvPr/>
          </p:nvSpPr>
          <p:spPr bwMode="auto">
            <a:xfrm>
              <a:off x="-1171" y="3474"/>
              <a:ext cx="162" cy="174"/>
            </a:xfrm>
            <a:custGeom>
              <a:avLst/>
              <a:gdLst>
                <a:gd name="T0" fmla="*/ 73 w 811"/>
                <a:gd name="T1" fmla="*/ 0 h 869"/>
                <a:gd name="T2" fmla="*/ 97 w 811"/>
                <a:gd name="T3" fmla="*/ 1 h 869"/>
                <a:gd name="T4" fmla="*/ 199 w 811"/>
                <a:gd name="T5" fmla="*/ 19 h 869"/>
                <a:gd name="T6" fmla="*/ 296 w 811"/>
                <a:gd name="T7" fmla="*/ 38 h 869"/>
                <a:gd name="T8" fmla="*/ 387 w 811"/>
                <a:gd name="T9" fmla="*/ 61 h 869"/>
                <a:gd name="T10" fmla="*/ 474 w 811"/>
                <a:gd name="T11" fmla="*/ 84 h 869"/>
                <a:gd name="T12" fmla="*/ 554 w 811"/>
                <a:gd name="T13" fmla="*/ 110 h 869"/>
                <a:gd name="T14" fmla="*/ 629 w 811"/>
                <a:gd name="T15" fmla="*/ 136 h 869"/>
                <a:gd name="T16" fmla="*/ 698 w 811"/>
                <a:gd name="T17" fmla="*/ 164 h 869"/>
                <a:gd name="T18" fmla="*/ 724 w 811"/>
                <a:gd name="T19" fmla="*/ 180 h 869"/>
                <a:gd name="T20" fmla="*/ 749 w 811"/>
                <a:gd name="T21" fmla="*/ 202 h 869"/>
                <a:gd name="T22" fmla="*/ 771 w 811"/>
                <a:gd name="T23" fmla="*/ 227 h 869"/>
                <a:gd name="T24" fmla="*/ 788 w 811"/>
                <a:gd name="T25" fmla="*/ 256 h 869"/>
                <a:gd name="T26" fmla="*/ 800 w 811"/>
                <a:gd name="T27" fmla="*/ 286 h 869"/>
                <a:gd name="T28" fmla="*/ 806 w 811"/>
                <a:gd name="T29" fmla="*/ 316 h 869"/>
                <a:gd name="T30" fmla="*/ 810 w 811"/>
                <a:gd name="T31" fmla="*/ 375 h 869"/>
                <a:gd name="T32" fmla="*/ 811 w 811"/>
                <a:gd name="T33" fmla="*/ 434 h 869"/>
                <a:gd name="T34" fmla="*/ 810 w 811"/>
                <a:gd name="T35" fmla="*/ 493 h 869"/>
                <a:gd name="T36" fmla="*/ 806 w 811"/>
                <a:gd name="T37" fmla="*/ 551 h 869"/>
                <a:gd name="T38" fmla="*/ 800 w 811"/>
                <a:gd name="T39" fmla="*/ 581 h 869"/>
                <a:gd name="T40" fmla="*/ 788 w 811"/>
                <a:gd name="T41" fmla="*/ 611 h 869"/>
                <a:gd name="T42" fmla="*/ 771 w 811"/>
                <a:gd name="T43" fmla="*/ 641 h 869"/>
                <a:gd name="T44" fmla="*/ 749 w 811"/>
                <a:gd name="T45" fmla="*/ 667 h 869"/>
                <a:gd name="T46" fmla="*/ 725 w 811"/>
                <a:gd name="T47" fmla="*/ 688 h 869"/>
                <a:gd name="T48" fmla="*/ 698 w 811"/>
                <a:gd name="T49" fmla="*/ 703 h 869"/>
                <a:gd name="T50" fmla="*/ 629 w 811"/>
                <a:gd name="T51" fmla="*/ 731 h 869"/>
                <a:gd name="T52" fmla="*/ 554 w 811"/>
                <a:gd name="T53" fmla="*/ 758 h 869"/>
                <a:gd name="T54" fmla="*/ 474 w 811"/>
                <a:gd name="T55" fmla="*/ 783 h 869"/>
                <a:gd name="T56" fmla="*/ 387 w 811"/>
                <a:gd name="T57" fmla="*/ 807 h 869"/>
                <a:gd name="T58" fmla="*/ 296 w 811"/>
                <a:gd name="T59" fmla="*/ 829 h 869"/>
                <a:gd name="T60" fmla="*/ 199 w 811"/>
                <a:gd name="T61" fmla="*/ 850 h 869"/>
                <a:gd name="T62" fmla="*/ 97 w 811"/>
                <a:gd name="T63" fmla="*/ 868 h 869"/>
                <a:gd name="T64" fmla="*/ 73 w 811"/>
                <a:gd name="T65" fmla="*/ 869 h 869"/>
                <a:gd name="T66" fmla="*/ 51 w 811"/>
                <a:gd name="T67" fmla="*/ 864 h 869"/>
                <a:gd name="T68" fmla="*/ 33 w 811"/>
                <a:gd name="T69" fmla="*/ 855 h 869"/>
                <a:gd name="T70" fmla="*/ 18 w 811"/>
                <a:gd name="T71" fmla="*/ 840 h 869"/>
                <a:gd name="T72" fmla="*/ 7 w 811"/>
                <a:gd name="T73" fmla="*/ 822 h 869"/>
                <a:gd name="T74" fmla="*/ 1 w 811"/>
                <a:gd name="T75" fmla="*/ 801 h 869"/>
                <a:gd name="T76" fmla="*/ 0 w 811"/>
                <a:gd name="T77" fmla="*/ 777 h 869"/>
                <a:gd name="T78" fmla="*/ 8 w 811"/>
                <a:gd name="T79" fmla="*/ 605 h 869"/>
                <a:gd name="T80" fmla="*/ 11 w 811"/>
                <a:gd name="T81" fmla="*/ 434 h 869"/>
                <a:gd name="T82" fmla="*/ 8 w 811"/>
                <a:gd name="T83" fmla="*/ 262 h 869"/>
                <a:gd name="T84" fmla="*/ 0 w 811"/>
                <a:gd name="T85" fmla="*/ 90 h 869"/>
                <a:gd name="T86" fmla="*/ 1 w 811"/>
                <a:gd name="T87" fmla="*/ 67 h 869"/>
                <a:gd name="T88" fmla="*/ 7 w 811"/>
                <a:gd name="T89" fmla="*/ 46 h 869"/>
                <a:gd name="T90" fmla="*/ 18 w 811"/>
                <a:gd name="T91" fmla="*/ 28 h 869"/>
                <a:gd name="T92" fmla="*/ 33 w 811"/>
                <a:gd name="T93" fmla="*/ 13 h 869"/>
                <a:gd name="T94" fmla="*/ 51 w 811"/>
                <a:gd name="T95" fmla="*/ 5 h 869"/>
                <a:gd name="T96" fmla="*/ 73 w 811"/>
                <a:gd name="T97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11" h="869">
                  <a:moveTo>
                    <a:pt x="73" y="0"/>
                  </a:moveTo>
                  <a:lnTo>
                    <a:pt x="97" y="1"/>
                  </a:lnTo>
                  <a:lnTo>
                    <a:pt x="199" y="19"/>
                  </a:lnTo>
                  <a:lnTo>
                    <a:pt x="296" y="38"/>
                  </a:lnTo>
                  <a:lnTo>
                    <a:pt x="387" y="61"/>
                  </a:lnTo>
                  <a:lnTo>
                    <a:pt x="474" y="84"/>
                  </a:lnTo>
                  <a:lnTo>
                    <a:pt x="554" y="110"/>
                  </a:lnTo>
                  <a:lnTo>
                    <a:pt x="629" y="136"/>
                  </a:lnTo>
                  <a:lnTo>
                    <a:pt x="698" y="164"/>
                  </a:lnTo>
                  <a:lnTo>
                    <a:pt x="724" y="180"/>
                  </a:lnTo>
                  <a:lnTo>
                    <a:pt x="749" y="202"/>
                  </a:lnTo>
                  <a:lnTo>
                    <a:pt x="771" y="227"/>
                  </a:lnTo>
                  <a:lnTo>
                    <a:pt x="788" y="256"/>
                  </a:lnTo>
                  <a:lnTo>
                    <a:pt x="800" y="286"/>
                  </a:lnTo>
                  <a:lnTo>
                    <a:pt x="806" y="316"/>
                  </a:lnTo>
                  <a:lnTo>
                    <a:pt x="810" y="375"/>
                  </a:lnTo>
                  <a:lnTo>
                    <a:pt x="811" y="434"/>
                  </a:lnTo>
                  <a:lnTo>
                    <a:pt x="810" y="493"/>
                  </a:lnTo>
                  <a:lnTo>
                    <a:pt x="806" y="551"/>
                  </a:lnTo>
                  <a:lnTo>
                    <a:pt x="800" y="581"/>
                  </a:lnTo>
                  <a:lnTo>
                    <a:pt x="788" y="611"/>
                  </a:lnTo>
                  <a:lnTo>
                    <a:pt x="771" y="641"/>
                  </a:lnTo>
                  <a:lnTo>
                    <a:pt x="749" y="667"/>
                  </a:lnTo>
                  <a:lnTo>
                    <a:pt x="725" y="688"/>
                  </a:lnTo>
                  <a:lnTo>
                    <a:pt x="698" y="703"/>
                  </a:lnTo>
                  <a:lnTo>
                    <a:pt x="629" y="731"/>
                  </a:lnTo>
                  <a:lnTo>
                    <a:pt x="554" y="758"/>
                  </a:lnTo>
                  <a:lnTo>
                    <a:pt x="474" y="783"/>
                  </a:lnTo>
                  <a:lnTo>
                    <a:pt x="387" y="807"/>
                  </a:lnTo>
                  <a:lnTo>
                    <a:pt x="296" y="829"/>
                  </a:lnTo>
                  <a:lnTo>
                    <a:pt x="199" y="850"/>
                  </a:lnTo>
                  <a:lnTo>
                    <a:pt x="97" y="868"/>
                  </a:lnTo>
                  <a:lnTo>
                    <a:pt x="73" y="869"/>
                  </a:lnTo>
                  <a:lnTo>
                    <a:pt x="51" y="864"/>
                  </a:lnTo>
                  <a:lnTo>
                    <a:pt x="33" y="855"/>
                  </a:lnTo>
                  <a:lnTo>
                    <a:pt x="18" y="840"/>
                  </a:lnTo>
                  <a:lnTo>
                    <a:pt x="7" y="822"/>
                  </a:lnTo>
                  <a:lnTo>
                    <a:pt x="1" y="801"/>
                  </a:lnTo>
                  <a:lnTo>
                    <a:pt x="0" y="777"/>
                  </a:lnTo>
                  <a:lnTo>
                    <a:pt x="8" y="605"/>
                  </a:lnTo>
                  <a:lnTo>
                    <a:pt x="11" y="434"/>
                  </a:lnTo>
                  <a:lnTo>
                    <a:pt x="8" y="262"/>
                  </a:lnTo>
                  <a:lnTo>
                    <a:pt x="0" y="90"/>
                  </a:lnTo>
                  <a:lnTo>
                    <a:pt x="1" y="67"/>
                  </a:lnTo>
                  <a:lnTo>
                    <a:pt x="7" y="46"/>
                  </a:lnTo>
                  <a:lnTo>
                    <a:pt x="18" y="28"/>
                  </a:lnTo>
                  <a:lnTo>
                    <a:pt x="33" y="13"/>
                  </a:lnTo>
                  <a:lnTo>
                    <a:pt x="51" y="5"/>
                  </a:lnTo>
                  <a:lnTo>
                    <a:pt x="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05" name="Freeform 73"/>
            <p:cNvSpPr>
              <a:spLocks/>
            </p:cNvSpPr>
            <p:nvPr/>
          </p:nvSpPr>
          <p:spPr bwMode="auto">
            <a:xfrm>
              <a:off x="-1398" y="3462"/>
              <a:ext cx="197" cy="197"/>
            </a:xfrm>
            <a:custGeom>
              <a:avLst/>
              <a:gdLst>
                <a:gd name="T0" fmla="*/ 491 w 983"/>
                <a:gd name="T1" fmla="*/ 0 h 982"/>
                <a:gd name="T2" fmla="*/ 616 w 983"/>
                <a:gd name="T3" fmla="*/ 2 h 982"/>
                <a:gd name="T4" fmla="*/ 737 w 983"/>
                <a:gd name="T5" fmla="*/ 6 h 982"/>
                <a:gd name="T6" fmla="*/ 854 w 983"/>
                <a:gd name="T7" fmla="*/ 13 h 982"/>
                <a:gd name="T8" fmla="*/ 883 w 983"/>
                <a:gd name="T9" fmla="*/ 19 h 982"/>
                <a:gd name="T10" fmla="*/ 910 w 983"/>
                <a:gd name="T11" fmla="*/ 33 h 982"/>
                <a:gd name="T12" fmla="*/ 933 w 983"/>
                <a:gd name="T13" fmla="*/ 51 h 982"/>
                <a:gd name="T14" fmla="*/ 951 w 983"/>
                <a:gd name="T15" fmla="*/ 74 h 982"/>
                <a:gd name="T16" fmla="*/ 963 w 983"/>
                <a:gd name="T17" fmla="*/ 100 h 982"/>
                <a:gd name="T18" fmla="*/ 969 w 983"/>
                <a:gd name="T19" fmla="*/ 129 h 982"/>
                <a:gd name="T20" fmla="*/ 977 w 983"/>
                <a:gd name="T21" fmla="*/ 247 h 982"/>
                <a:gd name="T22" fmla="*/ 982 w 983"/>
                <a:gd name="T23" fmla="*/ 367 h 982"/>
                <a:gd name="T24" fmla="*/ 983 w 983"/>
                <a:gd name="T25" fmla="*/ 491 h 982"/>
                <a:gd name="T26" fmla="*/ 982 w 983"/>
                <a:gd name="T27" fmla="*/ 615 h 982"/>
                <a:gd name="T28" fmla="*/ 977 w 983"/>
                <a:gd name="T29" fmla="*/ 736 h 982"/>
                <a:gd name="T30" fmla="*/ 969 w 983"/>
                <a:gd name="T31" fmla="*/ 853 h 982"/>
                <a:gd name="T32" fmla="*/ 963 w 983"/>
                <a:gd name="T33" fmla="*/ 881 h 982"/>
                <a:gd name="T34" fmla="*/ 951 w 983"/>
                <a:gd name="T35" fmla="*/ 908 h 982"/>
                <a:gd name="T36" fmla="*/ 933 w 983"/>
                <a:gd name="T37" fmla="*/ 931 h 982"/>
                <a:gd name="T38" fmla="*/ 910 w 983"/>
                <a:gd name="T39" fmla="*/ 950 h 982"/>
                <a:gd name="T40" fmla="*/ 883 w 983"/>
                <a:gd name="T41" fmla="*/ 962 h 982"/>
                <a:gd name="T42" fmla="*/ 854 w 983"/>
                <a:gd name="T43" fmla="*/ 968 h 982"/>
                <a:gd name="T44" fmla="*/ 737 w 983"/>
                <a:gd name="T45" fmla="*/ 976 h 982"/>
                <a:gd name="T46" fmla="*/ 616 w 983"/>
                <a:gd name="T47" fmla="*/ 980 h 982"/>
                <a:gd name="T48" fmla="*/ 491 w 983"/>
                <a:gd name="T49" fmla="*/ 982 h 982"/>
                <a:gd name="T50" fmla="*/ 367 w 983"/>
                <a:gd name="T51" fmla="*/ 980 h 982"/>
                <a:gd name="T52" fmla="*/ 246 w 983"/>
                <a:gd name="T53" fmla="*/ 976 h 982"/>
                <a:gd name="T54" fmla="*/ 128 w 983"/>
                <a:gd name="T55" fmla="*/ 968 h 982"/>
                <a:gd name="T56" fmla="*/ 99 w 983"/>
                <a:gd name="T57" fmla="*/ 962 h 982"/>
                <a:gd name="T58" fmla="*/ 72 w 983"/>
                <a:gd name="T59" fmla="*/ 950 h 982"/>
                <a:gd name="T60" fmla="*/ 49 w 983"/>
                <a:gd name="T61" fmla="*/ 931 h 982"/>
                <a:gd name="T62" fmla="*/ 31 w 983"/>
                <a:gd name="T63" fmla="*/ 908 h 982"/>
                <a:gd name="T64" fmla="*/ 19 w 983"/>
                <a:gd name="T65" fmla="*/ 881 h 982"/>
                <a:gd name="T66" fmla="*/ 13 w 983"/>
                <a:gd name="T67" fmla="*/ 853 h 982"/>
                <a:gd name="T68" fmla="*/ 6 w 983"/>
                <a:gd name="T69" fmla="*/ 736 h 982"/>
                <a:gd name="T70" fmla="*/ 1 w 983"/>
                <a:gd name="T71" fmla="*/ 615 h 982"/>
                <a:gd name="T72" fmla="*/ 0 w 983"/>
                <a:gd name="T73" fmla="*/ 491 h 982"/>
                <a:gd name="T74" fmla="*/ 1 w 983"/>
                <a:gd name="T75" fmla="*/ 367 h 982"/>
                <a:gd name="T76" fmla="*/ 6 w 983"/>
                <a:gd name="T77" fmla="*/ 247 h 982"/>
                <a:gd name="T78" fmla="*/ 13 w 983"/>
                <a:gd name="T79" fmla="*/ 129 h 982"/>
                <a:gd name="T80" fmla="*/ 19 w 983"/>
                <a:gd name="T81" fmla="*/ 100 h 982"/>
                <a:gd name="T82" fmla="*/ 31 w 983"/>
                <a:gd name="T83" fmla="*/ 74 h 982"/>
                <a:gd name="T84" fmla="*/ 49 w 983"/>
                <a:gd name="T85" fmla="*/ 51 h 982"/>
                <a:gd name="T86" fmla="*/ 72 w 983"/>
                <a:gd name="T87" fmla="*/ 33 h 982"/>
                <a:gd name="T88" fmla="*/ 99 w 983"/>
                <a:gd name="T89" fmla="*/ 19 h 982"/>
                <a:gd name="T90" fmla="*/ 128 w 983"/>
                <a:gd name="T91" fmla="*/ 13 h 982"/>
                <a:gd name="T92" fmla="*/ 246 w 983"/>
                <a:gd name="T93" fmla="*/ 6 h 982"/>
                <a:gd name="T94" fmla="*/ 367 w 983"/>
                <a:gd name="T95" fmla="*/ 1 h 982"/>
                <a:gd name="T96" fmla="*/ 491 w 983"/>
                <a:gd name="T97" fmla="*/ 0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83" h="982">
                  <a:moveTo>
                    <a:pt x="491" y="0"/>
                  </a:moveTo>
                  <a:lnTo>
                    <a:pt x="616" y="2"/>
                  </a:lnTo>
                  <a:lnTo>
                    <a:pt x="737" y="6"/>
                  </a:lnTo>
                  <a:lnTo>
                    <a:pt x="854" y="13"/>
                  </a:lnTo>
                  <a:lnTo>
                    <a:pt x="883" y="19"/>
                  </a:lnTo>
                  <a:lnTo>
                    <a:pt x="910" y="33"/>
                  </a:lnTo>
                  <a:lnTo>
                    <a:pt x="933" y="51"/>
                  </a:lnTo>
                  <a:lnTo>
                    <a:pt x="951" y="74"/>
                  </a:lnTo>
                  <a:lnTo>
                    <a:pt x="963" y="100"/>
                  </a:lnTo>
                  <a:lnTo>
                    <a:pt x="969" y="129"/>
                  </a:lnTo>
                  <a:lnTo>
                    <a:pt x="977" y="247"/>
                  </a:lnTo>
                  <a:lnTo>
                    <a:pt x="982" y="367"/>
                  </a:lnTo>
                  <a:lnTo>
                    <a:pt x="983" y="491"/>
                  </a:lnTo>
                  <a:lnTo>
                    <a:pt x="982" y="615"/>
                  </a:lnTo>
                  <a:lnTo>
                    <a:pt x="977" y="736"/>
                  </a:lnTo>
                  <a:lnTo>
                    <a:pt x="969" y="853"/>
                  </a:lnTo>
                  <a:lnTo>
                    <a:pt x="963" y="881"/>
                  </a:lnTo>
                  <a:lnTo>
                    <a:pt x="951" y="908"/>
                  </a:lnTo>
                  <a:lnTo>
                    <a:pt x="933" y="931"/>
                  </a:lnTo>
                  <a:lnTo>
                    <a:pt x="910" y="950"/>
                  </a:lnTo>
                  <a:lnTo>
                    <a:pt x="883" y="962"/>
                  </a:lnTo>
                  <a:lnTo>
                    <a:pt x="854" y="968"/>
                  </a:lnTo>
                  <a:lnTo>
                    <a:pt x="737" y="976"/>
                  </a:lnTo>
                  <a:lnTo>
                    <a:pt x="616" y="980"/>
                  </a:lnTo>
                  <a:lnTo>
                    <a:pt x="491" y="982"/>
                  </a:lnTo>
                  <a:lnTo>
                    <a:pt x="367" y="980"/>
                  </a:lnTo>
                  <a:lnTo>
                    <a:pt x="246" y="976"/>
                  </a:lnTo>
                  <a:lnTo>
                    <a:pt x="128" y="968"/>
                  </a:lnTo>
                  <a:lnTo>
                    <a:pt x="99" y="962"/>
                  </a:lnTo>
                  <a:lnTo>
                    <a:pt x="72" y="950"/>
                  </a:lnTo>
                  <a:lnTo>
                    <a:pt x="49" y="931"/>
                  </a:lnTo>
                  <a:lnTo>
                    <a:pt x="31" y="908"/>
                  </a:lnTo>
                  <a:lnTo>
                    <a:pt x="19" y="881"/>
                  </a:lnTo>
                  <a:lnTo>
                    <a:pt x="13" y="853"/>
                  </a:lnTo>
                  <a:lnTo>
                    <a:pt x="6" y="736"/>
                  </a:lnTo>
                  <a:lnTo>
                    <a:pt x="1" y="615"/>
                  </a:lnTo>
                  <a:lnTo>
                    <a:pt x="0" y="491"/>
                  </a:lnTo>
                  <a:lnTo>
                    <a:pt x="1" y="367"/>
                  </a:lnTo>
                  <a:lnTo>
                    <a:pt x="6" y="247"/>
                  </a:lnTo>
                  <a:lnTo>
                    <a:pt x="13" y="129"/>
                  </a:lnTo>
                  <a:lnTo>
                    <a:pt x="19" y="100"/>
                  </a:lnTo>
                  <a:lnTo>
                    <a:pt x="31" y="74"/>
                  </a:lnTo>
                  <a:lnTo>
                    <a:pt x="49" y="51"/>
                  </a:lnTo>
                  <a:lnTo>
                    <a:pt x="72" y="33"/>
                  </a:lnTo>
                  <a:lnTo>
                    <a:pt x="99" y="19"/>
                  </a:lnTo>
                  <a:lnTo>
                    <a:pt x="128" y="13"/>
                  </a:lnTo>
                  <a:lnTo>
                    <a:pt x="246" y="6"/>
                  </a:lnTo>
                  <a:lnTo>
                    <a:pt x="367" y="1"/>
                  </a:lnTo>
                  <a:lnTo>
                    <a:pt x="4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06" name="Freeform 74"/>
            <p:cNvSpPr>
              <a:spLocks/>
            </p:cNvSpPr>
            <p:nvPr/>
          </p:nvSpPr>
          <p:spPr bwMode="auto">
            <a:xfrm>
              <a:off x="-1208" y="3652"/>
              <a:ext cx="181" cy="180"/>
            </a:xfrm>
            <a:custGeom>
              <a:avLst/>
              <a:gdLst>
                <a:gd name="T0" fmla="*/ 869 w 904"/>
                <a:gd name="T1" fmla="*/ 0 h 900"/>
                <a:gd name="T2" fmla="*/ 883 w 904"/>
                <a:gd name="T3" fmla="*/ 2 h 900"/>
                <a:gd name="T4" fmla="*/ 893 w 904"/>
                <a:gd name="T5" fmla="*/ 9 h 900"/>
                <a:gd name="T6" fmla="*/ 900 w 904"/>
                <a:gd name="T7" fmla="*/ 19 h 900"/>
                <a:gd name="T8" fmla="*/ 904 w 904"/>
                <a:gd name="T9" fmla="*/ 32 h 900"/>
                <a:gd name="T10" fmla="*/ 903 w 904"/>
                <a:gd name="T11" fmla="*/ 49 h 900"/>
                <a:gd name="T12" fmla="*/ 897 w 904"/>
                <a:gd name="T13" fmla="*/ 69 h 900"/>
                <a:gd name="T14" fmla="*/ 857 w 904"/>
                <a:gd name="T15" fmla="*/ 160 h 900"/>
                <a:gd name="T16" fmla="*/ 811 w 904"/>
                <a:gd name="T17" fmla="*/ 250 h 900"/>
                <a:gd name="T18" fmla="*/ 758 w 904"/>
                <a:gd name="T19" fmla="*/ 336 h 900"/>
                <a:gd name="T20" fmla="*/ 701 w 904"/>
                <a:gd name="T21" fmla="*/ 418 h 900"/>
                <a:gd name="T22" fmla="*/ 638 w 904"/>
                <a:gd name="T23" fmla="*/ 495 h 900"/>
                <a:gd name="T24" fmla="*/ 569 w 904"/>
                <a:gd name="T25" fmla="*/ 568 h 900"/>
                <a:gd name="T26" fmla="*/ 497 w 904"/>
                <a:gd name="T27" fmla="*/ 636 h 900"/>
                <a:gd name="T28" fmla="*/ 419 w 904"/>
                <a:gd name="T29" fmla="*/ 698 h 900"/>
                <a:gd name="T30" fmla="*/ 337 w 904"/>
                <a:gd name="T31" fmla="*/ 756 h 900"/>
                <a:gd name="T32" fmla="*/ 252 w 904"/>
                <a:gd name="T33" fmla="*/ 808 h 900"/>
                <a:gd name="T34" fmla="*/ 162 w 904"/>
                <a:gd name="T35" fmla="*/ 854 h 900"/>
                <a:gd name="T36" fmla="*/ 69 w 904"/>
                <a:gd name="T37" fmla="*/ 894 h 900"/>
                <a:gd name="T38" fmla="*/ 49 w 904"/>
                <a:gd name="T39" fmla="*/ 900 h 900"/>
                <a:gd name="T40" fmla="*/ 32 w 904"/>
                <a:gd name="T41" fmla="*/ 900 h 900"/>
                <a:gd name="T42" fmla="*/ 19 w 904"/>
                <a:gd name="T43" fmla="*/ 898 h 900"/>
                <a:gd name="T44" fmla="*/ 9 w 904"/>
                <a:gd name="T45" fmla="*/ 891 h 900"/>
                <a:gd name="T46" fmla="*/ 3 w 904"/>
                <a:gd name="T47" fmla="*/ 880 h 900"/>
                <a:gd name="T48" fmla="*/ 0 w 904"/>
                <a:gd name="T49" fmla="*/ 867 h 900"/>
                <a:gd name="T50" fmla="*/ 1 w 904"/>
                <a:gd name="T51" fmla="*/ 850 h 900"/>
                <a:gd name="T52" fmla="*/ 7 w 904"/>
                <a:gd name="T53" fmla="*/ 830 h 900"/>
                <a:gd name="T54" fmla="*/ 35 w 904"/>
                <a:gd name="T55" fmla="*/ 746 h 900"/>
                <a:gd name="T56" fmla="*/ 61 w 904"/>
                <a:gd name="T57" fmla="*/ 656 h 900"/>
                <a:gd name="T58" fmla="*/ 84 w 904"/>
                <a:gd name="T59" fmla="*/ 563 h 900"/>
                <a:gd name="T60" fmla="*/ 106 w 904"/>
                <a:gd name="T61" fmla="*/ 465 h 900"/>
                <a:gd name="T62" fmla="*/ 126 w 904"/>
                <a:gd name="T63" fmla="*/ 365 h 900"/>
                <a:gd name="T64" fmla="*/ 143 w 904"/>
                <a:gd name="T65" fmla="*/ 262 h 900"/>
                <a:gd name="T66" fmla="*/ 151 w 904"/>
                <a:gd name="T67" fmla="*/ 234 h 900"/>
                <a:gd name="T68" fmla="*/ 164 w 904"/>
                <a:gd name="T69" fmla="*/ 208 h 900"/>
                <a:gd name="T70" fmla="*/ 184 w 904"/>
                <a:gd name="T71" fmla="*/ 183 h 900"/>
                <a:gd name="T72" fmla="*/ 208 w 904"/>
                <a:gd name="T73" fmla="*/ 164 h 900"/>
                <a:gd name="T74" fmla="*/ 235 w 904"/>
                <a:gd name="T75" fmla="*/ 150 h 900"/>
                <a:gd name="T76" fmla="*/ 263 w 904"/>
                <a:gd name="T77" fmla="*/ 142 h 900"/>
                <a:gd name="T78" fmla="*/ 367 w 904"/>
                <a:gd name="T79" fmla="*/ 125 h 900"/>
                <a:gd name="T80" fmla="*/ 468 w 904"/>
                <a:gd name="T81" fmla="*/ 106 h 900"/>
                <a:gd name="T82" fmla="*/ 564 w 904"/>
                <a:gd name="T83" fmla="*/ 84 h 900"/>
                <a:gd name="T84" fmla="*/ 658 w 904"/>
                <a:gd name="T85" fmla="*/ 60 h 900"/>
                <a:gd name="T86" fmla="*/ 748 w 904"/>
                <a:gd name="T87" fmla="*/ 35 h 900"/>
                <a:gd name="T88" fmla="*/ 832 w 904"/>
                <a:gd name="T89" fmla="*/ 6 h 900"/>
                <a:gd name="T90" fmla="*/ 852 w 904"/>
                <a:gd name="T91" fmla="*/ 1 h 900"/>
                <a:gd name="T92" fmla="*/ 869 w 904"/>
                <a:gd name="T93" fmla="*/ 0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4" h="900">
                  <a:moveTo>
                    <a:pt x="869" y="0"/>
                  </a:moveTo>
                  <a:lnTo>
                    <a:pt x="883" y="2"/>
                  </a:lnTo>
                  <a:lnTo>
                    <a:pt x="893" y="9"/>
                  </a:lnTo>
                  <a:lnTo>
                    <a:pt x="900" y="19"/>
                  </a:lnTo>
                  <a:lnTo>
                    <a:pt x="904" y="32"/>
                  </a:lnTo>
                  <a:lnTo>
                    <a:pt x="903" y="49"/>
                  </a:lnTo>
                  <a:lnTo>
                    <a:pt x="897" y="69"/>
                  </a:lnTo>
                  <a:lnTo>
                    <a:pt x="857" y="160"/>
                  </a:lnTo>
                  <a:lnTo>
                    <a:pt x="811" y="250"/>
                  </a:lnTo>
                  <a:lnTo>
                    <a:pt x="758" y="336"/>
                  </a:lnTo>
                  <a:lnTo>
                    <a:pt x="701" y="418"/>
                  </a:lnTo>
                  <a:lnTo>
                    <a:pt x="638" y="495"/>
                  </a:lnTo>
                  <a:lnTo>
                    <a:pt x="569" y="568"/>
                  </a:lnTo>
                  <a:lnTo>
                    <a:pt x="497" y="636"/>
                  </a:lnTo>
                  <a:lnTo>
                    <a:pt x="419" y="698"/>
                  </a:lnTo>
                  <a:lnTo>
                    <a:pt x="337" y="756"/>
                  </a:lnTo>
                  <a:lnTo>
                    <a:pt x="252" y="808"/>
                  </a:lnTo>
                  <a:lnTo>
                    <a:pt x="162" y="854"/>
                  </a:lnTo>
                  <a:lnTo>
                    <a:pt x="69" y="894"/>
                  </a:lnTo>
                  <a:lnTo>
                    <a:pt x="49" y="900"/>
                  </a:lnTo>
                  <a:lnTo>
                    <a:pt x="32" y="900"/>
                  </a:lnTo>
                  <a:lnTo>
                    <a:pt x="19" y="898"/>
                  </a:lnTo>
                  <a:lnTo>
                    <a:pt x="9" y="891"/>
                  </a:lnTo>
                  <a:lnTo>
                    <a:pt x="3" y="880"/>
                  </a:lnTo>
                  <a:lnTo>
                    <a:pt x="0" y="867"/>
                  </a:lnTo>
                  <a:lnTo>
                    <a:pt x="1" y="850"/>
                  </a:lnTo>
                  <a:lnTo>
                    <a:pt x="7" y="830"/>
                  </a:lnTo>
                  <a:lnTo>
                    <a:pt x="35" y="746"/>
                  </a:lnTo>
                  <a:lnTo>
                    <a:pt x="61" y="656"/>
                  </a:lnTo>
                  <a:lnTo>
                    <a:pt x="84" y="563"/>
                  </a:lnTo>
                  <a:lnTo>
                    <a:pt x="106" y="465"/>
                  </a:lnTo>
                  <a:lnTo>
                    <a:pt x="126" y="365"/>
                  </a:lnTo>
                  <a:lnTo>
                    <a:pt x="143" y="262"/>
                  </a:lnTo>
                  <a:lnTo>
                    <a:pt x="151" y="234"/>
                  </a:lnTo>
                  <a:lnTo>
                    <a:pt x="164" y="208"/>
                  </a:lnTo>
                  <a:lnTo>
                    <a:pt x="184" y="183"/>
                  </a:lnTo>
                  <a:lnTo>
                    <a:pt x="208" y="164"/>
                  </a:lnTo>
                  <a:lnTo>
                    <a:pt x="235" y="150"/>
                  </a:lnTo>
                  <a:lnTo>
                    <a:pt x="263" y="142"/>
                  </a:lnTo>
                  <a:lnTo>
                    <a:pt x="367" y="125"/>
                  </a:lnTo>
                  <a:lnTo>
                    <a:pt x="468" y="106"/>
                  </a:lnTo>
                  <a:lnTo>
                    <a:pt x="564" y="84"/>
                  </a:lnTo>
                  <a:lnTo>
                    <a:pt x="658" y="60"/>
                  </a:lnTo>
                  <a:lnTo>
                    <a:pt x="748" y="35"/>
                  </a:lnTo>
                  <a:lnTo>
                    <a:pt x="832" y="6"/>
                  </a:lnTo>
                  <a:lnTo>
                    <a:pt x="852" y="1"/>
                  </a:lnTo>
                  <a:lnTo>
                    <a:pt x="8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07" name="Freeform 75"/>
            <p:cNvSpPr>
              <a:spLocks/>
            </p:cNvSpPr>
            <p:nvPr/>
          </p:nvSpPr>
          <p:spPr bwMode="auto">
            <a:xfrm>
              <a:off x="-1387" y="3688"/>
              <a:ext cx="175" cy="162"/>
            </a:xfrm>
            <a:custGeom>
              <a:avLst/>
              <a:gdLst>
                <a:gd name="T0" fmla="*/ 92 w 871"/>
                <a:gd name="T1" fmla="*/ 0 h 810"/>
                <a:gd name="T2" fmla="*/ 263 w 871"/>
                <a:gd name="T3" fmla="*/ 10 h 810"/>
                <a:gd name="T4" fmla="*/ 435 w 871"/>
                <a:gd name="T5" fmla="*/ 12 h 810"/>
                <a:gd name="T6" fmla="*/ 607 w 871"/>
                <a:gd name="T7" fmla="*/ 10 h 810"/>
                <a:gd name="T8" fmla="*/ 779 w 871"/>
                <a:gd name="T9" fmla="*/ 0 h 810"/>
                <a:gd name="T10" fmla="*/ 803 w 871"/>
                <a:gd name="T11" fmla="*/ 1 h 810"/>
                <a:gd name="T12" fmla="*/ 825 w 871"/>
                <a:gd name="T13" fmla="*/ 7 h 810"/>
                <a:gd name="T14" fmla="*/ 842 w 871"/>
                <a:gd name="T15" fmla="*/ 18 h 810"/>
                <a:gd name="T16" fmla="*/ 856 w 871"/>
                <a:gd name="T17" fmla="*/ 34 h 810"/>
                <a:gd name="T18" fmla="*/ 866 w 871"/>
                <a:gd name="T19" fmla="*/ 52 h 810"/>
                <a:gd name="T20" fmla="*/ 871 w 871"/>
                <a:gd name="T21" fmla="*/ 74 h 810"/>
                <a:gd name="T22" fmla="*/ 870 w 871"/>
                <a:gd name="T23" fmla="*/ 98 h 810"/>
                <a:gd name="T24" fmla="*/ 852 w 871"/>
                <a:gd name="T25" fmla="*/ 198 h 810"/>
                <a:gd name="T26" fmla="*/ 831 w 871"/>
                <a:gd name="T27" fmla="*/ 295 h 810"/>
                <a:gd name="T28" fmla="*/ 809 w 871"/>
                <a:gd name="T29" fmla="*/ 387 h 810"/>
                <a:gd name="T30" fmla="*/ 785 w 871"/>
                <a:gd name="T31" fmla="*/ 473 h 810"/>
                <a:gd name="T32" fmla="*/ 761 w 871"/>
                <a:gd name="T33" fmla="*/ 554 h 810"/>
                <a:gd name="T34" fmla="*/ 733 w 871"/>
                <a:gd name="T35" fmla="*/ 629 h 810"/>
                <a:gd name="T36" fmla="*/ 705 w 871"/>
                <a:gd name="T37" fmla="*/ 697 h 810"/>
                <a:gd name="T38" fmla="*/ 690 w 871"/>
                <a:gd name="T39" fmla="*/ 723 h 810"/>
                <a:gd name="T40" fmla="*/ 669 w 871"/>
                <a:gd name="T41" fmla="*/ 749 h 810"/>
                <a:gd name="T42" fmla="*/ 642 w 871"/>
                <a:gd name="T43" fmla="*/ 769 h 810"/>
                <a:gd name="T44" fmla="*/ 613 w 871"/>
                <a:gd name="T45" fmla="*/ 787 h 810"/>
                <a:gd name="T46" fmla="*/ 583 w 871"/>
                <a:gd name="T47" fmla="*/ 799 h 810"/>
                <a:gd name="T48" fmla="*/ 552 w 871"/>
                <a:gd name="T49" fmla="*/ 805 h 810"/>
                <a:gd name="T50" fmla="*/ 494 w 871"/>
                <a:gd name="T51" fmla="*/ 809 h 810"/>
                <a:gd name="T52" fmla="*/ 436 w 871"/>
                <a:gd name="T53" fmla="*/ 810 h 810"/>
                <a:gd name="T54" fmla="*/ 376 w 871"/>
                <a:gd name="T55" fmla="*/ 809 h 810"/>
                <a:gd name="T56" fmla="*/ 317 w 871"/>
                <a:gd name="T57" fmla="*/ 805 h 810"/>
                <a:gd name="T58" fmla="*/ 288 w 871"/>
                <a:gd name="T59" fmla="*/ 799 h 810"/>
                <a:gd name="T60" fmla="*/ 258 w 871"/>
                <a:gd name="T61" fmla="*/ 787 h 810"/>
                <a:gd name="T62" fmla="*/ 229 w 871"/>
                <a:gd name="T63" fmla="*/ 769 h 810"/>
                <a:gd name="T64" fmla="*/ 202 w 871"/>
                <a:gd name="T65" fmla="*/ 749 h 810"/>
                <a:gd name="T66" fmla="*/ 180 w 871"/>
                <a:gd name="T67" fmla="*/ 723 h 810"/>
                <a:gd name="T68" fmla="*/ 166 w 871"/>
                <a:gd name="T69" fmla="*/ 697 h 810"/>
                <a:gd name="T70" fmla="*/ 138 w 871"/>
                <a:gd name="T71" fmla="*/ 629 h 810"/>
                <a:gd name="T72" fmla="*/ 110 w 871"/>
                <a:gd name="T73" fmla="*/ 554 h 810"/>
                <a:gd name="T74" fmla="*/ 86 w 871"/>
                <a:gd name="T75" fmla="*/ 473 h 810"/>
                <a:gd name="T76" fmla="*/ 61 w 871"/>
                <a:gd name="T77" fmla="*/ 387 h 810"/>
                <a:gd name="T78" fmla="*/ 40 w 871"/>
                <a:gd name="T79" fmla="*/ 295 h 810"/>
                <a:gd name="T80" fmla="*/ 19 w 871"/>
                <a:gd name="T81" fmla="*/ 198 h 810"/>
                <a:gd name="T82" fmla="*/ 1 w 871"/>
                <a:gd name="T83" fmla="*/ 98 h 810"/>
                <a:gd name="T84" fmla="*/ 0 w 871"/>
                <a:gd name="T85" fmla="*/ 74 h 810"/>
                <a:gd name="T86" fmla="*/ 4 w 871"/>
                <a:gd name="T87" fmla="*/ 52 h 810"/>
                <a:gd name="T88" fmla="*/ 14 w 871"/>
                <a:gd name="T89" fmla="*/ 34 h 810"/>
                <a:gd name="T90" fmla="*/ 27 w 871"/>
                <a:gd name="T91" fmla="*/ 18 h 810"/>
                <a:gd name="T92" fmla="*/ 46 w 871"/>
                <a:gd name="T93" fmla="*/ 7 h 810"/>
                <a:gd name="T94" fmla="*/ 67 w 871"/>
                <a:gd name="T95" fmla="*/ 1 h 810"/>
                <a:gd name="T96" fmla="*/ 92 w 871"/>
                <a:gd name="T97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71" h="810">
                  <a:moveTo>
                    <a:pt x="92" y="0"/>
                  </a:moveTo>
                  <a:lnTo>
                    <a:pt x="263" y="10"/>
                  </a:lnTo>
                  <a:lnTo>
                    <a:pt x="435" y="12"/>
                  </a:lnTo>
                  <a:lnTo>
                    <a:pt x="607" y="10"/>
                  </a:lnTo>
                  <a:lnTo>
                    <a:pt x="779" y="0"/>
                  </a:lnTo>
                  <a:lnTo>
                    <a:pt x="803" y="1"/>
                  </a:lnTo>
                  <a:lnTo>
                    <a:pt x="825" y="7"/>
                  </a:lnTo>
                  <a:lnTo>
                    <a:pt x="842" y="18"/>
                  </a:lnTo>
                  <a:lnTo>
                    <a:pt x="856" y="34"/>
                  </a:lnTo>
                  <a:lnTo>
                    <a:pt x="866" y="52"/>
                  </a:lnTo>
                  <a:lnTo>
                    <a:pt x="871" y="74"/>
                  </a:lnTo>
                  <a:lnTo>
                    <a:pt x="870" y="98"/>
                  </a:lnTo>
                  <a:lnTo>
                    <a:pt x="852" y="198"/>
                  </a:lnTo>
                  <a:lnTo>
                    <a:pt x="831" y="295"/>
                  </a:lnTo>
                  <a:lnTo>
                    <a:pt x="809" y="387"/>
                  </a:lnTo>
                  <a:lnTo>
                    <a:pt x="785" y="473"/>
                  </a:lnTo>
                  <a:lnTo>
                    <a:pt x="761" y="554"/>
                  </a:lnTo>
                  <a:lnTo>
                    <a:pt x="733" y="629"/>
                  </a:lnTo>
                  <a:lnTo>
                    <a:pt x="705" y="697"/>
                  </a:lnTo>
                  <a:lnTo>
                    <a:pt x="690" y="723"/>
                  </a:lnTo>
                  <a:lnTo>
                    <a:pt x="669" y="749"/>
                  </a:lnTo>
                  <a:lnTo>
                    <a:pt x="642" y="769"/>
                  </a:lnTo>
                  <a:lnTo>
                    <a:pt x="613" y="787"/>
                  </a:lnTo>
                  <a:lnTo>
                    <a:pt x="583" y="799"/>
                  </a:lnTo>
                  <a:lnTo>
                    <a:pt x="552" y="805"/>
                  </a:lnTo>
                  <a:lnTo>
                    <a:pt x="494" y="809"/>
                  </a:lnTo>
                  <a:lnTo>
                    <a:pt x="436" y="810"/>
                  </a:lnTo>
                  <a:lnTo>
                    <a:pt x="376" y="809"/>
                  </a:lnTo>
                  <a:lnTo>
                    <a:pt x="317" y="805"/>
                  </a:lnTo>
                  <a:lnTo>
                    <a:pt x="288" y="799"/>
                  </a:lnTo>
                  <a:lnTo>
                    <a:pt x="258" y="787"/>
                  </a:lnTo>
                  <a:lnTo>
                    <a:pt x="229" y="769"/>
                  </a:lnTo>
                  <a:lnTo>
                    <a:pt x="202" y="749"/>
                  </a:lnTo>
                  <a:lnTo>
                    <a:pt x="180" y="723"/>
                  </a:lnTo>
                  <a:lnTo>
                    <a:pt x="166" y="697"/>
                  </a:lnTo>
                  <a:lnTo>
                    <a:pt x="138" y="629"/>
                  </a:lnTo>
                  <a:lnTo>
                    <a:pt x="110" y="554"/>
                  </a:lnTo>
                  <a:lnTo>
                    <a:pt x="86" y="473"/>
                  </a:lnTo>
                  <a:lnTo>
                    <a:pt x="61" y="387"/>
                  </a:lnTo>
                  <a:lnTo>
                    <a:pt x="40" y="295"/>
                  </a:lnTo>
                  <a:lnTo>
                    <a:pt x="19" y="198"/>
                  </a:lnTo>
                  <a:lnTo>
                    <a:pt x="1" y="98"/>
                  </a:lnTo>
                  <a:lnTo>
                    <a:pt x="0" y="74"/>
                  </a:lnTo>
                  <a:lnTo>
                    <a:pt x="4" y="52"/>
                  </a:lnTo>
                  <a:lnTo>
                    <a:pt x="14" y="34"/>
                  </a:lnTo>
                  <a:lnTo>
                    <a:pt x="27" y="18"/>
                  </a:lnTo>
                  <a:lnTo>
                    <a:pt x="46" y="7"/>
                  </a:lnTo>
                  <a:lnTo>
                    <a:pt x="67" y="1"/>
                  </a:lnTo>
                  <a:lnTo>
                    <a:pt x="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08" name="Freeform 76"/>
            <p:cNvSpPr>
              <a:spLocks/>
            </p:cNvSpPr>
            <p:nvPr/>
          </p:nvSpPr>
          <p:spPr bwMode="auto">
            <a:xfrm>
              <a:off x="-1541" y="3070"/>
              <a:ext cx="241" cy="207"/>
            </a:xfrm>
            <a:custGeom>
              <a:avLst/>
              <a:gdLst>
                <a:gd name="T0" fmla="*/ 286 w 1207"/>
                <a:gd name="T1" fmla="*/ 2 h 1039"/>
                <a:gd name="T2" fmla="*/ 712 w 1207"/>
                <a:gd name="T3" fmla="*/ 272 h 1039"/>
                <a:gd name="T4" fmla="*/ 1035 w 1207"/>
                <a:gd name="T5" fmla="*/ 74 h 1039"/>
                <a:gd name="T6" fmla="*/ 1085 w 1207"/>
                <a:gd name="T7" fmla="*/ 55 h 1039"/>
                <a:gd name="T8" fmla="*/ 1131 w 1207"/>
                <a:gd name="T9" fmla="*/ 47 h 1039"/>
                <a:gd name="T10" fmla="*/ 1166 w 1207"/>
                <a:gd name="T11" fmla="*/ 52 h 1039"/>
                <a:gd name="T12" fmla="*/ 1195 w 1207"/>
                <a:gd name="T13" fmla="*/ 78 h 1039"/>
                <a:gd name="T14" fmla="*/ 1204 w 1207"/>
                <a:gd name="T15" fmla="*/ 96 h 1039"/>
                <a:gd name="T16" fmla="*/ 1205 w 1207"/>
                <a:gd name="T17" fmla="*/ 131 h 1039"/>
                <a:gd name="T18" fmla="*/ 1187 w 1207"/>
                <a:gd name="T19" fmla="*/ 167 h 1039"/>
                <a:gd name="T20" fmla="*/ 1155 w 1207"/>
                <a:gd name="T21" fmla="*/ 207 h 1039"/>
                <a:gd name="T22" fmla="*/ 1113 w 1207"/>
                <a:gd name="T23" fmla="*/ 242 h 1039"/>
                <a:gd name="T24" fmla="*/ 907 w 1207"/>
                <a:gd name="T25" fmla="*/ 926 h 1039"/>
                <a:gd name="T26" fmla="*/ 901 w 1207"/>
                <a:gd name="T27" fmla="*/ 954 h 1039"/>
                <a:gd name="T28" fmla="*/ 810 w 1207"/>
                <a:gd name="T29" fmla="*/ 1035 h 1039"/>
                <a:gd name="T30" fmla="*/ 795 w 1207"/>
                <a:gd name="T31" fmla="*/ 1039 h 1039"/>
                <a:gd name="T32" fmla="*/ 784 w 1207"/>
                <a:gd name="T33" fmla="*/ 1028 h 1039"/>
                <a:gd name="T34" fmla="*/ 327 w 1207"/>
                <a:gd name="T35" fmla="*/ 758 h 1039"/>
                <a:gd name="T36" fmla="*/ 317 w 1207"/>
                <a:gd name="T37" fmla="*/ 764 h 1039"/>
                <a:gd name="T38" fmla="*/ 307 w 1207"/>
                <a:gd name="T39" fmla="*/ 772 h 1039"/>
                <a:gd name="T40" fmla="*/ 304 w 1207"/>
                <a:gd name="T41" fmla="*/ 773 h 1039"/>
                <a:gd name="T42" fmla="*/ 304 w 1207"/>
                <a:gd name="T43" fmla="*/ 778 h 1039"/>
                <a:gd name="T44" fmla="*/ 303 w 1207"/>
                <a:gd name="T45" fmla="*/ 785 h 1039"/>
                <a:gd name="T46" fmla="*/ 296 w 1207"/>
                <a:gd name="T47" fmla="*/ 881 h 1039"/>
                <a:gd name="T48" fmla="*/ 209 w 1207"/>
                <a:gd name="T49" fmla="*/ 948 h 1039"/>
                <a:gd name="T50" fmla="*/ 176 w 1207"/>
                <a:gd name="T51" fmla="*/ 831 h 1039"/>
                <a:gd name="T52" fmla="*/ 181 w 1207"/>
                <a:gd name="T53" fmla="*/ 819 h 1039"/>
                <a:gd name="T54" fmla="*/ 177 w 1207"/>
                <a:gd name="T55" fmla="*/ 818 h 1039"/>
                <a:gd name="T56" fmla="*/ 148 w 1207"/>
                <a:gd name="T57" fmla="*/ 822 h 1039"/>
                <a:gd name="T58" fmla="*/ 137 w 1207"/>
                <a:gd name="T59" fmla="*/ 824 h 1039"/>
                <a:gd name="T60" fmla="*/ 114 w 1207"/>
                <a:gd name="T61" fmla="*/ 826 h 1039"/>
                <a:gd name="T62" fmla="*/ 89 w 1207"/>
                <a:gd name="T63" fmla="*/ 825 h 1039"/>
                <a:gd name="T64" fmla="*/ 72 w 1207"/>
                <a:gd name="T65" fmla="*/ 815 h 1039"/>
                <a:gd name="T66" fmla="*/ 69 w 1207"/>
                <a:gd name="T67" fmla="*/ 807 h 1039"/>
                <a:gd name="T68" fmla="*/ 74 w 1207"/>
                <a:gd name="T69" fmla="*/ 785 h 1039"/>
                <a:gd name="T70" fmla="*/ 85 w 1207"/>
                <a:gd name="T71" fmla="*/ 761 h 1039"/>
                <a:gd name="T72" fmla="*/ 95 w 1207"/>
                <a:gd name="T73" fmla="*/ 746 h 1039"/>
                <a:gd name="T74" fmla="*/ 104 w 1207"/>
                <a:gd name="T75" fmla="*/ 728 h 1039"/>
                <a:gd name="T76" fmla="*/ 117 w 1207"/>
                <a:gd name="T77" fmla="*/ 711 h 1039"/>
                <a:gd name="T78" fmla="*/ 101 w 1207"/>
                <a:gd name="T79" fmla="*/ 715 h 1039"/>
                <a:gd name="T80" fmla="*/ 4 w 1207"/>
                <a:gd name="T81" fmla="*/ 637 h 1039"/>
                <a:gd name="T82" fmla="*/ 0 w 1207"/>
                <a:gd name="T83" fmla="*/ 634 h 1039"/>
                <a:gd name="T84" fmla="*/ 188 w 1207"/>
                <a:gd name="T85" fmla="*/ 615 h 1039"/>
                <a:gd name="T86" fmla="*/ 195 w 1207"/>
                <a:gd name="T87" fmla="*/ 617 h 1039"/>
                <a:gd name="T88" fmla="*/ 201 w 1207"/>
                <a:gd name="T89" fmla="*/ 618 h 1039"/>
                <a:gd name="T90" fmla="*/ 204 w 1207"/>
                <a:gd name="T91" fmla="*/ 619 h 1039"/>
                <a:gd name="T92" fmla="*/ 210 w 1207"/>
                <a:gd name="T93" fmla="*/ 615 h 1039"/>
                <a:gd name="T94" fmla="*/ 221 w 1207"/>
                <a:gd name="T95" fmla="*/ 607 h 1039"/>
                <a:gd name="T96" fmla="*/ 514 w 1207"/>
                <a:gd name="T97" fmla="*/ 402 h 1039"/>
                <a:gd name="T98" fmla="*/ 153 w 1207"/>
                <a:gd name="T99" fmla="*/ 70 h 1039"/>
                <a:gd name="T100" fmla="*/ 154 w 1207"/>
                <a:gd name="T101" fmla="*/ 57 h 1039"/>
                <a:gd name="T102" fmla="*/ 258 w 1207"/>
                <a:gd name="T103" fmla="*/ 4 h 1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07" h="1039">
                  <a:moveTo>
                    <a:pt x="272" y="0"/>
                  </a:moveTo>
                  <a:lnTo>
                    <a:pt x="286" y="2"/>
                  </a:lnTo>
                  <a:lnTo>
                    <a:pt x="300" y="6"/>
                  </a:lnTo>
                  <a:lnTo>
                    <a:pt x="712" y="272"/>
                  </a:lnTo>
                  <a:lnTo>
                    <a:pt x="1011" y="87"/>
                  </a:lnTo>
                  <a:lnTo>
                    <a:pt x="1035" y="74"/>
                  </a:lnTo>
                  <a:lnTo>
                    <a:pt x="1061" y="63"/>
                  </a:lnTo>
                  <a:lnTo>
                    <a:pt x="1085" y="55"/>
                  </a:lnTo>
                  <a:lnTo>
                    <a:pt x="1109" y="50"/>
                  </a:lnTo>
                  <a:lnTo>
                    <a:pt x="1131" y="47"/>
                  </a:lnTo>
                  <a:lnTo>
                    <a:pt x="1150" y="47"/>
                  </a:lnTo>
                  <a:lnTo>
                    <a:pt x="1166" y="52"/>
                  </a:lnTo>
                  <a:lnTo>
                    <a:pt x="1182" y="62"/>
                  </a:lnTo>
                  <a:lnTo>
                    <a:pt x="1195" y="78"/>
                  </a:lnTo>
                  <a:lnTo>
                    <a:pt x="1195" y="78"/>
                  </a:lnTo>
                  <a:lnTo>
                    <a:pt x="1204" y="96"/>
                  </a:lnTo>
                  <a:lnTo>
                    <a:pt x="1207" y="115"/>
                  </a:lnTo>
                  <a:lnTo>
                    <a:pt x="1205" y="131"/>
                  </a:lnTo>
                  <a:lnTo>
                    <a:pt x="1198" y="148"/>
                  </a:lnTo>
                  <a:lnTo>
                    <a:pt x="1187" y="167"/>
                  </a:lnTo>
                  <a:lnTo>
                    <a:pt x="1172" y="187"/>
                  </a:lnTo>
                  <a:lnTo>
                    <a:pt x="1155" y="207"/>
                  </a:lnTo>
                  <a:lnTo>
                    <a:pt x="1135" y="225"/>
                  </a:lnTo>
                  <a:lnTo>
                    <a:pt x="1113" y="242"/>
                  </a:lnTo>
                  <a:lnTo>
                    <a:pt x="824" y="443"/>
                  </a:lnTo>
                  <a:lnTo>
                    <a:pt x="907" y="926"/>
                  </a:lnTo>
                  <a:lnTo>
                    <a:pt x="907" y="940"/>
                  </a:lnTo>
                  <a:lnTo>
                    <a:pt x="901" y="954"/>
                  </a:lnTo>
                  <a:lnTo>
                    <a:pt x="894" y="965"/>
                  </a:lnTo>
                  <a:lnTo>
                    <a:pt x="810" y="1035"/>
                  </a:lnTo>
                  <a:lnTo>
                    <a:pt x="803" y="1039"/>
                  </a:lnTo>
                  <a:lnTo>
                    <a:pt x="795" y="1039"/>
                  </a:lnTo>
                  <a:lnTo>
                    <a:pt x="789" y="1035"/>
                  </a:lnTo>
                  <a:lnTo>
                    <a:pt x="784" y="1028"/>
                  </a:lnTo>
                  <a:lnTo>
                    <a:pt x="628" y="575"/>
                  </a:lnTo>
                  <a:lnTo>
                    <a:pt x="327" y="758"/>
                  </a:lnTo>
                  <a:lnTo>
                    <a:pt x="323" y="761"/>
                  </a:lnTo>
                  <a:lnTo>
                    <a:pt x="317" y="764"/>
                  </a:lnTo>
                  <a:lnTo>
                    <a:pt x="310" y="768"/>
                  </a:lnTo>
                  <a:lnTo>
                    <a:pt x="307" y="772"/>
                  </a:lnTo>
                  <a:lnTo>
                    <a:pt x="304" y="773"/>
                  </a:lnTo>
                  <a:lnTo>
                    <a:pt x="304" y="773"/>
                  </a:lnTo>
                  <a:lnTo>
                    <a:pt x="304" y="775"/>
                  </a:lnTo>
                  <a:lnTo>
                    <a:pt x="304" y="778"/>
                  </a:lnTo>
                  <a:lnTo>
                    <a:pt x="303" y="781"/>
                  </a:lnTo>
                  <a:lnTo>
                    <a:pt x="303" y="785"/>
                  </a:lnTo>
                  <a:lnTo>
                    <a:pt x="303" y="789"/>
                  </a:lnTo>
                  <a:lnTo>
                    <a:pt x="296" y="881"/>
                  </a:lnTo>
                  <a:lnTo>
                    <a:pt x="211" y="953"/>
                  </a:lnTo>
                  <a:lnTo>
                    <a:pt x="209" y="948"/>
                  </a:lnTo>
                  <a:lnTo>
                    <a:pt x="176" y="841"/>
                  </a:lnTo>
                  <a:lnTo>
                    <a:pt x="176" y="831"/>
                  </a:lnTo>
                  <a:lnTo>
                    <a:pt x="177" y="825"/>
                  </a:lnTo>
                  <a:lnTo>
                    <a:pt x="181" y="819"/>
                  </a:lnTo>
                  <a:lnTo>
                    <a:pt x="186" y="816"/>
                  </a:lnTo>
                  <a:lnTo>
                    <a:pt x="177" y="818"/>
                  </a:lnTo>
                  <a:lnTo>
                    <a:pt x="165" y="820"/>
                  </a:lnTo>
                  <a:lnTo>
                    <a:pt x="148" y="822"/>
                  </a:lnTo>
                  <a:lnTo>
                    <a:pt x="144" y="822"/>
                  </a:lnTo>
                  <a:lnTo>
                    <a:pt x="137" y="824"/>
                  </a:lnTo>
                  <a:lnTo>
                    <a:pt x="127" y="825"/>
                  </a:lnTo>
                  <a:lnTo>
                    <a:pt x="114" y="826"/>
                  </a:lnTo>
                  <a:lnTo>
                    <a:pt x="101" y="826"/>
                  </a:lnTo>
                  <a:lnTo>
                    <a:pt x="89" y="825"/>
                  </a:lnTo>
                  <a:lnTo>
                    <a:pt x="79" y="821"/>
                  </a:lnTo>
                  <a:lnTo>
                    <a:pt x="72" y="815"/>
                  </a:lnTo>
                  <a:lnTo>
                    <a:pt x="72" y="815"/>
                  </a:lnTo>
                  <a:lnTo>
                    <a:pt x="69" y="807"/>
                  </a:lnTo>
                  <a:lnTo>
                    <a:pt x="70" y="796"/>
                  </a:lnTo>
                  <a:lnTo>
                    <a:pt x="74" y="785"/>
                  </a:lnTo>
                  <a:lnTo>
                    <a:pt x="79" y="773"/>
                  </a:lnTo>
                  <a:lnTo>
                    <a:pt x="85" y="761"/>
                  </a:lnTo>
                  <a:lnTo>
                    <a:pt x="90" y="752"/>
                  </a:lnTo>
                  <a:lnTo>
                    <a:pt x="95" y="746"/>
                  </a:lnTo>
                  <a:lnTo>
                    <a:pt x="96" y="744"/>
                  </a:lnTo>
                  <a:lnTo>
                    <a:pt x="104" y="728"/>
                  </a:lnTo>
                  <a:lnTo>
                    <a:pt x="112" y="717"/>
                  </a:lnTo>
                  <a:lnTo>
                    <a:pt x="117" y="711"/>
                  </a:lnTo>
                  <a:lnTo>
                    <a:pt x="109" y="715"/>
                  </a:lnTo>
                  <a:lnTo>
                    <a:pt x="101" y="715"/>
                  </a:lnTo>
                  <a:lnTo>
                    <a:pt x="90" y="710"/>
                  </a:lnTo>
                  <a:lnTo>
                    <a:pt x="4" y="637"/>
                  </a:lnTo>
                  <a:lnTo>
                    <a:pt x="1" y="636"/>
                  </a:lnTo>
                  <a:lnTo>
                    <a:pt x="0" y="634"/>
                  </a:lnTo>
                  <a:lnTo>
                    <a:pt x="101" y="584"/>
                  </a:lnTo>
                  <a:lnTo>
                    <a:pt x="188" y="615"/>
                  </a:lnTo>
                  <a:lnTo>
                    <a:pt x="192" y="616"/>
                  </a:lnTo>
                  <a:lnTo>
                    <a:pt x="195" y="617"/>
                  </a:lnTo>
                  <a:lnTo>
                    <a:pt x="198" y="618"/>
                  </a:lnTo>
                  <a:lnTo>
                    <a:pt x="201" y="618"/>
                  </a:lnTo>
                  <a:lnTo>
                    <a:pt x="203" y="619"/>
                  </a:lnTo>
                  <a:lnTo>
                    <a:pt x="204" y="619"/>
                  </a:lnTo>
                  <a:lnTo>
                    <a:pt x="205" y="618"/>
                  </a:lnTo>
                  <a:lnTo>
                    <a:pt x="210" y="615"/>
                  </a:lnTo>
                  <a:lnTo>
                    <a:pt x="216" y="611"/>
                  </a:lnTo>
                  <a:lnTo>
                    <a:pt x="221" y="607"/>
                  </a:lnTo>
                  <a:lnTo>
                    <a:pt x="226" y="604"/>
                  </a:lnTo>
                  <a:lnTo>
                    <a:pt x="514" y="402"/>
                  </a:lnTo>
                  <a:lnTo>
                    <a:pt x="158" y="78"/>
                  </a:lnTo>
                  <a:lnTo>
                    <a:pt x="153" y="70"/>
                  </a:lnTo>
                  <a:lnTo>
                    <a:pt x="152" y="64"/>
                  </a:lnTo>
                  <a:lnTo>
                    <a:pt x="154" y="57"/>
                  </a:lnTo>
                  <a:lnTo>
                    <a:pt x="161" y="52"/>
                  </a:lnTo>
                  <a:lnTo>
                    <a:pt x="258" y="4"/>
                  </a:lnTo>
                  <a:lnTo>
                    <a:pt x="27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09" name="Freeform 77"/>
            <p:cNvSpPr>
              <a:spLocks/>
            </p:cNvSpPr>
            <p:nvPr/>
          </p:nvSpPr>
          <p:spPr bwMode="auto">
            <a:xfrm>
              <a:off x="-1713" y="3242"/>
              <a:ext cx="173" cy="268"/>
            </a:xfrm>
            <a:custGeom>
              <a:avLst/>
              <a:gdLst>
                <a:gd name="T0" fmla="*/ 829 w 869"/>
                <a:gd name="T1" fmla="*/ 0 h 1338"/>
                <a:gd name="T2" fmla="*/ 869 w 869"/>
                <a:gd name="T3" fmla="*/ 56 h 1338"/>
                <a:gd name="T4" fmla="*/ 844 w 869"/>
                <a:gd name="T5" fmla="*/ 72 h 1338"/>
                <a:gd name="T6" fmla="*/ 818 w 869"/>
                <a:gd name="T7" fmla="*/ 90 h 1338"/>
                <a:gd name="T8" fmla="*/ 789 w 869"/>
                <a:gd name="T9" fmla="*/ 112 h 1338"/>
                <a:gd name="T10" fmla="*/ 756 w 869"/>
                <a:gd name="T11" fmla="*/ 135 h 1338"/>
                <a:gd name="T12" fmla="*/ 752 w 869"/>
                <a:gd name="T13" fmla="*/ 137 h 1338"/>
                <a:gd name="T14" fmla="*/ 663 w 869"/>
                <a:gd name="T15" fmla="*/ 212 h 1338"/>
                <a:gd name="T16" fmla="*/ 637 w 869"/>
                <a:gd name="T17" fmla="*/ 234 h 1338"/>
                <a:gd name="T18" fmla="*/ 609 w 869"/>
                <a:gd name="T19" fmla="*/ 258 h 1338"/>
                <a:gd name="T20" fmla="*/ 583 w 869"/>
                <a:gd name="T21" fmla="*/ 285 h 1338"/>
                <a:gd name="T22" fmla="*/ 487 w 869"/>
                <a:gd name="T23" fmla="*/ 379 h 1338"/>
                <a:gd name="T24" fmla="*/ 483 w 869"/>
                <a:gd name="T25" fmla="*/ 384 h 1338"/>
                <a:gd name="T26" fmla="*/ 385 w 869"/>
                <a:gd name="T27" fmla="*/ 499 h 1338"/>
                <a:gd name="T28" fmla="*/ 352 w 869"/>
                <a:gd name="T29" fmla="*/ 542 h 1338"/>
                <a:gd name="T30" fmla="*/ 321 w 869"/>
                <a:gd name="T31" fmla="*/ 586 h 1338"/>
                <a:gd name="T32" fmla="*/ 286 w 869"/>
                <a:gd name="T33" fmla="*/ 636 h 1338"/>
                <a:gd name="T34" fmla="*/ 266 w 869"/>
                <a:gd name="T35" fmla="*/ 664 h 1338"/>
                <a:gd name="T36" fmla="*/ 249 w 869"/>
                <a:gd name="T37" fmla="*/ 694 h 1338"/>
                <a:gd name="T38" fmla="*/ 237 w 869"/>
                <a:gd name="T39" fmla="*/ 714 h 1338"/>
                <a:gd name="T40" fmla="*/ 191 w 869"/>
                <a:gd name="T41" fmla="*/ 792 h 1338"/>
                <a:gd name="T42" fmla="*/ 163 w 869"/>
                <a:gd name="T43" fmla="*/ 848 h 1338"/>
                <a:gd name="T44" fmla="*/ 138 w 869"/>
                <a:gd name="T45" fmla="*/ 902 h 1338"/>
                <a:gd name="T46" fmla="*/ 109 w 869"/>
                <a:gd name="T47" fmla="*/ 965 h 1338"/>
                <a:gd name="T48" fmla="*/ 106 w 869"/>
                <a:gd name="T49" fmla="*/ 971 h 1338"/>
                <a:gd name="T50" fmla="*/ 74 w 869"/>
                <a:gd name="T51" fmla="*/ 1062 h 1338"/>
                <a:gd name="T52" fmla="*/ 64 w 869"/>
                <a:gd name="T53" fmla="*/ 1090 h 1338"/>
                <a:gd name="T54" fmla="*/ 52 w 869"/>
                <a:gd name="T55" fmla="*/ 1125 h 1338"/>
                <a:gd name="T56" fmla="*/ 41 w 869"/>
                <a:gd name="T57" fmla="*/ 1164 h 1338"/>
                <a:gd name="T58" fmla="*/ 35 w 869"/>
                <a:gd name="T59" fmla="*/ 1185 h 1338"/>
                <a:gd name="T60" fmla="*/ 29 w 869"/>
                <a:gd name="T61" fmla="*/ 1209 h 1338"/>
                <a:gd name="T62" fmla="*/ 13 w 869"/>
                <a:gd name="T63" fmla="*/ 1272 h 1338"/>
                <a:gd name="T64" fmla="*/ 0 w 869"/>
                <a:gd name="T65" fmla="*/ 1338 h 1338"/>
                <a:gd name="T66" fmla="*/ 10 w 869"/>
                <a:gd name="T67" fmla="*/ 1271 h 1338"/>
                <a:gd name="T68" fmla="*/ 24 w 869"/>
                <a:gd name="T69" fmla="*/ 1205 h 1338"/>
                <a:gd name="T70" fmla="*/ 35 w 869"/>
                <a:gd name="T71" fmla="*/ 1155 h 1338"/>
                <a:gd name="T72" fmla="*/ 42 w 869"/>
                <a:gd name="T73" fmla="*/ 1122 h 1338"/>
                <a:gd name="T74" fmla="*/ 52 w 869"/>
                <a:gd name="T75" fmla="*/ 1090 h 1338"/>
                <a:gd name="T76" fmla="*/ 63 w 869"/>
                <a:gd name="T77" fmla="*/ 1057 h 1338"/>
                <a:gd name="T78" fmla="*/ 92 w 869"/>
                <a:gd name="T79" fmla="*/ 963 h 1338"/>
                <a:gd name="T80" fmla="*/ 118 w 869"/>
                <a:gd name="T81" fmla="*/ 900 h 1338"/>
                <a:gd name="T82" fmla="*/ 143 w 869"/>
                <a:gd name="T83" fmla="*/ 839 h 1338"/>
                <a:gd name="T84" fmla="*/ 168 w 869"/>
                <a:gd name="T85" fmla="*/ 784 h 1338"/>
                <a:gd name="T86" fmla="*/ 213 w 869"/>
                <a:gd name="T87" fmla="*/ 699 h 1338"/>
                <a:gd name="T88" fmla="*/ 225 w 869"/>
                <a:gd name="T89" fmla="*/ 676 h 1338"/>
                <a:gd name="T90" fmla="*/ 240 w 869"/>
                <a:gd name="T91" fmla="*/ 648 h 1338"/>
                <a:gd name="T92" fmla="*/ 254 w 869"/>
                <a:gd name="T93" fmla="*/ 624 h 1338"/>
                <a:gd name="T94" fmla="*/ 272 w 869"/>
                <a:gd name="T95" fmla="*/ 596 h 1338"/>
                <a:gd name="T96" fmla="*/ 290 w 869"/>
                <a:gd name="T97" fmla="*/ 569 h 1338"/>
                <a:gd name="T98" fmla="*/ 321 w 869"/>
                <a:gd name="T99" fmla="*/ 522 h 1338"/>
                <a:gd name="T100" fmla="*/ 352 w 869"/>
                <a:gd name="T101" fmla="*/ 477 h 1338"/>
                <a:gd name="T102" fmla="*/ 450 w 869"/>
                <a:gd name="T103" fmla="*/ 351 h 1338"/>
                <a:gd name="T104" fmla="*/ 484 w 869"/>
                <a:gd name="T105" fmla="*/ 314 h 1338"/>
                <a:gd name="T106" fmla="*/ 517 w 869"/>
                <a:gd name="T107" fmla="*/ 278 h 1338"/>
                <a:gd name="T108" fmla="*/ 549 w 869"/>
                <a:gd name="T109" fmla="*/ 243 h 1338"/>
                <a:gd name="T110" fmla="*/ 574 w 869"/>
                <a:gd name="T111" fmla="*/ 217 h 1338"/>
                <a:gd name="T112" fmla="*/ 601 w 869"/>
                <a:gd name="T113" fmla="*/ 191 h 1338"/>
                <a:gd name="T114" fmla="*/ 626 w 869"/>
                <a:gd name="T115" fmla="*/ 168 h 1338"/>
                <a:gd name="T116" fmla="*/ 722 w 869"/>
                <a:gd name="T117" fmla="*/ 83 h 1338"/>
                <a:gd name="T118" fmla="*/ 754 w 869"/>
                <a:gd name="T119" fmla="*/ 57 h 1338"/>
                <a:gd name="T120" fmla="*/ 783 w 869"/>
                <a:gd name="T121" fmla="*/ 35 h 1338"/>
                <a:gd name="T122" fmla="*/ 807 w 869"/>
                <a:gd name="T123" fmla="*/ 17 h 1338"/>
                <a:gd name="T124" fmla="*/ 829 w 869"/>
                <a:gd name="T125" fmla="*/ 0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69" h="1338">
                  <a:moveTo>
                    <a:pt x="829" y="0"/>
                  </a:moveTo>
                  <a:lnTo>
                    <a:pt x="869" y="56"/>
                  </a:lnTo>
                  <a:lnTo>
                    <a:pt x="844" y="72"/>
                  </a:lnTo>
                  <a:lnTo>
                    <a:pt x="818" y="90"/>
                  </a:lnTo>
                  <a:lnTo>
                    <a:pt x="789" y="112"/>
                  </a:lnTo>
                  <a:lnTo>
                    <a:pt x="756" y="135"/>
                  </a:lnTo>
                  <a:lnTo>
                    <a:pt x="752" y="137"/>
                  </a:lnTo>
                  <a:lnTo>
                    <a:pt x="663" y="212"/>
                  </a:lnTo>
                  <a:lnTo>
                    <a:pt x="637" y="234"/>
                  </a:lnTo>
                  <a:lnTo>
                    <a:pt x="609" y="258"/>
                  </a:lnTo>
                  <a:lnTo>
                    <a:pt x="583" y="285"/>
                  </a:lnTo>
                  <a:lnTo>
                    <a:pt x="487" y="379"/>
                  </a:lnTo>
                  <a:lnTo>
                    <a:pt x="483" y="384"/>
                  </a:lnTo>
                  <a:lnTo>
                    <a:pt x="385" y="499"/>
                  </a:lnTo>
                  <a:lnTo>
                    <a:pt x="352" y="542"/>
                  </a:lnTo>
                  <a:lnTo>
                    <a:pt x="321" y="586"/>
                  </a:lnTo>
                  <a:lnTo>
                    <a:pt x="286" y="636"/>
                  </a:lnTo>
                  <a:lnTo>
                    <a:pt x="266" y="664"/>
                  </a:lnTo>
                  <a:lnTo>
                    <a:pt x="249" y="694"/>
                  </a:lnTo>
                  <a:lnTo>
                    <a:pt x="237" y="714"/>
                  </a:lnTo>
                  <a:lnTo>
                    <a:pt x="191" y="792"/>
                  </a:lnTo>
                  <a:lnTo>
                    <a:pt x="163" y="848"/>
                  </a:lnTo>
                  <a:lnTo>
                    <a:pt x="138" y="902"/>
                  </a:lnTo>
                  <a:lnTo>
                    <a:pt x="109" y="965"/>
                  </a:lnTo>
                  <a:lnTo>
                    <a:pt x="106" y="971"/>
                  </a:lnTo>
                  <a:lnTo>
                    <a:pt x="74" y="1062"/>
                  </a:lnTo>
                  <a:lnTo>
                    <a:pt x="64" y="1090"/>
                  </a:lnTo>
                  <a:lnTo>
                    <a:pt x="52" y="1125"/>
                  </a:lnTo>
                  <a:lnTo>
                    <a:pt x="41" y="1164"/>
                  </a:lnTo>
                  <a:lnTo>
                    <a:pt x="35" y="1185"/>
                  </a:lnTo>
                  <a:lnTo>
                    <a:pt x="29" y="1209"/>
                  </a:lnTo>
                  <a:lnTo>
                    <a:pt x="13" y="1272"/>
                  </a:lnTo>
                  <a:lnTo>
                    <a:pt x="0" y="1338"/>
                  </a:lnTo>
                  <a:lnTo>
                    <a:pt x="10" y="1271"/>
                  </a:lnTo>
                  <a:lnTo>
                    <a:pt x="24" y="1205"/>
                  </a:lnTo>
                  <a:lnTo>
                    <a:pt x="35" y="1155"/>
                  </a:lnTo>
                  <a:lnTo>
                    <a:pt x="42" y="1122"/>
                  </a:lnTo>
                  <a:lnTo>
                    <a:pt x="52" y="1090"/>
                  </a:lnTo>
                  <a:lnTo>
                    <a:pt x="63" y="1057"/>
                  </a:lnTo>
                  <a:lnTo>
                    <a:pt x="92" y="963"/>
                  </a:lnTo>
                  <a:lnTo>
                    <a:pt x="118" y="900"/>
                  </a:lnTo>
                  <a:lnTo>
                    <a:pt x="143" y="839"/>
                  </a:lnTo>
                  <a:lnTo>
                    <a:pt x="168" y="784"/>
                  </a:lnTo>
                  <a:lnTo>
                    <a:pt x="213" y="699"/>
                  </a:lnTo>
                  <a:lnTo>
                    <a:pt x="225" y="676"/>
                  </a:lnTo>
                  <a:lnTo>
                    <a:pt x="240" y="648"/>
                  </a:lnTo>
                  <a:lnTo>
                    <a:pt x="254" y="624"/>
                  </a:lnTo>
                  <a:lnTo>
                    <a:pt x="272" y="596"/>
                  </a:lnTo>
                  <a:lnTo>
                    <a:pt x="290" y="569"/>
                  </a:lnTo>
                  <a:lnTo>
                    <a:pt x="321" y="522"/>
                  </a:lnTo>
                  <a:lnTo>
                    <a:pt x="352" y="477"/>
                  </a:lnTo>
                  <a:lnTo>
                    <a:pt x="450" y="351"/>
                  </a:lnTo>
                  <a:lnTo>
                    <a:pt x="484" y="314"/>
                  </a:lnTo>
                  <a:lnTo>
                    <a:pt x="517" y="278"/>
                  </a:lnTo>
                  <a:lnTo>
                    <a:pt x="549" y="243"/>
                  </a:lnTo>
                  <a:lnTo>
                    <a:pt x="574" y="217"/>
                  </a:lnTo>
                  <a:lnTo>
                    <a:pt x="601" y="191"/>
                  </a:lnTo>
                  <a:lnTo>
                    <a:pt x="626" y="168"/>
                  </a:lnTo>
                  <a:lnTo>
                    <a:pt x="722" y="83"/>
                  </a:lnTo>
                  <a:lnTo>
                    <a:pt x="754" y="57"/>
                  </a:lnTo>
                  <a:lnTo>
                    <a:pt x="783" y="35"/>
                  </a:lnTo>
                  <a:lnTo>
                    <a:pt x="807" y="17"/>
                  </a:lnTo>
                  <a:lnTo>
                    <a:pt x="8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10" name="Freeform 78"/>
            <p:cNvSpPr>
              <a:spLocks/>
            </p:cNvSpPr>
            <p:nvPr/>
          </p:nvSpPr>
          <p:spPr bwMode="auto">
            <a:xfrm>
              <a:off x="-1729" y="3224"/>
              <a:ext cx="399" cy="633"/>
            </a:xfrm>
            <a:custGeom>
              <a:avLst/>
              <a:gdLst>
                <a:gd name="T0" fmla="*/ 1034 w 1993"/>
                <a:gd name="T1" fmla="*/ 162 h 3164"/>
                <a:gd name="T2" fmla="*/ 994 w 1993"/>
                <a:gd name="T3" fmla="*/ 190 h 3164"/>
                <a:gd name="T4" fmla="*/ 908 w 1993"/>
                <a:gd name="T5" fmla="*/ 249 h 3164"/>
                <a:gd name="T6" fmla="*/ 795 w 1993"/>
                <a:gd name="T7" fmla="*/ 338 h 3164"/>
                <a:gd name="T8" fmla="*/ 707 w 1993"/>
                <a:gd name="T9" fmla="*/ 417 h 3164"/>
                <a:gd name="T10" fmla="*/ 562 w 1993"/>
                <a:gd name="T11" fmla="*/ 569 h 3164"/>
                <a:gd name="T12" fmla="*/ 448 w 1993"/>
                <a:gd name="T13" fmla="*/ 717 h 3164"/>
                <a:gd name="T14" fmla="*/ 384 w 1993"/>
                <a:gd name="T15" fmla="*/ 811 h 3164"/>
                <a:gd name="T16" fmla="*/ 297 w 1993"/>
                <a:gd name="T17" fmla="*/ 968 h 3164"/>
                <a:gd name="T18" fmla="*/ 212 w 1993"/>
                <a:gd name="T19" fmla="*/ 1172 h 3164"/>
                <a:gd name="T20" fmla="*/ 182 w 1993"/>
                <a:gd name="T21" fmla="*/ 1266 h 3164"/>
                <a:gd name="T22" fmla="*/ 145 w 1993"/>
                <a:gd name="T23" fmla="*/ 1412 h 3164"/>
                <a:gd name="T24" fmla="*/ 124 w 1993"/>
                <a:gd name="T25" fmla="*/ 1563 h 3164"/>
                <a:gd name="T26" fmla="*/ 116 w 1993"/>
                <a:gd name="T27" fmla="*/ 1719 h 3164"/>
                <a:gd name="T28" fmla="*/ 126 w 1993"/>
                <a:gd name="T29" fmla="*/ 1876 h 3164"/>
                <a:gd name="T30" fmla="*/ 153 w 1993"/>
                <a:gd name="T31" fmla="*/ 2032 h 3164"/>
                <a:gd name="T32" fmla="*/ 208 w 1993"/>
                <a:gd name="T33" fmla="*/ 2219 h 3164"/>
                <a:gd name="T34" fmla="*/ 301 w 1993"/>
                <a:gd name="T35" fmla="*/ 2410 h 3164"/>
                <a:gd name="T36" fmla="*/ 461 w 1993"/>
                <a:gd name="T37" fmla="*/ 2637 h 3164"/>
                <a:gd name="T38" fmla="*/ 607 w 1993"/>
                <a:gd name="T39" fmla="*/ 2780 h 3164"/>
                <a:gd name="T40" fmla="*/ 800 w 1993"/>
                <a:gd name="T41" fmla="*/ 2917 h 3164"/>
                <a:gd name="T42" fmla="*/ 1018 w 1993"/>
                <a:gd name="T43" fmla="*/ 3026 h 3164"/>
                <a:gd name="T44" fmla="*/ 1265 w 1993"/>
                <a:gd name="T45" fmla="*/ 3104 h 3164"/>
                <a:gd name="T46" fmla="*/ 1421 w 1993"/>
                <a:gd name="T47" fmla="*/ 3131 h 3164"/>
                <a:gd name="T48" fmla="*/ 1594 w 1993"/>
                <a:gd name="T49" fmla="*/ 3147 h 3164"/>
                <a:gd name="T50" fmla="*/ 1742 w 1993"/>
                <a:gd name="T51" fmla="*/ 3148 h 3164"/>
                <a:gd name="T52" fmla="*/ 1878 w 1993"/>
                <a:gd name="T53" fmla="*/ 3139 h 3164"/>
                <a:gd name="T54" fmla="*/ 1962 w 1993"/>
                <a:gd name="T55" fmla="*/ 3127 h 3164"/>
                <a:gd name="T56" fmla="*/ 1993 w 1993"/>
                <a:gd name="T57" fmla="*/ 3123 h 3164"/>
                <a:gd name="T58" fmla="*/ 1962 w 1993"/>
                <a:gd name="T59" fmla="*/ 3128 h 3164"/>
                <a:gd name="T60" fmla="*/ 1878 w 1993"/>
                <a:gd name="T61" fmla="*/ 3144 h 3164"/>
                <a:gd name="T62" fmla="*/ 1742 w 1993"/>
                <a:gd name="T63" fmla="*/ 3158 h 3164"/>
                <a:gd name="T64" fmla="*/ 1612 w 1993"/>
                <a:gd name="T65" fmla="*/ 3164 h 3164"/>
                <a:gd name="T66" fmla="*/ 1417 w 1993"/>
                <a:gd name="T67" fmla="*/ 3156 h 3164"/>
                <a:gd name="T68" fmla="*/ 1259 w 1993"/>
                <a:gd name="T69" fmla="*/ 3134 h 3164"/>
                <a:gd name="T70" fmla="*/ 1004 w 1993"/>
                <a:gd name="T71" fmla="*/ 3066 h 3164"/>
                <a:gd name="T72" fmla="*/ 773 w 1993"/>
                <a:gd name="T73" fmla="*/ 2963 h 3164"/>
                <a:gd name="T74" fmla="*/ 567 w 1993"/>
                <a:gd name="T75" fmla="*/ 2829 h 3164"/>
                <a:gd name="T76" fmla="*/ 408 w 1993"/>
                <a:gd name="T77" fmla="*/ 2685 h 3164"/>
                <a:gd name="T78" fmla="*/ 269 w 1993"/>
                <a:gd name="T79" fmla="*/ 2517 h 3164"/>
                <a:gd name="T80" fmla="*/ 210 w 1993"/>
                <a:gd name="T81" fmla="*/ 2421 h 3164"/>
                <a:gd name="T82" fmla="*/ 155 w 1993"/>
                <a:gd name="T83" fmla="*/ 2323 h 3164"/>
                <a:gd name="T84" fmla="*/ 72 w 1993"/>
                <a:gd name="T85" fmla="*/ 2112 h 3164"/>
                <a:gd name="T86" fmla="*/ 41 w 1993"/>
                <a:gd name="T87" fmla="*/ 2002 h 3164"/>
                <a:gd name="T88" fmla="*/ 6 w 1993"/>
                <a:gd name="T89" fmla="*/ 1778 h 3164"/>
                <a:gd name="T90" fmla="*/ 0 w 1993"/>
                <a:gd name="T91" fmla="*/ 1666 h 3164"/>
                <a:gd name="T92" fmla="*/ 12 w 1993"/>
                <a:gd name="T93" fmla="*/ 1445 h 3164"/>
                <a:gd name="T94" fmla="*/ 39 w 1993"/>
                <a:gd name="T95" fmla="*/ 1284 h 3164"/>
                <a:gd name="T96" fmla="*/ 68 w 1993"/>
                <a:gd name="T97" fmla="*/ 1163 h 3164"/>
                <a:gd name="T98" fmla="*/ 136 w 1993"/>
                <a:gd name="T99" fmla="*/ 967 h 3164"/>
                <a:gd name="T100" fmla="*/ 234 w 1993"/>
                <a:gd name="T101" fmla="*/ 759 h 3164"/>
                <a:gd name="T102" fmla="*/ 280 w 1993"/>
                <a:gd name="T103" fmla="*/ 677 h 3164"/>
                <a:gd name="T104" fmla="*/ 378 w 1993"/>
                <a:gd name="T105" fmla="*/ 528 h 3164"/>
                <a:gd name="T106" fmla="*/ 531 w 1993"/>
                <a:gd name="T107" fmla="*/ 342 h 3164"/>
                <a:gd name="T108" fmla="*/ 644 w 1993"/>
                <a:gd name="T109" fmla="*/ 226 h 3164"/>
                <a:gd name="T110" fmla="*/ 759 w 1993"/>
                <a:gd name="T111" fmla="*/ 122 h 3164"/>
                <a:gd name="T112" fmla="*/ 855 w 1993"/>
                <a:gd name="T113" fmla="*/ 49 h 3164"/>
                <a:gd name="T114" fmla="*/ 909 w 1993"/>
                <a:gd name="T115" fmla="*/ 8 h 3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993" h="3164">
                  <a:moveTo>
                    <a:pt x="920" y="0"/>
                  </a:moveTo>
                  <a:lnTo>
                    <a:pt x="1036" y="160"/>
                  </a:lnTo>
                  <a:lnTo>
                    <a:pt x="1034" y="162"/>
                  </a:lnTo>
                  <a:lnTo>
                    <a:pt x="1025" y="168"/>
                  </a:lnTo>
                  <a:lnTo>
                    <a:pt x="1012" y="176"/>
                  </a:lnTo>
                  <a:lnTo>
                    <a:pt x="994" y="190"/>
                  </a:lnTo>
                  <a:lnTo>
                    <a:pt x="970" y="207"/>
                  </a:lnTo>
                  <a:lnTo>
                    <a:pt x="942" y="226"/>
                  </a:lnTo>
                  <a:lnTo>
                    <a:pt x="908" y="249"/>
                  </a:lnTo>
                  <a:lnTo>
                    <a:pt x="872" y="276"/>
                  </a:lnTo>
                  <a:lnTo>
                    <a:pt x="835" y="306"/>
                  </a:lnTo>
                  <a:lnTo>
                    <a:pt x="795" y="338"/>
                  </a:lnTo>
                  <a:lnTo>
                    <a:pt x="766" y="363"/>
                  </a:lnTo>
                  <a:lnTo>
                    <a:pt x="737" y="388"/>
                  </a:lnTo>
                  <a:lnTo>
                    <a:pt x="707" y="417"/>
                  </a:lnTo>
                  <a:lnTo>
                    <a:pt x="659" y="464"/>
                  </a:lnTo>
                  <a:lnTo>
                    <a:pt x="610" y="514"/>
                  </a:lnTo>
                  <a:lnTo>
                    <a:pt x="562" y="569"/>
                  </a:lnTo>
                  <a:lnTo>
                    <a:pt x="513" y="629"/>
                  </a:lnTo>
                  <a:lnTo>
                    <a:pt x="480" y="671"/>
                  </a:lnTo>
                  <a:lnTo>
                    <a:pt x="448" y="717"/>
                  </a:lnTo>
                  <a:lnTo>
                    <a:pt x="416" y="763"/>
                  </a:lnTo>
                  <a:lnTo>
                    <a:pt x="399" y="786"/>
                  </a:lnTo>
                  <a:lnTo>
                    <a:pt x="384" y="811"/>
                  </a:lnTo>
                  <a:lnTo>
                    <a:pt x="370" y="837"/>
                  </a:lnTo>
                  <a:lnTo>
                    <a:pt x="325" y="914"/>
                  </a:lnTo>
                  <a:lnTo>
                    <a:pt x="297" y="968"/>
                  </a:lnTo>
                  <a:lnTo>
                    <a:pt x="272" y="1024"/>
                  </a:lnTo>
                  <a:lnTo>
                    <a:pt x="245" y="1081"/>
                  </a:lnTo>
                  <a:lnTo>
                    <a:pt x="212" y="1172"/>
                  </a:lnTo>
                  <a:lnTo>
                    <a:pt x="201" y="1203"/>
                  </a:lnTo>
                  <a:lnTo>
                    <a:pt x="190" y="1233"/>
                  </a:lnTo>
                  <a:lnTo>
                    <a:pt x="182" y="1266"/>
                  </a:lnTo>
                  <a:lnTo>
                    <a:pt x="168" y="1314"/>
                  </a:lnTo>
                  <a:lnTo>
                    <a:pt x="156" y="1363"/>
                  </a:lnTo>
                  <a:lnTo>
                    <a:pt x="145" y="1412"/>
                  </a:lnTo>
                  <a:lnTo>
                    <a:pt x="138" y="1462"/>
                  </a:lnTo>
                  <a:lnTo>
                    <a:pt x="130" y="1512"/>
                  </a:lnTo>
                  <a:lnTo>
                    <a:pt x="124" y="1563"/>
                  </a:lnTo>
                  <a:lnTo>
                    <a:pt x="119" y="1667"/>
                  </a:lnTo>
                  <a:lnTo>
                    <a:pt x="116" y="1693"/>
                  </a:lnTo>
                  <a:lnTo>
                    <a:pt x="116" y="1719"/>
                  </a:lnTo>
                  <a:lnTo>
                    <a:pt x="119" y="1771"/>
                  </a:lnTo>
                  <a:lnTo>
                    <a:pt x="122" y="1824"/>
                  </a:lnTo>
                  <a:lnTo>
                    <a:pt x="126" y="1876"/>
                  </a:lnTo>
                  <a:lnTo>
                    <a:pt x="143" y="1980"/>
                  </a:lnTo>
                  <a:lnTo>
                    <a:pt x="147" y="2007"/>
                  </a:lnTo>
                  <a:lnTo>
                    <a:pt x="153" y="2032"/>
                  </a:lnTo>
                  <a:lnTo>
                    <a:pt x="166" y="2084"/>
                  </a:lnTo>
                  <a:lnTo>
                    <a:pt x="185" y="2152"/>
                  </a:lnTo>
                  <a:lnTo>
                    <a:pt x="208" y="2219"/>
                  </a:lnTo>
                  <a:lnTo>
                    <a:pt x="236" y="2284"/>
                  </a:lnTo>
                  <a:lnTo>
                    <a:pt x="268" y="2348"/>
                  </a:lnTo>
                  <a:lnTo>
                    <a:pt x="301" y="2410"/>
                  </a:lnTo>
                  <a:lnTo>
                    <a:pt x="335" y="2470"/>
                  </a:lnTo>
                  <a:lnTo>
                    <a:pt x="396" y="2558"/>
                  </a:lnTo>
                  <a:lnTo>
                    <a:pt x="461" y="2637"/>
                  </a:lnTo>
                  <a:lnTo>
                    <a:pt x="508" y="2688"/>
                  </a:lnTo>
                  <a:lnTo>
                    <a:pt x="556" y="2735"/>
                  </a:lnTo>
                  <a:lnTo>
                    <a:pt x="607" y="2780"/>
                  </a:lnTo>
                  <a:lnTo>
                    <a:pt x="670" y="2830"/>
                  </a:lnTo>
                  <a:lnTo>
                    <a:pt x="735" y="2876"/>
                  </a:lnTo>
                  <a:lnTo>
                    <a:pt x="800" y="2917"/>
                  </a:lnTo>
                  <a:lnTo>
                    <a:pt x="867" y="2956"/>
                  </a:lnTo>
                  <a:lnTo>
                    <a:pt x="933" y="2990"/>
                  </a:lnTo>
                  <a:lnTo>
                    <a:pt x="1018" y="3026"/>
                  </a:lnTo>
                  <a:lnTo>
                    <a:pt x="1102" y="3056"/>
                  </a:lnTo>
                  <a:lnTo>
                    <a:pt x="1185" y="3082"/>
                  </a:lnTo>
                  <a:lnTo>
                    <a:pt x="1265" y="3104"/>
                  </a:lnTo>
                  <a:lnTo>
                    <a:pt x="1319" y="3115"/>
                  </a:lnTo>
                  <a:lnTo>
                    <a:pt x="1370" y="3124"/>
                  </a:lnTo>
                  <a:lnTo>
                    <a:pt x="1421" y="3131"/>
                  </a:lnTo>
                  <a:lnTo>
                    <a:pt x="1492" y="3140"/>
                  </a:lnTo>
                  <a:lnTo>
                    <a:pt x="1561" y="3145"/>
                  </a:lnTo>
                  <a:lnTo>
                    <a:pt x="1594" y="3147"/>
                  </a:lnTo>
                  <a:lnTo>
                    <a:pt x="1625" y="3148"/>
                  </a:lnTo>
                  <a:lnTo>
                    <a:pt x="1686" y="3148"/>
                  </a:lnTo>
                  <a:lnTo>
                    <a:pt x="1742" y="3148"/>
                  </a:lnTo>
                  <a:lnTo>
                    <a:pt x="1792" y="3145"/>
                  </a:lnTo>
                  <a:lnTo>
                    <a:pt x="1838" y="3141"/>
                  </a:lnTo>
                  <a:lnTo>
                    <a:pt x="1878" y="3139"/>
                  </a:lnTo>
                  <a:lnTo>
                    <a:pt x="1912" y="3134"/>
                  </a:lnTo>
                  <a:lnTo>
                    <a:pt x="1939" y="3130"/>
                  </a:lnTo>
                  <a:lnTo>
                    <a:pt x="1962" y="3127"/>
                  </a:lnTo>
                  <a:lnTo>
                    <a:pt x="1979" y="3124"/>
                  </a:lnTo>
                  <a:lnTo>
                    <a:pt x="1989" y="3123"/>
                  </a:lnTo>
                  <a:lnTo>
                    <a:pt x="1993" y="3123"/>
                  </a:lnTo>
                  <a:lnTo>
                    <a:pt x="1989" y="3123"/>
                  </a:lnTo>
                  <a:lnTo>
                    <a:pt x="1979" y="3125"/>
                  </a:lnTo>
                  <a:lnTo>
                    <a:pt x="1962" y="3128"/>
                  </a:lnTo>
                  <a:lnTo>
                    <a:pt x="1941" y="3131"/>
                  </a:lnTo>
                  <a:lnTo>
                    <a:pt x="1912" y="3138"/>
                  </a:lnTo>
                  <a:lnTo>
                    <a:pt x="1878" y="3144"/>
                  </a:lnTo>
                  <a:lnTo>
                    <a:pt x="1838" y="3148"/>
                  </a:lnTo>
                  <a:lnTo>
                    <a:pt x="1793" y="3153"/>
                  </a:lnTo>
                  <a:lnTo>
                    <a:pt x="1742" y="3158"/>
                  </a:lnTo>
                  <a:lnTo>
                    <a:pt x="1686" y="3162"/>
                  </a:lnTo>
                  <a:lnTo>
                    <a:pt x="1625" y="3164"/>
                  </a:lnTo>
                  <a:lnTo>
                    <a:pt x="1612" y="3164"/>
                  </a:lnTo>
                  <a:lnTo>
                    <a:pt x="1560" y="3163"/>
                  </a:lnTo>
                  <a:lnTo>
                    <a:pt x="1491" y="3162"/>
                  </a:lnTo>
                  <a:lnTo>
                    <a:pt x="1417" y="3156"/>
                  </a:lnTo>
                  <a:lnTo>
                    <a:pt x="1366" y="3151"/>
                  </a:lnTo>
                  <a:lnTo>
                    <a:pt x="1314" y="3142"/>
                  </a:lnTo>
                  <a:lnTo>
                    <a:pt x="1259" y="3134"/>
                  </a:lnTo>
                  <a:lnTo>
                    <a:pt x="1176" y="3116"/>
                  </a:lnTo>
                  <a:lnTo>
                    <a:pt x="1091" y="3093"/>
                  </a:lnTo>
                  <a:lnTo>
                    <a:pt x="1004" y="3066"/>
                  </a:lnTo>
                  <a:lnTo>
                    <a:pt x="915" y="3032"/>
                  </a:lnTo>
                  <a:lnTo>
                    <a:pt x="845" y="3000"/>
                  </a:lnTo>
                  <a:lnTo>
                    <a:pt x="773" y="2963"/>
                  </a:lnTo>
                  <a:lnTo>
                    <a:pt x="704" y="2922"/>
                  </a:lnTo>
                  <a:lnTo>
                    <a:pt x="635" y="2878"/>
                  </a:lnTo>
                  <a:lnTo>
                    <a:pt x="567" y="2829"/>
                  </a:lnTo>
                  <a:lnTo>
                    <a:pt x="513" y="2784"/>
                  </a:lnTo>
                  <a:lnTo>
                    <a:pt x="459" y="2736"/>
                  </a:lnTo>
                  <a:lnTo>
                    <a:pt x="408" y="2685"/>
                  </a:lnTo>
                  <a:lnTo>
                    <a:pt x="371" y="2644"/>
                  </a:lnTo>
                  <a:lnTo>
                    <a:pt x="335" y="2603"/>
                  </a:lnTo>
                  <a:lnTo>
                    <a:pt x="269" y="2517"/>
                  </a:lnTo>
                  <a:lnTo>
                    <a:pt x="248" y="2485"/>
                  </a:lnTo>
                  <a:lnTo>
                    <a:pt x="229" y="2452"/>
                  </a:lnTo>
                  <a:lnTo>
                    <a:pt x="210" y="2421"/>
                  </a:lnTo>
                  <a:lnTo>
                    <a:pt x="189" y="2389"/>
                  </a:lnTo>
                  <a:lnTo>
                    <a:pt x="171" y="2356"/>
                  </a:lnTo>
                  <a:lnTo>
                    <a:pt x="155" y="2323"/>
                  </a:lnTo>
                  <a:lnTo>
                    <a:pt x="108" y="2219"/>
                  </a:lnTo>
                  <a:lnTo>
                    <a:pt x="88" y="2165"/>
                  </a:lnTo>
                  <a:lnTo>
                    <a:pt x="72" y="2112"/>
                  </a:lnTo>
                  <a:lnTo>
                    <a:pt x="53" y="2058"/>
                  </a:lnTo>
                  <a:lnTo>
                    <a:pt x="46" y="2030"/>
                  </a:lnTo>
                  <a:lnTo>
                    <a:pt x="41" y="2002"/>
                  </a:lnTo>
                  <a:lnTo>
                    <a:pt x="18" y="1891"/>
                  </a:lnTo>
                  <a:lnTo>
                    <a:pt x="11" y="1835"/>
                  </a:lnTo>
                  <a:lnTo>
                    <a:pt x="6" y="1778"/>
                  </a:lnTo>
                  <a:lnTo>
                    <a:pt x="1" y="1723"/>
                  </a:lnTo>
                  <a:lnTo>
                    <a:pt x="0" y="1694"/>
                  </a:lnTo>
                  <a:lnTo>
                    <a:pt x="0" y="1666"/>
                  </a:lnTo>
                  <a:lnTo>
                    <a:pt x="1" y="1555"/>
                  </a:lnTo>
                  <a:lnTo>
                    <a:pt x="6" y="1499"/>
                  </a:lnTo>
                  <a:lnTo>
                    <a:pt x="12" y="1445"/>
                  </a:lnTo>
                  <a:lnTo>
                    <a:pt x="18" y="1390"/>
                  </a:lnTo>
                  <a:lnTo>
                    <a:pt x="28" y="1336"/>
                  </a:lnTo>
                  <a:lnTo>
                    <a:pt x="39" y="1284"/>
                  </a:lnTo>
                  <a:lnTo>
                    <a:pt x="50" y="1231"/>
                  </a:lnTo>
                  <a:lnTo>
                    <a:pt x="58" y="1196"/>
                  </a:lnTo>
                  <a:lnTo>
                    <a:pt x="68" y="1163"/>
                  </a:lnTo>
                  <a:lnTo>
                    <a:pt x="79" y="1129"/>
                  </a:lnTo>
                  <a:lnTo>
                    <a:pt x="110" y="1030"/>
                  </a:lnTo>
                  <a:lnTo>
                    <a:pt x="136" y="967"/>
                  </a:lnTo>
                  <a:lnTo>
                    <a:pt x="161" y="904"/>
                  </a:lnTo>
                  <a:lnTo>
                    <a:pt x="189" y="845"/>
                  </a:lnTo>
                  <a:lnTo>
                    <a:pt x="234" y="759"/>
                  </a:lnTo>
                  <a:lnTo>
                    <a:pt x="248" y="731"/>
                  </a:lnTo>
                  <a:lnTo>
                    <a:pt x="263" y="704"/>
                  </a:lnTo>
                  <a:lnTo>
                    <a:pt x="280" y="677"/>
                  </a:lnTo>
                  <a:lnTo>
                    <a:pt x="313" y="626"/>
                  </a:lnTo>
                  <a:lnTo>
                    <a:pt x="345" y="575"/>
                  </a:lnTo>
                  <a:lnTo>
                    <a:pt x="378" y="528"/>
                  </a:lnTo>
                  <a:lnTo>
                    <a:pt x="430" y="462"/>
                  </a:lnTo>
                  <a:lnTo>
                    <a:pt x="479" y="399"/>
                  </a:lnTo>
                  <a:lnTo>
                    <a:pt x="531" y="342"/>
                  </a:lnTo>
                  <a:lnTo>
                    <a:pt x="579" y="290"/>
                  </a:lnTo>
                  <a:lnTo>
                    <a:pt x="611" y="256"/>
                  </a:lnTo>
                  <a:lnTo>
                    <a:pt x="644" y="226"/>
                  </a:lnTo>
                  <a:lnTo>
                    <a:pt x="675" y="198"/>
                  </a:lnTo>
                  <a:lnTo>
                    <a:pt x="719" y="158"/>
                  </a:lnTo>
                  <a:lnTo>
                    <a:pt x="759" y="122"/>
                  </a:lnTo>
                  <a:lnTo>
                    <a:pt x="795" y="94"/>
                  </a:lnTo>
                  <a:lnTo>
                    <a:pt x="828" y="70"/>
                  </a:lnTo>
                  <a:lnTo>
                    <a:pt x="855" y="49"/>
                  </a:lnTo>
                  <a:lnTo>
                    <a:pt x="878" y="31"/>
                  </a:lnTo>
                  <a:lnTo>
                    <a:pt x="896" y="18"/>
                  </a:lnTo>
                  <a:lnTo>
                    <a:pt x="909" y="8"/>
                  </a:lnTo>
                  <a:lnTo>
                    <a:pt x="918" y="2"/>
                  </a:lnTo>
                  <a:lnTo>
                    <a:pt x="9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</p:grpSp>
      <p:sp>
        <p:nvSpPr>
          <p:cNvPr id="115" name="Freeform 83"/>
          <p:cNvSpPr>
            <a:spLocks/>
          </p:cNvSpPr>
          <p:nvPr/>
        </p:nvSpPr>
        <p:spPr bwMode="auto">
          <a:xfrm>
            <a:off x="3785343" y="4341538"/>
            <a:ext cx="380606" cy="386905"/>
          </a:xfrm>
          <a:custGeom>
            <a:avLst/>
            <a:gdLst>
              <a:gd name="T0" fmla="*/ 1707 w 3294"/>
              <a:gd name="T1" fmla="*/ 11 h 3870"/>
              <a:gd name="T2" fmla="*/ 3255 w 3294"/>
              <a:gd name="T3" fmla="*/ 1624 h 3870"/>
              <a:gd name="T4" fmla="*/ 3292 w 3294"/>
              <a:gd name="T5" fmla="*/ 1697 h 3870"/>
              <a:gd name="T6" fmla="*/ 3282 w 3294"/>
              <a:gd name="T7" fmla="*/ 1778 h 3870"/>
              <a:gd name="T8" fmla="*/ 3230 w 3294"/>
              <a:gd name="T9" fmla="*/ 1841 h 3870"/>
              <a:gd name="T10" fmla="*/ 3151 w 3294"/>
              <a:gd name="T11" fmla="*/ 1865 h 3870"/>
              <a:gd name="T12" fmla="*/ 2941 w 3294"/>
              <a:gd name="T13" fmla="*/ 3533 h 3870"/>
              <a:gd name="T14" fmla="*/ 2892 w 3294"/>
              <a:gd name="T15" fmla="*/ 3677 h 3870"/>
              <a:gd name="T16" fmla="*/ 2792 w 3294"/>
              <a:gd name="T17" fmla="*/ 3789 h 3870"/>
              <a:gd name="T18" fmla="*/ 2658 w 3294"/>
              <a:gd name="T19" fmla="*/ 3857 h 3870"/>
              <a:gd name="T20" fmla="*/ 1777 w 3294"/>
              <a:gd name="T21" fmla="*/ 3870 h 3870"/>
              <a:gd name="T22" fmla="*/ 1884 w 3294"/>
              <a:gd name="T23" fmla="*/ 3125 h 3870"/>
              <a:gd name="T24" fmla="*/ 2016 w 3294"/>
              <a:gd name="T25" fmla="*/ 3017 h 3870"/>
              <a:gd name="T26" fmla="*/ 2105 w 3294"/>
              <a:gd name="T27" fmla="*/ 2872 h 3870"/>
              <a:gd name="T28" fmla="*/ 2137 w 3294"/>
              <a:gd name="T29" fmla="*/ 2698 h 3870"/>
              <a:gd name="T30" fmla="*/ 2194 w 3294"/>
              <a:gd name="T31" fmla="*/ 2305 h 3870"/>
              <a:gd name="T32" fmla="*/ 2253 w 3294"/>
              <a:gd name="T33" fmla="*/ 2246 h 3870"/>
              <a:gd name="T34" fmla="*/ 2264 w 3294"/>
              <a:gd name="T35" fmla="*/ 2158 h 3870"/>
              <a:gd name="T36" fmla="*/ 2218 w 3294"/>
              <a:gd name="T37" fmla="*/ 2087 h 3870"/>
              <a:gd name="T38" fmla="*/ 2137 w 3294"/>
              <a:gd name="T39" fmla="*/ 2057 h 3870"/>
              <a:gd name="T40" fmla="*/ 1954 w 3294"/>
              <a:gd name="T41" fmla="*/ 1744 h 3870"/>
              <a:gd name="T42" fmla="*/ 1908 w 3294"/>
              <a:gd name="T43" fmla="*/ 1685 h 3870"/>
              <a:gd name="T44" fmla="*/ 1832 w 3294"/>
              <a:gd name="T45" fmla="*/ 1675 h 3870"/>
              <a:gd name="T46" fmla="*/ 1774 w 3294"/>
              <a:gd name="T47" fmla="*/ 1720 h 3870"/>
              <a:gd name="T48" fmla="*/ 1760 w 3294"/>
              <a:gd name="T49" fmla="*/ 2057 h 3870"/>
              <a:gd name="T50" fmla="*/ 1561 w 3294"/>
              <a:gd name="T51" fmla="*/ 1744 h 3870"/>
              <a:gd name="T52" fmla="*/ 1516 w 3294"/>
              <a:gd name="T53" fmla="*/ 1685 h 3870"/>
              <a:gd name="T54" fmla="*/ 1440 w 3294"/>
              <a:gd name="T55" fmla="*/ 1675 h 3870"/>
              <a:gd name="T56" fmla="*/ 1383 w 3294"/>
              <a:gd name="T57" fmla="*/ 1720 h 3870"/>
              <a:gd name="T58" fmla="*/ 1368 w 3294"/>
              <a:gd name="T59" fmla="*/ 2057 h 3870"/>
              <a:gd name="T60" fmla="*/ 1099 w 3294"/>
              <a:gd name="T61" fmla="*/ 2070 h 3870"/>
              <a:gd name="T62" fmla="*/ 1039 w 3294"/>
              <a:gd name="T63" fmla="*/ 2130 h 3870"/>
              <a:gd name="T64" fmla="*/ 1030 w 3294"/>
              <a:gd name="T65" fmla="*/ 2217 h 3870"/>
              <a:gd name="T66" fmla="*/ 1075 w 3294"/>
              <a:gd name="T67" fmla="*/ 2289 h 3870"/>
              <a:gd name="T68" fmla="*/ 1156 w 3294"/>
              <a:gd name="T69" fmla="*/ 2319 h 3870"/>
              <a:gd name="T70" fmla="*/ 1171 w 3294"/>
              <a:gd name="T71" fmla="*/ 2817 h 3870"/>
              <a:gd name="T72" fmla="*/ 1242 w 3294"/>
              <a:gd name="T73" fmla="*/ 2973 h 3870"/>
              <a:gd name="T74" fmla="*/ 1361 w 3294"/>
              <a:gd name="T75" fmla="*/ 3094 h 3870"/>
              <a:gd name="T76" fmla="*/ 1516 w 3294"/>
              <a:gd name="T77" fmla="*/ 3168 h 3870"/>
              <a:gd name="T78" fmla="*/ 686 w 3294"/>
              <a:gd name="T79" fmla="*/ 3867 h 3870"/>
              <a:gd name="T80" fmla="*/ 541 w 3294"/>
              <a:gd name="T81" fmla="*/ 3817 h 3870"/>
              <a:gd name="T82" fmla="*/ 429 w 3294"/>
              <a:gd name="T83" fmla="*/ 3718 h 3870"/>
              <a:gd name="T84" fmla="*/ 362 w 3294"/>
              <a:gd name="T85" fmla="*/ 3584 h 3870"/>
              <a:gd name="T86" fmla="*/ 348 w 3294"/>
              <a:gd name="T87" fmla="*/ 1865 h 3870"/>
              <a:gd name="T88" fmla="*/ 88 w 3294"/>
              <a:gd name="T89" fmla="*/ 1854 h 3870"/>
              <a:gd name="T90" fmla="*/ 26 w 3294"/>
              <a:gd name="T91" fmla="*/ 1803 h 3870"/>
              <a:gd name="T92" fmla="*/ 0 w 3294"/>
              <a:gd name="T93" fmla="*/ 1724 h 3870"/>
              <a:gd name="T94" fmla="*/ 22 w 3294"/>
              <a:gd name="T95" fmla="*/ 1646 h 3870"/>
              <a:gd name="T96" fmla="*/ 1569 w 3294"/>
              <a:gd name="T97" fmla="*/ 25 h 3870"/>
              <a:gd name="T98" fmla="*/ 1650 w 3294"/>
              <a:gd name="T99" fmla="*/ 0 h 38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294" h="3870">
                <a:moveTo>
                  <a:pt x="1650" y="0"/>
                </a:moveTo>
                <a:lnTo>
                  <a:pt x="1680" y="2"/>
                </a:lnTo>
                <a:lnTo>
                  <a:pt x="1707" y="11"/>
                </a:lnTo>
                <a:lnTo>
                  <a:pt x="1732" y="25"/>
                </a:lnTo>
                <a:lnTo>
                  <a:pt x="1754" y="44"/>
                </a:lnTo>
                <a:lnTo>
                  <a:pt x="3255" y="1624"/>
                </a:lnTo>
                <a:lnTo>
                  <a:pt x="3273" y="1646"/>
                </a:lnTo>
                <a:lnTo>
                  <a:pt x="3284" y="1671"/>
                </a:lnTo>
                <a:lnTo>
                  <a:pt x="3292" y="1697"/>
                </a:lnTo>
                <a:lnTo>
                  <a:pt x="3294" y="1725"/>
                </a:lnTo>
                <a:lnTo>
                  <a:pt x="3290" y="1752"/>
                </a:lnTo>
                <a:lnTo>
                  <a:pt x="3282" y="1778"/>
                </a:lnTo>
                <a:lnTo>
                  <a:pt x="3269" y="1803"/>
                </a:lnTo>
                <a:lnTo>
                  <a:pt x="3251" y="1824"/>
                </a:lnTo>
                <a:lnTo>
                  <a:pt x="3230" y="1841"/>
                </a:lnTo>
                <a:lnTo>
                  <a:pt x="3205" y="1854"/>
                </a:lnTo>
                <a:lnTo>
                  <a:pt x="3179" y="1862"/>
                </a:lnTo>
                <a:lnTo>
                  <a:pt x="3151" y="1865"/>
                </a:lnTo>
                <a:lnTo>
                  <a:pt x="2945" y="1865"/>
                </a:lnTo>
                <a:lnTo>
                  <a:pt x="2945" y="3480"/>
                </a:lnTo>
                <a:lnTo>
                  <a:pt x="2941" y="3533"/>
                </a:lnTo>
                <a:lnTo>
                  <a:pt x="2932" y="3584"/>
                </a:lnTo>
                <a:lnTo>
                  <a:pt x="2914" y="3632"/>
                </a:lnTo>
                <a:lnTo>
                  <a:pt x="2892" y="3677"/>
                </a:lnTo>
                <a:lnTo>
                  <a:pt x="2863" y="3718"/>
                </a:lnTo>
                <a:lnTo>
                  <a:pt x="2830" y="3756"/>
                </a:lnTo>
                <a:lnTo>
                  <a:pt x="2792" y="3789"/>
                </a:lnTo>
                <a:lnTo>
                  <a:pt x="2751" y="3817"/>
                </a:lnTo>
                <a:lnTo>
                  <a:pt x="2706" y="3840"/>
                </a:lnTo>
                <a:lnTo>
                  <a:pt x="2658" y="3857"/>
                </a:lnTo>
                <a:lnTo>
                  <a:pt x="2607" y="3867"/>
                </a:lnTo>
                <a:lnTo>
                  <a:pt x="2554" y="3870"/>
                </a:lnTo>
                <a:lnTo>
                  <a:pt x="1777" y="3870"/>
                </a:lnTo>
                <a:lnTo>
                  <a:pt x="1777" y="3168"/>
                </a:lnTo>
                <a:lnTo>
                  <a:pt x="1832" y="3149"/>
                </a:lnTo>
                <a:lnTo>
                  <a:pt x="1884" y="3125"/>
                </a:lnTo>
                <a:lnTo>
                  <a:pt x="1932" y="3094"/>
                </a:lnTo>
                <a:lnTo>
                  <a:pt x="1976" y="3057"/>
                </a:lnTo>
                <a:lnTo>
                  <a:pt x="2016" y="3017"/>
                </a:lnTo>
                <a:lnTo>
                  <a:pt x="2052" y="2973"/>
                </a:lnTo>
                <a:lnTo>
                  <a:pt x="2081" y="2924"/>
                </a:lnTo>
                <a:lnTo>
                  <a:pt x="2105" y="2872"/>
                </a:lnTo>
                <a:lnTo>
                  <a:pt x="2122" y="2817"/>
                </a:lnTo>
                <a:lnTo>
                  <a:pt x="2133" y="2758"/>
                </a:lnTo>
                <a:lnTo>
                  <a:pt x="2137" y="2698"/>
                </a:lnTo>
                <a:lnTo>
                  <a:pt x="2137" y="2319"/>
                </a:lnTo>
                <a:lnTo>
                  <a:pt x="2166" y="2315"/>
                </a:lnTo>
                <a:lnTo>
                  <a:pt x="2194" y="2305"/>
                </a:lnTo>
                <a:lnTo>
                  <a:pt x="2218" y="2289"/>
                </a:lnTo>
                <a:lnTo>
                  <a:pt x="2238" y="2269"/>
                </a:lnTo>
                <a:lnTo>
                  <a:pt x="2253" y="2246"/>
                </a:lnTo>
                <a:lnTo>
                  <a:pt x="2264" y="2217"/>
                </a:lnTo>
                <a:lnTo>
                  <a:pt x="2267" y="2188"/>
                </a:lnTo>
                <a:lnTo>
                  <a:pt x="2264" y="2158"/>
                </a:lnTo>
                <a:lnTo>
                  <a:pt x="2253" y="2130"/>
                </a:lnTo>
                <a:lnTo>
                  <a:pt x="2238" y="2107"/>
                </a:lnTo>
                <a:lnTo>
                  <a:pt x="2218" y="2087"/>
                </a:lnTo>
                <a:lnTo>
                  <a:pt x="2194" y="2070"/>
                </a:lnTo>
                <a:lnTo>
                  <a:pt x="2166" y="2061"/>
                </a:lnTo>
                <a:lnTo>
                  <a:pt x="2137" y="2057"/>
                </a:lnTo>
                <a:lnTo>
                  <a:pt x="1957" y="2057"/>
                </a:lnTo>
                <a:lnTo>
                  <a:pt x="1957" y="1770"/>
                </a:lnTo>
                <a:lnTo>
                  <a:pt x="1954" y="1744"/>
                </a:lnTo>
                <a:lnTo>
                  <a:pt x="1943" y="1720"/>
                </a:lnTo>
                <a:lnTo>
                  <a:pt x="1928" y="1700"/>
                </a:lnTo>
                <a:lnTo>
                  <a:pt x="1908" y="1685"/>
                </a:lnTo>
                <a:lnTo>
                  <a:pt x="1885" y="1675"/>
                </a:lnTo>
                <a:lnTo>
                  <a:pt x="1858" y="1672"/>
                </a:lnTo>
                <a:lnTo>
                  <a:pt x="1832" y="1675"/>
                </a:lnTo>
                <a:lnTo>
                  <a:pt x="1810" y="1685"/>
                </a:lnTo>
                <a:lnTo>
                  <a:pt x="1790" y="1700"/>
                </a:lnTo>
                <a:lnTo>
                  <a:pt x="1774" y="1720"/>
                </a:lnTo>
                <a:lnTo>
                  <a:pt x="1764" y="1744"/>
                </a:lnTo>
                <a:lnTo>
                  <a:pt x="1760" y="1770"/>
                </a:lnTo>
                <a:lnTo>
                  <a:pt x="1760" y="2057"/>
                </a:lnTo>
                <a:lnTo>
                  <a:pt x="1564" y="2057"/>
                </a:lnTo>
                <a:lnTo>
                  <a:pt x="1564" y="1770"/>
                </a:lnTo>
                <a:lnTo>
                  <a:pt x="1561" y="1744"/>
                </a:lnTo>
                <a:lnTo>
                  <a:pt x="1551" y="1720"/>
                </a:lnTo>
                <a:lnTo>
                  <a:pt x="1536" y="1700"/>
                </a:lnTo>
                <a:lnTo>
                  <a:pt x="1516" y="1685"/>
                </a:lnTo>
                <a:lnTo>
                  <a:pt x="1492" y="1675"/>
                </a:lnTo>
                <a:lnTo>
                  <a:pt x="1466" y="1672"/>
                </a:lnTo>
                <a:lnTo>
                  <a:pt x="1440" y="1675"/>
                </a:lnTo>
                <a:lnTo>
                  <a:pt x="1417" y="1685"/>
                </a:lnTo>
                <a:lnTo>
                  <a:pt x="1398" y="1700"/>
                </a:lnTo>
                <a:lnTo>
                  <a:pt x="1383" y="1720"/>
                </a:lnTo>
                <a:lnTo>
                  <a:pt x="1372" y="1744"/>
                </a:lnTo>
                <a:lnTo>
                  <a:pt x="1368" y="1770"/>
                </a:lnTo>
                <a:lnTo>
                  <a:pt x="1368" y="2057"/>
                </a:lnTo>
                <a:lnTo>
                  <a:pt x="1156" y="2057"/>
                </a:lnTo>
                <a:lnTo>
                  <a:pt x="1127" y="2061"/>
                </a:lnTo>
                <a:lnTo>
                  <a:pt x="1099" y="2070"/>
                </a:lnTo>
                <a:lnTo>
                  <a:pt x="1075" y="2087"/>
                </a:lnTo>
                <a:lnTo>
                  <a:pt x="1055" y="2107"/>
                </a:lnTo>
                <a:lnTo>
                  <a:pt x="1039" y="2130"/>
                </a:lnTo>
                <a:lnTo>
                  <a:pt x="1030" y="2158"/>
                </a:lnTo>
                <a:lnTo>
                  <a:pt x="1026" y="2188"/>
                </a:lnTo>
                <a:lnTo>
                  <a:pt x="1030" y="2217"/>
                </a:lnTo>
                <a:lnTo>
                  <a:pt x="1039" y="2246"/>
                </a:lnTo>
                <a:lnTo>
                  <a:pt x="1055" y="2269"/>
                </a:lnTo>
                <a:lnTo>
                  <a:pt x="1075" y="2289"/>
                </a:lnTo>
                <a:lnTo>
                  <a:pt x="1099" y="2305"/>
                </a:lnTo>
                <a:lnTo>
                  <a:pt x="1127" y="2315"/>
                </a:lnTo>
                <a:lnTo>
                  <a:pt x="1156" y="2319"/>
                </a:lnTo>
                <a:lnTo>
                  <a:pt x="1156" y="2698"/>
                </a:lnTo>
                <a:lnTo>
                  <a:pt x="1161" y="2758"/>
                </a:lnTo>
                <a:lnTo>
                  <a:pt x="1171" y="2817"/>
                </a:lnTo>
                <a:lnTo>
                  <a:pt x="1189" y="2871"/>
                </a:lnTo>
                <a:lnTo>
                  <a:pt x="1213" y="2924"/>
                </a:lnTo>
                <a:lnTo>
                  <a:pt x="1242" y="2973"/>
                </a:lnTo>
                <a:lnTo>
                  <a:pt x="1276" y="3017"/>
                </a:lnTo>
                <a:lnTo>
                  <a:pt x="1317" y="3057"/>
                </a:lnTo>
                <a:lnTo>
                  <a:pt x="1361" y="3094"/>
                </a:lnTo>
                <a:lnTo>
                  <a:pt x="1409" y="3125"/>
                </a:lnTo>
                <a:lnTo>
                  <a:pt x="1460" y="3149"/>
                </a:lnTo>
                <a:lnTo>
                  <a:pt x="1516" y="3168"/>
                </a:lnTo>
                <a:lnTo>
                  <a:pt x="1516" y="3870"/>
                </a:lnTo>
                <a:lnTo>
                  <a:pt x="740" y="3870"/>
                </a:lnTo>
                <a:lnTo>
                  <a:pt x="686" y="3867"/>
                </a:lnTo>
                <a:lnTo>
                  <a:pt x="636" y="3857"/>
                </a:lnTo>
                <a:lnTo>
                  <a:pt x="587" y="3840"/>
                </a:lnTo>
                <a:lnTo>
                  <a:pt x="541" y="3817"/>
                </a:lnTo>
                <a:lnTo>
                  <a:pt x="500" y="3789"/>
                </a:lnTo>
                <a:lnTo>
                  <a:pt x="462" y="3756"/>
                </a:lnTo>
                <a:lnTo>
                  <a:pt x="429" y="3718"/>
                </a:lnTo>
                <a:lnTo>
                  <a:pt x="401" y="3677"/>
                </a:lnTo>
                <a:lnTo>
                  <a:pt x="379" y="3632"/>
                </a:lnTo>
                <a:lnTo>
                  <a:pt x="362" y="3584"/>
                </a:lnTo>
                <a:lnTo>
                  <a:pt x="351" y="3533"/>
                </a:lnTo>
                <a:lnTo>
                  <a:pt x="348" y="3480"/>
                </a:lnTo>
                <a:lnTo>
                  <a:pt x="348" y="1865"/>
                </a:lnTo>
                <a:lnTo>
                  <a:pt x="143" y="1865"/>
                </a:lnTo>
                <a:lnTo>
                  <a:pt x="115" y="1862"/>
                </a:lnTo>
                <a:lnTo>
                  <a:pt x="88" y="1854"/>
                </a:lnTo>
                <a:lnTo>
                  <a:pt x="65" y="1841"/>
                </a:lnTo>
                <a:lnTo>
                  <a:pt x="43" y="1824"/>
                </a:lnTo>
                <a:lnTo>
                  <a:pt x="26" y="1803"/>
                </a:lnTo>
                <a:lnTo>
                  <a:pt x="12" y="1778"/>
                </a:lnTo>
                <a:lnTo>
                  <a:pt x="3" y="1752"/>
                </a:lnTo>
                <a:lnTo>
                  <a:pt x="0" y="1724"/>
                </a:lnTo>
                <a:lnTo>
                  <a:pt x="2" y="1697"/>
                </a:lnTo>
                <a:lnTo>
                  <a:pt x="9" y="1671"/>
                </a:lnTo>
                <a:lnTo>
                  <a:pt x="22" y="1646"/>
                </a:lnTo>
                <a:lnTo>
                  <a:pt x="40" y="1624"/>
                </a:lnTo>
                <a:lnTo>
                  <a:pt x="1547" y="44"/>
                </a:lnTo>
                <a:lnTo>
                  <a:pt x="1569" y="25"/>
                </a:lnTo>
                <a:lnTo>
                  <a:pt x="1594" y="11"/>
                </a:lnTo>
                <a:lnTo>
                  <a:pt x="1622" y="2"/>
                </a:lnTo>
                <a:lnTo>
                  <a:pt x="165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18" name="Freeform 4972"/>
          <p:cNvSpPr>
            <a:spLocks noEditPoints="1"/>
          </p:cNvSpPr>
          <p:nvPr/>
        </p:nvSpPr>
        <p:spPr bwMode="auto">
          <a:xfrm>
            <a:off x="5640259" y="4894548"/>
            <a:ext cx="472186" cy="399912"/>
          </a:xfrm>
          <a:custGeom>
            <a:avLst/>
            <a:gdLst>
              <a:gd name="T0" fmla="*/ 314 w 392"/>
              <a:gd name="T1" fmla="*/ 116 h 332"/>
              <a:gd name="T2" fmla="*/ 342 w 392"/>
              <a:gd name="T3" fmla="*/ 64 h 332"/>
              <a:gd name="T4" fmla="*/ 342 w 392"/>
              <a:gd name="T5" fmla="*/ 58 h 332"/>
              <a:gd name="T6" fmla="*/ 340 w 392"/>
              <a:gd name="T7" fmla="*/ 56 h 332"/>
              <a:gd name="T8" fmla="*/ 224 w 392"/>
              <a:gd name="T9" fmla="*/ 0 h 332"/>
              <a:gd name="T10" fmla="*/ 220 w 392"/>
              <a:gd name="T11" fmla="*/ 0 h 332"/>
              <a:gd name="T12" fmla="*/ 188 w 392"/>
              <a:gd name="T13" fmla="*/ 52 h 332"/>
              <a:gd name="T14" fmla="*/ 160 w 392"/>
              <a:gd name="T15" fmla="*/ 4 h 332"/>
              <a:gd name="T16" fmla="*/ 150 w 392"/>
              <a:gd name="T17" fmla="*/ 0 h 332"/>
              <a:gd name="T18" fmla="*/ 38 w 392"/>
              <a:gd name="T19" fmla="*/ 54 h 332"/>
              <a:gd name="T20" fmla="*/ 32 w 392"/>
              <a:gd name="T21" fmla="*/ 58 h 332"/>
              <a:gd name="T22" fmla="*/ 32 w 392"/>
              <a:gd name="T23" fmla="*/ 62 h 332"/>
              <a:gd name="T24" fmla="*/ 62 w 392"/>
              <a:gd name="T25" fmla="*/ 116 h 332"/>
              <a:gd name="T26" fmla="*/ 6 w 392"/>
              <a:gd name="T27" fmla="*/ 122 h 332"/>
              <a:gd name="T28" fmla="*/ 0 w 392"/>
              <a:gd name="T29" fmla="*/ 128 h 332"/>
              <a:gd name="T30" fmla="*/ 0 w 392"/>
              <a:gd name="T31" fmla="*/ 134 h 332"/>
              <a:gd name="T32" fmla="*/ 66 w 392"/>
              <a:gd name="T33" fmla="*/ 166 h 332"/>
              <a:gd name="T34" fmla="*/ 66 w 392"/>
              <a:gd name="T35" fmla="*/ 270 h 332"/>
              <a:gd name="T36" fmla="*/ 72 w 392"/>
              <a:gd name="T37" fmla="*/ 276 h 332"/>
              <a:gd name="T38" fmla="*/ 184 w 392"/>
              <a:gd name="T39" fmla="*/ 330 h 332"/>
              <a:gd name="T40" fmla="*/ 184 w 392"/>
              <a:gd name="T41" fmla="*/ 330 h 332"/>
              <a:gd name="T42" fmla="*/ 188 w 392"/>
              <a:gd name="T43" fmla="*/ 332 h 332"/>
              <a:gd name="T44" fmla="*/ 190 w 392"/>
              <a:gd name="T45" fmla="*/ 330 h 332"/>
              <a:gd name="T46" fmla="*/ 304 w 392"/>
              <a:gd name="T47" fmla="*/ 276 h 332"/>
              <a:gd name="T48" fmla="*/ 308 w 392"/>
              <a:gd name="T49" fmla="*/ 274 h 332"/>
              <a:gd name="T50" fmla="*/ 308 w 392"/>
              <a:gd name="T51" fmla="*/ 178 h 332"/>
              <a:gd name="T52" fmla="*/ 388 w 392"/>
              <a:gd name="T53" fmla="*/ 140 h 332"/>
              <a:gd name="T54" fmla="*/ 392 w 392"/>
              <a:gd name="T55" fmla="*/ 132 h 332"/>
              <a:gd name="T56" fmla="*/ 390 w 392"/>
              <a:gd name="T57" fmla="*/ 128 h 332"/>
              <a:gd name="T58" fmla="*/ 386 w 392"/>
              <a:gd name="T59" fmla="*/ 126 h 332"/>
              <a:gd name="T60" fmla="*/ 324 w 392"/>
              <a:gd name="T61" fmla="*/ 64 h 332"/>
              <a:gd name="T62" fmla="*/ 198 w 392"/>
              <a:gd name="T63" fmla="*/ 66 h 332"/>
              <a:gd name="T64" fmla="*/ 180 w 392"/>
              <a:gd name="T65" fmla="*/ 310 h 332"/>
              <a:gd name="T66" fmla="*/ 82 w 392"/>
              <a:gd name="T67" fmla="*/ 174 h 332"/>
              <a:gd name="T68" fmla="*/ 118 w 392"/>
              <a:gd name="T69" fmla="*/ 190 h 332"/>
              <a:gd name="T70" fmla="*/ 120 w 392"/>
              <a:gd name="T71" fmla="*/ 190 h 332"/>
              <a:gd name="T72" fmla="*/ 180 w 392"/>
              <a:gd name="T73" fmla="*/ 184 h 332"/>
              <a:gd name="T74" fmla="*/ 188 w 392"/>
              <a:gd name="T75" fmla="*/ 166 h 332"/>
              <a:gd name="T76" fmla="*/ 188 w 392"/>
              <a:gd name="T77" fmla="*/ 78 h 332"/>
              <a:gd name="T78" fmla="*/ 188 w 392"/>
              <a:gd name="T79" fmla="*/ 166 h 332"/>
              <a:gd name="T80" fmla="*/ 262 w 392"/>
              <a:gd name="T81" fmla="*/ 236 h 332"/>
              <a:gd name="T82" fmla="*/ 262 w 392"/>
              <a:gd name="T83" fmla="*/ 278 h 332"/>
              <a:gd name="T84" fmla="*/ 260 w 392"/>
              <a:gd name="T85" fmla="*/ 284 h 332"/>
              <a:gd name="T86" fmla="*/ 254 w 392"/>
              <a:gd name="T87" fmla="*/ 286 h 332"/>
              <a:gd name="T88" fmla="*/ 250 w 392"/>
              <a:gd name="T89" fmla="*/ 286 h 332"/>
              <a:gd name="T90" fmla="*/ 246 w 392"/>
              <a:gd name="T91" fmla="*/ 282 h 332"/>
              <a:gd name="T92" fmla="*/ 246 w 392"/>
              <a:gd name="T93" fmla="*/ 240 h 332"/>
              <a:gd name="T94" fmla="*/ 238 w 392"/>
              <a:gd name="T95" fmla="*/ 244 h 332"/>
              <a:gd name="T96" fmla="*/ 236 w 392"/>
              <a:gd name="T97" fmla="*/ 244 h 332"/>
              <a:gd name="T98" fmla="*/ 228 w 392"/>
              <a:gd name="T99" fmla="*/ 240 h 332"/>
              <a:gd name="T100" fmla="*/ 228 w 392"/>
              <a:gd name="T101" fmla="*/ 236 h 332"/>
              <a:gd name="T102" fmla="*/ 248 w 392"/>
              <a:gd name="T103" fmla="*/ 210 h 332"/>
              <a:gd name="T104" fmla="*/ 252 w 392"/>
              <a:gd name="T105" fmla="*/ 206 h 332"/>
              <a:gd name="T106" fmla="*/ 274 w 392"/>
              <a:gd name="T107" fmla="*/ 216 h 332"/>
              <a:gd name="T108" fmla="*/ 278 w 392"/>
              <a:gd name="T109" fmla="*/ 220 h 332"/>
              <a:gd name="T110" fmla="*/ 278 w 392"/>
              <a:gd name="T111" fmla="*/ 224 h 332"/>
              <a:gd name="T112" fmla="*/ 272 w 392"/>
              <a:gd name="T113" fmla="*/ 232 h 332"/>
              <a:gd name="T114" fmla="*/ 308 w 392"/>
              <a:gd name="T115" fmla="*/ 160 h 332"/>
              <a:gd name="T116" fmla="*/ 270 w 392"/>
              <a:gd name="T117" fmla="*/ 178 h 332"/>
              <a:gd name="T118" fmla="*/ 302 w 392"/>
              <a:gd name="T119" fmla="*/ 130 h 332"/>
              <a:gd name="T120" fmla="*/ 308 w 392"/>
              <a:gd name="T121" fmla="*/ 132 h 332"/>
              <a:gd name="T122" fmla="*/ 308 w 392"/>
              <a:gd name="T123" fmla="*/ 160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92" h="332">
                <a:moveTo>
                  <a:pt x="386" y="126"/>
                </a:moveTo>
                <a:lnTo>
                  <a:pt x="314" y="116"/>
                </a:lnTo>
                <a:lnTo>
                  <a:pt x="342" y="64"/>
                </a:lnTo>
                <a:lnTo>
                  <a:pt x="342" y="64"/>
                </a:lnTo>
                <a:lnTo>
                  <a:pt x="342" y="62"/>
                </a:lnTo>
                <a:lnTo>
                  <a:pt x="342" y="58"/>
                </a:lnTo>
                <a:lnTo>
                  <a:pt x="342" y="58"/>
                </a:lnTo>
                <a:lnTo>
                  <a:pt x="340" y="56"/>
                </a:lnTo>
                <a:lnTo>
                  <a:pt x="338" y="54"/>
                </a:lnTo>
                <a:lnTo>
                  <a:pt x="224" y="0"/>
                </a:lnTo>
                <a:lnTo>
                  <a:pt x="224" y="0"/>
                </a:lnTo>
                <a:lnTo>
                  <a:pt x="220" y="0"/>
                </a:lnTo>
                <a:lnTo>
                  <a:pt x="214" y="4"/>
                </a:lnTo>
                <a:lnTo>
                  <a:pt x="188" y="52"/>
                </a:lnTo>
                <a:lnTo>
                  <a:pt x="160" y="4"/>
                </a:lnTo>
                <a:lnTo>
                  <a:pt x="160" y="4"/>
                </a:lnTo>
                <a:lnTo>
                  <a:pt x="156" y="0"/>
                </a:lnTo>
                <a:lnTo>
                  <a:pt x="150" y="0"/>
                </a:lnTo>
                <a:lnTo>
                  <a:pt x="38" y="54"/>
                </a:lnTo>
                <a:lnTo>
                  <a:pt x="38" y="54"/>
                </a:lnTo>
                <a:lnTo>
                  <a:pt x="34" y="56"/>
                </a:lnTo>
                <a:lnTo>
                  <a:pt x="32" y="58"/>
                </a:lnTo>
                <a:lnTo>
                  <a:pt x="32" y="58"/>
                </a:lnTo>
                <a:lnTo>
                  <a:pt x="32" y="62"/>
                </a:lnTo>
                <a:lnTo>
                  <a:pt x="34" y="64"/>
                </a:lnTo>
                <a:lnTo>
                  <a:pt x="62" y="116"/>
                </a:lnTo>
                <a:lnTo>
                  <a:pt x="6" y="122"/>
                </a:lnTo>
                <a:lnTo>
                  <a:pt x="6" y="122"/>
                </a:lnTo>
                <a:lnTo>
                  <a:pt x="2" y="124"/>
                </a:lnTo>
                <a:lnTo>
                  <a:pt x="0" y="128"/>
                </a:lnTo>
                <a:lnTo>
                  <a:pt x="0" y="128"/>
                </a:lnTo>
                <a:lnTo>
                  <a:pt x="0" y="134"/>
                </a:lnTo>
                <a:lnTo>
                  <a:pt x="4" y="136"/>
                </a:lnTo>
                <a:lnTo>
                  <a:pt x="66" y="166"/>
                </a:lnTo>
                <a:lnTo>
                  <a:pt x="66" y="270"/>
                </a:lnTo>
                <a:lnTo>
                  <a:pt x="66" y="270"/>
                </a:lnTo>
                <a:lnTo>
                  <a:pt x="68" y="274"/>
                </a:lnTo>
                <a:lnTo>
                  <a:pt x="72" y="276"/>
                </a:lnTo>
                <a:lnTo>
                  <a:pt x="184" y="330"/>
                </a:lnTo>
                <a:lnTo>
                  <a:pt x="184" y="330"/>
                </a:lnTo>
                <a:lnTo>
                  <a:pt x="184" y="330"/>
                </a:lnTo>
                <a:lnTo>
                  <a:pt x="184" y="330"/>
                </a:lnTo>
                <a:lnTo>
                  <a:pt x="188" y="332"/>
                </a:lnTo>
                <a:lnTo>
                  <a:pt x="188" y="332"/>
                </a:lnTo>
                <a:lnTo>
                  <a:pt x="190" y="330"/>
                </a:lnTo>
                <a:lnTo>
                  <a:pt x="190" y="330"/>
                </a:lnTo>
                <a:lnTo>
                  <a:pt x="190" y="330"/>
                </a:lnTo>
                <a:lnTo>
                  <a:pt x="304" y="276"/>
                </a:lnTo>
                <a:lnTo>
                  <a:pt x="304" y="276"/>
                </a:lnTo>
                <a:lnTo>
                  <a:pt x="308" y="274"/>
                </a:lnTo>
                <a:lnTo>
                  <a:pt x="308" y="270"/>
                </a:lnTo>
                <a:lnTo>
                  <a:pt x="308" y="178"/>
                </a:lnTo>
                <a:lnTo>
                  <a:pt x="388" y="140"/>
                </a:lnTo>
                <a:lnTo>
                  <a:pt x="388" y="140"/>
                </a:lnTo>
                <a:lnTo>
                  <a:pt x="392" y="138"/>
                </a:lnTo>
                <a:lnTo>
                  <a:pt x="392" y="132"/>
                </a:lnTo>
                <a:lnTo>
                  <a:pt x="392" y="132"/>
                </a:lnTo>
                <a:lnTo>
                  <a:pt x="390" y="128"/>
                </a:lnTo>
                <a:lnTo>
                  <a:pt x="386" y="126"/>
                </a:lnTo>
                <a:lnTo>
                  <a:pt x="386" y="126"/>
                </a:lnTo>
                <a:close/>
                <a:moveTo>
                  <a:pt x="224" y="18"/>
                </a:moveTo>
                <a:lnTo>
                  <a:pt x="324" y="64"/>
                </a:lnTo>
                <a:lnTo>
                  <a:pt x="298" y="112"/>
                </a:lnTo>
                <a:lnTo>
                  <a:pt x="198" y="66"/>
                </a:lnTo>
                <a:lnTo>
                  <a:pt x="224" y="18"/>
                </a:lnTo>
                <a:close/>
                <a:moveTo>
                  <a:pt x="180" y="310"/>
                </a:moveTo>
                <a:lnTo>
                  <a:pt x="82" y="264"/>
                </a:lnTo>
                <a:lnTo>
                  <a:pt x="82" y="174"/>
                </a:lnTo>
                <a:lnTo>
                  <a:pt x="118" y="190"/>
                </a:lnTo>
                <a:lnTo>
                  <a:pt x="118" y="190"/>
                </a:lnTo>
                <a:lnTo>
                  <a:pt x="120" y="190"/>
                </a:lnTo>
                <a:lnTo>
                  <a:pt x="120" y="190"/>
                </a:lnTo>
                <a:lnTo>
                  <a:pt x="122" y="190"/>
                </a:lnTo>
                <a:lnTo>
                  <a:pt x="180" y="184"/>
                </a:lnTo>
                <a:lnTo>
                  <a:pt x="180" y="310"/>
                </a:lnTo>
                <a:close/>
                <a:moveTo>
                  <a:pt x="188" y="166"/>
                </a:moveTo>
                <a:lnTo>
                  <a:pt x="94" y="122"/>
                </a:lnTo>
                <a:lnTo>
                  <a:pt x="188" y="78"/>
                </a:lnTo>
                <a:lnTo>
                  <a:pt x="282" y="122"/>
                </a:lnTo>
                <a:lnTo>
                  <a:pt x="188" y="166"/>
                </a:lnTo>
                <a:close/>
                <a:moveTo>
                  <a:pt x="272" y="232"/>
                </a:moveTo>
                <a:lnTo>
                  <a:pt x="262" y="236"/>
                </a:lnTo>
                <a:lnTo>
                  <a:pt x="262" y="278"/>
                </a:lnTo>
                <a:lnTo>
                  <a:pt x="262" y="278"/>
                </a:lnTo>
                <a:lnTo>
                  <a:pt x="260" y="282"/>
                </a:lnTo>
                <a:lnTo>
                  <a:pt x="260" y="284"/>
                </a:lnTo>
                <a:lnTo>
                  <a:pt x="256" y="286"/>
                </a:lnTo>
                <a:lnTo>
                  <a:pt x="254" y="286"/>
                </a:lnTo>
                <a:lnTo>
                  <a:pt x="254" y="286"/>
                </a:lnTo>
                <a:lnTo>
                  <a:pt x="250" y="286"/>
                </a:lnTo>
                <a:lnTo>
                  <a:pt x="248" y="284"/>
                </a:lnTo>
                <a:lnTo>
                  <a:pt x="246" y="282"/>
                </a:lnTo>
                <a:lnTo>
                  <a:pt x="246" y="278"/>
                </a:lnTo>
                <a:lnTo>
                  <a:pt x="246" y="240"/>
                </a:lnTo>
                <a:lnTo>
                  <a:pt x="238" y="244"/>
                </a:lnTo>
                <a:lnTo>
                  <a:pt x="238" y="244"/>
                </a:lnTo>
                <a:lnTo>
                  <a:pt x="236" y="244"/>
                </a:lnTo>
                <a:lnTo>
                  <a:pt x="236" y="244"/>
                </a:lnTo>
                <a:lnTo>
                  <a:pt x="232" y="242"/>
                </a:lnTo>
                <a:lnTo>
                  <a:pt x="228" y="240"/>
                </a:lnTo>
                <a:lnTo>
                  <a:pt x="228" y="240"/>
                </a:lnTo>
                <a:lnTo>
                  <a:pt x="228" y="236"/>
                </a:lnTo>
                <a:lnTo>
                  <a:pt x="230" y="230"/>
                </a:lnTo>
                <a:lnTo>
                  <a:pt x="248" y="210"/>
                </a:lnTo>
                <a:lnTo>
                  <a:pt x="248" y="210"/>
                </a:lnTo>
                <a:lnTo>
                  <a:pt x="252" y="206"/>
                </a:lnTo>
                <a:lnTo>
                  <a:pt x="258" y="208"/>
                </a:lnTo>
                <a:lnTo>
                  <a:pt x="274" y="216"/>
                </a:lnTo>
                <a:lnTo>
                  <a:pt x="274" y="216"/>
                </a:lnTo>
                <a:lnTo>
                  <a:pt x="278" y="220"/>
                </a:lnTo>
                <a:lnTo>
                  <a:pt x="278" y="224"/>
                </a:lnTo>
                <a:lnTo>
                  <a:pt x="278" y="224"/>
                </a:lnTo>
                <a:lnTo>
                  <a:pt x="276" y="228"/>
                </a:lnTo>
                <a:lnTo>
                  <a:pt x="272" y="232"/>
                </a:lnTo>
                <a:lnTo>
                  <a:pt x="272" y="232"/>
                </a:lnTo>
                <a:close/>
                <a:moveTo>
                  <a:pt x="308" y="160"/>
                </a:moveTo>
                <a:lnTo>
                  <a:pt x="308" y="160"/>
                </a:lnTo>
                <a:lnTo>
                  <a:pt x="270" y="178"/>
                </a:lnTo>
                <a:lnTo>
                  <a:pt x="216" y="172"/>
                </a:lnTo>
                <a:lnTo>
                  <a:pt x="302" y="130"/>
                </a:lnTo>
                <a:lnTo>
                  <a:pt x="308" y="132"/>
                </a:lnTo>
                <a:lnTo>
                  <a:pt x="308" y="132"/>
                </a:lnTo>
                <a:lnTo>
                  <a:pt x="356" y="138"/>
                </a:lnTo>
                <a:lnTo>
                  <a:pt x="308" y="1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26" name="Freeform 89"/>
          <p:cNvSpPr>
            <a:spLocks noEditPoints="1"/>
          </p:cNvSpPr>
          <p:nvPr/>
        </p:nvSpPr>
        <p:spPr bwMode="auto">
          <a:xfrm>
            <a:off x="6854426" y="1761726"/>
            <a:ext cx="484967" cy="484672"/>
          </a:xfrm>
          <a:custGeom>
            <a:avLst/>
            <a:gdLst>
              <a:gd name="T0" fmla="*/ 1845 w 6560"/>
              <a:gd name="T1" fmla="*/ 4098 h 6556"/>
              <a:gd name="T2" fmla="*/ 2044 w 6560"/>
              <a:gd name="T3" fmla="*/ 4256 h 6556"/>
              <a:gd name="T4" fmla="*/ 1947 w 6560"/>
              <a:gd name="T5" fmla="*/ 4477 h 6556"/>
              <a:gd name="T6" fmla="*/ 2050 w 6560"/>
              <a:gd name="T7" fmla="*/ 5123 h 6556"/>
              <a:gd name="T8" fmla="*/ 1893 w 6560"/>
              <a:gd name="T9" fmla="*/ 5322 h 6556"/>
              <a:gd name="T10" fmla="*/ 1661 w 6560"/>
              <a:gd name="T11" fmla="*/ 5213 h 6556"/>
              <a:gd name="T12" fmla="*/ 1709 w 6560"/>
              <a:gd name="T13" fmla="*/ 4973 h 6556"/>
              <a:gd name="T14" fmla="*/ 1645 w 6560"/>
              <a:gd name="T15" fmla="*/ 4345 h 6556"/>
              <a:gd name="T16" fmla="*/ 1755 w 6560"/>
              <a:gd name="T17" fmla="*/ 4118 h 6556"/>
              <a:gd name="T18" fmla="*/ 3449 w 6560"/>
              <a:gd name="T19" fmla="*/ 5015 h 6556"/>
              <a:gd name="T20" fmla="*/ 4027 w 6560"/>
              <a:gd name="T21" fmla="*/ 3855 h 6556"/>
              <a:gd name="T22" fmla="*/ 3151 w 6560"/>
              <a:gd name="T23" fmla="*/ 3104 h 6556"/>
              <a:gd name="T24" fmla="*/ 2737 w 6560"/>
              <a:gd name="T25" fmla="*/ 3434 h 6556"/>
              <a:gd name="T26" fmla="*/ 5535 w 6560"/>
              <a:gd name="T27" fmla="*/ 3454 h 6556"/>
              <a:gd name="T28" fmla="*/ 5094 w 6560"/>
              <a:gd name="T29" fmla="*/ 3167 h 6556"/>
              <a:gd name="T30" fmla="*/ 4921 w 6560"/>
              <a:gd name="T31" fmla="*/ 2663 h 6556"/>
              <a:gd name="T32" fmla="*/ 4739 w 6560"/>
              <a:gd name="T33" fmla="*/ 3175 h 6556"/>
              <a:gd name="T34" fmla="*/ 4288 w 6560"/>
              <a:gd name="T35" fmla="*/ 3462 h 6556"/>
              <a:gd name="T36" fmla="*/ 3740 w 6560"/>
              <a:gd name="T37" fmla="*/ 3401 h 6556"/>
              <a:gd name="T38" fmla="*/ 3363 w 6560"/>
              <a:gd name="T39" fmla="*/ 3024 h 6556"/>
              <a:gd name="T40" fmla="*/ 1636 w 6560"/>
              <a:gd name="T41" fmla="*/ 2757 h 6556"/>
              <a:gd name="T42" fmla="*/ 1406 w 6560"/>
              <a:gd name="T43" fmla="*/ 3233 h 6556"/>
              <a:gd name="T44" fmla="*/ 1025 w 6560"/>
              <a:gd name="T45" fmla="*/ 6145 h 6556"/>
              <a:gd name="T46" fmla="*/ 1939 w 6560"/>
              <a:gd name="T47" fmla="*/ 3293 h 6556"/>
              <a:gd name="T48" fmla="*/ 1661 w 6560"/>
              <a:gd name="T49" fmla="*/ 2848 h 6556"/>
              <a:gd name="T50" fmla="*/ 6554 w 6560"/>
              <a:gd name="T51" fmla="*/ 2757 h 6556"/>
              <a:gd name="T52" fmla="*/ 6327 w 6560"/>
              <a:gd name="T53" fmla="*/ 3233 h 6556"/>
              <a:gd name="T54" fmla="*/ 5944 w 6560"/>
              <a:gd name="T55" fmla="*/ 6145 h 6556"/>
              <a:gd name="T56" fmla="*/ 6538 w 6560"/>
              <a:gd name="T57" fmla="*/ 6261 h 6556"/>
              <a:gd name="T58" fmla="*/ 6482 w 6560"/>
              <a:gd name="T59" fmla="*/ 6510 h 6556"/>
              <a:gd name="T60" fmla="*/ 116 w 6560"/>
              <a:gd name="T61" fmla="*/ 6536 h 6556"/>
              <a:gd name="T62" fmla="*/ 6 w 6560"/>
              <a:gd name="T63" fmla="*/ 6305 h 6556"/>
              <a:gd name="T64" fmla="*/ 205 w 6560"/>
              <a:gd name="T65" fmla="*/ 6145 h 6556"/>
              <a:gd name="T66" fmla="*/ 299 w 6560"/>
              <a:gd name="T67" fmla="*/ 3293 h 6556"/>
              <a:gd name="T68" fmla="*/ 22 w 6560"/>
              <a:gd name="T69" fmla="*/ 2848 h 6556"/>
              <a:gd name="T70" fmla="*/ 2413 w 6560"/>
              <a:gd name="T71" fmla="*/ 935 h 6556"/>
              <a:gd name="T72" fmla="*/ 1959 w 6560"/>
              <a:gd name="T73" fmla="*/ 1892 h 6556"/>
              <a:gd name="T74" fmla="*/ 2102 w 6560"/>
              <a:gd name="T75" fmla="*/ 1932 h 6556"/>
              <a:gd name="T76" fmla="*/ 2557 w 6560"/>
              <a:gd name="T77" fmla="*/ 993 h 6556"/>
              <a:gd name="T78" fmla="*/ 1624 w 6560"/>
              <a:gd name="T79" fmla="*/ 925 h 6556"/>
              <a:gd name="T80" fmla="*/ 1129 w 6560"/>
              <a:gd name="T81" fmla="*/ 1862 h 6556"/>
              <a:gd name="T82" fmla="*/ 1259 w 6560"/>
              <a:gd name="T83" fmla="*/ 1943 h 6556"/>
              <a:gd name="T84" fmla="*/ 1743 w 6560"/>
              <a:gd name="T85" fmla="*/ 1019 h 6556"/>
              <a:gd name="T86" fmla="*/ 4926 w 6560"/>
              <a:gd name="T87" fmla="*/ 923 h 6556"/>
              <a:gd name="T88" fmla="*/ 4819 w 6560"/>
              <a:gd name="T89" fmla="*/ 1039 h 6556"/>
              <a:gd name="T90" fmla="*/ 5329 w 6560"/>
              <a:gd name="T91" fmla="*/ 1947 h 6556"/>
              <a:gd name="T92" fmla="*/ 5433 w 6560"/>
              <a:gd name="T93" fmla="*/ 1852 h 6556"/>
              <a:gd name="T94" fmla="*/ 4952 w 6560"/>
              <a:gd name="T95" fmla="*/ 927 h 6556"/>
              <a:gd name="T96" fmla="*/ 3973 w 6560"/>
              <a:gd name="T97" fmla="*/ 973 h 6556"/>
              <a:gd name="T98" fmla="*/ 4436 w 6560"/>
              <a:gd name="T99" fmla="*/ 1916 h 6556"/>
              <a:gd name="T100" fmla="*/ 4581 w 6560"/>
              <a:gd name="T101" fmla="*/ 1918 h 6556"/>
              <a:gd name="T102" fmla="*/ 4153 w 6560"/>
              <a:gd name="T103" fmla="*/ 975 h 6556"/>
              <a:gd name="T104" fmla="*/ 3247 w 6560"/>
              <a:gd name="T105" fmla="*/ 927 h 6556"/>
              <a:gd name="T106" fmla="*/ 3183 w 6560"/>
              <a:gd name="T107" fmla="*/ 1876 h 6556"/>
              <a:gd name="T108" fmla="*/ 3341 w 6560"/>
              <a:gd name="T109" fmla="*/ 1928 h 6556"/>
              <a:gd name="T110" fmla="*/ 3363 w 6560"/>
              <a:gd name="T111" fmla="*/ 965 h 6556"/>
              <a:gd name="T112" fmla="*/ 6560 w 6560"/>
              <a:gd name="T113" fmla="*/ 2254 h 6556"/>
              <a:gd name="T114" fmla="*/ 5625 w 6560"/>
              <a:gd name="T115" fmla="*/ 22 h 6556"/>
              <a:gd name="T116" fmla="*/ 5734 w 6560"/>
              <a:gd name="T117" fmla="*/ 253 h 6556"/>
              <a:gd name="T118" fmla="*/ 5535 w 6560"/>
              <a:gd name="T119" fmla="*/ 411 h 6556"/>
              <a:gd name="T120" fmla="*/ 842 w 6560"/>
              <a:gd name="T121" fmla="*/ 295 h 6556"/>
              <a:gd name="T122" fmla="*/ 898 w 6560"/>
              <a:gd name="T123" fmla="*/ 46 h 6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60" h="6556">
                <a:moveTo>
                  <a:pt x="4607" y="4435"/>
                </a:moveTo>
                <a:lnTo>
                  <a:pt x="4753" y="4581"/>
                </a:lnTo>
                <a:lnTo>
                  <a:pt x="4173" y="5159"/>
                </a:lnTo>
                <a:lnTo>
                  <a:pt x="4027" y="5015"/>
                </a:lnTo>
                <a:lnTo>
                  <a:pt x="4607" y="4435"/>
                </a:lnTo>
                <a:close/>
                <a:moveTo>
                  <a:pt x="1845" y="4098"/>
                </a:moveTo>
                <a:lnTo>
                  <a:pt x="1893" y="4102"/>
                </a:lnTo>
                <a:lnTo>
                  <a:pt x="1935" y="4118"/>
                </a:lnTo>
                <a:lnTo>
                  <a:pt x="1973" y="4142"/>
                </a:lnTo>
                <a:lnTo>
                  <a:pt x="2005" y="4174"/>
                </a:lnTo>
                <a:lnTo>
                  <a:pt x="2028" y="4212"/>
                </a:lnTo>
                <a:lnTo>
                  <a:pt x="2044" y="4256"/>
                </a:lnTo>
                <a:lnTo>
                  <a:pt x="2050" y="4302"/>
                </a:lnTo>
                <a:lnTo>
                  <a:pt x="2044" y="4345"/>
                </a:lnTo>
                <a:lnTo>
                  <a:pt x="2030" y="4385"/>
                </a:lnTo>
                <a:lnTo>
                  <a:pt x="2010" y="4421"/>
                </a:lnTo>
                <a:lnTo>
                  <a:pt x="1981" y="4451"/>
                </a:lnTo>
                <a:lnTo>
                  <a:pt x="1947" y="4477"/>
                </a:lnTo>
                <a:lnTo>
                  <a:pt x="1947" y="4947"/>
                </a:lnTo>
                <a:lnTo>
                  <a:pt x="1981" y="4973"/>
                </a:lnTo>
                <a:lnTo>
                  <a:pt x="2010" y="5003"/>
                </a:lnTo>
                <a:lnTo>
                  <a:pt x="2030" y="5039"/>
                </a:lnTo>
                <a:lnTo>
                  <a:pt x="2044" y="5079"/>
                </a:lnTo>
                <a:lnTo>
                  <a:pt x="2050" y="5123"/>
                </a:lnTo>
                <a:lnTo>
                  <a:pt x="2044" y="5169"/>
                </a:lnTo>
                <a:lnTo>
                  <a:pt x="2028" y="5213"/>
                </a:lnTo>
                <a:lnTo>
                  <a:pt x="2005" y="5250"/>
                </a:lnTo>
                <a:lnTo>
                  <a:pt x="1973" y="5282"/>
                </a:lnTo>
                <a:lnTo>
                  <a:pt x="1935" y="5306"/>
                </a:lnTo>
                <a:lnTo>
                  <a:pt x="1893" y="5322"/>
                </a:lnTo>
                <a:lnTo>
                  <a:pt x="1845" y="5326"/>
                </a:lnTo>
                <a:lnTo>
                  <a:pt x="1797" y="5322"/>
                </a:lnTo>
                <a:lnTo>
                  <a:pt x="1755" y="5306"/>
                </a:lnTo>
                <a:lnTo>
                  <a:pt x="1717" y="5282"/>
                </a:lnTo>
                <a:lnTo>
                  <a:pt x="1685" y="5250"/>
                </a:lnTo>
                <a:lnTo>
                  <a:pt x="1661" y="5213"/>
                </a:lnTo>
                <a:lnTo>
                  <a:pt x="1645" y="5169"/>
                </a:lnTo>
                <a:lnTo>
                  <a:pt x="1640" y="5123"/>
                </a:lnTo>
                <a:lnTo>
                  <a:pt x="1645" y="5079"/>
                </a:lnTo>
                <a:lnTo>
                  <a:pt x="1659" y="5039"/>
                </a:lnTo>
                <a:lnTo>
                  <a:pt x="1679" y="5003"/>
                </a:lnTo>
                <a:lnTo>
                  <a:pt x="1709" y="4973"/>
                </a:lnTo>
                <a:lnTo>
                  <a:pt x="1743" y="4947"/>
                </a:lnTo>
                <a:lnTo>
                  <a:pt x="1743" y="4477"/>
                </a:lnTo>
                <a:lnTo>
                  <a:pt x="1709" y="4451"/>
                </a:lnTo>
                <a:lnTo>
                  <a:pt x="1679" y="4421"/>
                </a:lnTo>
                <a:lnTo>
                  <a:pt x="1659" y="4385"/>
                </a:lnTo>
                <a:lnTo>
                  <a:pt x="1645" y="4345"/>
                </a:lnTo>
                <a:lnTo>
                  <a:pt x="1640" y="4302"/>
                </a:lnTo>
                <a:lnTo>
                  <a:pt x="1645" y="4256"/>
                </a:lnTo>
                <a:lnTo>
                  <a:pt x="1661" y="4212"/>
                </a:lnTo>
                <a:lnTo>
                  <a:pt x="1685" y="4174"/>
                </a:lnTo>
                <a:lnTo>
                  <a:pt x="1717" y="4142"/>
                </a:lnTo>
                <a:lnTo>
                  <a:pt x="1755" y="4118"/>
                </a:lnTo>
                <a:lnTo>
                  <a:pt x="1797" y="4102"/>
                </a:lnTo>
                <a:lnTo>
                  <a:pt x="1845" y="4098"/>
                </a:lnTo>
                <a:close/>
                <a:moveTo>
                  <a:pt x="4607" y="3855"/>
                </a:moveTo>
                <a:lnTo>
                  <a:pt x="4753" y="4001"/>
                </a:lnTo>
                <a:lnTo>
                  <a:pt x="3592" y="5159"/>
                </a:lnTo>
                <a:lnTo>
                  <a:pt x="3449" y="5015"/>
                </a:lnTo>
                <a:lnTo>
                  <a:pt x="4607" y="3855"/>
                </a:lnTo>
                <a:close/>
                <a:moveTo>
                  <a:pt x="4027" y="3855"/>
                </a:moveTo>
                <a:lnTo>
                  <a:pt x="4173" y="4001"/>
                </a:lnTo>
                <a:lnTo>
                  <a:pt x="3592" y="4581"/>
                </a:lnTo>
                <a:lnTo>
                  <a:pt x="3449" y="4435"/>
                </a:lnTo>
                <a:lnTo>
                  <a:pt x="4027" y="3855"/>
                </a:lnTo>
                <a:close/>
                <a:moveTo>
                  <a:pt x="3279" y="2663"/>
                </a:moveTo>
                <a:lnTo>
                  <a:pt x="3275" y="2759"/>
                </a:lnTo>
                <a:lnTo>
                  <a:pt x="3259" y="2852"/>
                </a:lnTo>
                <a:lnTo>
                  <a:pt x="3231" y="2940"/>
                </a:lnTo>
                <a:lnTo>
                  <a:pt x="3197" y="3024"/>
                </a:lnTo>
                <a:lnTo>
                  <a:pt x="3151" y="3104"/>
                </a:lnTo>
                <a:lnTo>
                  <a:pt x="3100" y="3175"/>
                </a:lnTo>
                <a:lnTo>
                  <a:pt x="3040" y="3243"/>
                </a:lnTo>
                <a:lnTo>
                  <a:pt x="2972" y="3303"/>
                </a:lnTo>
                <a:lnTo>
                  <a:pt x="2900" y="3355"/>
                </a:lnTo>
                <a:lnTo>
                  <a:pt x="2820" y="3401"/>
                </a:lnTo>
                <a:lnTo>
                  <a:pt x="2737" y="3434"/>
                </a:lnTo>
                <a:lnTo>
                  <a:pt x="2649" y="3462"/>
                </a:lnTo>
                <a:lnTo>
                  <a:pt x="2555" y="3478"/>
                </a:lnTo>
                <a:lnTo>
                  <a:pt x="2459" y="3482"/>
                </a:lnTo>
                <a:lnTo>
                  <a:pt x="2459" y="6145"/>
                </a:lnTo>
                <a:lnTo>
                  <a:pt x="5535" y="6145"/>
                </a:lnTo>
                <a:lnTo>
                  <a:pt x="5535" y="3454"/>
                </a:lnTo>
                <a:lnTo>
                  <a:pt x="5449" y="3427"/>
                </a:lnTo>
                <a:lnTo>
                  <a:pt x="5367" y="3391"/>
                </a:lnTo>
                <a:lnTo>
                  <a:pt x="5290" y="3345"/>
                </a:lnTo>
                <a:lnTo>
                  <a:pt x="5218" y="3293"/>
                </a:lnTo>
                <a:lnTo>
                  <a:pt x="5154" y="3233"/>
                </a:lnTo>
                <a:lnTo>
                  <a:pt x="5094" y="3167"/>
                </a:lnTo>
                <a:lnTo>
                  <a:pt x="5044" y="3096"/>
                </a:lnTo>
                <a:lnTo>
                  <a:pt x="5000" y="3018"/>
                </a:lnTo>
                <a:lnTo>
                  <a:pt x="4966" y="2934"/>
                </a:lnTo>
                <a:lnTo>
                  <a:pt x="4940" y="2848"/>
                </a:lnTo>
                <a:lnTo>
                  <a:pt x="4925" y="2757"/>
                </a:lnTo>
                <a:lnTo>
                  <a:pt x="4921" y="2663"/>
                </a:lnTo>
                <a:lnTo>
                  <a:pt x="4915" y="2759"/>
                </a:lnTo>
                <a:lnTo>
                  <a:pt x="4899" y="2852"/>
                </a:lnTo>
                <a:lnTo>
                  <a:pt x="4873" y="2940"/>
                </a:lnTo>
                <a:lnTo>
                  <a:pt x="4837" y="3024"/>
                </a:lnTo>
                <a:lnTo>
                  <a:pt x="4793" y="3104"/>
                </a:lnTo>
                <a:lnTo>
                  <a:pt x="4739" y="3175"/>
                </a:lnTo>
                <a:lnTo>
                  <a:pt x="4679" y="3243"/>
                </a:lnTo>
                <a:lnTo>
                  <a:pt x="4613" y="3303"/>
                </a:lnTo>
                <a:lnTo>
                  <a:pt x="4540" y="3355"/>
                </a:lnTo>
                <a:lnTo>
                  <a:pt x="4460" y="3401"/>
                </a:lnTo>
                <a:lnTo>
                  <a:pt x="4376" y="3434"/>
                </a:lnTo>
                <a:lnTo>
                  <a:pt x="4288" y="3462"/>
                </a:lnTo>
                <a:lnTo>
                  <a:pt x="4195" y="3478"/>
                </a:lnTo>
                <a:lnTo>
                  <a:pt x="4099" y="3482"/>
                </a:lnTo>
                <a:lnTo>
                  <a:pt x="4005" y="3478"/>
                </a:lnTo>
                <a:lnTo>
                  <a:pt x="3911" y="3462"/>
                </a:lnTo>
                <a:lnTo>
                  <a:pt x="3824" y="3434"/>
                </a:lnTo>
                <a:lnTo>
                  <a:pt x="3740" y="3401"/>
                </a:lnTo>
                <a:lnTo>
                  <a:pt x="3660" y="3355"/>
                </a:lnTo>
                <a:lnTo>
                  <a:pt x="3586" y="3303"/>
                </a:lnTo>
                <a:lnTo>
                  <a:pt x="3520" y="3243"/>
                </a:lnTo>
                <a:lnTo>
                  <a:pt x="3461" y="3175"/>
                </a:lnTo>
                <a:lnTo>
                  <a:pt x="3407" y="3104"/>
                </a:lnTo>
                <a:lnTo>
                  <a:pt x="3363" y="3024"/>
                </a:lnTo>
                <a:lnTo>
                  <a:pt x="3327" y="2940"/>
                </a:lnTo>
                <a:lnTo>
                  <a:pt x="3301" y="2852"/>
                </a:lnTo>
                <a:lnTo>
                  <a:pt x="3285" y="2759"/>
                </a:lnTo>
                <a:lnTo>
                  <a:pt x="3279" y="2663"/>
                </a:lnTo>
                <a:close/>
                <a:moveTo>
                  <a:pt x="1640" y="2663"/>
                </a:moveTo>
                <a:lnTo>
                  <a:pt x="1636" y="2757"/>
                </a:lnTo>
                <a:lnTo>
                  <a:pt x="1620" y="2848"/>
                </a:lnTo>
                <a:lnTo>
                  <a:pt x="1594" y="2934"/>
                </a:lnTo>
                <a:lnTo>
                  <a:pt x="1560" y="3018"/>
                </a:lnTo>
                <a:lnTo>
                  <a:pt x="1516" y="3096"/>
                </a:lnTo>
                <a:lnTo>
                  <a:pt x="1464" y="3167"/>
                </a:lnTo>
                <a:lnTo>
                  <a:pt x="1406" y="3233"/>
                </a:lnTo>
                <a:lnTo>
                  <a:pt x="1342" y="3293"/>
                </a:lnTo>
                <a:lnTo>
                  <a:pt x="1271" y="3345"/>
                </a:lnTo>
                <a:lnTo>
                  <a:pt x="1193" y="3391"/>
                </a:lnTo>
                <a:lnTo>
                  <a:pt x="1111" y="3427"/>
                </a:lnTo>
                <a:lnTo>
                  <a:pt x="1025" y="3454"/>
                </a:lnTo>
                <a:lnTo>
                  <a:pt x="1025" y="6145"/>
                </a:lnTo>
                <a:lnTo>
                  <a:pt x="2256" y="6145"/>
                </a:lnTo>
                <a:lnTo>
                  <a:pt x="2256" y="3454"/>
                </a:lnTo>
                <a:lnTo>
                  <a:pt x="2168" y="3427"/>
                </a:lnTo>
                <a:lnTo>
                  <a:pt x="2086" y="3391"/>
                </a:lnTo>
                <a:lnTo>
                  <a:pt x="2010" y="3345"/>
                </a:lnTo>
                <a:lnTo>
                  <a:pt x="1939" y="3293"/>
                </a:lnTo>
                <a:lnTo>
                  <a:pt x="1873" y="3233"/>
                </a:lnTo>
                <a:lnTo>
                  <a:pt x="1815" y="3167"/>
                </a:lnTo>
                <a:lnTo>
                  <a:pt x="1763" y="3096"/>
                </a:lnTo>
                <a:lnTo>
                  <a:pt x="1721" y="3018"/>
                </a:lnTo>
                <a:lnTo>
                  <a:pt x="1685" y="2934"/>
                </a:lnTo>
                <a:lnTo>
                  <a:pt x="1661" y="2848"/>
                </a:lnTo>
                <a:lnTo>
                  <a:pt x="1645" y="2757"/>
                </a:lnTo>
                <a:lnTo>
                  <a:pt x="1640" y="2663"/>
                </a:lnTo>
                <a:close/>
                <a:moveTo>
                  <a:pt x="0" y="2460"/>
                </a:moveTo>
                <a:lnTo>
                  <a:pt x="6560" y="2460"/>
                </a:lnTo>
                <a:lnTo>
                  <a:pt x="6560" y="2663"/>
                </a:lnTo>
                <a:lnTo>
                  <a:pt x="6554" y="2757"/>
                </a:lnTo>
                <a:lnTo>
                  <a:pt x="6538" y="2848"/>
                </a:lnTo>
                <a:lnTo>
                  <a:pt x="6514" y="2934"/>
                </a:lnTo>
                <a:lnTo>
                  <a:pt x="6478" y="3018"/>
                </a:lnTo>
                <a:lnTo>
                  <a:pt x="6436" y="3096"/>
                </a:lnTo>
                <a:lnTo>
                  <a:pt x="6384" y="3167"/>
                </a:lnTo>
                <a:lnTo>
                  <a:pt x="6327" y="3233"/>
                </a:lnTo>
                <a:lnTo>
                  <a:pt x="6261" y="3293"/>
                </a:lnTo>
                <a:lnTo>
                  <a:pt x="6189" y="3345"/>
                </a:lnTo>
                <a:lnTo>
                  <a:pt x="6113" y="3391"/>
                </a:lnTo>
                <a:lnTo>
                  <a:pt x="6031" y="3427"/>
                </a:lnTo>
                <a:lnTo>
                  <a:pt x="5944" y="3454"/>
                </a:lnTo>
                <a:lnTo>
                  <a:pt x="5944" y="6145"/>
                </a:lnTo>
                <a:lnTo>
                  <a:pt x="6355" y="6145"/>
                </a:lnTo>
                <a:lnTo>
                  <a:pt x="6402" y="6151"/>
                </a:lnTo>
                <a:lnTo>
                  <a:pt x="6444" y="6167"/>
                </a:lnTo>
                <a:lnTo>
                  <a:pt x="6482" y="6191"/>
                </a:lnTo>
                <a:lnTo>
                  <a:pt x="6514" y="6223"/>
                </a:lnTo>
                <a:lnTo>
                  <a:pt x="6538" y="6261"/>
                </a:lnTo>
                <a:lnTo>
                  <a:pt x="6554" y="6305"/>
                </a:lnTo>
                <a:lnTo>
                  <a:pt x="6560" y="6351"/>
                </a:lnTo>
                <a:lnTo>
                  <a:pt x="6554" y="6399"/>
                </a:lnTo>
                <a:lnTo>
                  <a:pt x="6538" y="6440"/>
                </a:lnTo>
                <a:lnTo>
                  <a:pt x="6514" y="6480"/>
                </a:lnTo>
                <a:lnTo>
                  <a:pt x="6482" y="6510"/>
                </a:lnTo>
                <a:lnTo>
                  <a:pt x="6444" y="6536"/>
                </a:lnTo>
                <a:lnTo>
                  <a:pt x="6402" y="6550"/>
                </a:lnTo>
                <a:lnTo>
                  <a:pt x="6355" y="6556"/>
                </a:lnTo>
                <a:lnTo>
                  <a:pt x="205" y="6556"/>
                </a:lnTo>
                <a:lnTo>
                  <a:pt x="158" y="6550"/>
                </a:lnTo>
                <a:lnTo>
                  <a:pt x="116" y="6536"/>
                </a:lnTo>
                <a:lnTo>
                  <a:pt x="78" y="6510"/>
                </a:lnTo>
                <a:lnTo>
                  <a:pt x="46" y="6480"/>
                </a:lnTo>
                <a:lnTo>
                  <a:pt x="20" y="6440"/>
                </a:lnTo>
                <a:lnTo>
                  <a:pt x="6" y="6399"/>
                </a:lnTo>
                <a:lnTo>
                  <a:pt x="0" y="6351"/>
                </a:lnTo>
                <a:lnTo>
                  <a:pt x="6" y="6305"/>
                </a:lnTo>
                <a:lnTo>
                  <a:pt x="20" y="6261"/>
                </a:lnTo>
                <a:lnTo>
                  <a:pt x="46" y="6223"/>
                </a:lnTo>
                <a:lnTo>
                  <a:pt x="78" y="6191"/>
                </a:lnTo>
                <a:lnTo>
                  <a:pt x="116" y="6167"/>
                </a:lnTo>
                <a:lnTo>
                  <a:pt x="158" y="6151"/>
                </a:lnTo>
                <a:lnTo>
                  <a:pt x="205" y="6145"/>
                </a:lnTo>
                <a:lnTo>
                  <a:pt x="614" y="6145"/>
                </a:lnTo>
                <a:lnTo>
                  <a:pt x="614" y="3454"/>
                </a:lnTo>
                <a:lnTo>
                  <a:pt x="529" y="3427"/>
                </a:lnTo>
                <a:lnTo>
                  <a:pt x="447" y="3391"/>
                </a:lnTo>
                <a:lnTo>
                  <a:pt x="369" y="3345"/>
                </a:lnTo>
                <a:lnTo>
                  <a:pt x="299" y="3293"/>
                </a:lnTo>
                <a:lnTo>
                  <a:pt x="233" y="3233"/>
                </a:lnTo>
                <a:lnTo>
                  <a:pt x="176" y="3167"/>
                </a:lnTo>
                <a:lnTo>
                  <a:pt x="124" y="3096"/>
                </a:lnTo>
                <a:lnTo>
                  <a:pt x="82" y="3018"/>
                </a:lnTo>
                <a:lnTo>
                  <a:pt x="46" y="2934"/>
                </a:lnTo>
                <a:lnTo>
                  <a:pt x="22" y="2848"/>
                </a:lnTo>
                <a:lnTo>
                  <a:pt x="6" y="2757"/>
                </a:lnTo>
                <a:lnTo>
                  <a:pt x="0" y="2663"/>
                </a:lnTo>
                <a:lnTo>
                  <a:pt x="0" y="2460"/>
                </a:lnTo>
                <a:close/>
                <a:moveTo>
                  <a:pt x="2475" y="923"/>
                </a:moveTo>
                <a:lnTo>
                  <a:pt x="2443" y="925"/>
                </a:lnTo>
                <a:lnTo>
                  <a:pt x="2413" y="935"/>
                </a:lnTo>
                <a:lnTo>
                  <a:pt x="2387" y="953"/>
                </a:lnTo>
                <a:lnTo>
                  <a:pt x="2370" y="979"/>
                </a:lnTo>
                <a:lnTo>
                  <a:pt x="1959" y="1798"/>
                </a:lnTo>
                <a:lnTo>
                  <a:pt x="1949" y="1830"/>
                </a:lnTo>
                <a:lnTo>
                  <a:pt x="1949" y="1862"/>
                </a:lnTo>
                <a:lnTo>
                  <a:pt x="1959" y="1892"/>
                </a:lnTo>
                <a:lnTo>
                  <a:pt x="1979" y="1918"/>
                </a:lnTo>
                <a:lnTo>
                  <a:pt x="2005" y="1936"/>
                </a:lnTo>
                <a:lnTo>
                  <a:pt x="2026" y="1943"/>
                </a:lnTo>
                <a:lnTo>
                  <a:pt x="2050" y="1947"/>
                </a:lnTo>
                <a:lnTo>
                  <a:pt x="2078" y="1943"/>
                </a:lnTo>
                <a:lnTo>
                  <a:pt x="2102" y="1932"/>
                </a:lnTo>
                <a:lnTo>
                  <a:pt x="2124" y="1914"/>
                </a:lnTo>
                <a:lnTo>
                  <a:pt x="2142" y="1890"/>
                </a:lnTo>
                <a:lnTo>
                  <a:pt x="2551" y="1070"/>
                </a:lnTo>
                <a:lnTo>
                  <a:pt x="2561" y="1044"/>
                </a:lnTo>
                <a:lnTo>
                  <a:pt x="2563" y="1019"/>
                </a:lnTo>
                <a:lnTo>
                  <a:pt x="2557" y="993"/>
                </a:lnTo>
                <a:lnTo>
                  <a:pt x="2545" y="969"/>
                </a:lnTo>
                <a:lnTo>
                  <a:pt x="2529" y="949"/>
                </a:lnTo>
                <a:lnTo>
                  <a:pt x="2505" y="933"/>
                </a:lnTo>
                <a:lnTo>
                  <a:pt x="2475" y="923"/>
                </a:lnTo>
                <a:close/>
                <a:moveTo>
                  <a:pt x="1655" y="923"/>
                </a:moveTo>
                <a:lnTo>
                  <a:pt x="1624" y="925"/>
                </a:lnTo>
                <a:lnTo>
                  <a:pt x="1594" y="935"/>
                </a:lnTo>
                <a:lnTo>
                  <a:pt x="1568" y="953"/>
                </a:lnTo>
                <a:lnTo>
                  <a:pt x="1548" y="979"/>
                </a:lnTo>
                <a:lnTo>
                  <a:pt x="1139" y="1798"/>
                </a:lnTo>
                <a:lnTo>
                  <a:pt x="1129" y="1830"/>
                </a:lnTo>
                <a:lnTo>
                  <a:pt x="1129" y="1862"/>
                </a:lnTo>
                <a:lnTo>
                  <a:pt x="1139" y="1892"/>
                </a:lnTo>
                <a:lnTo>
                  <a:pt x="1157" y="1918"/>
                </a:lnTo>
                <a:lnTo>
                  <a:pt x="1185" y="1936"/>
                </a:lnTo>
                <a:lnTo>
                  <a:pt x="1207" y="1943"/>
                </a:lnTo>
                <a:lnTo>
                  <a:pt x="1231" y="1947"/>
                </a:lnTo>
                <a:lnTo>
                  <a:pt x="1259" y="1943"/>
                </a:lnTo>
                <a:lnTo>
                  <a:pt x="1282" y="1932"/>
                </a:lnTo>
                <a:lnTo>
                  <a:pt x="1304" y="1914"/>
                </a:lnTo>
                <a:lnTo>
                  <a:pt x="1322" y="1890"/>
                </a:lnTo>
                <a:lnTo>
                  <a:pt x="1731" y="1070"/>
                </a:lnTo>
                <a:lnTo>
                  <a:pt x="1741" y="1044"/>
                </a:lnTo>
                <a:lnTo>
                  <a:pt x="1743" y="1019"/>
                </a:lnTo>
                <a:lnTo>
                  <a:pt x="1737" y="993"/>
                </a:lnTo>
                <a:lnTo>
                  <a:pt x="1725" y="969"/>
                </a:lnTo>
                <a:lnTo>
                  <a:pt x="1709" y="949"/>
                </a:lnTo>
                <a:lnTo>
                  <a:pt x="1685" y="933"/>
                </a:lnTo>
                <a:lnTo>
                  <a:pt x="1655" y="923"/>
                </a:lnTo>
                <a:close/>
                <a:moveTo>
                  <a:pt x="4926" y="923"/>
                </a:moveTo>
                <a:lnTo>
                  <a:pt x="4901" y="925"/>
                </a:lnTo>
                <a:lnTo>
                  <a:pt x="4875" y="933"/>
                </a:lnTo>
                <a:lnTo>
                  <a:pt x="4847" y="953"/>
                </a:lnTo>
                <a:lnTo>
                  <a:pt x="4829" y="979"/>
                </a:lnTo>
                <a:lnTo>
                  <a:pt x="4819" y="1007"/>
                </a:lnTo>
                <a:lnTo>
                  <a:pt x="4819" y="1039"/>
                </a:lnTo>
                <a:lnTo>
                  <a:pt x="4829" y="1070"/>
                </a:lnTo>
                <a:lnTo>
                  <a:pt x="5238" y="1890"/>
                </a:lnTo>
                <a:lnTo>
                  <a:pt x="5256" y="1914"/>
                </a:lnTo>
                <a:lnTo>
                  <a:pt x="5276" y="1932"/>
                </a:lnTo>
                <a:lnTo>
                  <a:pt x="5301" y="1943"/>
                </a:lnTo>
                <a:lnTo>
                  <a:pt x="5329" y="1947"/>
                </a:lnTo>
                <a:lnTo>
                  <a:pt x="5353" y="1943"/>
                </a:lnTo>
                <a:lnTo>
                  <a:pt x="5375" y="1936"/>
                </a:lnTo>
                <a:lnTo>
                  <a:pt x="5399" y="1920"/>
                </a:lnTo>
                <a:lnTo>
                  <a:pt x="5415" y="1900"/>
                </a:lnTo>
                <a:lnTo>
                  <a:pt x="5427" y="1876"/>
                </a:lnTo>
                <a:lnTo>
                  <a:pt x="5433" y="1852"/>
                </a:lnTo>
                <a:lnTo>
                  <a:pt x="5431" y="1824"/>
                </a:lnTo>
                <a:lnTo>
                  <a:pt x="5421" y="1798"/>
                </a:lnTo>
                <a:lnTo>
                  <a:pt x="5012" y="979"/>
                </a:lnTo>
                <a:lnTo>
                  <a:pt x="4996" y="957"/>
                </a:lnTo>
                <a:lnTo>
                  <a:pt x="4976" y="939"/>
                </a:lnTo>
                <a:lnTo>
                  <a:pt x="4952" y="927"/>
                </a:lnTo>
                <a:lnTo>
                  <a:pt x="4926" y="923"/>
                </a:lnTo>
                <a:close/>
                <a:moveTo>
                  <a:pt x="4065" y="923"/>
                </a:moveTo>
                <a:lnTo>
                  <a:pt x="4037" y="925"/>
                </a:lnTo>
                <a:lnTo>
                  <a:pt x="4013" y="935"/>
                </a:lnTo>
                <a:lnTo>
                  <a:pt x="3991" y="951"/>
                </a:lnTo>
                <a:lnTo>
                  <a:pt x="3973" y="973"/>
                </a:lnTo>
                <a:lnTo>
                  <a:pt x="3963" y="997"/>
                </a:lnTo>
                <a:lnTo>
                  <a:pt x="3959" y="1023"/>
                </a:lnTo>
                <a:lnTo>
                  <a:pt x="3961" y="1048"/>
                </a:lnTo>
                <a:lnTo>
                  <a:pt x="3971" y="1074"/>
                </a:lnTo>
                <a:lnTo>
                  <a:pt x="4420" y="1894"/>
                </a:lnTo>
                <a:lnTo>
                  <a:pt x="4436" y="1916"/>
                </a:lnTo>
                <a:lnTo>
                  <a:pt x="4458" y="1934"/>
                </a:lnTo>
                <a:lnTo>
                  <a:pt x="4484" y="1943"/>
                </a:lnTo>
                <a:lnTo>
                  <a:pt x="4510" y="1947"/>
                </a:lnTo>
                <a:lnTo>
                  <a:pt x="4536" y="1943"/>
                </a:lnTo>
                <a:lnTo>
                  <a:pt x="4560" y="1934"/>
                </a:lnTo>
                <a:lnTo>
                  <a:pt x="4581" y="1918"/>
                </a:lnTo>
                <a:lnTo>
                  <a:pt x="4597" y="1898"/>
                </a:lnTo>
                <a:lnTo>
                  <a:pt x="4607" y="1874"/>
                </a:lnTo>
                <a:lnTo>
                  <a:pt x="4613" y="1848"/>
                </a:lnTo>
                <a:lnTo>
                  <a:pt x="4609" y="1820"/>
                </a:lnTo>
                <a:lnTo>
                  <a:pt x="4599" y="1794"/>
                </a:lnTo>
                <a:lnTo>
                  <a:pt x="4153" y="975"/>
                </a:lnTo>
                <a:lnTo>
                  <a:pt x="4135" y="953"/>
                </a:lnTo>
                <a:lnTo>
                  <a:pt x="4115" y="937"/>
                </a:lnTo>
                <a:lnTo>
                  <a:pt x="4091" y="927"/>
                </a:lnTo>
                <a:lnTo>
                  <a:pt x="4065" y="923"/>
                </a:lnTo>
                <a:close/>
                <a:moveTo>
                  <a:pt x="3279" y="923"/>
                </a:moveTo>
                <a:lnTo>
                  <a:pt x="3247" y="927"/>
                </a:lnTo>
                <a:lnTo>
                  <a:pt x="3219" y="943"/>
                </a:lnTo>
                <a:lnTo>
                  <a:pt x="3197" y="965"/>
                </a:lnTo>
                <a:lnTo>
                  <a:pt x="3183" y="993"/>
                </a:lnTo>
                <a:lnTo>
                  <a:pt x="3177" y="1025"/>
                </a:lnTo>
                <a:lnTo>
                  <a:pt x="3177" y="1844"/>
                </a:lnTo>
                <a:lnTo>
                  <a:pt x="3183" y="1876"/>
                </a:lnTo>
                <a:lnTo>
                  <a:pt x="3197" y="1906"/>
                </a:lnTo>
                <a:lnTo>
                  <a:pt x="3219" y="1928"/>
                </a:lnTo>
                <a:lnTo>
                  <a:pt x="3247" y="1941"/>
                </a:lnTo>
                <a:lnTo>
                  <a:pt x="3279" y="1947"/>
                </a:lnTo>
                <a:lnTo>
                  <a:pt x="3313" y="1941"/>
                </a:lnTo>
                <a:lnTo>
                  <a:pt x="3341" y="1928"/>
                </a:lnTo>
                <a:lnTo>
                  <a:pt x="3363" y="1906"/>
                </a:lnTo>
                <a:lnTo>
                  <a:pt x="3377" y="1876"/>
                </a:lnTo>
                <a:lnTo>
                  <a:pt x="3383" y="1844"/>
                </a:lnTo>
                <a:lnTo>
                  <a:pt x="3383" y="1025"/>
                </a:lnTo>
                <a:lnTo>
                  <a:pt x="3377" y="993"/>
                </a:lnTo>
                <a:lnTo>
                  <a:pt x="3363" y="965"/>
                </a:lnTo>
                <a:lnTo>
                  <a:pt x="3341" y="943"/>
                </a:lnTo>
                <a:lnTo>
                  <a:pt x="3313" y="927"/>
                </a:lnTo>
                <a:lnTo>
                  <a:pt x="3279" y="923"/>
                </a:lnTo>
                <a:close/>
                <a:moveTo>
                  <a:pt x="820" y="616"/>
                </a:moveTo>
                <a:lnTo>
                  <a:pt x="5740" y="616"/>
                </a:lnTo>
                <a:lnTo>
                  <a:pt x="6560" y="2254"/>
                </a:lnTo>
                <a:lnTo>
                  <a:pt x="0" y="2254"/>
                </a:lnTo>
                <a:lnTo>
                  <a:pt x="820" y="616"/>
                </a:lnTo>
                <a:close/>
                <a:moveTo>
                  <a:pt x="1025" y="0"/>
                </a:moveTo>
                <a:lnTo>
                  <a:pt x="5535" y="0"/>
                </a:lnTo>
                <a:lnTo>
                  <a:pt x="5583" y="6"/>
                </a:lnTo>
                <a:lnTo>
                  <a:pt x="5625" y="22"/>
                </a:lnTo>
                <a:lnTo>
                  <a:pt x="5662" y="46"/>
                </a:lnTo>
                <a:lnTo>
                  <a:pt x="5694" y="78"/>
                </a:lnTo>
                <a:lnTo>
                  <a:pt x="5718" y="116"/>
                </a:lnTo>
                <a:lnTo>
                  <a:pt x="5734" y="157"/>
                </a:lnTo>
                <a:lnTo>
                  <a:pt x="5740" y="205"/>
                </a:lnTo>
                <a:lnTo>
                  <a:pt x="5734" y="253"/>
                </a:lnTo>
                <a:lnTo>
                  <a:pt x="5718" y="295"/>
                </a:lnTo>
                <a:lnTo>
                  <a:pt x="5694" y="333"/>
                </a:lnTo>
                <a:lnTo>
                  <a:pt x="5662" y="365"/>
                </a:lnTo>
                <a:lnTo>
                  <a:pt x="5625" y="389"/>
                </a:lnTo>
                <a:lnTo>
                  <a:pt x="5583" y="405"/>
                </a:lnTo>
                <a:lnTo>
                  <a:pt x="5535" y="411"/>
                </a:lnTo>
                <a:lnTo>
                  <a:pt x="1025" y="411"/>
                </a:lnTo>
                <a:lnTo>
                  <a:pt x="977" y="405"/>
                </a:lnTo>
                <a:lnTo>
                  <a:pt x="935" y="389"/>
                </a:lnTo>
                <a:lnTo>
                  <a:pt x="898" y="365"/>
                </a:lnTo>
                <a:lnTo>
                  <a:pt x="866" y="333"/>
                </a:lnTo>
                <a:lnTo>
                  <a:pt x="842" y="295"/>
                </a:lnTo>
                <a:lnTo>
                  <a:pt x="826" y="253"/>
                </a:lnTo>
                <a:lnTo>
                  <a:pt x="820" y="205"/>
                </a:lnTo>
                <a:lnTo>
                  <a:pt x="826" y="157"/>
                </a:lnTo>
                <a:lnTo>
                  <a:pt x="842" y="116"/>
                </a:lnTo>
                <a:lnTo>
                  <a:pt x="866" y="78"/>
                </a:lnTo>
                <a:lnTo>
                  <a:pt x="898" y="46"/>
                </a:lnTo>
                <a:lnTo>
                  <a:pt x="935" y="22"/>
                </a:lnTo>
                <a:lnTo>
                  <a:pt x="977" y="6"/>
                </a:lnTo>
                <a:lnTo>
                  <a:pt x="1025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Аналитические решения можно использовать практически во всех отраслях</a:t>
            </a:r>
            <a:r>
              <a:t/>
            </a:r>
            <a:br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1717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1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1"/>
          <p:cNvSpPr txBox="1">
            <a:spLocks/>
          </p:cNvSpPr>
          <p:nvPr/>
        </p:nvSpPr>
        <p:spPr>
          <a:xfrm>
            <a:off x="457200" y="304800"/>
            <a:ext cx="8394699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800" dirty="0" smtClean="0">
                <a:solidFill>
                  <a:srgbClr val="FFFFFF"/>
                </a:solidFill>
              </a:rPr>
              <a:t>Клиентская </a:t>
            </a:r>
          </a:p>
          <a:p>
            <a:r>
              <a:rPr lang="ru-RU" sz="4800" dirty="0" smtClean="0">
                <a:solidFill>
                  <a:srgbClr val="FFFFFF"/>
                </a:solidFill>
              </a:rPr>
              <a:t>аналитика</a:t>
            </a:r>
            <a:endParaRPr lang="ru-RU" sz="6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445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3314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/>
        </p:nvGrpSpPr>
        <p:grpSpPr>
          <a:xfrm>
            <a:off x="3228622" y="4475462"/>
            <a:ext cx="1805494" cy="1029516"/>
            <a:chOff x="3228622" y="4376847"/>
            <a:chExt cx="1805494" cy="1029516"/>
          </a:xfrm>
        </p:grpSpPr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228622" y="4376847"/>
              <a:ext cx="1805494" cy="1029516"/>
            </a:xfrm>
            <a:prstGeom prst="rect">
              <a:avLst/>
            </a:prstGeom>
          </p:spPr>
        </p:pic>
        <p:sp>
          <p:nvSpPr>
            <p:cNvPr id="94" name="Rectangle 93"/>
            <p:cNvSpPr/>
            <p:nvPr/>
          </p:nvSpPr>
          <p:spPr bwMode="ltGray">
            <a:xfrm>
              <a:off x="3553892" y="5065453"/>
              <a:ext cx="1154954" cy="138499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chemeClr val="bg1"/>
                  </a:solidFill>
                  <a:latin typeface="+mj-lt"/>
                </a:rPr>
                <a:t>Отток клиентов</a:t>
              </a:r>
            </a:p>
          </p:txBody>
        </p:sp>
        <p:sp>
          <p:nvSpPr>
            <p:cNvPr id="95" name="Rectangle 94"/>
            <p:cNvSpPr/>
            <p:nvPr/>
          </p:nvSpPr>
          <p:spPr bwMode="ltGray">
            <a:xfrm>
              <a:off x="3696955" y="4473886"/>
              <a:ext cx="868828" cy="138499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chemeClr val="tx2">
                      <a:lumMod val="75000"/>
                    </a:schemeClr>
                  </a:solidFill>
                  <a:latin typeface="+mj-lt"/>
                </a:rPr>
                <a:t>Новые продажи</a:t>
              </a:r>
            </a:p>
          </p:txBody>
        </p:sp>
      </p:grpSp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1" y="4388803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598079"/>
            <a:ext cx="73896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rgbClr val="FFFFFF"/>
                </a:solidFill>
                <a:latin typeface="+mj-lt"/>
                <a:sym typeface="Helvetica Neue" charset="0"/>
              </a:rPr>
              <a:t>Обработка в режиме реального времени</a:t>
            </a:r>
          </a:p>
        </p:txBody>
      </p:sp>
      <p:sp>
        <p:nvSpPr>
          <p:cNvPr id="23" name="Rectangle 179"/>
          <p:cNvSpPr/>
          <p:nvPr/>
        </p:nvSpPr>
        <p:spPr bwMode="ltGray">
          <a:xfrm rot="16200000">
            <a:off x="3636922" y="4777364"/>
            <a:ext cx="738146" cy="2059418"/>
          </a:xfrm>
          <a:custGeom>
            <a:avLst/>
            <a:gdLst>
              <a:gd name="connsiteX0" fmla="*/ 0 w 738146"/>
              <a:gd name="connsiteY0" fmla="*/ 0 h 2304314"/>
              <a:gd name="connsiteX1" fmla="*/ 738146 w 738146"/>
              <a:gd name="connsiteY1" fmla="*/ 0 h 2304314"/>
              <a:gd name="connsiteX2" fmla="*/ 738146 w 738146"/>
              <a:gd name="connsiteY2" fmla="*/ 2304314 h 2304314"/>
              <a:gd name="connsiteX3" fmla="*/ 0 w 738146"/>
              <a:gd name="connsiteY3" fmla="*/ 2304314 h 2304314"/>
              <a:gd name="connsiteX4" fmla="*/ 0 w 738146"/>
              <a:gd name="connsiteY4" fmla="*/ 0 h 2304314"/>
              <a:gd name="connsiteX0" fmla="*/ 0 w 738146"/>
              <a:gd name="connsiteY0" fmla="*/ 28 h 2304342"/>
              <a:gd name="connsiteX1" fmla="*/ 189825 w 738146"/>
              <a:gd name="connsiteY1" fmla="*/ 61937 h 2304342"/>
              <a:gd name="connsiteX2" fmla="*/ 738146 w 738146"/>
              <a:gd name="connsiteY2" fmla="*/ 28 h 2304342"/>
              <a:gd name="connsiteX3" fmla="*/ 738146 w 738146"/>
              <a:gd name="connsiteY3" fmla="*/ 2304342 h 2304342"/>
              <a:gd name="connsiteX4" fmla="*/ 0 w 738146"/>
              <a:gd name="connsiteY4" fmla="*/ 2304342 h 2304342"/>
              <a:gd name="connsiteX5" fmla="*/ 0 w 738146"/>
              <a:gd name="connsiteY5" fmla="*/ 28 h 2304342"/>
              <a:gd name="connsiteX0" fmla="*/ 0 w 738146"/>
              <a:gd name="connsiteY0" fmla="*/ 26 h 2304340"/>
              <a:gd name="connsiteX1" fmla="*/ 189825 w 738146"/>
              <a:gd name="connsiteY1" fmla="*/ 61935 h 2304340"/>
              <a:gd name="connsiteX2" fmla="*/ 738146 w 738146"/>
              <a:gd name="connsiteY2" fmla="*/ 26 h 2304340"/>
              <a:gd name="connsiteX3" fmla="*/ 738146 w 738146"/>
              <a:gd name="connsiteY3" fmla="*/ 2304340 h 2304340"/>
              <a:gd name="connsiteX4" fmla="*/ 0 w 738146"/>
              <a:gd name="connsiteY4" fmla="*/ 2304340 h 2304340"/>
              <a:gd name="connsiteX5" fmla="*/ 0 w 738146"/>
              <a:gd name="connsiteY5" fmla="*/ 26 h 2304340"/>
              <a:gd name="connsiteX0" fmla="*/ 0 w 738146"/>
              <a:gd name="connsiteY0" fmla="*/ 0 h 2304314"/>
              <a:gd name="connsiteX1" fmla="*/ 189825 w 738146"/>
              <a:gd name="connsiteY1" fmla="*/ 61909 h 2304314"/>
              <a:gd name="connsiteX2" fmla="*/ 738146 w 738146"/>
              <a:gd name="connsiteY2" fmla="*/ 0 h 2304314"/>
              <a:gd name="connsiteX3" fmla="*/ 738146 w 738146"/>
              <a:gd name="connsiteY3" fmla="*/ 2304314 h 2304314"/>
              <a:gd name="connsiteX4" fmla="*/ 0 w 738146"/>
              <a:gd name="connsiteY4" fmla="*/ 2304314 h 2304314"/>
              <a:gd name="connsiteX5" fmla="*/ 0 w 738146"/>
              <a:gd name="connsiteY5" fmla="*/ 0 h 2304314"/>
              <a:gd name="connsiteX0" fmla="*/ 0 w 738146"/>
              <a:gd name="connsiteY0" fmla="*/ 42866 h 2347180"/>
              <a:gd name="connsiteX1" fmla="*/ 361275 w 738146"/>
              <a:gd name="connsiteY1" fmla="*/ 0 h 2347180"/>
              <a:gd name="connsiteX2" fmla="*/ 738146 w 738146"/>
              <a:gd name="connsiteY2" fmla="*/ 42866 h 2347180"/>
              <a:gd name="connsiteX3" fmla="*/ 738146 w 738146"/>
              <a:gd name="connsiteY3" fmla="*/ 2347180 h 2347180"/>
              <a:gd name="connsiteX4" fmla="*/ 0 w 738146"/>
              <a:gd name="connsiteY4" fmla="*/ 2347180 h 2347180"/>
              <a:gd name="connsiteX5" fmla="*/ 0 w 738146"/>
              <a:gd name="connsiteY5" fmla="*/ 42866 h 2347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8146" h="2347180">
                <a:moveTo>
                  <a:pt x="0" y="42866"/>
                </a:moveTo>
                <a:cubicBezTo>
                  <a:pt x="66450" y="107952"/>
                  <a:pt x="213863" y="11114"/>
                  <a:pt x="361275" y="0"/>
                </a:cubicBezTo>
                <a:lnTo>
                  <a:pt x="738146" y="42866"/>
                </a:lnTo>
                <a:lnTo>
                  <a:pt x="738146" y="2347180"/>
                </a:lnTo>
                <a:lnTo>
                  <a:pt x="0" y="2347180"/>
                </a:lnTo>
                <a:lnTo>
                  <a:pt x="0" y="4286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36000" tIns="36000" rIns="72000" bIns="144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200" b="1" i="1" dirty="0" smtClean="0">
                <a:solidFill>
                  <a:srgbClr val="FFFFFF"/>
                </a:solidFill>
                <a:latin typeface="+mj-lt"/>
              </a:rPr>
              <a:t>Уходящие клиенты</a:t>
            </a:r>
            <a:endParaRPr lang="ru-RU" sz="1200" b="1" i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233125" y="1096439"/>
            <a:ext cx="1883259" cy="18466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sz="1500" i="1" dirty="0" smtClean="0">
                <a:solidFill>
                  <a:schemeClr val="bg1"/>
                </a:solidFill>
                <a:latin typeface="+mj-lt"/>
              </a:rPr>
              <a:t>Качественная аналитика всего спектра информации о клиенте позволяют заблаговременно выявлять </a:t>
            </a:r>
            <a:r>
              <a:rPr sz="1500" i="1" dirty="0">
                <a:solidFill>
                  <a:schemeClr val="bg1"/>
                </a:solidFill>
                <a:latin typeface="+mj-lt"/>
              </a:rPr>
              <a:t/>
            </a:r>
            <a:br>
              <a:rPr sz="1500" i="1" dirty="0">
                <a:solidFill>
                  <a:schemeClr val="bg1"/>
                </a:solidFill>
                <a:latin typeface="+mj-lt"/>
              </a:rPr>
            </a:br>
            <a:r>
              <a:rPr lang="ru-RU" sz="1500" i="1" dirty="0" smtClean="0">
                <a:solidFill>
                  <a:schemeClr val="bg1"/>
                </a:solidFill>
                <a:latin typeface="+mj-lt"/>
              </a:rPr>
              <a:t>отток клиентов…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308600" y="4177830"/>
            <a:ext cx="3385846" cy="6911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Анализ всего перечня информации о клиенте, включая его поведение в социальных медиа, помогает выявлять различные причины ухода клиентов 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5308600" y="1120053"/>
            <a:ext cx="3674583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Повышение лояльности и доходности от текущей клиентской базы достигается путем разработки маркетинговых кампаний, направленных на каждого клиента, с учетом особенностей его поведения.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Freeform 27"/>
          <p:cNvSpPr/>
          <p:nvPr/>
        </p:nvSpPr>
        <p:spPr bwMode="ltGray">
          <a:xfrm>
            <a:off x="3116384" y="2735056"/>
            <a:ext cx="2096830" cy="573000"/>
          </a:xfrm>
          <a:custGeom>
            <a:avLst/>
            <a:gdLst>
              <a:gd name="connsiteX0" fmla="*/ 0 w 1366838"/>
              <a:gd name="connsiteY0" fmla="*/ 0 h 576263"/>
              <a:gd name="connsiteX1" fmla="*/ 1362075 w 1366838"/>
              <a:gd name="connsiteY1" fmla="*/ 571500 h 576263"/>
              <a:gd name="connsiteX2" fmla="*/ 1366838 w 1366838"/>
              <a:gd name="connsiteY2" fmla="*/ 576263 h 576263"/>
              <a:gd name="connsiteX0" fmla="*/ 0 w 1366838"/>
              <a:gd name="connsiteY0" fmla="*/ 0 h 576263"/>
              <a:gd name="connsiteX1" fmla="*/ 1362075 w 1366838"/>
              <a:gd name="connsiteY1" fmla="*/ 571500 h 576263"/>
              <a:gd name="connsiteX2" fmla="*/ 1366838 w 1366838"/>
              <a:gd name="connsiteY2" fmla="*/ 576263 h 576263"/>
              <a:gd name="connsiteX0" fmla="*/ 0 w 1362075"/>
              <a:gd name="connsiteY0" fmla="*/ 0 h 571500"/>
              <a:gd name="connsiteX1" fmla="*/ 1362075 w 1362075"/>
              <a:gd name="connsiteY1" fmla="*/ 571500 h 571500"/>
              <a:gd name="connsiteX0" fmla="*/ 0 w 1362075"/>
              <a:gd name="connsiteY0" fmla="*/ 0 h 588419"/>
              <a:gd name="connsiteX1" fmla="*/ 1362075 w 1362075"/>
              <a:gd name="connsiteY1" fmla="*/ 571500 h 588419"/>
              <a:gd name="connsiteX0" fmla="*/ 0 w 1457325"/>
              <a:gd name="connsiteY0" fmla="*/ 0 h 639420"/>
              <a:gd name="connsiteX1" fmla="*/ 1457325 w 1457325"/>
              <a:gd name="connsiteY1" fmla="*/ 623888 h 639420"/>
              <a:gd name="connsiteX0" fmla="*/ 0 w 1428750"/>
              <a:gd name="connsiteY0" fmla="*/ 0 h 770082"/>
              <a:gd name="connsiteX1" fmla="*/ 1428750 w 1428750"/>
              <a:gd name="connsiteY1" fmla="*/ 757238 h 770082"/>
              <a:gd name="connsiteX0" fmla="*/ 0 w 1428750"/>
              <a:gd name="connsiteY0" fmla="*/ 19 h 767540"/>
              <a:gd name="connsiteX1" fmla="*/ 1428750 w 1428750"/>
              <a:gd name="connsiteY1" fmla="*/ 757257 h 767540"/>
              <a:gd name="connsiteX0" fmla="*/ 0 w 1481137"/>
              <a:gd name="connsiteY0" fmla="*/ 22 h 654645"/>
              <a:gd name="connsiteX1" fmla="*/ 1481137 w 1481137"/>
              <a:gd name="connsiteY1" fmla="*/ 642960 h 654645"/>
              <a:gd name="connsiteX0" fmla="*/ 0 w 1722553"/>
              <a:gd name="connsiteY0" fmla="*/ 15 h 915746"/>
              <a:gd name="connsiteX1" fmla="*/ 1722553 w 1722553"/>
              <a:gd name="connsiteY1" fmla="*/ 906857 h 915746"/>
              <a:gd name="connsiteX0" fmla="*/ 0 w 1722553"/>
              <a:gd name="connsiteY0" fmla="*/ 0 h 934115"/>
              <a:gd name="connsiteX1" fmla="*/ 1722553 w 1722553"/>
              <a:gd name="connsiteY1" fmla="*/ 906842 h 934115"/>
              <a:gd name="connsiteX0" fmla="*/ 0 w 1557951"/>
              <a:gd name="connsiteY0" fmla="*/ 0 h 973257"/>
              <a:gd name="connsiteX1" fmla="*/ 1557951 w 1557951"/>
              <a:gd name="connsiteY1" fmla="*/ 948511 h 973257"/>
              <a:gd name="connsiteX0" fmla="*/ 0 w 2391932"/>
              <a:gd name="connsiteY0" fmla="*/ 0 h 535804"/>
              <a:gd name="connsiteX1" fmla="*/ 2391932 w 2391932"/>
              <a:gd name="connsiteY1" fmla="*/ 392924 h 535804"/>
              <a:gd name="connsiteX0" fmla="*/ 0 w 2391932"/>
              <a:gd name="connsiteY0" fmla="*/ 0 h 746760"/>
              <a:gd name="connsiteX1" fmla="*/ 2391932 w 2391932"/>
              <a:gd name="connsiteY1" fmla="*/ 392924 h 746760"/>
              <a:gd name="connsiteX0" fmla="*/ 0 w 2435826"/>
              <a:gd name="connsiteY0" fmla="*/ 0 h 612734"/>
              <a:gd name="connsiteX1" fmla="*/ 2435826 w 2435826"/>
              <a:gd name="connsiteY1" fmla="*/ 170689 h 612734"/>
              <a:gd name="connsiteX0" fmla="*/ 0 w 2435826"/>
              <a:gd name="connsiteY0" fmla="*/ 0 h 354882"/>
              <a:gd name="connsiteX1" fmla="*/ 2435826 w 2435826"/>
              <a:gd name="connsiteY1" fmla="*/ 170689 h 354882"/>
              <a:gd name="connsiteX0" fmla="*/ 0 w 2435826"/>
              <a:gd name="connsiteY0" fmla="*/ 0 h 558483"/>
              <a:gd name="connsiteX1" fmla="*/ 2435826 w 2435826"/>
              <a:gd name="connsiteY1" fmla="*/ 170689 h 558483"/>
              <a:gd name="connsiteX0" fmla="*/ 0 w 2655295"/>
              <a:gd name="connsiteY0" fmla="*/ 0 h 562242"/>
              <a:gd name="connsiteX1" fmla="*/ 2655295 w 2655295"/>
              <a:gd name="connsiteY1" fmla="*/ 184579 h 562242"/>
              <a:gd name="connsiteX0" fmla="*/ 0 w 2545561"/>
              <a:gd name="connsiteY0" fmla="*/ 0 h 543939"/>
              <a:gd name="connsiteX1" fmla="*/ 2545561 w 2545561"/>
              <a:gd name="connsiteY1" fmla="*/ 115131 h 543939"/>
              <a:gd name="connsiteX0" fmla="*/ 0 w 2545561"/>
              <a:gd name="connsiteY0" fmla="*/ 0 h 519250"/>
              <a:gd name="connsiteX1" fmla="*/ 2545561 w 2545561"/>
              <a:gd name="connsiteY1" fmla="*/ 115131 h 519250"/>
              <a:gd name="connsiteX0" fmla="*/ 0 w 2117597"/>
              <a:gd name="connsiteY0" fmla="*/ 0 h 644755"/>
              <a:gd name="connsiteX1" fmla="*/ 2117597 w 2117597"/>
              <a:gd name="connsiteY1" fmla="*/ 510986 h 644755"/>
              <a:gd name="connsiteX0" fmla="*/ 0 w 2117597"/>
              <a:gd name="connsiteY0" fmla="*/ 0 h 622233"/>
              <a:gd name="connsiteX1" fmla="*/ 2117597 w 2117597"/>
              <a:gd name="connsiteY1" fmla="*/ 510986 h 622233"/>
              <a:gd name="connsiteX0" fmla="*/ 0 w 2117597"/>
              <a:gd name="connsiteY0" fmla="*/ 0 h 626676"/>
              <a:gd name="connsiteX1" fmla="*/ 2117597 w 2117597"/>
              <a:gd name="connsiteY1" fmla="*/ 510986 h 62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17597" h="626676">
                <a:moveTo>
                  <a:pt x="0" y="0"/>
                </a:moveTo>
                <a:cubicBezTo>
                  <a:pt x="837173" y="1200169"/>
                  <a:pt x="1797072" y="260683"/>
                  <a:pt x="2117597" y="510986"/>
                </a:cubicBezTo>
              </a:path>
            </a:pathLst>
          </a:custGeom>
          <a:noFill/>
          <a:ln w="38100" cap="rnd">
            <a:solidFill>
              <a:srgbClr val="A7A49B"/>
            </a:solidFill>
            <a:prstDash val="sysDot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latin typeface="+mj-lt"/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5035702" y="5807072"/>
            <a:ext cx="381160" cy="0"/>
          </a:xfrm>
          <a:prstGeom prst="straightConnector1">
            <a:avLst/>
          </a:prstGeom>
          <a:ln w="28575">
            <a:solidFill>
              <a:srgbClr val="A7A49B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lowchart: Decision 32"/>
          <p:cNvSpPr/>
          <p:nvPr/>
        </p:nvSpPr>
        <p:spPr bwMode="ltGray">
          <a:xfrm>
            <a:off x="5416862" y="5221066"/>
            <a:ext cx="900000" cy="1171458"/>
          </a:xfrm>
          <a:prstGeom prst="flowChartDecision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36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900" i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Вероятность </a:t>
            </a:r>
          </a:p>
          <a:p>
            <a:pPr algn="ctr"/>
            <a:r>
              <a:rPr lang="ru-RU" sz="900" i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ухода</a:t>
            </a:r>
            <a:endParaRPr lang="ru-RU" sz="900" i="1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4" name="Rectangle 33"/>
          <p:cNvSpPr/>
          <p:nvPr/>
        </p:nvSpPr>
        <p:spPr bwMode="ltGray">
          <a:xfrm rot="16200000">
            <a:off x="6755321" y="4773508"/>
            <a:ext cx="169277" cy="106439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i="1" dirty="0" smtClean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rPr>
              <a:t>Низкий уровень</a:t>
            </a:r>
          </a:p>
        </p:txBody>
      </p:sp>
      <p:cxnSp>
        <p:nvCxnSpPr>
          <p:cNvPr id="35" name="Straight Arrow Connector 107"/>
          <p:cNvCxnSpPr>
            <a:stCxn id="33" idx="3"/>
          </p:cNvCxnSpPr>
          <p:nvPr/>
        </p:nvCxnSpPr>
        <p:spPr>
          <a:xfrm flipV="1">
            <a:off x="6316862" y="5468393"/>
            <a:ext cx="1165287" cy="338402"/>
          </a:xfrm>
          <a:prstGeom prst="bentConnector3">
            <a:avLst>
              <a:gd name="adj1" fmla="val 50000"/>
            </a:avLst>
          </a:prstGeom>
          <a:ln w="28575">
            <a:solidFill>
              <a:srgbClr val="A7A49B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37"/>
          <p:cNvCxnSpPr>
            <a:stCxn id="33" idx="3"/>
            <a:endCxn id="47" idx="0"/>
          </p:cNvCxnSpPr>
          <p:nvPr/>
        </p:nvCxnSpPr>
        <p:spPr>
          <a:xfrm>
            <a:off x="6316862" y="5806795"/>
            <a:ext cx="1165289" cy="354344"/>
          </a:xfrm>
          <a:prstGeom prst="bentConnector3">
            <a:avLst/>
          </a:prstGeom>
          <a:ln w="28575">
            <a:solidFill>
              <a:srgbClr val="A7A49B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 bwMode="ltGray">
          <a:xfrm rot="16200000">
            <a:off x="6755321" y="5739620"/>
            <a:ext cx="169277" cy="113652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i="1" dirty="0" smtClean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rPr>
              <a:t>Высокий уровень</a:t>
            </a:r>
          </a:p>
        </p:txBody>
      </p:sp>
      <p:grpSp>
        <p:nvGrpSpPr>
          <p:cNvPr id="46" name="Group 45"/>
          <p:cNvGrpSpPr/>
          <p:nvPr/>
        </p:nvGrpSpPr>
        <p:grpSpPr>
          <a:xfrm>
            <a:off x="7482150" y="5941664"/>
            <a:ext cx="1213027" cy="438950"/>
            <a:chOff x="7217740" y="5634076"/>
            <a:chExt cx="1213027" cy="438950"/>
          </a:xfrm>
        </p:grpSpPr>
        <p:sp>
          <p:nvSpPr>
            <p:cNvPr id="47" name="Rectangle 46"/>
            <p:cNvSpPr/>
            <p:nvPr/>
          </p:nvSpPr>
          <p:spPr bwMode="ltGray">
            <a:xfrm rot="16200000">
              <a:off x="7604779" y="5247037"/>
              <a:ext cx="438950" cy="121302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lIns="36000" tIns="36000" rIns="36000" bIns="360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+mj-lt"/>
              </a:endParaRPr>
            </a:p>
          </p:txBody>
        </p:sp>
        <p:sp>
          <p:nvSpPr>
            <p:cNvPr id="48" name="Freeform 47"/>
            <p:cNvSpPr>
              <a:spLocks noEditPoints="1"/>
            </p:cNvSpPr>
            <p:nvPr/>
          </p:nvSpPr>
          <p:spPr bwMode="auto">
            <a:xfrm>
              <a:off x="7925948" y="5765432"/>
              <a:ext cx="180474" cy="176235"/>
            </a:xfrm>
            <a:custGeom>
              <a:avLst/>
              <a:gdLst>
                <a:gd name="T0" fmla="*/ 683 w 752"/>
                <a:gd name="T1" fmla="*/ 0 h 750"/>
                <a:gd name="T2" fmla="*/ 68 w 752"/>
                <a:gd name="T3" fmla="*/ 0 h 750"/>
                <a:gd name="T4" fmla="*/ 68 w 752"/>
                <a:gd name="T5" fmla="*/ 0 h 750"/>
                <a:gd name="T6" fmla="*/ 54 w 752"/>
                <a:gd name="T7" fmla="*/ 1 h 750"/>
                <a:gd name="T8" fmla="*/ 41 w 752"/>
                <a:gd name="T9" fmla="*/ 4 h 750"/>
                <a:gd name="T10" fmla="*/ 30 w 752"/>
                <a:gd name="T11" fmla="*/ 12 h 750"/>
                <a:gd name="T12" fmla="*/ 20 w 752"/>
                <a:gd name="T13" fmla="*/ 20 h 750"/>
                <a:gd name="T14" fmla="*/ 11 w 752"/>
                <a:gd name="T15" fmla="*/ 30 h 750"/>
                <a:gd name="T16" fmla="*/ 5 w 752"/>
                <a:gd name="T17" fmla="*/ 42 h 750"/>
                <a:gd name="T18" fmla="*/ 1 w 752"/>
                <a:gd name="T19" fmla="*/ 54 h 750"/>
                <a:gd name="T20" fmla="*/ 0 w 752"/>
                <a:gd name="T21" fmla="*/ 68 h 750"/>
                <a:gd name="T22" fmla="*/ 0 w 752"/>
                <a:gd name="T23" fmla="*/ 545 h 750"/>
                <a:gd name="T24" fmla="*/ 0 w 752"/>
                <a:gd name="T25" fmla="*/ 545 h 750"/>
                <a:gd name="T26" fmla="*/ 1 w 752"/>
                <a:gd name="T27" fmla="*/ 558 h 750"/>
                <a:gd name="T28" fmla="*/ 5 w 752"/>
                <a:gd name="T29" fmla="*/ 572 h 750"/>
                <a:gd name="T30" fmla="*/ 11 w 752"/>
                <a:gd name="T31" fmla="*/ 584 h 750"/>
                <a:gd name="T32" fmla="*/ 20 w 752"/>
                <a:gd name="T33" fmla="*/ 593 h 750"/>
                <a:gd name="T34" fmla="*/ 30 w 752"/>
                <a:gd name="T35" fmla="*/ 602 h 750"/>
                <a:gd name="T36" fmla="*/ 41 w 752"/>
                <a:gd name="T37" fmla="*/ 608 h 750"/>
                <a:gd name="T38" fmla="*/ 54 w 752"/>
                <a:gd name="T39" fmla="*/ 611 h 750"/>
                <a:gd name="T40" fmla="*/ 68 w 752"/>
                <a:gd name="T41" fmla="*/ 614 h 750"/>
                <a:gd name="T42" fmla="*/ 274 w 752"/>
                <a:gd name="T43" fmla="*/ 614 h 750"/>
                <a:gd name="T44" fmla="*/ 376 w 752"/>
                <a:gd name="T45" fmla="*/ 750 h 750"/>
                <a:gd name="T46" fmla="*/ 479 w 752"/>
                <a:gd name="T47" fmla="*/ 614 h 750"/>
                <a:gd name="T48" fmla="*/ 683 w 752"/>
                <a:gd name="T49" fmla="*/ 614 h 750"/>
                <a:gd name="T50" fmla="*/ 683 w 752"/>
                <a:gd name="T51" fmla="*/ 614 h 750"/>
                <a:gd name="T52" fmla="*/ 697 w 752"/>
                <a:gd name="T53" fmla="*/ 611 h 750"/>
                <a:gd name="T54" fmla="*/ 710 w 752"/>
                <a:gd name="T55" fmla="*/ 608 h 750"/>
                <a:gd name="T56" fmla="*/ 722 w 752"/>
                <a:gd name="T57" fmla="*/ 602 h 750"/>
                <a:gd name="T58" fmla="*/ 732 w 752"/>
                <a:gd name="T59" fmla="*/ 593 h 750"/>
                <a:gd name="T60" fmla="*/ 740 w 752"/>
                <a:gd name="T61" fmla="*/ 584 h 750"/>
                <a:gd name="T62" fmla="*/ 746 w 752"/>
                <a:gd name="T63" fmla="*/ 572 h 750"/>
                <a:gd name="T64" fmla="*/ 751 w 752"/>
                <a:gd name="T65" fmla="*/ 558 h 750"/>
                <a:gd name="T66" fmla="*/ 752 w 752"/>
                <a:gd name="T67" fmla="*/ 545 h 750"/>
                <a:gd name="T68" fmla="*/ 752 w 752"/>
                <a:gd name="T69" fmla="*/ 68 h 750"/>
                <a:gd name="T70" fmla="*/ 752 w 752"/>
                <a:gd name="T71" fmla="*/ 68 h 750"/>
                <a:gd name="T72" fmla="*/ 751 w 752"/>
                <a:gd name="T73" fmla="*/ 54 h 750"/>
                <a:gd name="T74" fmla="*/ 746 w 752"/>
                <a:gd name="T75" fmla="*/ 42 h 750"/>
                <a:gd name="T76" fmla="*/ 740 w 752"/>
                <a:gd name="T77" fmla="*/ 30 h 750"/>
                <a:gd name="T78" fmla="*/ 732 w 752"/>
                <a:gd name="T79" fmla="*/ 20 h 750"/>
                <a:gd name="T80" fmla="*/ 722 w 752"/>
                <a:gd name="T81" fmla="*/ 12 h 750"/>
                <a:gd name="T82" fmla="*/ 710 w 752"/>
                <a:gd name="T83" fmla="*/ 4 h 750"/>
                <a:gd name="T84" fmla="*/ 697 w 752"/>
                <a:gd name="T85" fmla="*/ 1 h 750"/>
                <a:gd name="T86" fmla="*/ 683 w 752"/>
                <a:gd name="T87" fmla="*/ 0 h 750"/>
                <a:gd name="T88" fmla="*/ 683 w 752"/>
                <a:gd name="T89" fmla="*/ 0 h 750"/>
                <a:gd name="T90" fmla="*/ 615 w 752"/>
                <a:gd name="T91" fmla="*/ 477 h 750"/>
                <a:gd name="T92" fmla="*/ 136 w 752"/>
                <a:gd name="T93" fmla="*/ 477 h 750"/>
                <a:gd name="T94" fmla="*/ 136 w 752"/>
                <a:gd name="T95" fmla="*/ 408 h 750"/>
                <a:gd name="T96" fmla="*/ 615 w 752"/>
                <a:gd name="T97" fmla="*/ 408 h 750"/>
                <a:gd name="T98" fmla="*/ 615 w 752"/>
                <a:gd name="T99" fmla="*/ 477 h 750"/>
                <a:gd name="T100" fmla="*/ 615 w 752"/>
                <a:gd name="T101" fmla="*/ 341 h 750"/>
                <a:gd name="T102" fmla="*/ 136 w 752"/>
                <a:gd name="T103" fmla="*/ 341 h 750"/>
                <a:gd name="T104" fmla="*/ 136 w 752"/>
                <a:gd name="T105" fmla="*/ 272 h 750"/>
                <a:gd name="T106" fmla="*/ 615 w 752"/>
                <a:gd name="T107" fmla="*/ 272 h 750"/>
                <a:gd name="T108" fmla="*/ 615 w 752"/>
                <a:gd name="T109" fmla="*/ 341 h 750"/>
                <a:gd name="T110" fmla="*/ 615 w 752"/>
                <a:gd name="T111" fmla="*/ 204 h 750"/>
                <a:gd name="T112" fmla="*/ 136 w 752"/>
                <a:gd name="T113" fmla="*/ 204 h 750"/>
                <a:gd name="T114" fmla="*/ 136 w 752"/>
                <a:gd name="T115" fmla="*/ 135 h 750"/>
                <a:gd name="T116" fmla="*/ 615 w 752"/>
                <a:gd name="T117" fmla="*/ 135 h 750"/>
                <a:gd name="T118" fmla="*/ 615 w 752"/>
                <a:gd name="T119" fmla="*/ 204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2" h="750">
                  <a:moveTo>
                    <a:pt x="683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54" y="1"/>
                  </a:lnTo>
                  <a:lnTo>
                    <a:pt x="41" y="4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1" y="30"/>
                  </a:lnTo>
                  <a:lnTo>
                    <a:pt x="5" y="42"/>
                  </a:lnTo>
                  <a:lnTo>
                    <a:pt x="1" y="54"/>
                  </a:lnTo>
                  <a:lnTo>
                    <a:pt x="0" y="68"/>
                  </a:lnTo>
                  <a:lnTo>
                    <a:pt x="0" y="545"/>
                  </a:lnTo>
                  <a:lnTo>
                    <a:pt x="0" y="545"/>
                  </a:lnTo>
                  <a:lnTo>
                    <a:pt x="1" y="558"/>
                  </a:lnTo>
                  <a:lnTo>
                    <a:pt x="5" y="572"/>
                  </a:lnTo>
                  <a:lnTo>
                    <a:pt x="11" y="584"/>
                  </a:lnTo>
                  <a:lnTo>
                    <a:pt x="20" y="593"/>
                  </a:lnTo>
                  <a:lnTo>
                    <a:pt x="30" y="602"/>
                  </a:lnTo>
                  <a:lnTo>
                    <a:pt x="41" y="608"/>
                  </a:lnTo>
                  <a:lnTo>
                    <a:pt x="54" y="611"/>
                  </a:lnTo>
                  <a:lnTo>
                    <a:pt x="68" y="614"/>
                  </a:lnTo>
                  <a:lnTo>
                    <a:pt x="274" y="614"/>
                  </a:lnTo>
                  <a:lnTo>
                    <a:pt x="376" y="750"/>
                  </a:lnTo>
                  <a:lnTo>
                    <a:pt x="479" y="614"/>
                  </a:lnTo>
                  <a:lnTo>
                    <a:pt x="683" y="614"/>
                  </a:lnTo>
                  <a:lnTo>
                    <a:pt x="683" y="614"/>
                  </a:lnTo>
                  <a:lnTo>
                    <a:pt x="697" y="611"/>
                  </a:lnTo>
                  <a:lnTo>
                    <a:pt x="710" y="608"/>
                  </a:lnTo>
                  <a:lnTo>
                    <a:pt x="722" y="602"/>
                  </a:lnTo>
                  <a:lnTo>
                    <a:pt x="732" y="593"/>
                  </a:lnTo>
                  <a:lnTo>
                    <a:pt x="740" y="584"/>
                  </a:lnTo>
                  <a:lnTo>
                    <a:pt x="746" y="572"/>
                  </a:lnTo>
                  <a:lnTo>
                    <a:pt x="751" y="558"/>
                  </a:lnTo>
                  <a:lnTo>
                    <a:pt x="752" y="545"/>
                  </a:lnTo>
                  <a:lnTo>
                    <a:pt x="752" y="68"/>
                  </a:lnTo>
                  <a:lnTo>
                    <a:pt x="752" y="68"/>
                  </a:lnTo>
                  <a:lnTo>
                    <a:pt x="751" y="54"/>
                  </a:lnTo>
                  <a:lnTo>
                    <a:pt x="746" y="42"/>
                  </a:lnTo>
                  <a:lnTo>
                    <a:pt x="740" y="30"/>
                  </a:lnTo>
                  <a:lnTo>
                    <a:pt x="732" y="20"/>
                  </a:lnTo>
                  <a:lnTo>
                    <a:pt x="722" y="12"/>
                  </a:lnTo>
                  <a:lnTo>
                    <a:pt x="710" y="4"/>
                  </a:lnTo>
                  <a:lnTo>
                    <a:pt x="697" y="1"/>
                  </a:lnTo>
                  <a:lnTo>
                    <a:pt x="683" y="0"/>
                  </a:lnTo>
                  <a:lnTo>
                    <a:pt x="683" y="0"/>
                  </a:lnTo>
                  <a:close/>
                  <a:moveTo>
                    <a:pt x="615" y="477"/>
                  </a:moveTo>
                  <a:lnTo>
                    <a:pt x="136" y="477"/>
                  </a:lnTo>
                  <a:lnTo>
                    <a:pt x="136" y="408"/>
                  </a:lnTo>
                  <a:lnTo>
                    <a:pt x="615" y="408"/>
                  </a:lnTo>
                  <a:lnTo>
                    <a:pt x="615" y="477"/>
                  </a:lnTo>
                  <a:close/>
                  <a:moveTo>
                    <a:pt x="615" y="341"/>
                  </a:moveTo>
                  <a:lnTo>
                    <a:pt x="136" y="341"/>
                  </a:lnTo>
                  <a:lnTo>
                    <a:pt x="136" y="272"/>
                  </a:lnTo>
                  <a:lnTo>
                    <a:pt x="615" y="272"/>
                  </a:lnTo>
                  <a:lnTo>
                    <a:pt x="615" y="341"/>
                  </a:lnTo>
                  <a:close/>
                  <a:moveTo>
                    <a:pt x="615" y="204"/>
                  </a:moveTo>
                  <a:lnTo>
                    <a:pt x="136" y="204"/>
                  </a:lnTo>
                  <a:lnTo>
                    <a:pt x="136" y="135"/>
                  </a:lnTo>
                  <a:lnTo>
                    <a:pt x="615" y="135"/>
                  </a:lnTo>
                  <a:lnTo>
                    <a:pt x="615" y="204"/>
                  </a:lnTo>
                  <a:close/>
                </a:path>
              </a:pathLst>
            </a:custGeom>
            <a:solidFill>
              <a:srgbClr val="8A867A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i="1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auto">
            <a:xfrm rot="4848033" flipH="1">
              <a:off x="7303469" y="5761004"/>
              <a:ext cx="137269" cy="185093"/>
            </a:xfrm>
            <a:custGeom>
              <a:avLst/>
              <a:gdLst>
                <a:gd name="T0" fmla="*/ 1672939 w 12900"/>
                <a:gd name="T1" fmla="*/ 46628719 h 17028"/>
                <a:gd name="T2" fmla="*/ 586120 w 12900"/>
                <a:gd name="T3" fmla="*/ 44850311 h 17028"/>
                <a:gd name="T4" fmla="*/ 44176 w 12900"/>
                <a:gd name="T5" fmla="*/ 43411659 h 17028"/>
                <a:gd name="T6" fmla="*/ 26484 w 12900"/>
                <a:gd name="T7" fmla="*/ 42253628 h 17028"/>
                <a:gd name="T8" fmla="*/ 533098 w 12900"/>
                <a:gd name="T9" fmla="*/ 39308275 h 17028"/>
                <a:gd name="T10" fmla="*/ 1672939 w 12900"/>
                <a:gd name="T11" fmla="*/ 35630361 h 17028"/>
                <a:gd name="T12" fmla="*/ 3451868 w 12900"/>
                <a:gd name="T13" fmla="*/ 31219778 h 17028"/>
                <a:gd name="T14" fmla="*/ 5743272 w 12900"/>
                <a:gd name="T15" fmla="*/ 26504869 h 17028"/>
                <a:gd name="T16" fmla="*/ 8482408 w 12900"/>
                <a:gd name="T17" fmla="*/ 21784097 h 17028"/>
                <a:gd name="T18" fmla="*/ 11657388 w 12900"/>
                <a:gd name="T19" fmla="*/ 17054465 h 17028"/>
                <a:gd name="T20" fmla="*/ 14932554 w 12900"/>
                <a:gd name="T21" fmla="*/ 12682306 h 17028"/>
                <a:gd name="T22" fmla="*/ 18113449 w 12900"/>
                <a:gd name="T23" fmla="*/ 8844813 h 17028"/>
                <a:gd name="T24" fmla="*/ 21211853 w 12900"/>
                <a:gd name="T25" fmla="*/ 5530243 h 17028"/>
                <a:gd name="T26" fmla="*/ 24133607 w 12900"/>
                <a:gd name="T27" fmla="*/ 2830127 h 17028"/>
                <a:gd name="T28" fmla="*/ 26628253 w 12900"/>
                <a:gd name="T29" fmla="*/ 1019215 h 17028"/>
                <a:gd name="T30" fmla="*/ 28669314 w 12900"/>
                <a:gd name="T31" fmla="*/ 112238 h 17028"/>
                <a:gd name="T32" fmla="*/ 29921060 w 12900"/>
                <a:gd name="T33" fmla="*/ 35438 h 17028"/>
                <a:gd name="T34" fmla="*/ 31570391 w 12900"/>
                <a:gd name="T35" fmla="*/ 463789 h 17028"/>
                <a:gd name="T36" fmla="*/ 34863246 w 12900"/>
                <a:gd name="T37" fmla="*/ 1707533 h 17028"/>
                <a:gd name="T38" fmla="*/ 36486093 w 12900"/>
                <a:gd name="T39" fmla="*/ 2629241 h 17028"/>
                <a:gd name="T40" fmla="*/ 37652417 w 12900"/>
                <a:gd name="T41" fmla="*/ 3645467 h 17028"/>
                <a:gd name="T42" fmla="*/ 37941027 w 12900"/>
                <a:gd name="T43" fmla="*/ 4171326 h 17028"/>
                <a:gd name="T44" fmla="*/ 37976357 w 12900"/>
                <a:gd name="T45" fmla="*/ 4697131 h 17028"/>
                <a:gd name="T46" fmla="*/ 37637656 w 12900"/>
                <a:gd name="T47" fmla="*/ 5692702 h 17028"/>
                <a:gd name="T48" fmla="*/ 36565599 w 12900"/>
                <a:gd name="T49" fmla="*/ 7666074 h 17028"/>
                <a:gd name="T50" fmla="*/ 33947270 w 12900"/>
                <a:gd name="T51" fmla="*/ 11509491 h 17028"/>
                <a:gd name="T52" fmla="*/ 32468728 w 12900"/>
                <a:gd name="T53" fmla="*/ 13273116 h 17028"/>
                <a:gd name="T54" fmla="*/ 31134491 w 12900"/>
                <a:gd name="T55" fmla="*/ 14611382 h 17028"/>
                <a:gd name="T56" fmla="*/ 29903368 w 12900"/>
                <a:gd name="T57" fmla="*/ 15589181 h 17028"/>
                <a:gd name="T58" fmla="*/ 28813619 w 12900"/>
                <a:gd name="T59" fmla="*/ 16153467 h 17028"/>
                <a:gd name="T60" fmla="*/ 27927106 w 12900"/>
                <a:gd name="T61" fmla="*/ 16318861 h 17028"/>
                <a:gd name="T62" fmla="*/ 26822595 w 12900"/>
                <a:gd name="T63" fmla="*/ 16165261 h 17028"/>
                <a:gd name="T64" fmla="*/ 26416164 w 12900"/>
                <a:gd name="T65" fmla="*/ 15934862 h 17028"/>
                <a:gd name="T66" fmla="*/ 25726985 w 12900"/>
                <a:gd name="T67" fmla="*/ 15122457 h 17028"/>
                <a:gd name="T68" fmla="*/ 23953917 w 12900"/>
                <a:gd name="T69" fmla="*/ 13234743 h 17028"/>
                <a:gd name="T70" fmla="*/ 23582817 w 12900"/>
                <a:gd name="T71" fmla="*/ 12980646 h 17028"/>
                <a:gd name="T72" fmla="*/ 21506378 w 12900"/>
                <a:gd name="T73" fmla="*/ 15290841 h 17028"/>
                <a:gd name="T74" fmla="*/ 15068013 w 12900"/>
                <a:gd name="T75" fmla="*/ 23583214 h 17028"/>
                <a:gd name="T76" fmla="*/ 9248163 w 12900"/>
                <a:gd name="T77" fmla="*/ 31984896 h 17028"/>
                <a:gd name="T78" fmla="*/ 8326272 w 12900"/>
                <a:gd name="T79" fmla="*/ 34490049 h 17028"/>
                <a:gd name="T80" fmla="*/ 8815194 w 12900"/>
                <a:gd name="T81" fmla="*/ 34953838 h 17028"/>
                <a:gd name="T82" fmla="*/ 9784192 w 12900"/>
                <a:gd name="T83" fmla="*/ 35361535 h 17028"/>
                <a:gd name="T84" fmla="*/ 11404108 w 12900"/>
                <a:gd name="T85" fmla="*/ 35760318 h 17028"/>
                <a:gd name="T86" fmla="*/ 12320083 w 12900"/>
                <a:gd name="T87" fmla="*/ 36108934 h 17028"/>
                <a:gd name="T88" fmla="*/ 12832558 w 12900"/>
                <a:gd name="T89" fmla="*/ 36501847 h 17028"/>
                <a:gd name="T90" fmla="*/ 13383348 w 12900"/>
                <a:gd name="T91" fmla="*/ 37544651 h 17028"/>
                <a:gd name="T92" fmla="*/ 14322880 w 12900"/>
                <a:gd name="T93" fmla="*/ 40306782 h 17028"/>
                <a:gd name="T94" fmla="*/ 15100412 w 12900"/>
                <a:gd name="T95" fmla="*/ 43565259 h 17028"/>
                <a:gd name="T96" fmla="*/ 15241786 w 12900"/>
                <a:gd name="T97" fmla="*/ 45834088 h 17028"/>
                <a:gd name="T98" fmla="*/ 14988506 w 12900"/>
                <a:gd name="T99" fmla="*/ 47151643 h 17028"/>
                <a:gd name="T100" fmla="*/ 14508431 w 12900"/>
                <a:gd name="T101" fmla="*/ 47772021 h 17028"/>
                <a:gd name="T102" fmla="*/ 13300857 w 12900"/>
                <a:gd name="T103" fmla="*/ 48368755 h 17028"/>
                <a:gd name="T104" fmla="*/ 11065406 w 12900"/>
                <a:gd name="T105" fmla="*/ 49187084 h 17028"/>
                <a:gd name="T106" fmla="*/ 8376364 w 12900"/>
                <a:gd name="T107" fmla="*/ 49922688 h 17028"/>
                <a:gd name="T108" fmla="*/ 6547342 w 12900"/>
                <a:gd name="T109" fmla="*/ 50286034 h 17028"/>
                <a:gd name="T110" fmla="*/ 5649059 w 12900"/>
                <a:gd name="T111" fmla="*/ 50188526 h 17028"/>
                <a:gd name="T112" fmla="*/ 4624109 w 12900"/>
                <a:gd name="T113" fmla="*/ 49621359 h 17028"/>
                <a:gd name="T114" fmla="*/ 3410622 w 12900"/>
                <a:gd name="T115" fmla="*/ 48581490 h 170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2900"/>
                <a:gd name="T175" fmla="*/ 0 h 17028"/>
                <a:gd name="T176" fmla="*/ 12900 w 12900"/>
                <a:gd name="T177" fmla="*/ 17028 h 170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2900" h="17028">
                  <a:moveTo>
                    <a:pt x="927" y="16208"/>
                  </a:moveTo>
                  <a:lnTo>
                    <a:pt x="887" y="16168"/>
                  </a:lnTo>
                  <a:lnTo>
                    <a:pt x="845" y="16125"/>
                  </a:lnTo>
                  <a:lnTo>
                    <a:pt x="806" y="16080"/>
                  </a:lnTo>
                  <a:lnTo>
                    <a:pt x="765" y="16035"/>
                  </a:lnTo>
                  <a:lnTo>
                    <a:pt x="726" y="15988"/>
                  </a:lnTo>
                  <a:lnTo>
                    <a:pt x="685" y="15940"/>
                  </a:lnTo>
                  <a:lnTo>
                    <a:pt x="646" y="15889"/>
                  </a:lnTo>
                  <a:lnTo>
                    <a:pt x="608" y="15837"/>
                  </a:lnTo>
                  <a:lnTo>
                    <a:pt x="568" y="15784"/>
                  </a:lnTo>
                  <a:lnTo>
                    <a:pt x="529" y="15729"/>
                  </a:lnTo>
                  <a:lnTo>
                    <a:pt x="490" y="15673"/>
                  </a:lnTo>
                  <a:lnTo>
                    <a:pt x="452" y="15615"/>
                  </a:lnTo>
                  <a:lnTo>
                    <a:pt x="414" y="15555"/>
                  </a:lnTo>
                  <a:lnTo>
                    <a:pt x="376" y="15494"/>
                  </a:lnTo>
                  <a:lnTo>
                    <a:pt x="338" y="15431"/>
                  </a:lnTo>
                  <a:lnTo>
                    <a:pt x="301" y="15367"/>
                  </a:lnTo>
                  <a:lnTo>
                    <a:pt x="264" y="15303"/>
                  </a:lnTo>
                  <a:lnTo>
                    <a:pt x="230" y="15242"/>
                  </a:lnTo>
                  <a:lnTo>
                    <a:pt x="199" y="15182"/>
                  </a:lnTo>
                  <a:lnTo>
                    <a:pt x="169" y="15123"/>
                  </a:lnTo>
                  <a:lnTo>
                    <a:pt x="143" y="15067"/>
                  </a:lnTo>
                  <a:lnTo>
                    <a:pt x="118" y="15011"/>
                  </a:lnTo>
                  <a:lnTo>
                    <a:pt x="96" y="14958"/>
                  </a:lnTo>
                  <a:lnTo>
                    <a:pt x="76" y="14906"/>
                  </a:lnTo>
                  <a:lnTo>
                    <a:pt x="57" y="14857"/>
                  </a:lnTo>
                  <a:lnTo>
                    <a:pt x="43" y="14808"/>
                  </a:lnTo>
                  <a:lnTo>
                    <a:pt x="30" y="14762"/>
                  </a:lnTo>
                  <a:lnTo>
                    <a:pt x="19" y="14716"/>
                  </a:lnTo>
                  <a:lnTo>
                    <a:pt x="15" y="14695"/>
                  </a:lnTo>
                  <a:lnTo>
                    <a:pt x="11" y="14673"/>
                  </a:lnTo>
                  <a:lnTo>
                    <a:pt x="7" y="14652"/>
                  </a:lnTo>
                  <a:lnTo>
                    <a:pt x="4" y="14632"/>
                  </a:lnTo>
                  <a:lnTo>
                    <a:pt x="2" y="14612"/>
                  </a:lnTo>
                  <a:lnTo>
                    <a:pt x="1" y="14591"/>
                  </a:lnTo>
                  <a:lnTo>
                    <a:pt x="0" y="14572"/>
                  </a:lnTo>
                  <a:lnTo>
                    <a:pt x="0" y="14554"/>
                  </a:lnTo>
                  <a:lnTo>
                    <a:pt x="1" y="14473"/>
                  </a:lnTo>
                  <a:lnTo>
                    <a:pt x="4" y="14389"/>
                  </a:lnTo>
                  <a:lnTo>
                    <a:pt x="9" y="14303"/>
                  </a:lnTo>
                  <a:lnTo>
                    <a:pt x="17" y="14215"/>
                  </a:lnTo>
                  <a:lnTo>
                    <a:pt x="27" y="14123"/>
                  </a:lnTo>
                  <a:lnTo>
                    <a:pt x="38" y="14031"/>
                  </a:lnTo>
                  <a:lnTo>
                    <a:pt x="52" y="13935"/>
                  </a:lnTo>
                  <a:lnTo>
                    <a:pt x="68" y="13835"/>
                  </a:lnTo>
                  <a:lnTo>
                    <a:pt x="86" y="13735"/>
                  </a:lnTo>
                  <a:lnTo>
                    <a:pt x="106" y="13632"/>
                  </a:lnTo>
                  <a:lnTo>
                    <a:pt x="130" y="13525"/>
                  </a:lnTo>
                  <a:lnTo>
                    <a:pt x="154" y="13417"/>
                  </a:lnTo>
                  <a:lnTo>
                    <a:pt x="181" y="13306"/>
                  </a:lnTo>
                  <a:lnTo>
                    <a:pt x="210" y="13193"/>
                  </a:lnTo>
                  <a:lnTo>
                    <a:pt x="241" y="13076"/>
                  </a:lnTo>
                  <a:lnTo>
                    <a:pt x="275" y="12958"/>
                  </a:lnTo>
                  <a:lnTo>
                    <a:pt x="310" y="12838"/>
                  </a:lnTo>
                  <a:lnTo>
                    <a:pt x="347" y="12714"/>
                  </a:lnTo>
                  <a:lnTo>
                    <a:pt x="388" y="12588"/>
                  </a:lnTo>
                  <a:lnTo>
                    <a:pt x="430" y="12460"/>
                  </a:lnTo>
                  <a:lnTo>
                    <a:pt x="473" y="12329"/>
                  </a:lnTo>
                  <a:lnTo>
                    <a:pt x="520" y="12196"/>
                  </a:lnTo>
                  <a:lnTo>
                    <a:pt x="568" y="12061"/>
                  </a:lnTo>
                  <a:lnTo>
                    <a:pt x="619" y="11922"/>
                  </a:lnTo>
                  <a:lnTo>
                    <a:pt x="672" y="11781"/>
                  </a:lnTo>
                  <a:lnTo>
                    <a:pt x="727" y="11638"/>
                  </a:lnTo>
                  <a:lnTo>
                    <a:pt x="783" y="11492"/>
                  </a:lnTo>
                  <a:lnTo>
                    <a:pt x="843" y="11345"/>
                  </a:lnTo>
                  <a:lnTo>
                    <a:pt x="905" y="11194"/>
                  </a:lnTo>
                  <a:lnTo>
                    <a:pt x="968" y="11041"/>
                  </a:lnTo>
                  <a:lnTo>
                    <a:pt x="1034" y="10886"/>
                  </a:lnTo>
                  <a:lnTo>
                    <a:pt x="1102" y="10728"/>
                  </a:lnTo>
                  <a:lnTo>
                    <a:pt x="1172" y="10568"/>
                  </a:lnTo>
                  <a:lnTo>
                    <a:pt x="1243" y="10408"/>
                  </a:lnTo>
                  <a:lnTo>
                    <a:pt x="1315" y="10249"/>
                  </a:lnTo>
                  <a:lnTo>
                    <a:pt x="1389" y="10090"/>
                  </a:lnTo>
                  <a:lnTo>
                    <a:pt x="1465" y="9931"/>
                  </a:lnTo>
                  <a:lnTo>
                    <a:pt x="1543" y="9771"/>
                  </a:lnTo>
                  <a:lnTo>
                    <a:pt x="1620" y="9611"/>
                  </a:lnTo>
                  <a:lnTo>
                    <a:pt x="1701" y="9451"/>
                  </a:lnTo>
                  <a:lnTo>
                    <a:pt x="1782" y="9292"/>
                  </a:lnTo>
                  <a:lnTo>
                    <a:pt x="1866" y="9132"/>
                  </a:lnTo>
                  <a:lnTo>
                    <a:pt x="1950" y="8972"/>
                  </a:lnTo>
                  <a:lnTo>
                    <a:pt x="2036" y="8812"/>
                  </a:lnTo>
                  <a:lnTo>
                    <a:pt x="2124" y="8653"/>
                  </a:lnTo>
                  <a:lnTo>
                    <a:pt x="2213" y="8494"/>
                  </a:lnTo>
                  <a:lnTo>
                    <a:pt x="2304" y="8334"/>
                  </a:lnTo>
                  <a:lnTo>
                    <a:pt x="2397" y="8174"/>
                  </a:lnTo>
                  <a:lnTo>
                    <a:pt x="2489" y="8014"/>
                  </a:lnTo>
                  <a:lnTo>
                    <a:pt x="2585" y="7854"/>
                  </a:lnTo>
                  <a:lnTo>
                    <a:pt x="2681" y="7694"/>
                  </a:lnTo>
                  <a:lnTo>
                    <a:pt x="2779" y="7534"/>
                  </a:lnTo>
                  <a:lnTo>
                    <a:pt x="2880" y="7374"/>
                  </a:lnTo>
                  <a:lnTo>
                    <a:pt x="2981" y="7215"/>
                  </a:lnTo>
                  <a:lnTo>
                    <a:pt x="3083" y="7055"/>
                  </a:lnTo>
                  <a:lnTo>
                    <a:pt x="3188" y="6894"/>
                  </a:lnTo>
                  <a:lnTo>
                    <a:pt x="3293" y="6734"/>
                  </a:lnTo>
                  <a:lnTo>
                    <a:pt x="3400" y="6574"/>
                  </a:lnTo>
                  <a:lnTo>
                    <a:pt x="3509" y="6414"/>
                  </a:lnTo>
                  <a:lnTo>
                    <a:pt x="3619" y="6253"/>
                  </a:lnTo>
                  <a:lnTo>
                    <a:pt x="3730" y="6093"/>
                  </a:lnTo>
                  <a:lnTo>
                    <a:pt x="3844" y="5933"/>
                  </a:lnTo>
                  <a:lnTo>
                    <a:pt x="3958" y="5773"/>
                  </a:lnTo>
                  <a:lnTo>
                    <a:pt x="4075" y="5612"/>
                  </a:lnTo>
                  <a:lnTo>
                    <a:pt x="4187" y="5459"/>
                  </a:lnTo>
                  <a:lnTo>
                    <a:pt x="4299" y="5306"/>
                  </a:lnTo>
                  <a:lnTo>
                    <a:pt x="4409" y="5157"/>
                  </a:lnTo>
                  <a:lnTo>
                    <a:pt x="4520" y="5008"/>
                  </a:lnTo>
                  <a:lnTo>
                    <a:pt x="4631" y="4862"/>
                  </a:lnTo>
                  <a:lnTo>
                    <a:pt x="4741" y="4717"/>
                  </a:lnTo>
                  <a:lnTo>
                    <a:pt x="4852" y="4574"/>
                  </a:lnTo>
                  <a:lnTo>
                    <a:pt x="4962" y="4432"/>
                  </a:lnTo>
                  <a:lnTo>
                    <a:pt x="5070" y="4293"/>
                  </a:lnTo>
                  <a:lnTo>
                    <a:pt x="5180" y="4155"/>
                  </a:lnTo>
                  <a:lnTo>
                    <a:pt x="5289" y="4019"/>
                  </a:lnTo>
                  <a:lnTo>
                    <a:pt x="5398" y="3884"/>
                  </a:lnTo>
                  <a:lnTo>
                    <a:pt x="5506" y="3752"/>
                  </a:lnTo>
                  <a:lnTo>
                    <a:pt x="5614" y="3621"/>
                  </a:lnTo>
                  <a:lnTo>
                    <a:pt x="5722" y="3492"/>
                  </a:lnTo>
                  <a:lnTo>
                    <a:pt x="5830" y="3365"/>
                  </a:lnTo>
                  <a:lnTo>
                    <a:pt x="5937" y="3239"/>
                  </a:lnTo>
                  <a:lnTo>
                    <a:pt x="6044" y="3116"/>
                  </a:lnTo>
                  <a:lnTo>
                    <a:pt x="6150" y="2994"/>
                  </a:lnTo>
                  <a:lnTo>
                    <a:pt x="6257" y="2874"/>
                  </a:lnTo>
                  <a:lnTo>
                    <a:pt x="6363" y="2755"/>
                  </a:lnTo>
                  <a:lnTo>
                    <a:pt x="6469" y="2638"/>
                  </a:lnTo>
                  <a:lnTo>
                    <a:pt x="6575" y="2524"/>
                  </a:lnTo>
                  <a:lnTo>
                    <a:pt x="6679" y="2410"/>
                  </a:lnTo>
                  <a:lnTo>
                    <a:pt x="6785" y="2299"/>
                  </a:lnTo>
                  <a:lnTo>
                    <a:pt x="6889" y="2189"/>
                  </a:lnTo>
                  <a:lnTo>
                    <a:pt x="6994" y="2082"/>
                  </a:lnTo>
                  <a:lnTo>
                    <a:pt x="7097" y="1975"/>
                  </a:lnTo>
                  <a:lnTo>
                    <a:pt x="7202" y="1872"/>
                  </a:lnTo>
                  <a:lnTo>
                    <a:pt x="7305" y="1768"/>
                  </a:lnTo>
                  <a:lnTo>
                    <a:pt x="7408" y="1668"/>
                  </a:lnTo>
                  <a:lnTo>
                    <a:pt x="7511" y="1569"/>
                  </a:lnTo>
                  <a:lnTo>
                    <a:pt x="7613" y="1472"/>
                  </a:lnTo>
                  <a:lnTo>
                    <a:pt x="7714" y="1379"/>
                  </a:lnTo>
                  <a:lnTo>
                    <a:pt x="7814" y="1289"/>
                  </a:lnTo>
                  <a:lnTo>
                    <a:pt x="7911" y="1201"/>
                  </a:lnTo>
                  <a:lnTo>
                    <a:pt x="8007" y="1118"/>
                  </a:lnTo>
                  <a:lnTo>
                    <a:pt x="8101" y="1036"/>
                  </a:lnTo>
                  <a:lnTo>
                    <a:pt x="8194" y="958"/>
                  </a:lnTo>
                  <a:lnTo>
                    <a:pt x="8286" y="884"/>
                  </a:lnTo>
                  <a:lnTo>
                    <a:pt x="8375" y="811"/>
                  </a:lnTo>
                  <a:lnTo>
                    <a:pt x="8464" y="743"/>
                  </a:lnTo>
                  <a:lnTo>
                    <a:pt x="8551" y="677"/>
                  </a:lnTo>
                  <a:lnTo>
                    <a:pt x="8637" y="614"/>
                  </a:lnTo>
                  <a:lnTo>
                    <a:pt x="8721" y="554"/>
                  </a:lnTo>
                  <a:lnTo>
                    <a:pt x="8803" y="498"/>
                  </a:lnTo>
                  <a:lnTo>
                    <a:pt x="8883" y="443"/>
                  </a:lnTo>
                  <a:lnTo>
                    <a:pt x="8963" y="393"/>
                  </a:lnTo>
                  <a:lnTo>
                    <a:pt x="9041" y="345"/>
                  </a:lnTo>
                  <a:lnTo>
                    <a:pt x="9116" y="300"/>
                  </a:lnTo>
                  <a:lnTo>
                    <a:pt x="9191" y="260"/>
                  </a:lnTo>
                  <a:lnTo>
                    <a:pt x="9265" y="222"/>
                  </a:lnTo>
                  <a:lnTo>
                    <a:pt x="9336" y="185"/>
                  </a:lnTo>
                  <a:lnTo>
                    <a:pt x="9405" y="153"/>
                  </a:lnTo>
                  <a:lnTo>
                    <a:pt x="9475" y="125"/>
                  </a:lnTo>
                  <a:lnTo>
                    <a:pt x="9542" y="98"/>
                  </a:lnTo>
                  <a:lnTo>
                    <a:pt x="9607" y="76"/>
                  </a:lnTo>
                  <a:lnTo>
                    <a:pt x="9671" y="55"/>
                  </a:lnTo>
                  <a:lnTo>
                    <a:pt x="9734" y="38"/>
                  </a:lnTo>
                  <a:lnTo>
                    <a:pt x="9794" y="24"/>
                  </a:lnTo>
                  <a:lnTo>
                    <a:pt x="9853" y="14"/>
                  </a:lnTo>
                  <a:lnTo>
                    <a:pt x="9912" y="6"/>
                  </a:lnTo>
                  <a:lnTo>
                    <a:pt x="9968" y="1"/>
                  </a:lnTo>
                  <a:lnTo>
                    <a:pt x="10023" y="0"/>
                  </a:lnTo>
                  <a:lnTo>
                    <a:pt x="10047" y="0"/>
                  </a:lnTo>
                  <a:lnTo>
                    <a:pt x="10073" y="2"/>
                  </a:lnTo>
                  <a:lnTo>
                    <a:pt x="10099" y="4"/>
                  </a:lnTo>
                  <a:lnTo>
                    <a:pt x="10129" y="7"/>
                  </a:lnTo>
                  <a:lnTo>
                    <a:pt x="10159" y="12"/>
                  </a:lnTo>
                  <a:lnTo>
                    <a:pt x="10192" y="17"/>
                  </a:lnTo>
                  <a:lnTo>
                    <a:pt x="10226" y="23"/>
                  </a:lnTo>
                  <a:lnTo>
                    <a:pt x="10263" y="31"/>
                  </a:lnTo>
                  <a:lnTo>
                    <a:pt x="10300" y="39"/>
                  </a:lnTo>
                  <a:lnTo>
                    <a:pt x="10339" y="48"/>
                  </a:lnTo>
                  <a:lnTo>
                    <a:pt x="10381" y="58"/>
                  </a:lnTo>
                  <a:lnTo>
                    <a:pt x="10423" y="69"/>
                  </a:lnTo>
                  <a:lnTo>
                    <a:pt x="10515" y="95"/>
                  </a:lnTo>
                  <a:lnTo>
                    <a:pt x="10613" y="124"/>
                  </a:lnTo>
                  <a:lnTo>
                    <a:pt x="10719" y="157"/>
                  </a:lnTo>
                  <a:lnTo>
                    <a:pt x="10831" y="194"/>
                  </a:lnTo>
                  <a:lnTo>
                    <a:pt x="10949" y="234"/>
                  </a:lnTo>
                  <a:lnTo>
                    <a:pt x="11076" y="278"/>
                  </a:lnTo>
                  <a:lnTo>
                    <a:pt x="11209" y="327"/>
                  </a:lnTo>
                  <a:lnTo>
                    <a:pt x="11349" y="378"/>
                  </a:lnTo>
                  <a:lnTo>
                    <a:pt x="11496" y="435"/>
                  </a:lnTo>
                  <a:lnTo>
                    <a:pt x="11651" y="494"/>
                  </a:lnTo>
                  <a:lnTo>
                    <a:pt x="11714" y="521"/>
                  </a:lnTo>
                  <a:lnTo>
                    <a:pt x="11776" y="549"/>
                  </a:lnTo>
                  <a:lnTo>
                    <a:pt x="11837" y="578"/>
                  </a:lnTo>
                  <a:lnTo>
                    <a:pt x="11897" y="606"/>
                  </a:lnTo>
                  <a:lnTo>
                    <a:pt x="11957" y="636"/>
                  </a:lnTo>
                  <a:lnTo>
                    <a:pt x="12014" y="666"/>
                  </a:lnTo>
                  <a:lnTo>
                    <a:pt x="12071" y="696"/>
                  </a:lnTo>
                  <a:lnTo>
                    <a:pt x="12127" y="727"/>
                  </a:lnTo>
                  <a:lnTo>
                    <a:pt x="12182" y="759"/>
                  </a:lnTo>
                  <a:lnTo>
                    <a:pt x="12235" y="791"/>
                  </a:lnTo>
                  <a:lnTo>
                    <a:pt x="12287" y="823"/>
                  </a:lnTo>
                  <a:lnTo>
                    <a:pt x="12338" y="857"/>
                  </a:lnTo>
                  <a:lnTo>
                    <a:pt x="12388" y="890"/>
                  </a:lnTo>
                  <a:lnTo>
                    <a:pt x="12437" y="924"/>
                  </a:lnTo>
                  <a:lnTo>
                    <a:pt x="12485" y="959"/>
                  </a:lnTo>
                  <a:lnTo>
                    <a:pt x="12531" y="994"/>
                  </a:lnTo>
                  <a:lnTo>
                    <a:pt x="12576" y="1030"/>
                  </a:lnTo>
                  <a:lnTo>
                    <a:pt x="12618" y="1065"/>
                  </a:lnTo>
                  <a:lnTo>
                    <a:pt x="12657" y="1099"/>
                  </a:lnTo>
                  <a:lnTo>
                    <a:pt x="12693" y="1133"/>
                  </a:lnTo>
                  <a:lnTo>
                    <a:pt x="12726" y="1167"/>
                  </a:lnTo>
                  <a:lnTo>
                    <a:pt x="12756" y="1201"/>
                  </a:lnTo>
                  <a:lnTo>
                    <a:pt x="12784" y="1234"/>
                  </a:lnTo>
                  <a:lnTo>
                    <a:pt x="12808" y="1267"/>
                  </a:lnTo>
                  <a:lnTo>
                    <a:pt x="12819" y="1284"/>
                  </a:lnTo>
                  <a:lnTo>
                    <a:pt x="12830" y="1300"/>
                  </a:lnTo>
                  <a:lnTo>
                    <a:pt x="12839" y="1316"/>
                  </a:lnTo>
                  <a:lnTo>
                    <a:pt x="12848" y="1332"/>
                  </a:lnTo>
                  <a:lnTo>
                    <a:pt x="12856" y="1349"/>
                  </a:lnTo>
                  <a:lnTo>
                    <a:pt x="12864" y="1365"/>
                  </a:lnTo>
                  <a:lnTo>
                    <a:pt x="12871" y="1381"/>
                  </a:lnTo>
                  <a:lnTo>
                    <a:pt x="12877" y="1396"/>
                  </a:lnTo>
                  <a:lnTo>
                    <a:pt x="12882" y="1412"/>
                  </a:lnTo>
                  <a:lnTo>
                    <a:pt x="12887" y="1428"/>
                  </a:lnTo>
                  <a:lnTo>
                    <a:pt x="12892" y="1443"/>
                  </a:lnTo>
                  <a:lnTo>
                    <a:pt x="12895" y="1459"/>
                  </a:lnTo>
                  <a:lnTo>
                    <a:pt x="12897" y="1474"/>
                  </a:lnTo>
                  <a:lnTo>
                    <a:pt x="12899" y="1489"/>
                  </a:lnTo>
                  <a:lnTo>
                    <a:pt x="12900" y="1505"/>
                  </a:lnTo>
                  <a:lnTo>
                    <a:pt x="12900" y="1520"/>
                  </a:lnTo>
                  <a:lnTo>
                    <a:pt x="12899" y="1541"/>
                  </a:lnTo>
                  <a:lnTo>
                    <a:pt x="12897" y="1566"/>
                  </a:lnTo>
                  <a:lnTo>
                    <a:pt x="12894" y="1590"/>
                  </a:lnTo>
                  <a:lnTo>
                    <a:pt x="12888" y="1617"/>
                  </a:lnTo>
                  <a:lnTo>
                    <a:pt x="12882" y="1646"/>
                  </a:lnTo>
                  <a:lnTo>
                    <a:pt x="12875" y="1676"/>
                  </a:lnTo>
                  <a:lnTo>
                    <a:pt x="12865" y="1707"/>
                  </a:lnTo>
                  <a:lnTo>
                    <a:pt x="12854" y="1740"/>
                  </a:lnTo>
                  <a:lnTo>
                    <a:pt x="12842" y="1774"/>
                  </a:lnTo>
                  <a:lnTo>
                    <a:pt x="12829" y="1810"/>
                  </a:lnTo>
                  <a:lnTo>
                    <a:pt x="12813" y="1847"/>
                  </a:lnTo>
                  <a:lnTo>
                    <a:pt x="12797" y="1887"/>
                  </a:lnTo>
                  <a:lnTo>
                    <a:pt x="12779" y="1927"/>
                  </a:lnTo>
                  <a:lnTo>
                    <a:pt x="12759" y="1970"/>
                  </a:lnTo>
                  <a:lnTo>
                    <a:pt x="12738" y="2014"/>
                  </a:lnTo>
                  <a:lnTo>
                    <a:pt x="12717" y="2058"/>
                  </a:lnTo>
                  <a:lnTo>
                    <a:pt x="12692" y="2105"/>
                  </a:lnTo>
                  <a:lnTo>
                    <a:pt x="12668" y="2153"/>
                  </a:lnTo>
                  <a:lnTo>
                    <a:pt x="12641" y="2203"/>
                  </a:lnTo>
                  <a:lnTo>
                    <a:pt x="12613" y="2254"/>
                  </a:lnTo>
                  <a:lnTo>
                    <a:pt x="12553" y="2362"/>
                  </a:lnTo>
                  <a:lnTo>
                    <a:pt x="12486" y="2475"/>
                  </a:lnTo>
                  <a:lnTo>
                    <a:pt x="12415" y="2595"/>
                  </a:lnTo>
                  <a:lnTo>
                    <a:pt x="12338" y="2720"/>
                  </a:lnTo>
                  <a:lnTo>
                    <a:pt x="12255" y="2852"/>
                  </a:lnTo>
                  <a:lnTo>
                    <a:pt x="12167" y="2990"/>
                  </a:lnTo>
                  <a:lnTo>
                    <a:pt x="12075" y="3130"/>
                  </a:lnTo>
                  <a:lnTo>
                    <a:pt x="11983" y="3266"/>
                  </a:lnTo>
                  <a:lnTo>
                    <a:pt x="11892" y="3398"/>
                  </a:lnTo>
                  <a:lnTo>
                    <a:pt x="11800" y="3528"/>
                  </a:lnTo>
                  <a:lnTo>
                    <a:pt x="11708" y="3654"/>
                  </a:lnTo>
                  <a:lnTo>
                    <a:pt x="11618" y="3777"/>
                  </a:lnTo>
                  <a:lnTo>
                    <a:pt x="11526" y="3896"/>
                  </a:lnTo>
                  <a:lnTo>
                    <a:pt x="11434" y="4012"/>
                  </a:lnTo>
                  <a:lnTo>
                    <a:pt x="11388" y="4069"/>
                  </a:lnTo>
                  <a:lnTo>
                    <a:pt x="11343" y="4125"/>
                  </a:lnTo>
                  <a:lnTo>
                    <a:pt x="11297" y="4181"/>
                  </a:lnTo>
                  <a:lnTo>
                    <a:pt x="11252" y="4235"/>
                  </a:lnTo>
                  <a:lnTo>
                    <a:pt x="11206" y="4288"/>
                  </a:lnTo>
                  <a:lnTo>
                    <a:pt x="11160" y="4341"/>
                  </a:lnTo>
                  <a:lnTo>
                    <a:pt x="11114" y="4393"/>
                  </a:lnTo>
                  <a:lnTo>
                    <a:pt x="11069" y="4443"/>
                  </a:lnTo>
                  <a:lnTo>
                    <a:pt x="11024" y="4493"/>
                  </a:lnTo>
                  <a:lnTo>
                    <a:pt x="10978" y="4543"/>
                  </a:lnTo>
                  <a:lnTo>
                    <a:pt x="10932" y="4591"/>
                  </a:lnTo>
                  <a:lnTo>
                    <a:pt x="10886" y="4639"/>
                  </a:lnTo>
                  <a:lnTo>
                    <a:pt x="10841" y="4685"/>
                  </a:lnTo>
                  <a:lnTo>
                    <a:pt x="10796" y="4731"/>
                  </a:lnTo>
                  <a:lnTo>
                    <a:pt x="10750" y="4777"/>
                  </a:lnTo>
                  <a:lnTo>
                    <a:pt x="10705" y="4820"/>
                  </a:lnTo>
                  <a:lnTo>
                    <a:pt x="10659" y="4864"/>
                  </a:lnTo>
                  <a:lnTo>
                    <a:pt x="10614" y="4906"/>
                  </a:lnTo>
                  <a:lnTo>
                    <a:pt x="10571" y="4946"/>
                  </a:lnTo>
                  <a:lnTo>
                    <a:pt x="10526" y="4986"/>
                  </a:lnTo>
                  <a:lnTo>
                    <a:pt x="10483" y="5023"/>
                  </a:lnTo>
                  <a:lnTo>
                    <a:pt x="10439" y="5060"/>
                  </a:lnTo>
                  <a:lnTo>
                    <a:pt x="10398" y="5094"/>
                  </a:lnTo>
                  <a:lnTo>
                    <a:pt x="10355" y="5128"/>
                  </a:lnTo>
                  <a:lnTo>
                    <a:pt x="10314" y="5160"/>
                  </a:lnTo>
                  <a:lnTo>
                    <a:pt x="10273" y="5191"/>
                  </a:lnTo>
                  <a:lnTo>
                    <a:pt x="10233" y="5221"/>
                  </a:lnTo>
                  <a:lnTo>
                    <a:pt x="10192" y="5249"/>
                  </a:lnTo>
                  <a:lnTo>
                    <a:pt x="10153" y="5277"/>
                  </a:lnTo>
                  <a:lnTo>
                    <a:pt x="10113" y="5301"/>
                  </a:lnTo>
                  <a:lnTo>
                    <a:pt x="10075" y="5326"/>
                  </a:lnTo>
                  <a:lnTo>
                    <a:pt x="10038" y="5348"/>
                  </a:lnTo>
                  <a:lnTo>
                    <a:pt x="9999" y="5369"/>
                  </a:lnTo>
                  <a:lnTo>
                    <a:pt x="9962" y="5390"/>
                  </a:lnTo>
                  <a:lnTo>
                    <a:pt x="9926" y="5408"/>
                  </a:lnTo>
                  <a:lnTo>
                    <a:pt x="9889" y="5425"/>
                  </a:lnTo>
                  <a:lnTo>
                    <a:pt x="9853" y="5441"/>
                  </a:lnTo>
                  <a:lnTo>
                    <a:pt x="9818" y="5455"/>
                  </a:lnTo>
                  <a:lnTo>
                    <a:pt x="9783" y="5468"/>
                  </a:lnTo>
                  <a:lnTo>
                    <a:pt x="9749" y="5480"/>
                  </a:lnTo>
                  <a:lnTo>
                    <a:pt x="9715" y="5490"/>
                  </a:lnTo>
                  <a:lnTo>
                    <a:pt x="9681" y="5499"/>
                  </a:lnTo>
                  <a:lnTo>
                    <a:pt x="9648" y="5507"/>
                  </a:lnTo>
                  <a:lnTo>
                    <a:pt x="9616" y="5512"/>
                  </a:lnTo>
                  <a:lnTo>
                    <a:pt x="9584" y="5517"/>
                  </a:lnTo>
                  <a:lnTo>
                    <a:pt x="9552" y="5521"/>
                  </a:lnTo>
                  <a:lnTo>
                    <a:pt x="9522" y="5523"/>
                  </a:lnTo>
                  <a:lnTo>
                    <a:pt x="9492" y="5524"/>
                  </a:lnTo>
                  <a:lnTo>
                    <a:pt x="9482" y="5524"/>
                  </a:lnTo>
                  <a:lnTo>
                    <a:pt x="9474" y="5524"/>
                  </a:lnTo>
                  <a:lnTo>
                    <a:pt x="9421" y="5523"/>
                  </a:lnTo>
                  <a:lnTo>
                    <a:pt x="9372" y="5521"/>
                  </a:lnTo>
                  <a:lnTo>
                    <a:pt x="9324" y="5517"/>
                  </a:lnTo>
                  <a:lnTo>
                    <a:pt x="9280" y="5512"/>
                  </a:lnTo>
                  <a:lnTo>
                    <a:pt x="9237" y="5506"/>
                  </a:lnTo>
                  <a:lnTo>
                    <a:pt x="9197" y="5498"/>
                  </a:lnTo>
                  <a:lnTo>
                    <a:pt x="9159" y="5489"/>
                  </a:lnTo>
                  <a:lnTo>
                    <a:pt x="9124" y="5478"/>
                  </a:lnTo>
                  <a:lnTo>
                    <a:pt x="9107" y="5472"/>
                  </a:lnTo>
                  <a:lnTo>
                    <a:pt x="9090" y="5465"/>
                  </a:lnTo>
                  <a:lnTo>
                    <a:pt x="9075" y="5459"/>
                  </a:lnTo>
                  <a:lnTo>
                    <a:pt x="9059" y="5452"/>
                  </a:lnTo>
                  <a:lnTo>
                    <a:pt x="9045" y="5445"/>
                  </a:lnTo>
                  <a:lnTo>
                    <a:pt x="9031" y="5438"/>
                  </a:lnTo>
                  <a:lnTo>
                    <a:pt x="9017" y="5429"/>
                  </a:lnTo>
                  <a:lnTo>
                    <a:pt x="9004" y="5422"/>
                  </a:lnTo>
                  <a:lnTo>
                    <a:pt x="8993" y="5413"/>
                  </a:lnTo>
                  <a:lnTo>
                    <a:pt x="8981" y="5403"/>
                  </a:lnTo>
                  <a:lnTo>
                    <a:pt x="8969" y="5394"/>
                  </a:lnTo>
                  <a:lnTo>
                    <a:pt x="8960" y="5384"/>
                  </a:lnTo>
                  <a:lnTo>
                    <a:pt x="8949" y="5375"/>
                  </a:lnTo>
                  <a:lnTo>
                    <a:pt x="8941" y="5364"/>
                  </a:lnTo>
                  <a:lnTo>
                    <a:pt x="8932" y="5353"/>
                  </a:lnTo>
                  <a:lnTo>
                    <a:pt x="8923" y="5343"/>
                  </a:lnTo>
                  <a:lnTo>
                    <a:pt x="8905" y="5318"/>
                  </a:lnTo>
                  <a:lnTo>
                    <a:pt x="8877" y="5283"/>
                  </a:lnTo>
                  <a:lnTo>
                    <a:pt x="8839" y="5238"/>
                  </a:lnTo>
                  <a:lnTo>
                    <a:pt x="8792" y="5184"/>
                  </a:lnTo>
                  <a:lnTo>
                    <a:pt x="8735" y="5119"/>
                  </a:lnTo>
                  <a:lnTo>
                    <a:pt x="8669" y="5043"/>
                  </a:lnTo>
                  <a:lnTo>
                    <a:pt x="8592" y="4959"/>
                  </a:lnTo>
                  <a:lnTo>
                    <a:pt x="8506" y="4863"/>
                  </a:lnTo>
                  <a:lnTo>
                    <a:pt x="8419" y="4769"/>
                  </a:lnTo>
                  <a:lnTo>
                    <a:pt x="8340" y="4685"/>
                  </a:lnTo>
                  <a:lnTo>
                    <a:pt x="8271" y="4612"/>
                  </a:lnTo>
                  <a:lnTo>
                    <a:pt x="8209" y="4551"/>
                  </a:lnTo>
                  <a:lnTo>
                    <a:pt x="8182" y="4524"/>
                  </a:lnTo>
                  <a:lnTo>
                    <a:pt x="8157" y="4501"/>
                  </a:lnTo>
                  <a:lnTo>
                    <a:pt x="8133" y="4480"/>
                  </a:lnTo>
                  <a:lnTo>
                    <a:pt x="8113" y="4462"/>
                  </a:lnTo>
                  <a:lnTo>
                    <a:pt x="8094" y="4446"/>
                  </a:lnTo>
                  <a:lnTo>
                    <a:pt x="8078" y="4434"/>
                  </a:lnTo>
                  <a:lnTo>
                    <a:pt x="8063" y="4425"/>
                  </a:lnTo>
                  <a:lnTo>
                    <a:pt x="8051" y="4418"/>
                  </a:lnTo>
                  <a:lnTo>
                    <a:pt x="8044" y="4412"/>
                  </a:lnTo>
                  <a:lnTo>
                    <a:pt x="8036" y="4406"/>
                  </a:lnTo>
                  <a:lnTo>
                    <a:pt x="8027" y="4401"/>
                  </a:lnTo>
                  <a:lnTo>
                    <a:pt x="8017" y="4397"/>
                  </a:lnTo>
                  <a:lnTo>
                    <a:pt x="8007" y="4394"/>
                  </a:lnTo>
                  <a:lnTo>
                    <a:pt x="7996" y="4392"/>
                  </a:lnTo>
                  <a:lnTo>
                    <a:pt x="7984" y="4391"/>
                  </a:lnTo>
                  <a:lnTo>
                    <a:pt x="7971" y="4391"/>
                  </a:lnTo>
                  <a:lnTo>
                    <a:pt x="7949" y="4409"/>
                  </a:lnTo>
                  <a:lnTo>
                    <a:pt x="7899" y="4462"/>
                  </a:lnTo>
                  <a:lnTo>
                    <a:pt x="7823" y="4547"/>
                  </a:lnTo>
                  <a:lnTo>
                    <a:pt x="7724" y="4665"/>
                  </a:lnTo>
                  <a:lnTo>
                    <a:pt x="7602" y="4810"/>
                  </a:lnTo>
                  <a:lnTo>
                    <a:pt x="7462" y="4981"/>
                  </a:lnTo>
                  <a:lnTo>
                    <a:pt x="7302" y="5176"/>
                  </a:lnTo>
                  <a:lnTo>
                    <a:pt x="7127" y="5394"/>
                  </a:lnTo>
                  <a:lnTo>
                    <a:pt x="6936" y="5632"/>
                  </a:lnTo>
                  <a:lnTo>
                    <a:pt x="6734" y="5886"/>
                  </a:lnTo>
                  <a:lnTo>
                    <a:pt x="6520" y="6156"/>
                  </a:lnTo>
                  <a:lnTo>
                    <a:pt x="6298" y="6441"/>
                  </a:lnTo>
                  <a:lnTo>
                    <a:pt x="6068" y="6735"/>
                  </a:lnTo>
                  <a:lnTo>
                    <a:pt x="5834" y="7039"/>
                  </a:lnTo>
                  <a:lnTo>
                    <a:pt x="5595" y="7350"/>
                  </a:lnTo>
                  <a:lnTo>
                    <a:pt x="5355" y="7665"/>
                  </a:lnTo>
                  <a:lnTo>
                    <a:pt x="5116" y="7983"/>
                  </a:lnTo>
                  <a:lnTo>
                    <a:pt x="4879" y="8302"/>
                  </a:lnTo>
                  <a:lnTo>
                    <a:pt x="4645" y="8618"/>
                  </a:lnTo>
                  <a:lnTo>
                    <a:pt x="4417" y="8931"/>
                  </a:lnTo>
                  <a:lnTo>
                    <a:pt x="4197" y="9238"/>
                  </a:lnTo>
                  <a:lnTo>
                    <a:pt x="3986" y="9536"/>
                  </a:lnTo>
                  <a:lnTo>
                    <a:pt x="3787" y="9824"/>
                  </a:lnTo>
                  <a:lnTo>
                    <a:pt x="3601" y="10099"/>
                  </a:lnTo>
                  <a:lnTo>
                    <a:pt x="3430" y="10359"/>
                  </a:lnTo>
                  <a:lnTo>
                    <a:pt x="3275" y="10603"/>
                  </a:lnTo>
                  <a:lnTo>
                    <a:pt x="3140" y="10827"/>
                  </a:lnTo>
                  <a:lnTo>
                    <a:pt x="3024" y="11031"/>
                  </a:lnTo>
                  <a:lnTo>
                    <a:pt x="2932" y="11210"/>
                  </a:lnTo>
                  <a:lnTo>
                    <a:pt x="2864" y="11364"/>
                  </a:lnTo>
                  <a:lnTo>
                    <a:pt x="2821" y="11491"/>
                  </a:lnTo>
                  <a:lnTo>
                    <a:pt x="2807" y="11587"/>
                  </a:lnTo>
                  <a:lnTo>
                    <a:pt x="2807" y="11605"/>
                  </a:lnTo>
                  <a:lnTo>
                    <a:pt x="2810" y="11622"/>
                  </a:lnTo>
                  <a:lnTo>
                    <a:pt x="2813" y="11641"/>
                  </a:lnTo>
                  <a:lnTo>
                    <a:pt x="2820" y="11658"/>
                  </a:lnTo>
                  <a:lnTo>
                    <a:pt x="2827" y="11675"/>
                  </a:lnTo>
                  <a:lnTo>
                    <a:pt x="2836" y="11691"/>
                  </a:lnTo>
                  <a:lnTo>
                    <a:pt x="2846" y="11708"/>
                  </a:lnTo>
                  <a:lnTo>
                    <a:pt x="2859" y="11724"/>
                  </a:lnTo>
                  <a:lnTo>
                    <a:pt x="2873" y="11740"/>
                  </a:lnTo>
                  <a:lnTo>
                    <a:pt x="2889" y="11756"/>
                  </a:lnTo>
                  <a:lnTo>
                    <a:pt x="2906" y="11772"/>
                  </a:lnTo>
                  <a:lnTo>
                    <a:pt x="2925" y="11788"/>
                  </a:lnTo>
                  <a:lnTo>
                    <a:pt x="2947" y="11803"/>
                  </a:lnTo>
                  <a:lnTo>
                    <a:pt x="2968" y="11818"/>
                  </a:lnTo>
                  <a:lnTo>
                    <a:pt x="2993" y="11832"/>
                  </a:lnTo>
                  <a:lnTo>
                    <a:pt x="3018" y="11847"/>
                  </a:lnTo>
                  <a:lnTo>
                    <a:pt x="3045" y="11862"/>
                  </a:lnTo>
                  <a:lnTo>
                    <a:pt x="3075" y="11876"/>
                  </a:lnTo>
                  <a:lnTo>
                    <a:pt x="3104" y="11890"/>
                  </a:lnTo>
                  <a:lnTo>
                    <a:pt x="3136" y="11904"/>
                  </a:lnTo>
                  <a:lnTo>
                    <a:pt x="3171" y="11918"/>
                  </a:lnTo>
                  <a:lnTo>
                    <a:pt x="3206" y="11932"/>
                  </a:lnTo>
                  <a:lnTo>
                    <a:pt x="3243" y="11944"/>
                  </a:lnTo>
                  <a:lnTo>
                    <a:pt x="3281" y="11957"/>
                  </a:lnTo>
                  <a:lnTo>
                    <a:pt x="3322" y="11970"/>
                  </a:lnTo>
                  <a:lnTo>
                    <a:pt x="3365" y="11983"/>
                  </a:lnTo>
                  <a:lnTo>
                    <a:pt x="3408" y="11996"/>
                  </a:lnTo>
                  <a:lnTo>
                    <a:pt x="3453" y="12007"/>
                  </a:lnTo>
                  <a:lnTo>
                    <a:pt x="3500" y="12020"/>
                  </a:lnTo>
                  <a:lnTo>
                    <a:pt x="3549" y="12032"/>
                  </a:lnTo>
                  <a:lnTo>
                    <a:pt x="3599" y="12042"/>
                  </a:lnTo>
                  <a:lnTo>
                    <a:pt x="3651" y="12054"/>
                  </a:lnTo>
                  <a:lnTo>
                    <a:pt x="3729" y="12070"/>
                  </a:lnTo>
                  <a:lnTo>
                    <a:pt x="3803" y="12087"/>
                  </a:lnTo>
                  <a:lnTo>
                    <a:pt x="3872" y="12105"/>
                  </a:lnTo>
                  <a:lnTo>
                    <a:pt x="3938" y="12125"/>
                  </a:lnTo>
                  <a:lnTo>
                    <a:pt x="3969" y="12134"/>
                  </a:lnTo>
                  <a:lnTo>
                    <a:pt x="4000" y="12145"/>
                  </a:lnTo>
                  <a:lnTo>
                    <a:pt x="4029" y="12155"/>
                  </a:lnTo>
                  <a:lnTo>
                    <a:pt x="4058" y="12166"/>
                  </a:lnTo>
                  <a:lnTo>
                    <a:pt x="4084" y="12177"/>
                  </a:lnTo>
                  <a:lnTo>
                    <a:pt x="4111" y="12187"/>
                  </a:lnTo>
                  <a:lnTo>
                    <a:pt x="4135" y="12199"/>
                  </a:lnTo>
                  <a:lnTo>
                    <a:pt x="4160" y="12211"/>
                  </a:lnTo>
                  <a:lnTo>
                    <a:pt x="4183" y="12223"/>
                  </a:lnTo>
                  <a:lnTo>
                    <a:pt x="4205" y="12235"/>
                  </a:lnTo>
                  <a:lnTo>
                    <a:pt x="4226" y="12247"/>
                  </a:lnTo>
                  <a:lnTo>
                    <a:pt x="4246" y="12260"/>
                  </a:lnTo>
                  <a:lnTo>
                    <a:pt x="4265" y="12273"/>
                  </a:lnTo>
                  <a:lnTo>
                    <a:pt x="4284" y="12287"/>
                  </a:lnTo>
                  <a:lnTo>
                    <a:pt x="4300" y="12299"/>
                  </a:lnTo>
                  <a:lnTo>
                    <a:pt x="4316" y="12313"/>
                  </a:lnTo>
                  <a:lnTo>
                    <a:pt x="4331" y="12327"/>
                  </a:lnTo>
                  <a:lnTo>
                    <a:pt x="4344" y="12341"/>
                  </a:lnTo>
                  <a:lnTo>
                    <a:pt x="4357" y="12356"/>
                  </a:lnTo>
                  <a:lnTo>
                    <a:pt x="4369" y="12371"/>
                  </a:lnTo>
                  <a:lnTo>
                    <a:pt x="4381" y="12386"/>
                  </a:lnTo>
                  <a:lnTo>
                    <a:pt x="4390" y="12401"/>
                  </a:lnTo>
                  <a:lnTo>
                    <a:pt x="4399" y="12417"/>
                  </a:lnTo>
                  <a:lnTo>
                    <a:pt x="4406" y="12432"/>
                  </a:lnTo>
                  <a:lnTo>
                    <a:pt x="4433" y="12477"/>
                  </a:lnTo>
                  <a:lnTo>
                    <a:pt x="4460" y="12527"/>
                  </a:lnTo>
                  <a:lnTo>
                    <a:pt x="4487" y="12583"/>
                  </a:lnTo>
                  <a:lnTo>
                    <a:pt x="4515" y="12643"/>
                  </a:lnTo>
                  <a:lnTo>
                    <a:pt x="4544" y="12709"/>
                  </a:lnTo>
                  <a:lnTo>
                    <a:pt x="4574" y="12779"/>
                  </a:lnTo>
                  <a:lnTo>
                    <a:pt x="4603" y="12855"/>
                  </a:lnTo>
                  <a:lnTo>
                    <a:pt x="4633" y="12936"/>
                  </a:lnTo>
                  <a:lnTo>
                    <a:pt x="4664" y="13022"/>
                  </a:lnTo>
                  <a:lnTo>
                    <a:pt x="4696" y="13113"/>
                  </a:lnTo>
                  <a:lnTo>
                    <a:pt x="4728" y="13209"/>
                  </a:lnTo>
                  <a:lnTo>
                    <a:pt x="4761" y="13310"/>
                  </a:lnTo>
                  <a:lnTo>
                    <a:pt x="4794" y="13415"/>
                  </a:lnTo>
                  <a:lnTo>
                    <a:pt x="4828" y="13527"/>
                  </a:lnTo>
                  <a:lnTo>
                    <a:pt x="4863" y="13644"/>
                  </a:lnTo>
                  <a:lnTo>
                    <a:pt x="4898" y="13764"/>
                  </a:lnTo>
                  <a:lnTo>
                    <a:pt x="4932" y="13886"/>
                  </a:lnTo>
                  <a:lnTo>
                    <a:pt x="4965" y="14005"/>
                  </a:lnTo>
                  <a:lnTo>
                    <a:pt x="4995" y="14120"/>
                  </a:lnTo>
                  <a:lnTo>
                    <a:pt x="5022" y="14232"/>
                  </a:lnTo>
                  <a:lnTo>
                    <a:pt x="5048" y="14342"/>
                  </a:lnTo>
                  <a:lnTo>
                    <a:pt x="5070" y="14447"/>
                  </a:lnTo>
                  <a:lnTo>
                    <a:pt x="5092" y="14551"/>
                  </a:lnTo>
                  <a:lnTo>
                    <a:pt x="5110" y="14651"/>
                  </a:lnTo>
                  <a:lnTo>
                    <a:pt x="5127" y="14747"/>
                  </a:lnTo>
                  <a:lnTo>
                    <a:pt x="5141" y="14841"/>
                  </a:lnTo>
                  <a:lnTo>
                    <a:pt x="5153" y="14931"/>
                  </a:lnTo>
                  <a:lnTo>
                    <a:pt x="5163" y="15019"/>
                  </a:lnTo>
                  <a:lnTo>
                    <a:pt x="5171" y="15103"/>
                  </a:lnTo>
                  <a:lnTo>
                    <a:pt x="5176" y="15184"/>
                  </a:lnTo>
                  <a:lnTo>
                    <a:pt x="5179" y="15262"/>
                  </a:lnTo>
                  <a:lnTo>
                    <a:pt x="5180" y="15336"/>
                  </a:lnTo>
                  <a:lnTo>
                    <a:pt x="5179" y="15398"/>
                  </a:lnTo>
                  <a:lnTo>
                    <a:pt x="5178" y="15458"/>
                  </a:lnTo>
                  <a:lnTo>
                    <a:pt x="5175" y="15515"/>
                  </a:lnTo>
                  <a:lnTo>
                    <a:pt x="5172" y="15571"/>
                  </a:lnTo>
                  <a:lnTo>
                    <a:pt x="5166" y="15623"/>
                  </a:lnTo>
                  <a:lnTo>
                    <a:pt x="5161" y="15674"/>
                  </a:lnTo>
                  <a:lnTo>
                    <a:pt x="5154" y="15722"/>
                  </a:lnTo>
                  <a:lnTo>
                    <a:pt x="5146" y="15767"/>
                  </a:lnTo>
                  <a:lnTo>
                    <a:pt x="5137" y="15811"/>
                  </a:lnTo>
                  <a:lnTo>
                    <a:pt x="5126" y="15851"/>
                  </a:lnTo>
                  <a:lnTo>
                    <a:pt x="5115" y="15891"/>
                  </a:lnTo>
                  <a:lnTo>
                    <a:pt x="5102" y="15927"/>
                  </a:lnTo>
                  <a:lnTo>
                    <a:pt x="5089" y="15961"/>
                  </a:lnTo>
                  <a:lnTo>
                    <a:pt x="5075" y="15992"/>
                  </a:lnTo>
                  <a:lnTo>
                    <a:pt x="5059" y="16022"/>
                  </a:lnTo>
                  <a:lnTo>
                    <a:pt x="5042" y="16048"/>
                  </a:lnTo>
                  <a:lnTo>
                    <a:pt x="5033" y="16061"/>
                  </a:lnTo>
                  <a:lnTo>
                    <a:pt x="5024" y="16074"/>
                  </a:lnTo>
                  <a:lnTo>
                    <a:pt x="5014" y="16087"/>
                  </a:lnTo>
                  <a:lnTo>
                    <a:pt x="5003" y="16100"/>
                  </a:lnTo>
                  <a:lnTo>
                    <a:pt x="4980" y="16124"/>
                  </a:lnTo>
                  <a:lnTo>
                    <a:pt x="4954" y="16148"/>
                  </a:lnTo>
                  <a:lnTo>
                    <a:pt x="4926" y="16171"/>
                  </a:lnTo>
                  <a:lnTo>
                    <a:pt x="4896" y="16193"/>
                  </a:lnTo>
                  <a:lnTo>
                    <a:pt x="4863" y="16216"/>
                  </a:lnTo>
                  <a:lnTo>
                    <a:pt x="4827" y="16237"/>
                  </a:lnTo>
                  <a:lnTo>
                    <a:pt x="4790" y="16258"/>
                  </a:lnTo>
                  <a:lnTo>
                    <a:pt x="4751" y="16279"/>
                  </a:lnTo>
                  <a:lnTo>
                    <a:pt x="4708" y="16299"/>
                  </a:lnTo>
                  <a:lnTo>
                    <a:pt x="4664" y="16318"/>
                  </a:lnTo>
                  <a:lnTo>
                    <a:pt x="4616" y="16337"/>
                  </a:lnTo>
                  <a:lnTo>
                    <a:pt x="4567" y="16355"/>
                  </a:lnTo>
                  <a:lnTo>
                    <a:pt x="4516" y="16373"/>
                  </a:lnTo>
                  <a:lnTo>
                    <a:pt x="4462" y="16390"/>
                  </a:lnTo>
                  <a:lnTo>
                    <a:pt x="4390" y="16419"/>
                  </a:lnTo>
                  <a:lnTo>
                    <a:pt x="4317" y="16450"/>
                  </a:lnTo>
                  <a:lnTo>
                    <a:pt x="4242" y="16479"/>
                  </a:lnTo>
                  <a:lnTo>
                    <a:pt x="4165" y="16509"/>
                  </a:lnTo>
                  <a:lnTo>
                    <a:pt x="4086" y="16538"/>
                  </a:lnTo>
                  <a:lnTo>
                    <a:pt x="4006" y="16567"/>
                  </a:lnTo>
                  <a:lnTo>
                    <a:pt x="3925" y="16594"/>
                  </a:lnTo>
                  <a:lnTo>
                    <a:pt x="3842" y="16622"/>
                  </a:lnTo>
                  <a:lnTo>
                    <a:pt x="3757" y="16650"/>
                  </a:lnTo>
                  <a:lnTo>
                    <a:pt x="3671" y="16676"/>
                  </a:lnTo>
                  <a:lnTo>
                    <a:pt x="3582" y="16703"/>
                  </a:lnTo>
                  <a:lnTo>
                    <a:pt x="3493" y="16730"/>
                  </a:lnTo>
                  <a:lnTo>
                    <a:pt x="3401" y="16756"/>
                  </a:lnTo>
                  <a:lnTo>
                    <a:pt x="3308" y="16782"/>
                  </a:lnTo>
                  <a:lnTo>
                    <a:pt x="3213" y="16806"/>
                  </a:lnTo>
                  <a:lnTo>
                    <a:pt x="3116" y="16832"/>
                  </a:lnTo>
                  <a:lnTo>
                    <a:pt x="3021" y="16855"/>
                  </a:lnTo>
                  <a:lnTo>
                    <a:pt x="2931" y="16878"/>
                  </a:lnTo>
                  <a:lnTo>
                    <a:pt x="2844" y="16899"/>
                  </a:lnTo>
                  <a:lnTo>
                    <a:pt x="2762" y="16918"/>
                  </a:lnTo>
                  <a:lnTo>
                    <a:pt x="2684" y="16935"/>
                  </a:lnTo>
                  <a:lnTo>
                    <a:pt x="2612" y="16952"/>
                  </a:lnTo>
                  <a:lnTo>
                    <a:pt x="2543" y="16966"/>
                  </a:lnTo>
                  <a:lnTo>
                    <a:pt x="2479" y="16979"/>
                  </a:lnTo>
                  <a:lnTo>
                    <a:pt x="2419" y="16991"/>
                  </a:lnTo>
                  <a:lnTo>
                    <a:pt x="2363" y="17000"/>
                  </a:lnTo>
                  <a:lnTo>
                    <a:pt x="2312" y="17009"/>
                  </a:lnTo>
                  <a:lnTo>
                    <a:pt x="2265" y="17016"/>
                  </a:lnTo>
                  <a:lnTo>
                    <a:pt x="2223" y="17022"/>
                  </a:lnTo>
                  <a:lnTo>
                    <a:pt x="2184" y="17025"/>
                  </a:lnTo>
                  <a:lnTo>
                    <a:pt x="2151" y="17027"/>
                  </a:lnTo>
                  <a:lnTo>
                    <a:pt x="2121" y="17028"/>
                  </a:lnTo>
                  <a:lnTo>
                    <a:pt x="2095" y="17027"/>
                  </a:lnTo>
                  <a:lnTo>
                    <a:pt x="2067" y="17025"/>
                  </a:lnTo>
                  <a:lnTo>
                    <a:pt x="2038" y="17021"/>
                  </a:lnTo>
                  <a:lnTo>
                    <a:pt x="2010" y="17015"/>
                  </a:lnTo>
                  <a:lnTo>
                    <a:pt x="1980" y="17008"/>
                  </a:lnTo>
                  <a:lnTo>
                    <a:pt x="1949" y="16999"/>
                  </a:lnTo>
                  <a:lnTo>
                    <a:pt x="1918" y="16989"/>
                  </a:lnTo>
                  <a:lnTo>
                    <a:pt x="1886" y="16977"/>
                  </a:lnTo>
                  <a:lnTo>
                    <a:pt x="1854" y="16963"/>
                  </a:lnTo>
                  <a:lnTo>
                    <a:pt x="1821" y="16948"/>
                  </a:lnTo>
                  <a:lnTo>
                    <a:pt x="1787" y="16931"/>
                  </a:lnTo>
                  <a:lnTo>
                    <a:pt x="1753" y="16913"/>
                  </a:lnTo>
                  <a:lnTo>
                    <a:pt x="1717" y="16893"/>
                  </a:lnTo>
                  <a:lnTo>
                    <a:pt x="1682" y="16871"/>
                  </a:lnTo>
                  <a:lnTo>
                    <a:pt x="1646" y="16848"/>
                  </a:lnTo>
                  <a:lnTo>
                    <a:pt x="1609" y="16823"/>
                  </a:lnTo>
                  <a:lnTo>
                    <a:pt x="1570" y="16797"/>
                  </a:lnTo>
                  <a:lnTo>
                    <a:pt x="1533" y="16769"/>
                  </a:lnTo>
                  <a:lnTo>
                    <a:pt x="1494" y="16739"/>
                  </a:lnTo>
                  <a:lnTo>
                    <a:pt x="1454" y="16708"/>
                  </a:lnTo>
                  <a:lnTo>
                    <a:pt x="1414" y="16675"/>
                  </a:lnTo>
                  <a:lnTo>
                    <a:pt x="1373" y="16641"/>
                  </a:lnTo>
                  <a:lnTo>
                    <a:pt x="1330" y="16605"/>
                  </a:lnTo>
                  <a:lnTo>
                    <a:pt x="1289" y="16567"/>
                  </a:lnTo>
                  <a:lnTo>
                    <a:pt x="1246" y="16528"/>
                  </a:lnTo>
                  <a:lnTo>
                    <a:pt x="1202" y="16487"/>
                  </a:lnTo>
                  <a:lnTo>
                    <a:pt x="1158" y="16445"/>
                  </a:lnTo>
                  <a:lnTo>
                    <a:pt x="1113" y="16400"/>
                  </a:lnTo>
                  <a:lnTo>
                    <a:pt x="1067" y="16355"/>
                  </a:lnTo>
                  <a:lnTo>
                    <a:pt x="1021" y="16308"/>
                  </a:lnTo>
                  <a:lnTo>
                    <a:pt x="974" y="16258"/>
                  </a:lnTo>
                  <a:lnTo>
                    <a:pt x="927" y="16208"/>
                  </a:lnTo>
                </a:path>
              </a:pathLst>
            </a:custGeom>
            <a:solidFill>
              <a:srgbClr val="8A867A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i="1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7451693" y="5772759"/>
              <a:ext cx="452047" cy="16158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i="1" dirty="0" smtClean="0">
                  <a:solidFill>
                    <a:schemeClr val="tx2">
                      <a:lumMod val="75000"/>
                    </a:schemeClr>
                  </a:solidFill>
                  <a:latin typeface="+mj-lt"/>
                </a:rPr>
                <a:t>Звонок</a:t>
              </a:r>
              <a:endParaRPr lang="ru-RU" sz="1200" i="1" dirty="0">
                <a:solidFill>
                  <a:schemeClr val="tx2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8110557" y="5772759"/>
              <a:ext cx="298159" cy="16158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i="1" dirty="0" smtClean="0">
                  <a:solidFill>
                    <a:schemeClr val="tx2">
                      <a:lumMod val="75000"/>
                    </a:schemeClr>
                  </a:solidFill>
                  <a:latin typeface="+mj-lt"/>
                </a:rPr>
                <a:t>СМС</a:t>
              </a:r>
              <a:endParaRPr lang="ru-RU" sz="1200" i="1" dirty="0">
                <a:solidFill>
                  <a:schemeClr val="tx2">
                    <a:lumMod val="75000"/>
                  </a:schemeClr>
                </a:solidFill>
                <a:latin typeface="+mj-lt"/>
              </a:endParaRPr>
            </a:p>
          </p:txBody>
        </p:sp>
      </p:grpSp>
      <p:sp>
        <p:nvSpPr>
          <p:cNvPr id="53" name="Freeform 7"/>
          <p:cNvSpPr>
            <a:spLocks noEditPoints="1"/>
          </p:cNvSpPr>
          <p:nvPr/>
        </p:nvSpPr>
        <p:spPr bwMode="auto">
          <a:xfrm flipH="1">
            <a:off x="1264083" y="4815334"/>
            <a:ext cx="1381786" cy="1372897"/>
          </a:xfrm>
          <a:custGeom>
            <a:avLst/>
            <a:gdLst>
              <a:gd name="T0" fmla="*/ 1322 w 3729"/>
              <a:gd name="T1" fmla="*/ 1501 h 3629"/>
              <a:gd name="T2" fmla="*/ 1375 w 3729"/>
              <a:gd name="T3" fmla="*/ 1462 h 3629"/>
              <a:gd name="T4" fmla="*/ 434 w 3729"/>
              <a:gd name="T5" fmla="*/ 1564 h 3629"/>
              <a:gd name="T6" fmla="*/ 493 w 3729"/>
              <a:gd name="T7" fmla="*/ 1635 h 3629"/>
              <a:gd name="T8" fmla="*/ 387 w 3729"/>
              <a:gd name="T9" fmla="*/ 1544 h 3629"/>
              <a:gd name="T10" fmla="*/ 3668 w 3729"/>
              <a:gd name="T11" fmla="*/ 1175 h 3629"/>
              <a:gd name="T12" fmla="*/ 3662 w 3729"/>
              <a:gd name="T13" fmla="*/ 1709 h 3629"/>
              <a:gd name="T14" fmla="*/ 3690 w 3729"/>
              <a:gd name="T15" fmla="*/ 2068 h 3629"/>
              <a:gd name="T16" fmla="*/ 3707 w 3729"/>
              <a:gd name="T17" fmla="*/ 2555 h 3629"/>
              <a:gd name="T18" fmla="*/ 3500 w 3729"/>
              <a:gd name="T19" fmla="*/ 2667 h 3629"/>
              <a:gd name="T20" fmla="*/ 3302 w 3729"/>
              <a:gd name="T21" fmla="*/ 3399 h 3629"/>
              <a:gd name="T22" fmla="*/ 3555 w 3729"/>
              <a:gd name="T23" fmla="*/ 3513 h 3629"/>
              <a:gd name="T24" fmla="*/ 2845 w 3729"/>
              <a:gd name="T25" fmla="*/ 3513 h 3629"/>
              <a:gd name="T26" fmla="*/ 3115 w 3729"/>
              <a:gd name="T27" fmla="*/ 3399 h 3629"/>
              <a:gd name="T28" fmla="*/ 2799 w 3729"/>
              <a:gd name="T29" fmla="*/ 2722 h 3629"/>
              <a:gd name="T30" fmla="*/ 2659 w 3729"/>
              <a:gd name="T31" fmla="*/ 2778 h 3629"/>
              <a:gd name="T32" fmla="*/ 2637 w 3729"/>
              <a:gd name="T33" fmla="*/ 2685 h 3629"/>
              <a:gd name="T34" fmla="*/ 2858 w 3729"/>
              <a:gd name="T35" fmla="*/ 2596 h 3629"/>
              <a:gd name="T36" fmla="*/ 3309 w 3729"/>
              <a:gd name="T37" fmla="*/ 2529 h 3629"/>
              <a:gd name="T38" fmla="*/ 3554 w 3729"/>
              <a:gd name="T39" fmla="*/ 2570 h 3629"/>
              <a:gd name="T40" fmla="*/ 3625 w 3729"/>
              <a:gd name="T41" fmla="*/ 2344 h 3629"/>
              <a:gd name="T42" fmla="*/ 3571 w 3729"/>
              <a:gd name="T43" fmla="*/ 1872 h 3629"/>
              <a:gd name="T44" fmla="*/ 3563 w 3729"/>
              <a:gd name="T45" fmla="*/ 1463 h 3629"/>
              <a:gd name="T46" fmla="*/ 3596 w 3729"/>
              <a:gd name="T47" fmla="*/ 947 h 3629"/>
              <a:gd name="T48" fmla="*/ 3216 w 3729"/>
              <a:gd name="T49" fmla="*/ 866 h 3629"/>
              <a:gd name="T50" fmla="*/ 3373 w 3729"/>
              <a:gd name="T51" fmla="*/ 1262 h 3629"/>
              <a:gd name="T52" fmla="*/ 3488 w 3729"/>
              <a:gd name="T53" fmla="*/ 2157 h 3629"/>
              <a:gd name="T54" fmla="*/ 3293 w 3729"/>
              <a:gd name="T55" fmla="*/ 2430 h 3629"/>
              <a:gd name="T56" fmla="*/ 2830 w 3729"/>
              <a:gd name="T57" fmla="*/ 2536 h 3629"/>
              <a:gd name="T58" fmla="*/ 2341 w 3729"/>
              <a:gd name="T59" fmla="*/ 3002 h 3629"/>
              <a:gd name="T60" fmla="*/ 2172 w 3729"/>
              <a:gd name="T61" fmla="*/ 3528 h 3629"/>
              <a:gd name="T62" fmla="*/ 1913 w 3729"/>
              <a:gd name="T63" fmla="*/ 3627 h 3629"/>
              <a:gd name="T64" fmla="*/ 1734 w 3729"/>
              <a:gd name="T65" fmla="*/ 3457 h 3629"/>
              <a:gd name="T66" fmla="*/ 748 w 3729"/>
              <a:gd name="T67" fmla="*/ 1641 h 3629"/>
              <a:gd name="T68" fmla="*/ 806 w 3729"/>
              <a:gd name="T69" fmla="*/ 1566 h 3629"/>
              <a:gd name="T70" fmla="*/ 1242 w 3729"/>
              <a:gd name="T71" fmla="*/ 1578 h 3629"/>
              <a:gd name="T72" fmla="*/ 1285 w 3729"/>
              <a:gd name="T73" fmla="*/ 1529 h 3629"/>
              <a:gd name="T74" fmla="*/ 1357 w 3729"/>
              <a:gd name="T75" fmla="*/ 1513 h 3629"/>
              <a:gd name="T76" fmla="*/ 1545 w 3729"/>
              <a:gd name="T77" fmla="*/ 1453 h 3629"/>
              <a:gd name="T78" fmla="*/ 1271 w 3729"/>
              <a:gd name="T79" fmla="*/ 1563 h 3629"/>
              <a:gd name="T80" fmla="*/ 1253 w 3729"/>
              <a:gd name="T81" fmla="*/ 1585 h 3629"/>
              <a:gd name="T82" fmla="*/ 807 w 3729"/>
              <a:gd name="T83" fmla="*/ 1578 h 3629"/>
              <a:gd name="T84" fmla="*/ 760 w 3729"/>
              <a:gd name="T85" fmla="*/ 1641 h 3629"/>
              <a:gd name="T86" fmla="*/ 1750 w 3729"/>
              <a:gd name="T87" fmla="*/ 3302 h 3629"/>
              <a:gd name="T88" fmla="*/ 2049 w 3729"/>
              <a:gd name="T89" fmla="*/ 2555 h 3629"/>
              <a:gd name="T90" fmla="*/ 2662 w 3729"/>
              <a:gd name="T91" fmla="*/ 2072 h 3629"/>
              <a:gd name="T92" fmla="*/ 2238 w 3729"/>
              <a:gd name="T93" fmla="*/ 1576 h 3629"/>
              <a:gd name="T94" fmla="*/ 1645 w 3729"/>
              <a:gd name="T95" fmla="*/ 1499 h 3629"/>
              <a:gd name="T96" fmla="*/ 1647 w 3729"/>
              <a:gd name="T97" fmla="*/ 1262 h 3629"/>
              <a:gd name="T98" fmla="*/ 2218 w 3729"/>
              <a:gd name="T99" fmla="*/ 1184 h 3629"/>
              <a:gd name="T100" fmla="*/ 2719 w 3729"/>
              <a:gd name="T101" fmla="*/ 903 h 3629"/>
              <a:gd name="T102" fmla="*/ 555 w 3729"/>
              <a:gd name="T103" fmla="*/ 542 h 3629"/>
              <a:gd name="T104" fmla="*/ 2930 w 3729"/>
              <a:gd name="T105" fmla="*/ 31 h 3629"/>
              <a:gd name="T106" fmla="*/ 3163 w 3729"/>
              <a:gd name="T107" fmla="*/ 382 h 3629"/>
              <a:gd name="T108" fmla="*/ 2930 w 3729"/>
              <a:gd name="T109" fmla="*/ 733 h 3629"/>
              <a:gd name="T110" fmla="*/ 2513 w 3729"/>
              <a:gd name="T111" fmla="*/ 651 h 3629"/>
              <a:gd name="T112" fmla="*/ 2430 w 3729"/>
              <a:gd name="T113" fmla="*/ 233 h 3629"/>
              <a:gd name="T114" fmla="*/ 2782 w 3729"/>
              <a:gd name="T115" fmla="*/ 0 h 3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729" h="3629">
                <a:moveTo>
                  <a:pt x="1371" y="1468"/>
                </a:moveTo>
                <a:lnTo>
                  <a:pt x="1373" y="1469"/>
                </a:lnTo>
                <a:lnTo>
                  <a:pt x="1371" y="1474"/>
                </a:lnTo>
                <a:lnTo>
                  <a:pt x="1366" y="1481"/>
                </a:lnTo>
                <a:lnTo>
                  <a:pt x="1358" y="1487"/>
                </a:lnTo>
                <a:lnTo>
                  <a:pt x="1349" y="1494"/>
                </a:lnTo>
                <a:lnTo>
                  <a:pt x="1339" y="1500"/>
                </a:lnTo>
                <a:lnTo>
                  <a:pt x="1330" y="1502"/>
                </a:lnTo>
                <a:lnTo>
                  <a:pt x="1322" y="1501"/>
                </a:lnTo>
                <a:lnTo>
                  <a:pt x="1323" y="1500"/>
                </a:lnTo>
                <a:lnTo>
                  <a:pt x="1328" y="1495"/>
                </a:lnTo>
                <a:lnTo>
                  <a:pt x="1336" y="1489"/>
                </a:lnTo>
                <a:lnTo>
                  <a:pt x="1347" y="1482"/>
                </a:lnTo>
                <a:lnTo>
                  <a:pt x="1356" y="1475"/>
                </a:lnTo>
                <a:lnTo>
                  <a:pt x="1364" y="1470"/>
                </a:lnTo>
                <a:lnTo>
                  <a:pt x="1371" y="1468"/>
                </a:lnTo>
                <a:close/>
                <a:moveTo>
                  <a:pt x="1375" y="1461"/>
                </a:moveTo>
                <a:lnTo>
                  <a:pt x="1375" y="1462"/>
                </a:lnTo>
                <a:lnTo>
                  <a:pt x="1373" y="1463"/>
                </a:lnTo>
                <a:lnTo>
                  <a:pt x="1375" y="1461"/>
                </a:lnTo>
                <a:close/>
                <a:moveTo>
                  <a:pt x="387" y="1257"/>
                </a:moveTo>
                <a:lnTo>
                  <a:pt x="436" y="1257"/>
                </a:lnTo>
                <a:lnTo>
                  <a:pt x="434" y="1554"/>
                </a:lnTo>
                <a:lnTo>
                  <a:pt x="434" y="1555"/>
                </a:lnTo>
                <a:lnTo>
                  <a:pt x="434" y="1557"/>
                </a:lnTo>
                <a:lnTo>
                  <a:pt x="434" y="1560"/>
                </a:lnTo>
                <a:lnTo>
                  <a:pt x="434" y="1564"/>
                </a:lnTo>
                <a:lnTo>
                  <a:pt x="435" y="1568"/>
                </a:lnTo>
                <a:lnTo>
                  <a:pt x="437" y="1571"/>
                </a:lnTo>
                <a:lnTo>
                  <a:pt x="445" y="1578"/>
                </a:lnTo>
                <a:lnTo>
                  <a:pt x="458" y="1582"/>
                </a:lnTo>
                <a:lnTo>
                  <a:pt x="474" y="1586"/>
                </a:lnTo>
                <a:lnTo>
                  <a:pt x="493" y="1586"/>
                </a:lnTo>
                <a:lnTo>
                  <a:pt x="595" y="1586"/>
                </a:lnTo>
                <a:lnTo>
                  <a:pt x="595" y="1635"/>
                </a:lnTo>
                <a:lnTo>
                  <a:pt x="493" y="1635"/>
                </a:lnTo>
                <a:lnTo>
                  <a:pt x="467" y="1634"/>
                </a:lnTo>
                <a:lnTo>
                  <a:pt x="444" y="1629"/>
                </a:lnTo>
                <a:lnTo>
                  <a:pt x="426" y="1622"/>
                </a:lnTo>
                <a:lnTo>
                  <a:pt x="410" y="1612"/>
                </a:lnTo>
                <a:lnTo>
                  <a:pt x="398" y="1600"/>
                </a:lnTo>
                <a:lnTo>
                  <a:pt x="389" y="1584"/>
                </a:lnTo>
                <a:lnTo>
                  <a:pt x="386" y="1568"/>
                </a:lnTo>
                <a:lnTo>
                  <a:pt x="384" y="1554"/>
                </a:lnTo>
                <a:lnTo>
                  <a:pt x="387" y="1544"/>
                </a:lnTo>
                <a:lnTo>
                  <a:pt x="387" y="1257"/>
                </a:lnTo>
                <a:close/>
                <a:moveTo>
                  <a:pt x="3625" y="939"/>
                </a:moveTo>
                <a:lnTo>
                  <a:pt x="3641" y="943"/>
                </a:lnTo>
                <a:lnTo>
                  <a:pt x="3654" y="950"/>
                </a:lnTo>
                <a:lnTo>
                  <a:pt x="3664" y="961"/>
                </a:lnTo>
                <a:lnTo>
                  <a:pt x="3671" y="975"/>
                </a:lnTo>
                <a:lnTo>
                  <a:pt x="3673" y="990"/>
                </a:lnTo>
                <a:lnTo>
                  <a:pt x="3671" y="1087"/>
                </a:lnTo>
                <a:lnTo>
                  <a:pt x="3668" y="1175"/>
                </a:lnTo>
                <a:lnTo>
                  <a:pt x="3666" y="1256"/>
                </a:lnTo>
                <a:lnTo>
                  <a:pt x="3664" y="1332"/>
                </a:lnTo>
                <a:lnTo>
                  <a:pt x="3663" y="1399"/>
                </a:lnTo>
                <a:lnTo>
                  <a:pt x="3662" y="1462"/>
                </a:lnTo>
                <a:lnTo>
                  <a:pt x="3662" y="1519"/>
                </a:lnTo>
                <a:lnTo>
                  <a:pt x="3660" y="1572"/>
                </a:lnTo>
                <a:lnTo>
                  <a:pt x="3660" y="1621"/>
                </a:lnTo>
                <a:lnTo>
                  <a:pt x="3662" y="1667"/>
                </a:lnTo>
                <a:lnTo>
                  <a:pt x="3662" y="1709"/>
                </a:lnTo>
                <a:lnTo>
                  <a:pt x="3663" y="1751"/>
                </a:lnTo>
                <a:lnTo>
                  <a:pt x="3665" y="1790"/>
                </a:lnTo>
                <a:lnTo>
                  <a:pt x="3667" y="1827"/>
                </a:lnTo>
                <a:lnTo>
                  <a:pt x="3670" y="1865"/>
                </a:lnTo>
                <a:lnTo>
                  <a:pt x="3673" y="1903"/>
                </a:lnTo>
                <a:lnTo>
                  <a:pt x="3676" y="1942"/>
                </a:lnTo>
                <a:lnTo>
                  <a:pt x="3680" y="1982"/>
                </a:lnTo>
                <a:lnTo>
                  <a:pt x="3684" y="2023"/>
                </a:lnTo>
                <a:lnTo>
                  <a:pt x="3690" y="2068"/>
                </a:lnTo>
                <a:lnTo>
                  <a:pt x="3696" y="2114"/>
                </a:lnTo>
                <a:lnTo>
                  <a:pt x="3702" y="2165"/>
                </a:lnTo>
                <a:lnTo>
                  <a:pt x="3708" y="2220"/>
                </a:lnTo>
                <a:lnTo>
                  <a:pt x="3723" y="2332"/>
                </a:lnTo>
                <a:lnTo>
                  <a:pt x="3728" y="2386"/>
                </a:lnTo>
                <a:lnTo>
                  <a:pt x="3729" y="2435"/>
                </a:lnTo>
                <a:lnTo>
                  <a:pt x="3726" y="2480"/>
                </a:lnTo>
                <a:lnTo>
                  <a:pt x="3719" y="2520"/>
                </a:lnTo>
                <a:lnTo>
                  <a:pt x="3707" y="2555"/>
                </a:lnTo>
                <a:lnTo>
                  <a:pt x="3692" y="2586"/>
                </a:lnTo>
                <a:lnTo>
                  <a:pt x="3673" y="2612"/>
                </a:lnTo>
                <a:lnTo>
                  <a:pt x="3650" y="2634"/>
                </a:lnTo>
                <a:lnTo>
                  <a:pt x="3625" y="2650"/>
                </a:lnTo>
                <a:lnTo>
                  <a:pt x="3600" y="2660"/>
                </a:lnTo>
                <a:lnTo>
                  <a:pt x="3573" y="2667"/>
                </a:lnTo>
                <a:lnTo>
                  <a:pt x="3547" y="2669"/>
                </a:lnTo>
                <a:lnTo>
                  <a:pt x="3523" y="2669"/>
                </a:lnTo>
                <a:lnTo>
                  <a:pt x="3500" y="2667"/>
                </a:lnTo>
                <a:lnTo>
                  <a:pt x="3480" y="2663"/>
                </a:lnTo>
                <a:lnTo>
                  <a:pt x="3461" y="2659"/>
                </a:lnTo>
                <a:lnTo>
                  <a:pt x="3448" y="2655"/>
                </a:lnTo>
                <a:lnTo>
                  <a:pt x="3438" y="2651"/>
                </a:lnTo>
                <a:lnTo>
                  <a:pt x="3435" y="2650"/>
                </a:lnTo>
                <a:lnTo>
                  <a:pt x="3392" y="2639"/>
                </a:lnTo>
                <a:lnTo>
                  <a:pt x="3347" y="2631"/>
                </a:lnTo>
                <a:lnTo>
                  <a:pt x="3302" y="2627"/>
                </a:lnTo>
                <a:lnTo>
                  <a:pt x="3302" y="3399"/>
                </a:lnTo>
                <a:lnTo>
                  <a:pt x="3490" y="3399"/>
                </a:lnTo>
                <a:lnTo>
                  <a:pt x="3509" y="3402"/>
                </a:lnTo>
                <a:lnTo>
                  <a:pt x="3528" y="3410"/>
                </a:lnTo>
                <a:lnTo>
                  <a:pt x="3543" y="3421"/>
                </a:lnTo>
                <a:lnTo>
                  <a:pt x="3555" y="3436"/>
                </a:lnTo>
                <a:lnTo>
                  <a:pt x="3562" y="3454"/>
                </a:lnTo>
                <a:lnTo>
                  <a:pt x="3565" y="3475"/>
                </a:lnTo>
                <a:lnTo>
                  <a:pt x="3562" y="3494"/>
                </a:lnTo>
                <a:lnTo>
                  <a:pt x="3555" y="3513"/>
                </a:lnTo>
                <a:lnTo>
                  <a:pt x="3543" y="3528"/>
                </a:lnTo>
                <a:lnTo>
                  <a:pt x="3528" y="3539"/>
                </a:lnTo>
                <a:lnTo>
                  <a:pt x="3509" y="3547"/>
                </a:lnTo>
                <a:lnTo>
                  <a:pt x="3490" y="3549"/>
                </a:lnTo>
                <a:lnTo>
                  <a:pt x="2910" y="3549"/>
                </a:lnTo>
                <a:lnTo>
                  <a:pt x="2890" y="3547"/>
                </a:lnTo>
                <a:lnTo>
                  <a:pt x="2872" y="3539"/>
                </a:lnTo>
                <a:lnTo>
                  <a:pt x="2857" y="3528"/>
                </a:lnTo>
                <a:lnTo>
                  <a:pt x="2845" y="3513"/>
                </a:lnTo>
                <a:lnTo>
                  <a:pt x="2838" y="3494"/>
                </a:lnTo>
                <a:lnTo>
                  <a:pt x="2835" y="3475"/>
                </a:lnTo>
                <a:lnTo>
                  <a:pt x="2838" y="3454"/>
                </a:lnTo>
                <a:lnTo>
                  <a:pt x="2845" y="3436"/>
                </a:lnTo>
                <a:lnTo>
                  <a:pt x="2857" y="3421"/>
                </a:lnTo>
                <a:lnTo>
                  <a:pt x="2872" y="3410"/>
                </a:lnTo>
                <a:lnTo>
                  <a:pt x="2890" y="3402"/>
                </a:lnTo>
                <a:lnTo>
                  <a:pt x="2910" y="3399"/>
                </a:lnTo>
                <a:lnTo>
                  <a:pt x="3115" y="3399"/>
                </a:lnTo>
                <a:lnTo>
                  <a:pt x="3115" y="2635"/>
                </a:lnTo>
                <a:lnTo>
                  <a:pt x="3069" y="2643"/>
                </a:lnTo>
                <a:lnTo>
                  <a:pt x="3025" y="2652"/>
                </a:lnTo>
                <a:lnTo>
                  <a:pt x="2982" y="2663"/>
                </a:lnTo>
                <a:lnTo>
                  <a:pt x="2941" y="2674"/>
                </a:lnTo>
                <a:lnTo>
                  <a:pt x="2902" y="2685"/>
                </a:lnTo>
                <a:lnTo>
                  <a:pt x="2864" y="2698"/>
                </a:lnTo>
                <a:lnTo>
                  <a:pt x="2830" y="2709"/>
                </a:lnTo>
                <a:lnTo>
                  <a:pt x="2799" y="2722"/>
                </a:lnTo>
                <a:lnTo>
                  <a:pt x="2770" y="2734"/>
                </a:lnTo>
                <a:lnTo>
                  <a:pt x="2745" y="2744"/>
                </a:lnTo>
                <a:lnTo>
                  <a:pt x="2723" y="2753"/>
                </a:lnTo>
                <a:lnTo>
                  <a:pt x="2706" y="2761"/>
                </a:lnTo>
                <a:lnTo>
                  <a:pt x="2694" y="2767"/>
                </a:lnTo>
                <a:lnTo>
                  <a:pt x="2686" y="2771"/>
                </a:lnTo>
                <a:lnTo>
                  <a:pt x="2682" y="2772"/>
                </a:lnTo>
                <a:lnTo>
                  <a:pt x="2671" y="2777"/>
                </a:lnTo>
                <a:lnTo>
                  <a:pt x="2659" y="2778"/>
                </a:lnTo>
                <a:lnTo>
                  <a:pt x="2647" y="2776"/>
                </a:lnTo>
                <a:lnTo>
                  <a:pt x="2635" y="2771"/>
                </a:lnTo>
                <a:lnTo>
                  <a:pt x="2624" y="2763"/>
                </a:lnTo>
                <a:lnTo>
                  <a:pt x="2616" y="2752"/>
                </a:lnTo>
                <a:lnTo>
                  <a:pt x="2611" y="2737"/>
                </a:lnTo>
                <a:lnTo>
                  <a:pt x="2611" y="2721"/>
                </a:lnTo>
                <a:lnTo>
                  <a:pt x="2616" y="2707"/>
                </a:lnTo>
                <a:lnTo>
                  <a:pt x="2625" y="2695"/>
                </a:lnTo>
                <a:lnTo>
                  <a:pt x="2637" y="2685"/>
                </a:lnTo>
                <a:lnTo>
                  <a:pt x="2643" y="2682"/>
                </a:lnTo>
                <a:lnTo>
                  <a:pt x="2653" y="2677"/>
                </a:lnTo>
                <a:lnTo>
                  <a:pt x="2671" y="2669"/>
                </a:lnTo>
                <a:lnTo>
                  <a:pt x="2691" y="2660"/>
                </a:lnTo>
                <a:lnTo>
                  <a:pt x="2718" y="2649"/>
                </a:lnTo>
                <a:lnTo>
                  <a:pt x="2747" y="2636"/>
                </a:lnTo>
                <a:lnTo>
                  <a:pt x="2781" y="2624"/>
                </a:lnTo>
                <a:lnTo>
                  <a:pt x="2818" y="2610"/>
                </a:lnTo>
                <a:lnTo>
                  <a:pt x="2858" y="2596"/>
                </a:lnTo>
                <a:lnTo>
                  <a:pt x="2902" y="2582"/>
                </a:lnTo>
                <a:lnTo>
                  <a:pt x="2948" y="2570"/>
                </a:lnTo>
                <a:lnTo>
                  <a:pt x="2994" y="2558"/>
                </a:lnTo>
                <a:lnTo>
                  <a:pt x="3045" y="2548"/>
                </a:lnTo>
                <a:lnTo>
                  <a:pt x="3096" y="2539"/>
                </a:lnTo>
                <a:lnTo>
                  <a:pt x="3148" y="2532"/>
                </a:lnTo>
                <a:lnTo>
                  <a:pt x="3202" y="2529"/>
                </a:lnTo>
                <a:lnTo>
                  <a:pt x="3255" y="2528"/>
                </a:lnTo>
                <a:lnTo>
                  <a:pt x="3309" y="2529"/>
                </a:lnTo>
                <a:lnTo>
                  <a:pt x="3362" y="2534"/>
                </a:lnTo>
                <a:lnTo>
                  <a:pt x="3416" y="2544"/>
                </a:lnTo>
                <a:lnTo>
                  <a:pt x="3467" y="2557"/>
                </a:lnTo>
                <a:lnTo>
                  <a:pt x="3473" y="2560"/>
                </a:lnTo>
                <a:lnTo>
                  <a:pt x="3483" y="2563"/>
                </a:lnTo>
                <a:lnTo>
                  <a:pt x="3497" y="2566"/>
                </a:lnTo>
                <a:lnTo>
                  <a:pt x="3515" y="2570"/>
                </a:lnTo>
                <a:lnTo>
                  <a:pt x="3533" y="2571"/>
                </a:lnTo>
                <a:lnTo>
                  <a:pt x="3554" y="2570"/>
                </a:lnTo>
                <a:lnTo>
                  <a:pt x="3573" y="2565"/>
                </a:lnTo>
                <a:lnTo>
                  <a:pt x="3591" y="2556"/>
                </a:lnTo>
                <a:lnTo>
                  <a:pt x="3604" y="2540"/>
                </a:lnTo>
                <a:lnTo>
                  <a:pt x="3616" y="2521"/>
                </a:lnTo>
                <a:lnTo>
                  <a:pt x="3624" y="2494"/>
                </a:lnTo>
                <a:lnTo>
                  <a:pt x="3630" y="2463"/>
                </a:lnTo>
                <a:lnTo>
                  <a:pt x="3631" y="2428"/>
                </a:lnTo>
                <a:lnTo>
                  <a:pt x="3630" y="2389"/>
                </a:lnTo>
                <a:lnTo>
                  <a:pt x="3625" y="2344"/>
                </a:lnTo>
                <a:lnTo>
                  <a:pt x="3611" y="2232"/>
                </a:lnTo>
                <a:lnTo>
                  <a:pt x="3604" y="2176"/>
                </a:lnTo>
                <a:lnTo>
                  <a:pt x="3597" y="2125"/>
                </a:lnTo>
                <a:lnTo>
                  <a:pt x="3592" y="2077"/>
                </a:lnTo>
                <a:lnTo>
                  <a:pt x="3587" y="2032"/>
                </a:lnTo>
                <a:lnTo>
                  <a:pt x="3583" y="1990"/>
                </a:lnTo>
                <a:lnTo>
                  <a:pt x="3578" y="1950"/>
                </a:lnTo>
                <a:lnTo>
                  <a:pt x="3575" y="1910"/>
                </a:lnTo>
                <a:lnTo>
                  <a:pt x="3571" y="1872"/>
                </a:lnTo>
                <a:lnTo>
                  <a:pt x="3569" y="1834"/>
                </a:lnTo>
                <a:lnTo>
                  <a:pt x="3567" y="1795"/>
                </a:lnTo>
                <a:lnTo>
                  <a:pt x="3564" y="1755"/>
                </a:lnTo>
                <a:lnTo>
                  <a:pt x="3563" y="1714"/>
                </a:lnTo>
                <a:lnTo>
                  <a:pt x="3563" y="1672"/>
                </a:lnTo>
                <a:lnTo>
                  <a:pt x="3562" y="1625"/>
                </a:lnTo>
                <a:lnTo>
                  <a:pt x="3562" y="1576"/>
                </a:lnTo>
                <a:lnTo>
                  <a:pt x="3563" y="1522"/>
                </a:lnTo>
                <a:lnTo>
                  <a:pt x="3563" y="1463"/>
                </a:lnTo>
                <a:lnTo>
                  <a:pt x="3564" y="1400"/>
                </a:lnTo>
                <a:lnTo>
                  <a:pt x="3565" y="1332"/>
                </a:lnTo>
                <a:lnTo>
                  <a:pt x="3568" y="1256"/>
                </a:lnTo>
                <a:lnTo>
                  <a:pt x="3570" y="1175"/>
                </a:lnTo>
                <a:lnTo>
                  <a:pt x="3572" y="1085"/>
                </a:lnTo>
                <a:lnTo>
                  <a:pt x="3575" y="987"/>
                </a:lnTo>
                <a:lnTo>
                  <a:pt x="3578" y="971"/>
                </a:lnTo>
                <a:lnTo>
                  <a:pt x="3585" y="959"/>
                </a:lnTo>
                <a:lnTo>
                  <a:pt x="3596" y="947"/>
                </a:lnTo>
                <a:lnTo>
                  <a:pt x="3610" y="942"/>
                </a:lnTo>
                <a:lnTo>
                  <a:pt x="3625" y="939"/>
                </a:lnTo>
                <a:close/>
                <a:moveTo>
                  <a:pt x="2996" y="796"/>
                </a:moveTo>
                <a:lnTo>
                  <a:pt x="3035" y="800"/>
                </a:lnTo>
                <a:lnTo>
                  <a:pt x="3073" y="805"/>
                </a:lnTo>
                <a:lnTo>
                  <a:pt x="3111" y="816"/>
                </a:lnTo>
                <a:lnTo>
                  <a:pt x="3148" y="828"/>
                </a:lnTo>
                <a:lnTo>
                  <a:pt x="3183" y="846"/>
                </a:lnTo>
                <a:lnTo>
                  <a:pt x="3216" y="866"/>
                </a:lnTo>
                <a:lnTo>
                  <a:pt x="3247" y="889"/>
                </a:lnTo>
                <a:lnTo>
                  <a:pt x="3276" y="916"/>
                </a:lnTo>
                <a:lnTo>
                  <a:pt x="3300" y="947"/>
                </a:lnTo>
                <a:lnTo>
                  <a:pt x="3322" y="982"/>
                </a:lnTo>
                <a:lnTo>
                  <a:pt x="3340" y="1021"/>
                </a:lnTo>
                <a:lnTo>
                  <a:pt x="3354" y="1062"/>
                </a:lnTo>
                <a:lnTo>
                  <a:pt x="3363" y="1106"/>
                </a:lnTo>
                <a:lnTo>
                  <a:pt x="3366" y="1154"/>
                </a:lnTo>
                <a:lnTo>
                  <a:pt x="3373" y="1262"/>
                </a:lnTo>
                <a:lnTo>
                  <a:pt x="3385" y="1367"/>
                </a:lnTo>
                <a:lnTo>
                  <a:pt x="3401" y="1474"/>
                </a:lnTo>
                <a:lnTo>
                  <a:pt x="3418" y="1579"/>
                </a:lnTo>
                <a:lnTo>
                  <a:pt x="3437" y="1684"/>
                </a:lnTo>
                <a:lnTo>
                  <a:pt x="3456" y="1790"/>
                </a:lnTo>
                <a:lnTo>
                  <a:pt x="3472" y="1896"/>
                </a:lnTo>
                <a:lnTo>
                  <a:pt x="3483" y="2002"/>
                </a:lnTo>
                <a:lnTo>
                  <a:pt x="3489" y="2110"/>
                </a:lnTo>
                <a:lnTo>
                  <a:pt x="3488" y="2157"/>
                </a:lnTo>
                <a:lnTo>
                  <a:pt x="3481" y="2201"/>
                </a:lnTo>
                <a:lnTo>
                  <a:pt x="3470" y="2242"/>
                </a:lnTo>
                <a:lnTo>
                  <a:pt x="3454" y="2279"/>
                </a:lnTo>
                <a:lnTo>
                  <a:pt x="3436" y="2312"/>
                </a:lnTo>
                <a:lnTo>
                  <a:pt x="3413" y="2343"/>
                </a:lnTo>
                <a:lnTo>
                  <a:pt x="3387" y="2370"/>
                </a:lnTo>
                <a:lnTo>
                  <a:pt x="3358" y="2394"/>
                </a:lnTo>
                <a:lnTo>
                  <a:pt x="3326" y="2413"/>
                </a:lnTo>
                <a:lnTo>
                  <a:pt x="3293" y="2430"/>
                </a:lnTo>
                <a:lnTo>
                  <a:pt x="3258" y="2443"/>
                </a:lnTo>
                <a:lnTo>
                  <a:pt x="3221" y="2453"/>
                </a:lnTo>
                <a:lnTo>
                  <a:pt x="3184" y="2459"/>
                </a:lnTo>
                <a:lnTo>
                  <a:pt x="3146" y="2462"/>
                </a:lnTo>
                <a:lnTo>
                  <a:pt x="3108" y="2461"/>
                </a:lnTo>
                <a:lnTo>
                  <a:pt x="3069" y="2457"/>
                </a:lnTo>
                <a:lnTo>
                  <a:pt x="2985" y="2478"/>
                </a:lnTo>
                <a:lnTo>
                  <a:pt x="2905" y="2505"/>
                </a:lnTo>
                <a:lnTo>
                  <a:pt x="2830" y="2536"/>
                </a:lnTo>
                <a:lnTo>
                  <a:pt x="2758" y="2571"/>
                </a:lnTo>
                <a:lnTo>
                  <a:pt x="2691" y="2610"/>
                </a:lnTo>
                <a:lnTo>
                  <a:pt x="2627" y="2653"/>
                </a:lnTo>
                <a:lnTo>
                  <a:pt x="2569" y="2701"/>
                </a:lnTo>
                <a:lnTo>
                  <a:pt x="2515" y="2754"/>
                </a:lnTo>
                <a:lnTo>
                  <a:pt x="2465" y="2810"/>
                </a:lnTo>
                <a:lnTo>
                  <a:pt x="2419" y="2870"/>
                </a:lnTo>
                <a:lnTo>
                  <a:pt x="2378" y="2934"/>
                </a:lnTo>
                <a:lnTo>
                  <a:pt x="2341" y="3002"/>
                </a:lnTo>
                <a:lnTo>
                  <a:pt x="2309" y="3073"/>
                </a:lnTo>
                <a:lnTo>
                  <a:pt x="2282" y="3149"/>
                </a:lnTo>
                <a:lnTo>
                  <a:pt x="2259" y="3228"/>
                </a:lnTo>
                <a:lnTo>
                  <a:pt x="2239" y="3310"/>
                </a:lnTo>
                <a:lnTo>
                  <a:pt x="2226" y="3396"/>
                </a:lnTo>
                <a:lnTo>
                  <a:pt x="2219" y="3434"/>
                </a:lnTo>
                <a:lnTo>
                  <a:pt x="2206" y="3468"/>
                </a:lnTo>
                <a:lnTo>
                  <a:pt x="2190" y="3499"/>
                </a:lnTo>
                <a:lnTo>
                  <a:pt x="2172" y="3528"/>
                </a:lnTo>
                <a:lnTo>
                  <a:pt x="2149" y="3552"/>
                </a:lnTo>
                <a:lnTo>
                  <a:pt x="2124" y="3572"/>
                </a:lnTo>
                <a:lnTo>
                  <a:pt x="2096" y="3591"/>
                </a:lnTo>
                <a:lnTo>
                  <a:pt x="2068" y="3605"/>
                </a:lnTo>
                <a:lnTo>
                  <a:pt x="2038" y="3616"/>
                </a:lnTo>
                <a:lnTo>
                  <a:pt x="2007" y="3624"/>
                </a:lnTo>
                <a:lnTo>
                  <a:pt x="1975" y="3628"/>
                </a:lnTo>
                <a:lnTo>
                  <a:pt x="1944" y="3629"/>
                </a:lnTo>
                <a:lnTo>
                  <a:pt x="1913" y="3627"/>
                </a:lnTo>
                <a:lnTo>
                  <a:pt x="1883" y="3621"/>
                </a:lnTo>
                <a:lnTo>
                  <a:pt x="1855" y="3613"/>
                </a:lnTo>
                <a:lnTo>
                  <a:pt x="1828" y="3601"/>
                </a:lnTo>
                <a:lnTo>
                  <a:pt x="1804" y="3585"/>
                </a:lnTo>
                <a:lnTo>
                  <a:pt x="1783" y="3567"/>
                </a:lnTo>
                <a:lnTo>
                  <a:pt x="1764" y="3544"/>
                </a:lnTo>
                <a:lnTo>
                  <a:pt x="1750" y="3518"/>
                </a:lnTo>
                <a:lnTo>
                  <a:pt x="1739" y="3489"/>
                </a:lnTo>
                <a:lnTo>
                  <a:pt x="1734" y="3457"/>
                </a:lnTo>
                <a:lnTo>
                  <a:pt x="1734" y="3619"/>
                </a:lnTo>
                <a:lnTo>
                  <a:pt x="205" y="3619"/>
                </a:lnTo>
                <a:lnTo>
                  <a:pt x="205" y="1986"/>
                </a:lnTo>
                <a:lnTo>
                  <a:pt x="0" y="1986"/>
                </a:lnTo>
                <a:lnTo>
                  <a:pt x="0" y="1835"/>
                </a:lnTo>
                <a:lnTo>
                  <a:pt x="0" y="1651"/>
                </a:lnTo>
                <a:lnTo>
                  <a:pt x="747" y="1651"/>
                </a:lnTo>
                <a:lnTo>
                  <a:pt x="747" y="1646"/>
                </a:lnTo>
                <a:lnTo>
                  <a:pt x="748" y="1641"/>
                </a:lnTo>
                <a:lnTo>
                  <a:pt x="748" y="1634"/>
                </a:lnTo>
                <a:lnTo>
                  <a:pt x="748" y="1628"/>
                </a:lnTo>
                <a:lnTo>
                  <a:pt x="748" y="1622"/>
                </a:lnTo>
                <a:lnTo>
                  <a:pt x="751" y="1605"/>
                </a:lnTo>
                <a:lnTo>
                  <a:pt x="755" y="1592"/>
                </a:lnTo>
                <a:lnTo>
                  <a:pt x="763" y="1580"/>
                </a:lnTo>
                <a:lnTo>
                  <a:pt x="775" y="1573"/>
                </a:lnTo>
                <a:lnTo>
                  <a:pt x="793" y="1568"/>
                </a:lnTo>
                <a:lnTo>
                  <a:pt x="806" y="1566"/>
                </a:lnTo>
                <a:lnTo>
                  <a:pt x="820" y="1565"/>
                </a:lnTo>
                <a:lnTo>
                  <a:pt x="820" y="1536"/>
                </a:lnTo>
                <a:lnTo>
                  <a:pt x="1217" y="1536"/>
                </a:lnTo>
                <a:lnTo>
                  <a:pt x="1217" y="1592"/>
                </a:lnTo>
                <a:lnTo>
                  <a:pt x="1227" y="1590"/>
                </a:lnTo>
                <a:lnTo>
                  <a:pt x="1235" y="1588"/>
                </a:lnTo>
                <a:lnTo>
                  <a:pt x="1240" y="1584"/>
                </a:lnTo>
                <a:lnTo>
                  <a:pt x="1242" y="1581"/>
                </a:lnTo>
                <a:lnTo>
                  <a:pt x="1242" y="1578"/>
                </a:lnTo>
                <a:lnTo>
                  <a:pt x="1243" y="1574"/>
                </a:lnTo>
                <a:lnTo>
                  <a:pt x="1243" y="1571"/>
                </a:lnTo>
                <a:lnTo>
                  <a:pt x="1243" y="1562"/>
                </a:lnTo>
                <a:lnTo>
                  <a:pt x="1244" y="1553"/>
                </a:lnTo>
                <a:lnTo>
                  <a:pt x="1248" y="1545"/>
                </a:lnTo>
                <a:lnTo>
                  <a:pt x="1259" y="1536"/>
                </a:lnTo>
                <a:lnTo>
                  <a:pt x="1271" y="1530"/>
                </a:lnTo>
                <a:lnTo>
                  <a:pt x="1283" y="1527"/>
                </a:lnTo>
                <a:lnTo>
                  <a:pt x="1285" y="1529"/>
                </a:lnTo>
                <a:lnTo>
                  <a:pt x="1286" y="1530"/>
                </a:lnTo>
                <a:lnTo>
                  <a:pt x="1291" y="1524"/>
                </a:lnTo>
                <a:lnTo>
                  <a:pt x="1294" y="1518"/>
                </a:lnTo>
                <a:lnTo>
                  <a:pt x="1303" y="1519"/>
                </a:lnTo>
                <a:lnTo>
                  <a:pt x="1314" y="1521"/>
                </a:lnTo>
                <a:lnTo>
                  <a:pt x="1324" y="1521"/>
                </a:lnTo>
                <a:lnTo>
                  <a:pt x="1335" y="1519"/>
                </a:lnTo>
                <a:lnTo>
                  <a:pt x="1347" y="1517"/>
                </a:lnTo>
                <a:lnTo>
                  <a:pt x="1357" y="1513"/>
                </a:lnTo>
                <a:lnTo>
                  <a:pt x="1366" y="1505"/>
                </a:lnTo>
                <a:lnTo>
                  <a:pt x="1372" y="1494"/>
                </a:lnTo>
                <a:lnTo>
                  <a:pt x="1377" y="1479"/>
                </a:lnTo>
                <a:lnTo>
                  <a:pt x="1375" y="1461"/>
                </a:lnTo>
                <a:lnTo>
                  <a:pt x="1406" y="1452"/>
                </a:lnTo>
                <a:lnTo>
                  <a:pt x="1438" y="1446"/>
                </a:lnTo>
                <a:lnTo>
                  <a:pt x="1473" y="1444"/>
                </a:lnTo>
                <a:lnTo>
                  <a:pt x="1510" y="1446"/>
                </a:lnTo>
                <a:lnTo>
                  <a:pt x="1545" y="1453"/>
                </a:lnTo>
                <a:lnTo>
                  <a:pt x="1577" y="1463"/>
                </a:lnTo>
                <a:lnTo>
                  <a:pt x="1605" y="1478"/>
                </a:lnTo>
                <a:lnTo>
                  <a:pt x="1631" y="1495"/>
                </a:lnTo>
                <a:lnTo>
                  <a:pt x="1650" y="1515"/>
                </a:lnTo>
                <a:lnTo>
                  <a:pt x="1666" y="1538"/>
                </a:lnTo>
                <a:lnTo>
                  <a:pt x="1675" y="1562"/>
                </a:lnTo>
                <a:lnTo>
                  <a:pt x="1679" y="1587"/>
                </a:lnTo>
                <a:lnTo>
                  <a:pt x="1268" y="1587"/>
                </a:lnTo>
                <a:lnTo>
                  <a:pt x="1271" y="1563"/>
                </a:lnTo>
                <a:lnTo>
                  <a:pt x="1280" y="1541"/>
                </a:lnTo>
                <a:lnTo>
                  <a:pt x="1272" y="1542"/>
                </a:lnTo>
                <a:lnTo>
                  <a:pt x="1264" y="1547"/>
                </a:lnTo>
                <a:lnTo>
                  <a:pt x="1258" y="1552"/>
                </a:lnTo>
                <a:lnTo>
                  <a:pt x="1255" y="1557"/>
                </a:lnTo>
                <a:lnTo>
                  <a:pt x="1254" y="1564"/>
                </a:lnTo>
                <a:lnTo>
                  <a:pt x="1254" y="1571"/>
                </a:lnTo>
                <a:lnTo>
                  <a:pt x="1254" y="1578"/>
                </a:lnTo>
                <a:lnTo>
                  <a:pt x="1253" y="1585"/>
                </a:lnTo>
                <a:lnTo>
                  <a:pt x="1250" y="1590"/>
                </a:lnTo>
                <a:lnTo>
                  <a:pt x="1240" y="1600"/>
                </a:lnTo>
                <a:lnTo>
                  <a:pt x="1228" y="1603"/>
                </a:lnTo>
                <a:lnTo>
                  <a:pt x="1214" y="1604"/>
                </a:lnTo>
                <a:lnTo>
                  <a:pt x="1199" y="1604"/>
                </a:lnTo>
                <a:lnTo>
                  <a:pt x="1183" y="1601"/>
                </a:lnTo>
                <a:lnTo>
                  <a:pt x="820" y="1601"/>
                </a:lnTo>
                <a:lnTo>
                  <a:pt x="820" y="1578"/>
                </a:lnTo>
                <a:lnTo>
                  <a:pt x="807" y="1578"/>
                </a:lnTo>
                <a:lnTo>
                  <a:pt x="795" y="1579"/>
                </a:lnTo>
                <a:lnTo>
                  <a:pt x="782" y="1584"/>
                </a:lnTo>
                <a:lnTo>
                  <a:pt x="771" y="1588"/>
                </a:lnTo>
                <a:lnTo>
                  <a:pt x="765" y="1596"/>
                </a:lnTo>
                <a:lnTo>
                  <a:pt x="762" y="1608"/>
                </a:lnTo>
                <a:lnTo>
                  <a:pt x="761" y="1622"/>
                </a:lnTo>
                <a:lnTo>
                  <a:pt x="761" y="1629"/>
                </a:lnTo>
                <a:lnTo>
                  <a:pt x="760" y="1635"/>
                </a:lnTo>
                <a:lnTo>
                  <a:pt x="760" y="1641"/>
                </a:lnTo>
                <a:lnTo>
                  <a:pt x="760" y="1646"/>
                </a:lnTo>
                <a:lnTo>
                  <a:pt x="759" y="1651"/>
                </a:lnTo>
                <a:lnTo>
                  <a:pt x="2111" y="1651"/>
                </a:lnTo>
                <a:lnTo>
                  <a:pt x="2111" y="1987"/>
                </a:lnTo>
                <a:lnTo>
                  <a:pt x="1734" y="1987"/>
                </a:lnTo>
                <a:lnTo>
                  <a:pt x="1734" y="3411"/>
                </a:lnTo>
                <a:lnTo>
                  <a:pt x="1735" y="3404"/>
                </a:lnTo>
                <a:lnTo>
                  <a:pt x="1735" y="3397"/>
                </a:lnTo>
                <a:lnTo>
                  <a:pt x="1750" y="3302"/>
                </a:lnTo>
                <a:lnTo>
                  <a:pt x="1768" y="3208"/>
                </a:lnTo>
                <a:lnTo>
                  <a:pt x="1790" y="3118"/>
                </a:lnTo>
                <a:lnTo>
                  <a:pt x="1816" y="3029"/>
                </a:lnTo>
                <a:lnTo>
                  <a:pt x="1846" y="2943"/>
                </a:lnTo>
                <a:lnTo>
                  <a:pt x="1879" y="2859"/>
                </a:lnTo>
                <a:lnTo>
                  <a:pt x="1915" y="2779"/>
                </a:lnTo>
                <a:lnTo>
                  <a:pt x="1957" y="2701"/>
                </a:lnTo>
                <a:lnTo>
                  <a:pt x="2001" y="2627"/>
                </a:lnTo>
                <a:lnTo>
                  <a:pt x="2049" y="2555"/>
                </a:lnTo>
                <a:lnTo>
                  <a:pt x="2102" y="2488"/>
                </a:lnTo>
                <a:lnTo>
                  <a:pt x="2158" y="2422"/>
                </a:lnTo>
                <a:lnTo>
                  <a:pt x="2219" y="2361"/>
                </a:lnTo>
                <a:lnTo>
                  <a:pt x="2283" y="2303"/>
                </a:lnTo>
                <a:lnTo>
                  <a:pt x="2350" y="2250"/>
                </a:lnTo>
                <a:lnTo>
                  <a:pt x="2422" y="2199"/>
                </a:lnTo>
                <a:lnTo>
                  <a:pt x="2498" y="2152"/>
                </a:lnTo>
                <a:lnTo>
                  <a:pt x="2578" y="2111"/>
                </a:lnTo>
                <a:lnTo>
                  <a:pt x="2662" y="2072"/>
                </a:lnTo>
                <a:lnTo>
                  <a:pt x="2748" y="2039"/>
                </a:lnTo>
                <a:lnTo>
                  <a:pt x="2739" y="1935"/>
                </a:lnTo>
                <a:lnTo>
                  <a:pt x="2726" y="1832"/>
                </a:lnTo>
                <a:lnTo>
                  <a:pt x="2710" y="1729"/>
                </a:lnTo>
                <a:lnTo>
                  <a:pt x="2691" y="1626"/>
                </a:lnTo>
                <a:lnTo>
                  <a:pt x="2673" y="1522"/>
                </a:lnTo>
                <a:lnTo>
                  <a:pt x="2528" y="1545"/>
                </a:lnTo>
                <a:lnTo>
                  <a:pt x="2383" y="1562"/>
                </a:lnTo>
                <a:lnTo>
                  <a:pt x="2238" y="1576"/>
                </a:lnTo>
                <a:lnTo>
                  <a:pt x="2092" y="1585"/>
                </a:lnTo>
                <a:lnTo>
                  <a:pt x="1946" y="1587"/>
                </a:lnTo>
                <a:lnTo>
                  <a:pt x="1800" y="1584"/>
                </a:lnTo>
                <a:lnTo>
                  <a:pt x="1766" y="1580"/>
                </a:lnTo>
                <a:lnTo>
                  <a:pt x="1735" y="1571"/>
                </a:lnTo>
                <a:lnTo>
                  <a:pt x="1707" y="1557"/>
                </a:lnTo>
                <a:lnTo>
                  <a:pt x="1683" y="1541"/>
                </a:lnTo>
                <a:lnTo>
                  <a:pt x="1663" y="1522"/>
                </a:lnTo>
                <a:lnTo>
                  <a:pt x="1645" y="1499"/>
                </a:lnTo>
                <a:lnTo>
                  <a:pt x="1632" y="1474"/>
                </a:lnTo>
                <a:lnTo>
                  <a:pt x="1621" y="1449"/>
                </a:lnTo>
                <a:lnTo>
                  <a:pt x="1615" y="1421"/>
                </a:lnTo>
                <a:lnTo>
                  <a:pt x="1611" y="1392"/>
                </a:lnTo>
                <a:lnTo>
                  <a:pt x="1612" y="1365"/>
                </a:lnTo>
                <a:lnTo>
                  <a:pt x="1616" y="1338"/>
                </a:lnTo>
                <a:lnTo>
                  <a:pt x="1623" y="1310"/>
                </a:lnTo>
                <a:lnTo>
                  <a:pt x="1633" y="1285"/>
                </a:lnTo>
                <a:lnTo>
                  <a:pt x="1647" y="1262"/>
                </a:lnTo>
                <a:lnTo>
                  <a:pt x="1664" y="1241"/>
                </a:lnTo>
                <a:lnTo>
                  <a:pt x="1684" y="1223"/>
                </a:lnTo>
                <a:lnTo>
                  <a:pt x="1708" y="1208"/>
                </a:lnTo>
                <a:lnTo>
                  <a:pt x="1737" y="1198"/>
                </a:lnTo>
                <a:lnTo>
                  <a:pt x="1768" y="1192"/>
                </a:lnTo>
                <a:lnTo>
                  <a:pt x="1802" y="1191"/>
                </a:lnTo>
                <a:lnTo>
                  <a:pt x="1942" y="1195"/>
                </a:lnTo>
                <a:lnTo>
                  <a:pt x="2080" y="1192"/>
                </a:lnTo>
                <a:lnTo>
                  <a:pt x="2218" y="1184"/>
                </a:lnTo>
                <a:lnTo>
                  <a:pt x="2356" y="1172"/>
                </a:lnTo>
                <a:lnTo>
                  <a:pt x="2493" y="1154"/>
                </a:lnTo>
                <a:lnTo>
                  <a:pt x="2631" y="1133"/>
                </a:lnTo>
                <a:lnTo>
                  <a:pt x="2634" y="1086"/>
                </a:lnTo>
                <a:lnTo>
                  <a:pt x="2642" y="1042"/>
                </a:lnTo>
                <a:lnTo>
                  <a:pt x="2656" y="1002"/>
                </a:lnTo>
                <a:lnTo>
                  <a:pt x="2673" y="966"/>
                </a:lnTo>
                <a:lnTo>
                  <a:pt x="2694" y="932"/>
                </a:lnTo>
                <a:lnTo>
                  <a:pt x="2719" y="903"/>
                </a:lnTo>
                <a:lnTo>
                  <a:pt x="2746" y="878"/>
                </a:lnTo>
                <a:lnTo>
                  <a:pt x="2777" y="856"/>
                </a:lnTo>
                <a:lnTo>
                  <a:pt x="2810" y="836"/>
                </a:lnTo>
                <a:lnTo>
                  <a:pt x="2845" y="821"/>
                </a:lnTo>
                <a:lnTo>
                  <a:pt x="2881" y="810"/>
                </a:lnTo>
                <a:lnTo>
                  <a:pt x="2919" y="802"/>
                </a:lnTo>
                <a:lnTo>
                  <a:pt x="2958" y="797"/>
                </a:lnTo>
                <a:lnTo>
                  <a:pt x="2996" y="796"/>
                </a:lnTo>
                <a:close/>
                <a:moveTo>
                  <a:pt x="555" y="542"/>
                </a:moveTo>
                <a:lnTo>
                  <a:pt x="617" y="1423"/>
                </a:lnTo>
                <a:lnTo>
                  <a:pt x="453" y="1435"/>
                </a:lnTo>
                <a:lnTo>
                  <a:pt x="391" y="554"/>
                </a:lnTo>
                <a:lnTo>
                  <a:pt x="555" y="542"/>
                </a:lnTo>
                <a:close/>
                <a:moveTo>
                  <a:pt x="2782" y="0"/>
                </a:moveTo>
                <a:lnTo>
                  <a:pt x="2782" y="0"/>
                </a:lnTo>
                <a:lnTo>
                  <a:pt x="2834" y="3"/>
                </a:lnTo>
                <a:lnTo>
                  <a:pt x="2883" y="14"/>
                </a:lnTo>
                <a:lnTo>
                  <a:pt x="2930" y="31"/>
                </a:lnTo>
                <a:lnTo>
                  <a:pt x="2974" y="53"/>
                </a:lnTo>
                <a:lnTo>
                  <a:pt x="3015" y="80"/>
                </a:lnTo>
                <a:lnTo>
                  <a:pt x="3052" y="112"/>
                </a:lnTo>
                <a:lnTo>
                  <a:pt x="3084" y="149"/>
                </a:lnTo>
                <a:lnTo>
                  <a:pt x="3111" y="189"/>
                </a:lnTo>
                <a:lnTo>
                  <a:pt x="3133" y="233"/>
                </a:lnTo>
                <a:lnTo>
                  <a:pt x="3150" y="280"/>
                </a:lnTo>
                <a:lnTo>
                  <a:pt x="3159" y="329"/>
                </a:lnTo>
                <a:lnTo>
                  <a:pt x="3163" y="382"/>
                </a:lnTo>
                <a:lnTo>
                  <a:pt x="3159" y="434"/>
                </a:lnTo>
                <a:lnTo>
                  <a:pt x="3150" y="483"/>
                </a:lnTo>
                <a:lnTo>
                  <a:pt x="3133" y="530"/>
                </a:lnTo>
                <a:lnTo>
                  <a:pt x="3111" y="574"/>
                </a:lnTo>
                <a:lnTo>
                  <a:pt x="3084" y="614"/>
                </a:lnTo>
                <a:lnTo>
                  <a:pt x="3052" y="651"/>
                </a:lnTo>
                <a:lnTo>
                  <a:pt x="3015" y="684"/>
                </a:lnTo>
                <a:lnTo>
                  <a:pt x="2974" y="712"/>
                </a:lnTo>
                <a:lnTo>
                  <a:pt x="2930" y="733"/>
                </a:lnTo>
                <a:lnTo>
                  <a:pt x="2883" y="749"/>
                </a:lnTo>
                <a:lnTo>
                  <a:pt x="2834" y="760"/>
                </a:lnTo>
                <a:lnTo>
                  <a:pt x="2782" y="763"/>
                </a:lnTo>
                <a:lnTo>
                  <a:pt x="2730" y="760"/>
                </a:lnTo>
                <a:lnTo>
                  <a:pt x="2681" y="749"/>
                </a:lnTo>
                <a:lnTo>
                  <a:pt x="2634" y="733"/>
                </a:lnTo>
                <a:lnTo>
                  <a:pt x="2589" y="712"/>
                </a:lnTo>
                <a:lnTo>
                  <a:pt x="2549" y="684"/>
                </a:lnTo>
                <a:lnTo>
                  <a:pt x="2513" y="651"/>
                </a:lnTo>
                <a:lnTo>
                  <a:pt x="2480" y="614"/>
                </a:lnTo>
                <a:lnTo>
                  <a:pt x="2453" y="574"/>
                </a:lnTo>
                <a:lnTo>
                  <a:pt x="2430" y="530"/>
                </a:lnTo>
                <a:lnTo>
                  <a:pt x="2414" y="483"/>
                </a:lnTo>
                <a:lnTo>
                  <a:pt x="2404" y="434"/>
                </a:lnTo>
                <a:lnTo>
                  <a:pt x="2401" y="382"/>
                </a:lnTo>
                <a:lnTo>
                  <a:pt x="2404" y="329"/>
                </a:lnTo>
                <a:lnTo>
                  <a:pt x="2414" y="280"/>
                </a:lnTo>
                <a:lnTo>
                  <a:pt x="2430" y="233"/>
                </a:lnTo>
                <a:lnTo>
                  <a:pt x="2453" y="189"/>
                </a:lnTo>
                <a:lnTo>
                  <a:pt x="2480" y="149"/>
                </a:lnTo>
                <a:lnTo>
                  <a:pt x="2513" y="112"/>
                </a:lnTo>
                <a:lnTo>
                  <a:pt x="2549" y="80"/>
                </a:lnTo>
                <a:lnTo>
                  <a:pt x="2589" y="53"/>
                </a:lnTo>
                <a:lnTo>
                  <a:pt x="2634" y="31"/>
                </a:lnTo>
                <a:lnTo>
                  <a:pt x="2681" y="14"/>
                </a:lnTo>
                <a:lnTo>
                  <a:pt x="2730" y="3"/>
                </a:lnTo>
                <a:lnTo>
                  <a:pt x="2782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i="1" dirty="0">
              <a:latin typeface="+mj-lt"/>
            </a:endParaRP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21" t="2366" r="11721" b="5623"/>
          <a:stretch/>
        </p:blipFill>
        <p:spPr>
          <a:xfrm>
            <a:off x="3147651" y="1025211"/>
            <a:ext cx="1738302" cy="1738302"/>
          </a:xfrm>
          <a:prstGeom prst="ellipse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1963072" y="3591762"/>
            <a:ext cx="1293553" cy="1293553"/>
            <a:chOff x="1696500" y="2928236"/>
            <a:chExt cx="1375410" cy="1375410"/>
          </a:xfrm>
        </p:grpSpPr>
        <p:sp>
          <p:nvSpPr>
            <p:cNvPr id="56" name="Oval Callout 55"/>
            <p:cNvSpPr/>
            <p:nvPr/>
          </p:nvSpPr>
          <p:spPr bwMode="ltGray">
            <a:xfrm>
              <a:off x="1696500" y="2928236"/>
              <a:ext cx="1375410" cy="1375410"/>
            </a:xfrm>
            <a:prstGeom prst="wedgeEllipseCallout">
              <a:avLst>
                <a:gd name="adj1" fmla="val -32841"/>
                <a:gd name="adj2" fmla="val 52466"/>
              </a:avLst>
            </a:prstGeom>
            <a:solidFill>
              <a:schemeClr val="tx2">
                <a:lumMod val="20000"/>
                <a:lumOff val="8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1770046" y="3215831"/>
              <a:ext cx="1228318" cy="9490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-274320" algn="ctr"/>
              <a:r>
                <a:rPr lang="ru-RU" sz="900" b="1" i="1" dirty="0" smtClean="0">
                  <a:solidFill>
                    <a:srgbClr val="8A867A"/>
                  </a:solidFill>
                  <a:latin typeface="+mj-lt"/>
                </a:rPr>
                <a:t>Отток составляет </a:t>
              </a:r>
              <a:r>
                <a:rPr lang="ru-RU" sz="1400" b="1" i="1" dirty="0" smtClean="0">
                  <a:solidFill>
                    <a:srgbClr val="8A867A"/>
                  </a:solidFill>
                  <a:latin typeface="+mj-lt"/>
                </a:rPr>
                <a:t>60 %</a:t>
              </a:r>
              <a:r>
                <a:rPr lang="ru-RU" sz="1600" i="1" dirty="0" smtClean="0">
                  <a:latin typeface="+mj-lt"/>
                </a:rPr>
                <a:t> </a:t>
              </a:r>
              <a:r>
                <a:rPr sz="1600" i="1" dirty="0">
                  <a:latin typeface="+mj-lt"/>
                </a:rPr>
                <a:t/>
              </a:r>
              <a:br>
                <a:rPr sz="1600" i="1" dirty="0">
                  <a:latin typeface="+mj-lt"/>
                </a:rPr>
              </a:br>
              <a:r>
                <a:rPr lang="ru-RU" sz="900" b="1" i="1" dirty="0" smtClean="0">
                  <a:solidFill>
                    <a:srgbClr val="8A867A"/>
                  </a:solidFill>
                  <a:latin typeface="+mj-lt"/>
                </a:rPr>
                <a:t>от объема новых продаж</a:t>
              </a:r>
              <a:endParaRPr lang="ru-RU" sz="900" b="1" i="1" dirty="0">
                <a:solidFill>
                  <a:srgbClr val="8A867A"/>
                </a:solidFill>
                <a:latin typeface="+mj-lt"/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7482149" y="5234025"/>
            <a:ext cx="1213029" cy="438949"/>
            <a:chOff x="7217739" y="4941329"/>
            <a:chExt cx="1213029" cy="438949"/>
          </a:xfrm>
        </p:grpSpPr>
        <p:sp>
          <p:nvSpPr>
            <p:cNvPr id="85" name="Rectangle 84"/>
            <p:cNvSpPr/>
            <p:nvPr/>
          </p:nvSpPr>
          <p:spPr bwMode="ltGray">
            <a:xfrm rot="16200000">
              <a:off x="7604779" y="4554289"/>
              <a:ext cx="438949" cy="121302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lIns="36000" tIns="36000" rIns="36000" bIns="360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+mj-lt"/>
              </a:endParaRP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7729689" y="5080012"/>
              <a:ext cx="487313" cy="16158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50" i="1" dirty="0" smtClean="0">
                  <a:solidFill>
                    <a:schemeClr val="tx2">
                      <a:lumMod val="75000"/>
                    </a:schemeClr>
                  </a:solidFill>
                  <a:latin typeface="+mj-lt"/>
                </a:rPr>
                <a:t>Письмо</a:t>
              </a:r>
              <a:endParaRPr lang="ru-RU" sz="1200" i="1" dirty="0">
                <a:solidFill>
                  <a:schemeClr val="tx2">
                    <a:lumMod val="75000"/>
                  </a:schemeClr>
                </a:solidFill>
                <a:latin typeface="+mj-lt"/>
              </a:endParaRPr>
            </a:p>
          </p:txBody>
        </p:sp>
        <p:grpSp>
          <p:nvGrpSpPr>
            <p:cNvPr id="87" name="Group 247"/>
            <p:cNvGrpSpPr>
              <a:grpSpLocks/>
            </p:cNvGrpSpPr>
            <p:nvPr/>
          </p:nvGrpSpPr>
          <p:grpSpPr bwMode="auto">
            <a:xfrm>
              <a:off x="7297077" y="5020375"/>
              <a:ext cx="379435" cy="280856"/>
              <a:chOff x="2998" y="1680"/>
              <a:chExt cx="541" cy="401"/>
            </a:xfrm>
          </p:grpSpPr>
          <p:sp>
            <p:nvSpPr>
              <p:cNvPr id="88" name="Rectangle 248"/>
              <p:cNvSpPr>
                <a:spLocks noChangeArrowheads="1"/>
              </p:cNvSpPr>
              <p:nvPr/>
            </p:nvSpPr>
            <p:spPr bwMode="auto">
              <a:xfrm>
                <a:off x="2998" y="1680"/>
                <a:ext cx="541" cy="40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i="1" dirty="0">
                  <a:latin typeface="+mj-lt"/>
                </a:endParaRPr>
              </a:p>
            </p:txBody>
          </p:sp>
          <p:sp>
            <p:nvSpPr>
              <p:cNvPr id="89" name="Rectangle 249"/>
              <p:cNvSpPr>
                <a:spLocks noChangeArrowheads="1"/>
              </p:cNvSpPr>
              <p:nvPr/>
            </p:nvSpPr>
            <p:spPr bwMode="auto">
              <a:xfrm>
                <a:off x="3068" y="1854"/>
                <a:ext cx="284" cy="27"/>
              </a:xfrm>
              <a:prstGeom prst="rect">
                <a:avLst/>
              </a:prstGeom>
              <a:solidFill>
                <a:srgbClr val="8A867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i="1" dirty="0">
                  <a:latin typeface="+mj-lt"/>
                </a:endParaRPr>
              </a:p>
            </p:txBody>
          </p:sp>
          <p:sp>
            <p:nvSpPr>
              <p:cNvPr id="90" name="Rectangle 250"/>
              <p:cNvSpPr>
                <a:spLocks noChangeArrowheads="1"/>
              </p:cNvSpPr>
              <p:nvPr/>
            </p:nvSpPr>
            <p:spPr bwMode="auto">
              <a:xfrm>
                <a:off x="3435" y="1706"/>
                <a:ext cx="83" cy="111"/>
              </a:xfrm>
              <a:prstGeom prst="rect">
                <a:avLst/>
              </a:prstGeom>
              <a:solidFill>
                <a:srgbClr val="8A867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i="1" dirty="0">
                  <a:latin typeface="+mj-lt"/>
                </a:endParaRPr>
              </a:p>
            </p:txBody>
          </p:sp>
          <p:sp>
            <p:nvSpPr>
              <p:cNvPr id="91" name="Rectangle 251"/>
              <p:cNvSpPr>
                <a:spLocks noChangeArrowheads="1"/>
              </p:cNvSpPr>
              <p:nvPr/>
            </p:nvSpPr>
            <p:spPr bwMode="auto">
              <a:xfrm>
                <a:off x="3068" y="1904"/>
                <a:ext cx="284" cy="27"/>
              </a:xfrm>
              <a:prstGeom prst="rect">
                <a:avLst/>
              </a:prstGeom>
              <a:solidFill>
                <a:srgbClr val="8A867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i="1" dirty="0">
                  <a:latin typeface="+mj-lt"/>
                </a:endParaRPr>
              </a:p>
            </p:txBody>
          </p:sp>
          <p:sp>
            <p:nvSpPr>
              <p:cNvPr id="92" name="Rectangle 252"/>
              <p:cNvSpPr>
                <a:spLocks noChangeArrowheads="1"/>
              </p:cNvSpPr>
              <p:nvPr/>
            </p:nvSpPr>
            <p:spPr bwMode="auto">
              <a:xfrm>
                <a:off x="3068" y="1954"/>
                <a:ext cx="284" cy="27"/>
              </a:xfrm>
              <a:prstGeom prst="rect">
                <a:avLst/>
              </a:prstGeom>
              <a:solidFill>
                <a:srgbClr val="8A867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i="1" dirty="0">
                  <a:latin typeface="+mj-lt"/>
                </a:endParaRPr>
              </a:p>
            </p:txBody>
          </p:sp>
        </p:grpSp>
      </p:grpSp>
      <p:sp>
        <p:nvSpPr>
          <p:cNvPr id="3" name="Rectangle 2"/>
          <p:cNvSpPr/>
          <p:nvPr/>
        </p:nvSpPr>
        <p:spPr bwMode="ltGray">
          <a:xfrm>
            <a:off x="5308600" y="3603425"/>
            <a:ext cx="789194" cy="43070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</a:rPr>
              <a:t>лояльный</a:t>
            </a:r>
          </a:p>
        </p:txBody>
      </p:sp>
      <p:sp>
        <p:nvSpPr>
          <p:cNvPr id="101" name="Rectangle 100"/>
          <p:cNvSpPr/>
          <p:nvPr/>
        </p:nvSpPr>
        <p:spPr bwMode="ltGray">
          <a:xfrm>
            <a:off x="6174395" y="3603425"/>
            <a:ext cx="789194" cy="43070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</a:rPr>
              <a:t>дисконт</a:t>
            </a:r>
          </a:p>
        </p:txBody>
      </p:sp>
      <p:sp>
        <p:nvSpPr>
          <p:cNvPr id="102" name="Rectangle 101"/>
          <p:cNvSpPr/>
          <p:nvPr/>
        </p:nvSpPr>
        <p:spPr bwMode="ltGray">
          <a:xfrm>
            <a:off x="7040189" y="3603425"/>
            <a:ext cx="827791" cy="43070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</a:rPr>
              <a:t>спонтанный</a:t>
            </a:r>
          </a:p>
        </p:txBody>
      </p:sp>
      <p:sp>
        <p:nvSpPr>
          <p:cNvPr id="103" name="Rectangle 102"/>
          <p:cNvSpPr/>
          <p:nvPr/>
        </p:nvSpPr>
        <p:spPr bwMode="ltGray">
          <a:xfrm>
            <a:off x="7905984" y="3603425"/>
            <a:ext cx="789194" cy="43070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</a:rPr>
              <a:t>уходящий</a:t>
            </a:r>
          </a:p>
        </p:txBody>
      </p:sp>
      <p:grpSp>
        <p:nvGrpSpPr>
          <p:cNvPr id="61" name="Group 60"/>
          <p:cNvGrpSpPr/>
          <p:nvPr/>
        </p:nvGrpSpPr>
        <p:grpSpPr>
          <a:xfrm>
            <a:off x="5477803" y="2503606"/>
            <a:ext cx="450790" cy="1160540"/>
            <a:chOff x="1817688" y="465138"/>
            <a:chExt cx="298450" cy="768350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80" name="Freeform 18"/>
            <p:cNvSpPr>
              <a:spLocks/>
            </p:cNvSpPr>
            <p:nvPr/>
          </p:nvSpPr>
          <p:spPr bwMode="auto">
            <a:xfrm>
              <a:off x="1903413" y="465138"/>
              <a:ext cx="127000" cy="127000"/>
            </a:xfrm>
            <a:custGeom>
              <a:avLst/>
              <a:gdLst>
                <a:gd name="T0" fmla="*/ 40 w 80"/>
                <a:gd name="T1" fmla="*/ 80 h 80"/>
                <a:gd name="T2" fmla="*/ 40 w 80"/>
                <a:gd name="T3" fmla="*/ 80 h 80"/>
                <a:gd name="T4" fmla="*/ 48 w 80"/>
                <a:gd name="T5" fmla="*/ 78 h 80"/>
                <a:gd name="T6" fmla="*/ 56 w 80"/>
                <a:gd name="T7" fmla="*/ 76 h 80"/>
                <a:gd name="T8" fmla="*/ 62 w 80"/>
                <a:gd name="T9" fmla="*/ 72 h 80"/>
                <a:gd name="T10" fmla="*/ 68 w 80"/>
                <a:gd name="T11" fmla="*/ 68 h 80"/>
                <a:gd name="T12" fmla="*/ 72 w 80"/>
                <a:gd name="T13" fmla="*/ 62 h 80"/>
                <a:gd name="T14" fmla="*/ 76 w 80"/>
                <a:gd name="T15" fmla="*/ 56 h 80"/>
                <a:gd name="T16" fmla="*/ 78 w 80"/>
                <a:gd name="T17" fmla="*/ 48 h 80"/>
                <a:gd name="T18" fmla="*/ 80 w 80"/>
                <a:gd name="T19" fmla="*/ 40 h 80"/>
                <a:gd name="T20" fmla="*/ 80 w 80"/>
                <a:gd name="T21" fmla="*/ 40 h 80"/>
                <a:gd name="T22" fmla="*/ 78 w 80"/>
                <a:gd name="T23" fmla="*/ 32 h 80"/>
                <a:gd name="T24" fmla="*/ 76 w 80"/>
                <a:gd name="T25" fmla="*/ 24 h 80"/>
                <a:gd name="T26" fmla="*/ 72 w 80"/>
                <a:gd name="T27" fmla="*/ 18 h 80"/>
                <a:gd name="T28" fmla="*/ 68 w 80"/>
                <a:gd name="T29" fmla="*/ 12 h 80"/>
                <a:gd name="T30" fmla="*/ 62 w 80"/>
                <a:gd name="T31" fmla="*/ 6 h 80"/>
                <a:gd name="T32" fmla="*/ 56 w 80"/>
                <a:gd name="T33" fmla="*/ 2 h 80"/>
                <a:gd name="T34" fmla="*/ 48 w 80"/>
                <a:gd name="T35" fmla="*/ 0 h 80"/>
                <a:gd name="T36" fmla="*/ 40 w 80"/>
                <a:gd name="T37" fmla="*/ 0 h 80"/>
                <a:gd name="T38" fmla="*/ 40 w 80"/>
                <a:gd name="T39" fmla="*/ 0 h 80"/>
                <a:gd name="T40" fmla="*/ 32 w 80"/>
                <a:gd name="T41" fmla="*/ 0 h 80"/>
                <a:gd name="T42" fmla="*/ 24 w 80"/>
                <a:gd name="T43" fmla="*/ 2 h 80"/>
                <a:gd name="T44" fmla="*/ 16 w 80"/>
                <a:gd name="T45" fmla="*/ 6 h 80"/>
                <a:gd name="T46" fmla="*/ 12 w 80"/>
                <a:gd name="T47" fmla="*/ 12 h 80"/>
                <a:gd name="T48" fmla="*/ 6 w 80"/>
                <a:gd name="T49" fmla="*/ 18 h 80"/>
                <a:gd name="T50" fmla="*/ 2 w 80"/>
                <a:gd name="T51" fmla="*/ 24 h 80"/>
                <a:gd name="T52" fmla="*/ 0 w 80"/>
                <a:gd name="T53" fmla="*/ 32 h 80"/>
                <a:gd name="T54" fmla="*/ 0 w 80"/>
                <a:gd name="T55" fmla="*/ 40 h 80"/>
                <a:gd name="T56" fmla="*/ 0 w 80"/>
                <a:gd name="T57" fmla="*/ 40 h 80"/>
                <a:gd name="T58" fmla="*/ 0 w 80"/>
                <a:gd name="T59" fmla="*/ 48 h 80"/>
                <a:gd name="T60" fmla="*/ 2 w 80"/>
                <a:gd name="T61" fmla="*/ 56 h 80"/>
                <a:gd name="T62" fmla="*/ 6 w 80"/>
                <a:gd name="T63" fmla="*/ 62 h 80"/>
                <a:gd name="T64" fmla="*/ 12 w 80"/>
                <a:gd name="T65" fmla="*/ 68 h 80"/>
                <a:gd name="T66" fmla="*/ 16 w 80"/>
                <a:gd name="T67" fmla="*/ 72 h 80"/>
                <a:gd name="T68" fmla="*/ 24 w 80"/>
                <a:gd name="T69" fmla="*/ 76 h 80"/>
                <a:gd name="T70" fmla="*/ 32 w 80"/>
                <a:gd name="T71" fmla="*/ 78 h 80"/>
                <a:gd name="T72" fmla="*/ 40 w 80"/>
                <a:gd name="T73" fmla="*/ 80 h 80"/>
                <a:gd name="T74" fmla="*/ 40 w 80"/>
                <a:gd name="T7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0" h="80">
                  <a:moveTo>
                    <a:pt x="40" y="80"/>
                  </a:moveTo>
                  <a:lnTo>
                    <a:pt x="40" y="80"/>
                  </a:lnTo>
                  <a:lnTo>
                    <a:pt x="48" y="78"/>
                  </a:lnTo>
                  <a:lnTo>
                    <a:pt x="56" y="76"/>
                  </a:lnTo>
                  <a:lnTo>
                    <a:pt x="62" y="72"/>
                  </a:lnTo>
                  <a:lnTo>
                    <a:pt x="68" y="68"/>
                  </a:lnTo>
                  <a:lnTo>
                    <a:pt x="72" y="62"/>
                  </a:lnTo>
                  <a:lnTo>
                    <a:pt x="76" y="56"/>
                  </a:lnTo>
                  <a:lnTo>
                    <a:pt x="78" y="48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8" y="32"/>
                  </a:lnTo>
                  <a:lnTo>
                    <a:pt x="76" y="24"/>
                  </a:lnTo>
                  <a:lnTo>
                    <a:pt x="72" y="18"/>
                  </a:lnTo>
                  <a:lnTo>
                    <a:pt x="68" y="12"/>
                  </a:lnTo>
                  <a:lnTo>
                    <a:pt x="62" y="6"/>
                  </a:lnTo>
                  <a:lnTo>
                    <a:pt x="56" y="2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0"/>
                  </a:lnTo>
                  <a:lnTo>
                    <a:pt x="24" y="2"/>
                  </a:lnTo>
                  <a:lnTo>
                    <a:pt x="16" y="6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2" y="24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2" y="56"/>
                  </a:lnTo>
                  <a:lnTo>
                    <a:pt x="6" y="62"/>
                  </a:lnTo>
                  <a:lnTo>
                    <a:pt x="12" y="68"/>
                  </a:lnTo>
                  <a:lnTo>
                    <a:pt x="16" y="72"/>
                  </a:lnTo>
                  <a:lnTo>
                    <a:pt x="24" y="76"/>
                  </a:lnTo>
                  <a:lnTo>
                    <a:pt x="32" y="78"/>
                  </a:lnTo>
                  <a:lnTo>
                    <a:pt x="40" y="80"/>
                  </a:lnTo>
                  <a:lnTo>
                    <a:pt x="4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  <p:sp>
          <p:nvSpPr>
            <p:cNvPr id="81" name="Line 19"/>
            <p:cNvSpPr>
              <a:spLocks noChangeShapeType="1"/>
            </p:cNvSpPr>
            <p:nvPr/>
          </p:nvSpPr>
          <p:spPr bwMode="auto">
            <a:xfrm>
              <a:off x="1966913" y="5286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  <p:sp>
          <p:nvSpPr>
            <p:cNvPr id="82" name="Line 20"/>
            <p:cNvSpPr>
              <a:spLocks noChangeShapeType="1"/>
            </p:cNvSpPr>
            <p:nvPr/>
          </p:nvSpPr>
          <p:spPr bwMode="auto">
            <a:xfrm>
              <a:off x="1966913" y="5286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  <p:sp>
          <p:nvSpPr>
            <p:cNvPr id="83" name="Freeform 21"/>
            <p:cNvSpPr>
              <a:spLocks/>
            </p:cNvSpPr>
            <p:nvPr/>
          </p:nvSpPr>
          <p:spPr bwMode="auto">
            <a:xfrm>
              <a:off x="1817688" y="604838"/>
              <a:ext cx="298450" cy="628650"/>
            </a:xfrm>
            <a:custGeom>
              <a:avLst/>
              <a:gdLst>
                <a:gd name="T0" fmla="*/ 50 w 188"/>
                <a:gd name="T1" fmla="*/ 0 h 396"/>
                <a:gd name="T2" fmla="*/ 30 w 188"/>
                <a:gd name="T3" fmla="*/ 4 h 396"/>
                <a:gd name="T4" fmla="*/ 14 w 188"/>
                <a:gd name="T5" fmla="*/ 16 h 396"/>
                <a:gd name="T6" fmla="*/ 4 w 188"/>
                <a:gd name="T7" fmla="*/ 32 h 396"/>
                <a:gd name="T8" fmla="*/ 0 w 188"/>
                <a:gd name="T9" fmla="*/ 52 h 396"/>
                <a:gd name="T10" fmla="*/ 0 w 188"/>
                <a:gd name="T11" fmla="*/ 176 h 396"/>
                <a:gd name="T12" fmla="*/ 4 w 188"/>
                <a:gd name="T13" fmla="*/ 190 h 396"/>
                <a:gd name="T14" fmla="*/ 16 w 188"/>
                <a:gd name="T15" fmla="*/ 194 h 396"/>
                <a:gd name="T16" fmla="*/ 28 w 188"/>
                <a:gd name="T17" fmla="*/ 190 h 396"/>
                <a:gd name="T18" fmla="*/ 34 w 188"/>
                <a:gd name="T19" fmla="*/ 176 h 396"/>
                <a:gd name="T20" fmla="*/ 42 w 188"/>
                <a:gd name="T21" fmla="*/ 64 h 396"/>
                <a:gd name="T22" fmla="*/ 42 w 188"/>
                <a:gd name="T23" fmla="*/ 372 h 396"/>
                <a:gd name="T24" fmla="*/ 50 w 188"/>
                <a:gd name="T25" fmla="*/ 390 h 396"/>
                <a:gd name="T26" fmla="*/ 66 w 188"/>
                <a:gd name="T27" fmla="*/ 396 h 396"/>
                <a:gd name="T28" fmla="*/ 82 w 188"/>
                <a:gd name="T29" fmla="*/ 388 h 396"/>
                <a:gd name="T30" fmla="*/ 90 w 188"/>
                <a:gd name="T31" fmla="*/ 372 h 396"/>
                <a:gd name="T32" fmla="*/ 98 w 188"/>
                <a:gd name="T33" fmla="*/ 192 h 396"/>
                <a:gd name="T34" fmla="*/ 98 w 188"/>
                <a:gd name="T35" fmla="*/ 372 h 396"/>
                <a:gd name="T36" fmla="*/ 104 w 188"/>
                <a:gd name="T37" fmla="*/ 388 h 396"/>
                <a:gd name="T38" fmla="*/ 120 w 188"/>
                <a:gd name="T39" fmla="*/ 396 h 396"/>
                <a:gd name="T40" fmla="*/ 136 w 188"/>
                <a:gd name="T41" fmla="*/ 390 h 396"/>
                <a:gd name="T42" fmla="*/ 144 w 188"/>
                <a:gd name="T43" fmla="*/ 372 h 396"/>
                <a:gd name="T44" fmla="*/ 152 w 188"/>
                <a:gd name="T45" fmla="*/ 64 h 396"/>
                <a:gd name="T46" fmla="*/ 152 w 188"/>
                <a:gd name="T47" fmla="*/ 176 h 396"/>
                <a:gd name="T48" fmla="*/ 158 w 188"/>
                <a:gd name="T49" fmla="*/ 190 h 396"/>
                <a:gd name="T50" fmla="*/ 170 w 188"/>
                <a:gd name="T51" fmla="*/ 194 h 396"/>
                <a:gd name="T52" fmla="*/ 182 w 188"/>
                <a:gd name="T53" fmla="*/ 190 h 396"/>
                <a:gd name="T54" fmla="*/ 188 w 188"/>
                <a:gd name="T55" fmla="*/ 176 h 396"/>
                <a:gd name="T56" fmla="*/ 188 w 188"/>
                <a:gd name="T57" fmla="*/ 54 h 396"/>
                <a:gd name="T58" fmla="*/ 184 w 188"/>
                <a:gd name="T59" fmla="*/ 34 h 396"/>
                <a:gd name="T60" fmla="*/ 172 w 188"/>
                <a:gd name="T61" fmla="*/ 18 h 396"/>
                <a:gd name="T62" fmla="*/ 156 w 188"/>
                <a:gd name="T63" fmla="*/ 6 h 396"/>
                <a:gd name="T64" fmla="*/ 136 w 188"/>
                <a:gd name="T65" fmla="*/ 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8" h="396">
                  <a:moveTo>
                    <a:pt x="50" y="0"/>
                  </a:moveTo>
                  <a:lnTo>
                    <a:pt x="50" y="0"/>
                  </a:lnTo>
                  <a:lnTo>
                    <a:pt x="40" y="2"/>
                  </a:lnTo>
                  <a:lnTo>
                    <a:pt x="30" y="4"/>
                  </a:lnTo>
                  <a:lnTo>
                    <a:pt x="22" y="10"/>
                  </a:lnTo>
                  <a:lnTo>
                    <a:pt x="14" y="16"/>
                  </a:lnTo>
                  <a:lnTo>
                    <a:pt x="8" y="24"/>
                  </a:lnTo>
                  <a:lnTo>
                    <a:pt x="4" y="32"/>
                  </a:lnTo>
                  <a:lnTo>
                    <a:pt x="0" y="42"/>
                  </a:lnTo>
                  <a:lnTo>
                    <a:pt x="0" y="52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0" y="184"/>
                  </a:lnTo>
                  <a:lnTo>
                    <a:pt x="4" y="190"/>
                  </a:lnTo>
                  <a:lnTo>
                    <a:pt x="10" y="192"/>
                  </a:lnTo>
                  <a:lnTo>
                    <a:pt x="16" y="194"/>
                  </a:lnTo>
                  <a:lnTo>
                    <a:pt x="24" y="192"/>
                  </a:lnTo>
                  <a:lnTo>
                    <a:pt x="28" y="190"/>
                  </a:lnTo>
                  <a:lnTo>
                    <a:pt x="32" y="184"/>
                  </a:lnTo>
                  <a:lnTo>
                    <a:pt x="34" y="176"/>
                  </a:lnTo>
                  <a:lnTo>
                    <a:pt x="34" y="64"/>
                  </a:lnTo>
                  <a:lnTo>
                    <a:pt x="42" y="64"/>
                  </a:lnTo>
                  <a:lnTo>
                    <a:pt x="42" y="372"/>
                  </a:lnTo>
                  <a:lnTo>
                    <a:pt x="42" y="372"/>
                  </a:lnTo>
                  <a:lnTo>
                    <a:pt x="44" y="382"/>
                  </a:lnTo>
                  <a:lnTo>
                    <a:pt x="50" y="390"/>
                  </a:lnTo>
                  <a:lnTo>
                    <a:pt x="58" y="394"/>
                  </a:lnTo>
                  <a:lnTo>
                    <a:pt x="66" y="396"/>
                  </a:lnTo>
                  <a:lnTo>
                    <a:pt x="74" y="394"/>
                  </a:lnTo>
                  <a:lnTo>
                    <a:pt x="82" y="388"/>
                  </a:lnTo>
                  <a:lnTo>
                    <a:pt x="88" y="382"/>
                  </a:lnTo>
                  <a:lnTo>
                    <a:pt x="90" y="372"/>
                  </a:lnTo>
                  <a:lnTo>
                    <a:pt x="90" y="192"/>
                  </a:lnTo>
                  <a:lnTo>
                    <a:pt x="98" y="192"/>
                  </a:lnTo>
                  <a:lnTo>
                    <a:pt x="98" y="372"/>
                  </a:lnTo>
                  <a:lnTo>
                    <a:pt x="98" y="372"/>
                  </a:lnTo>
                  <a:lnTo>
                    <a:pt x="100" y="382"/>
                  </a:lnTo>
                  <a:lnTo>
                    <a:pt x="104" y="388"/>
                  </a:lnTo>
                  <a:lnTo>
                    <a:pt x="112" y="394"/>
                  </a:lnTo>
                  <a:lnTo>
                    <a:pt x="120" y="396"/>
                  </a:lnTo>
                  <a:lnTo>
                    <a:pt x="130" y="394"/>
                  </a:lnTo>
                  <a:lnTo>
                    <a:pt x="136" y="390"/>
                  </a:lnTo>
                  <a:lnTo>
                    <a:pt x="142" y="382"/>
                  </a:lnTo>
                  <a:lnTo>
                    <a:pt x="144" y="372"/>
                  </a:lnTo>
                  <a:lnTo>
                    <a:pt x="144" y="64"/>
                  </a:lnTo>
                  <a:lnTo>
                    <a:pt x="152" y="64"/>
                  </a:lnTo>
                  <a:lnTo>
                    <a:pt x="152" y="176"/>
                  </a:lnTo>
                  <a:lnTo>
                    <a:pt x="152" y="176"/>
                  </a:lnTo>
                  <a:lnTo>
                    <a:pt x="154" y="184"/>
                  </a:lnTo>
                  <a:lnTo>
                    <a:pt x="158" y="190"/>
                  </a:lnTo>
                  <a:lnTo>
                    <a:pt x="164" y="192"/>
                  </a:lnTo>
                  <a:lnTo>
                    <a:pt x="170" y="194"/>
                  </a:lnTo>
                  <a:lnTo>
                    <a:pt x="176" y="192"/>
                  </a:lnTo>
                  <a:lnTo>
                    <a:pt x="182" y="190"/>
                  </a:lnTo>
                  <a:lnTo>
                    <a:pt x="186" y="184"/>
                  </a:lnTo>
                  <a:lnTo>
                    <a:pt x="188" y="176"/>
                  </a:lnTo>
                  <a:lnTo>
                    <a:pt x="188" y="54"/>
                  </a:lnTo>
                  <a:lnTo>
                    <a:pt x="188" y="54"/>
                  </a:lnTo>
                  <a:lnTo>
                    <a:pt x="186" y="44"/>
                  </a:lnTo>
                  <a:lnTo>
                    <a:pt x="184" y="34"/>
                  </a:lnTo>
                  <a:lnTo>
                    <a:pt x="178" y="24"/>
                  </a:lnTo>
                  <a:lnTo>
                    <a:pt x="172" y="18"/>
                  </a:lnTo>
                  <a:lnTo>
                    <a:pt x="166" y="10"/>
                  </a:lnTo>
                  <a:lnTo>
                    <a:pt x="156" y="6"/>
                  </a:lnTo>
                  <a:lnTo>
                    <a:pt x="146" y="2"/>
                  </a:lnTo>
                  <a:lnTo>
                    <a:pt x="136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6343598" y="2503606"/>
            <a:ext cx="450790" cy="1160540"/>
            <a:chOff x="1817688" y="465138"/>
            <a:chExt cx="298450" cy="768350"/>
          </a:xfrm>
          <a:solidFill>
            <a:schemeClr val="bg1"/>
          </a:solidFill>
        </p:grpSpPr>
        <p:sp>
          <p:nvSpPr>
            <p:cNvPr id="76" name="Freeform 18"/>
            <p:cNvSpPr>
              <a:spLocks/>
            </p:cNvSpPr>
            <p:nvPr/>
          </p:nvSpPr>
          <p:spPr bwMode="auto">
            <a:xfrm>
              <a:off x="1903413" y="465138"/>
              <a:ext cx="127000" cy="127000"/>
            </a:xfrm>
            <a:custGeom>
              <a:avLst/>
              <a:gdLst>
                <a:gd name="T0" fmla="*/ 40 w 80"/>
                <a:gd name="T1" fmla="*/ 80 h 80"/>
                <a:gd name="T2" fmla="*/ 40 w 80"/>
                <a:gd name="T3" fmla="*/ 80 h 80"/>
                <a:gd name="T4" fmla="*/ 48 w 80"/>
                <a:gd name="T5" fmla="*/ 78 h 80"/>
                <a:gd name="T6" fmla="*/ 56 w 80"/>
                <a:gd name="T7" fmla="*/ 76 h 80"/>
                <a:gd name="T8" fmla="*/ 62 w 80"/>
                <a:gd name="T9" fmla="*/ 72 h 80"/>
                <a:gd name="T10" fmla="*/ 68 w 80"/>
                <a:gd name="T11" fmla="*/ 68 h 80"/>
                <a:gd name="T12" fmla="*/ 72 w 80"/>
                <a:gd name="T13" fmla="*/ 62 h 80"/>
                <a:gd name="T14" fmla="*/ 76 w 80"/>
                <a:gd name="T15" fmla="*/ 56 h 80"/>
                <a:gd name="T16" fmla="*/ 78 w 80"/>
                <a:gd name="T17" fmla="*/ 48 h 80"/>
                <a:gd name="T18" fmla="*/ 80 w 80"/>
                <a:gd name="T19" fmla="*/ 40 h 80"/>
                <a:gd name="T20" fmla="*/ 80 w 80"/>
                <a:gd name="T21" fmla="*/ 40 h 80"/>
                <a:gd name="T22" fmla="*/ 78 w 80"/>
                <a:gd name="T23" fmla="*/ 32 h 80"/>
                <a:gd name="T24" fmla="*/ 76 w 80"/>
                <a:gd name="T25" fmla="*/ 24 h 80"/>
                <a:gd name="T26" fmla="*/ 72 w 80"/>
                <a:gd name="T27" fmla="*/ 18 h 80"/>
                <a:gd name="T28" fmla="*/ 68 w 80"/>
                <a:gd name="T29" fmla="*/ 12 h 80"/>
                <a:gd name="T30" fmla="*/ 62 w 80"/>
                <a:gd name="T31" fmla="*/ 6 h 80"/>
                <a:gd name="T32" fmla="*/ 56 w 80"/>
                <a:gd name="T33" fmla="*/ 2 h 80"/>
                <a:gd name="T34" fmla="*/ 48 w 80"/>
                <a:gd name="T35" fmla="*/ 0 h 80"/>
                <a:gd name="T36" fmla="*/ 40 w 80"/>
                <a:gd name="T37" fmla="*/ 0 h 80"/>
                <a:gd name="T38" fmla="*/ 40 w 80"/>
                <a:gd name="T39" fmla="*/ 0 h 80"/>
                <a:gd name="T40" fmla="*/ 32 w 80"/>
                <a:gd name="T41" fmla="*/ 0 h 80"/>
                <a:gd name="T42" fmla="*/ 24 w 80"/>
                <a:gd name="T43" fmla="*/ 2 h 80"/>
                <a:gd name="T44" fmla="*/ 16 w 80"/>
                <a:gd name="T45" fmla="*/ 6 h 80"/>
                <a:gd name="T46" fmla="*/ 12 w 80"/>
                <a:gd name="T47" fmla="*/ 12 h 80"/>
                <a:gd name="T48" fmla="*/ 6 w 80"/>
                <a:gd name="T49" fmla="*/ 18 h 80"/>
                <a:gd name="T50" fmla="*/ 2 w 80"/>
                <a:gd name="T51" fmla="*/ 24 h 80"/>
                <a:gd name="T52" fmla="*/ 0 w 80"/>
                <a:gd name="T53" fmla="*/ 32 h 80"/>
                <a:gd name="T54" fmla="*/ 0 w 80"/>
                <a:gd name="T55" fmla="*/ 40 h 80"/>
                <a:gd name="T56" fmla="*/ 0 w 80"/>
                <a:gd name="T57" fmla="*/ 40 h 80"/>
                <a:gd name="T58" fmla="*/ 0 w 80"/>
                <a:gd name="T59" fmla="*/ 48 h 80"/>
                <a:gd name="T60" fmla="*/ 2 w 80"/>
                <a:gd name="T61" fmla="*/ 56 h 80"/>
                <a:gd name="T62" fmla="*/ 6 w 80"/>
                <a:gd name="T63" fmla="*/ 62 h 80"/>
                <a:gd name="T64" fmla="*/ 12 w 80"/>
                <a:gd name="T65" fmla="*/ 68 h 80"/>
                <a:gd name="T66" fmla="*/ 16 w 80"/>
                <a:gd name="T67" fmla="*/ 72 h 80"/>
                <a:gd name="T68" fmla="*/ 24 w 80"/>
                <a:gd name="T69" fmla="*/ 76 h 80"/>
                <a:gd name="T70" fmla="*/ 32 w 80"/>
                <a:gd name="T71" fmla="*/ 78 h 80"/>
                <a:gd name="T72" fmla="*/ 40 w 80"/>
                <a:gd name="T73" fmla="*/ 80 h 80"/>
                <a:gd name="T74" fmla="*/ 40 w 80"/>
                <a:gd name="T7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0" h="80">
                  <a:moveTo>
                    <a:pt x="40" y="80"/>
                  </a:moveTo>
                  <a:lnTo>
                    <a:pt x="40" y="80"/>
                  </a:lnTo>
                  <a:lnTo>
                    <a:pt x="48" y="78"/>
                  </a:lnTo>
                  <a:lnTo>
                    <a:pt x="56" y="76"/>
                  </a:lnTo>
                  <a:lnTo>
                    <a:pt x="62" y="72"/>
                  </a:lnTo>
                  <a:lnTo>
                    <a:pt x="68" y="68"/>
                  </a:lnTo>
                  <a:lnTo>
                    <a:pt x="72" y="62"/>
                  </a:lnTo>
                  <a:lnTo>
                    <a:pt x="76" y="56"/>
                  </a:lnTo>
                  <a:lnTo>
                    <a:pt x="78" y="48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8" y="32"/>
                  </a:lnTo>
                  <a:lnTo>
                    <a:pt x="76" y="24"/>
                  </a:lnTo>
                  <a:lnTo>
                    <a:pt x="72" y="18"/>
                  </a:lnTo>
                  <a:lnTo>
                    <a:pt x="68" y="12"/>
                  </a:lnTo>
                  <a:lnTo>
                    <a:pt x="62" y="6"/>
                  </a:lnTo>
                  <a:lnTo>
                    <a:pt x="56" y="2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0"/>
                  </a:lnTo>
                  <a:lnTo>
                    <a:pt x="24" y="2"/>
                  </a:lnTo>
                  <a:lnTo>
                    <a:pt x="16" y="6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2" y="24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2" y="56"/>
                  </a:lnTo>
                  <a:lnTo>
                    <a:pt x="6" y="62"/>
                  </a:lnTo>
                  <a:lnTo>
                    <a:pt x="12" y="68"/>
                  </a:lnTo>
                  <a:lnTo>
                    <a:pt x="16" y="72"/>
                  </a:lnTo>
                  <a:lnTo>
                    <a:pt x="24" y="76"/>
                  </a:lnTo>
                  <a:lnTo>
                    <a:pt x="32" y="78"/>
                  </a:lnTo>
                  <a:lnTo>
                    <a:pt x="40" y="80"/>
                  </a:lnTo>
                  <a:lnTo>
                    <a:pt x="40" y="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  <p:sp>
          <p:nvSpPr>
            <p:cNvPr id="77" name="Line 19"/>
            <p:cNvSpPr>
              <a:spLocks noChangeShapeType="1"/>
            </p:cNvSpPr>
            <p:nvPr/>
          </p:nvSpPr>
          <p:spPr bwMode="auto">
            <a:xfrm>
              <a:off x="1966913" y="5286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  <p:sp>
          <p:nvSpPr>
            <p:cNvPr id="78" name="Line 20"/>
            <p:cNvSpPr>
              <a:spLocks noChangeShapeType="1"/>
            </p:cNvSpPr>
            <p:nvPr/>
          </p:nvSpPr>
          <p:spPr bwMode="auto">
            <a:xfrm>
              <a:off x="1966913" y="5286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  <p:sp>
          <p:nvSpPr>
            <p:cNvPr id="79" name="Freeform 21"/>
            <p:cNvSpPr>
              <a:spLocks/>
            </p:cNvSpPr>
            <p:nvPr/>
          </p:nvSpPr>
          <p:spPr bwMode="auto">
            <a:xfrm>
              <a:off x="1817688" y="604838"/>
              <a:ext cx="298450" cy="628650"/>
            </a:xfrm>
            <a:custGeom>
              <a:avLst/>
              <a:gdLst>
                <a:gd name="T0" fmla="*/ 50 w 188"/>
                <a:gd name="T1" fmla="*/ 0 h 396"/>
                <a:gd name="T2" fmla="*/ 30 w 188"/>
                <a:gd name="T3" fmla="*/ 4 h 396"/>
                <a:gd name="T4" fmla="*/ 14 w 188"/>
                <a:gd name="T5" fmla="*/ 16 h 396"/>
                <a:gd name="T6" fmla="*/ 4 w 188"/>
                <a:gd name="T7" fmla="*/ 32 h 396"/>
                <a:gd name="T8" fmla="*/ 0 w 188"/>
                <a:gd name="T9" fmla="*/ 52 h 396"/>
                <a:gd name="T10" fmla="*/ 0 w 188"/>
                <a:gd name="T11" fmla="*/ 176 h 396"/>
                <a:gd name="T12" fmla="*/ 4 w 188"/>
                <a:gd name="T13" fmla="*/ 190 h 396"/>
                <a:gd name="T14" fmla="*/ 16 w 188"/>
                <a:gd name="T15" fmla="*/ 194 h 396"/>
                <a:gd name="T16" fmla="*/ 28 w 188"/>
                <a:gd name="T17" fmla="*/ 190 h 396"/>
                <a:gd name="T18" fmla="*/ 34 w 188"/>
                <a:gd name="T19" fmla="*/ 176 h 396"/>
                <a:gd name="T20" fmla="*/ 42 w 188"/>
                <a:gd name="T21" fmla="*/ 64 h 396"/>
                <a:gd name="T22" fmla="*/ 42 w 188"/>
                <a:gd name="T23" fmla="*/ 372 h 396"/>
                <a:gd name="T24" fmla="*/ 50 w 188"/>
                <a:gd name="T25" fmla="*/ 390 h 396"/>
                <a:gd name="T26" fmla="*/ 66 w 188"/>
                <a:gd name="T27" fmla="*/ 396 h 396"/>
                <a:gd name="T28" fmla="*/ 82 w 188"/>
                <a:gd name="T29" fmla="*/ 388 h 396"/>
                <a:gd name="T30" fmla="*/ 90 w 188"/>
                <a:gd name="T31" fmla="*/ 372 h 396"/>
                <a:gd name="T32" fmla="*/ 98 w 188"/>
                <a:gd name="T33" fmla="*/ 192 h 396"/>
                <a:gd name="T34" fmla="*/ 98 w 188"/>
                <a:gd name="T35" fmla="*/ 372 h 396"/>
                <a:gd name="T36" fmla="*/ 104 w 188"/>
                <a:gd name="T37" fmla="*/ 388 h 396"/>
                <a:gd name="T38" fmla="*/ 120 w 188"/>
                <a:gd name="T39" fmla="*/ 396 h 396"/>
                <a:gd name="T40" fmla="*/ 136 w 188"/>
                <a:gd name="T41" fmla="*/ 390 h 396"/>
                <a:gd name="T42" fmla="*/ 144 w 188"/>
                <a:gd name="T43" fmla="*/ 372 h 396"/>
                <a:gd name="T44" fmla="*/ 152 w 188"/>
                <a:gd name="T45" fmla="*/ 64 h 396"/>
                <a:gd name="T46" fmla="*/ 152 w 188"/>
                <a:gd name="T47" fmla="*/ 176 h 396"/>
                <a:gd name="T48" fmla="*/ 158 w 188"/>
                <a:gd name="T49" fmla="*/ 190 h 396"/>
                <a:gd name="T50" fmla="*/ 170 w 188"/>
                <a:gd name="T51" fmla="*/ 194 h 396"/>
                <a:gd name="T52" fmla="*/ 182 w 188"/>
                <a:gd name="T53" fmla="*/ 190 h 396"/>
                <a:gd name="T54" fmla="*/ 188 w 188"/>
                <a:gd name="T55" fmla="*/ 176 h 396"/>
                <a:gd name="T56" fmla="*/ 188 w 188"/>
                <a:gd name="T57" fmla="*/ 54 h 396"/>
                <a:gd name="T58" fmla="*/ 184 w 188"/>
                <a:gd name="T59" fmla="*/ 34 h 396"/>
                <a:gd name="T60" fmla="*/ 172 w 188"/>
                <a:gd name="T61" fmla="*/ 18 h 396"/>
                <a:gd name="T62" fmla="*/ 156 w 188"/>
                <a:gd name="T63" fmla="*/ 6 h 396"/>
                <a:gd name="T64" fmla="*/ 136 w 188"/>
                <a:gd name="T65" fmla="*/ 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8" h="396">
                  <a:moveTo>
                    <a:pt x="50" y="0"/>
                  </a:moveTo>
                  <a:lnTo>
                    <a:pt x="50" y="0"/>
                  </a:lnTo>
                  <a:lnTo>
                    <a:pt x="40" y="2"/>
                  </a:lnTo>
                  <a:lnTo>
                    <a:pt x="30" y="4"/>
                  </a:lnTo>
                  <a:lnTo>
                    <a:pt x="22" y="10"/>
                  </a:lnTo>
                  <a:lnTo>
                    <a:pt x="14" y="16"/>
                  </a:lnTo>
                  <a:lnTo>
                    <a:pt x="8" y="24"/>
                  </a:lnTo>
                  <a:lnTo>
                    <a:pt x="4" y="32"/>
                  </a:lnTo>
                  <a:lnTo>
                    <a:pt x="0" y="42"/>
                  </a:lnTo>
                  <a:lnTo>
                    <a:pt x="0" y="52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0" y="184"/>
                  </a:lnTo>
                  <a:lnTo>
                    <a:pt x="4" y="190"/>
                  </a:lnTo>
                  <a:lnTo>
                    <a:pt x="10" y="192"/>
                  </a:lnTo>
                  <a:lnTo>
                    <a:pt x="16" y="194"/>
                  </a:lnTo>
                  <a:lnTo>
                    <a:pt x="24" y="192"/>
                  </a:lnTo>
                  <a:lnTo>
                    <a:pt x="28" y="190"/>
                  </a:lnTo>
                  <a:lnTo>
                    <a:pt x="32" y="184"/>
                  </a:lnTo>
                  <a:lnTo>
                    <a:pt x="34" y="176"/>
                  </a:lnTo>
                  <a:lnTo>
                    <a:pt x="34" y="64"/>
                  </a:lnTo>
                  <a:lnTo>
                    <a:pt x="42" y="64"/>
                  </a:lnTo>
                  <a:lnTo>
                    <a:pt x="42" y="372"/>
                  </a:lnTo>
                  <a:lnTo>
                    <a:pt x="42" y="372"/>
                  </a:lnTo>
                  <a:lnTo>
                    <a:pt x="44" y="382"/>
                  </a:lnTo>
                  <a:lnTo>
                    <a:pt x="50" y="390"/>
                  </a:lnTo>
                  <a:lnTo>
                    <a:pt x="58" y="394"/>
                  </a:lnTo>
                  <a:lnTo>
                    <a:pt x="66" y="396"/>
                  </a:lnTo>
                  <a:lnTo>
                    <a:pt x="74" y="394"/>
                  </a:lnTo>
                  <a:lnTo>
                    <a:pt x="82" y="388"/>
                  </a:lnTo>
                  <a:lnTo>
                    <a:pt x="88" y="382"/>
                  </a:lnTo>
                  <a:lnTo>
                    <a:pt x="90" y="372"/>
                  </a:lnTo>
                  <a:lnTo>
                    <a:pt x="90" y="192"/>
                  </a:lnTo>
                  <a:lnTo>
                    <a:pt x="98" y="192"/>
                  </a:lnTo>
                  <a:lnTo>
                    <a:pt x="98" y="372"/>
                  </a:lnTo>
                  <a:lnTo>
                    <a:pt x="98" y="372"/>
                  </a:lnTo>
                  <a:lnTo>
                    <a:pt x="100" y="382"/>
                  </a:lnTo>
                  <a:lnTo>
                    <a:pt x="104" y="388"/>
                  </a:lnTo>
                  <a:lnTo>
                    <a:pt x="112" y="394"/>
                  </a:lnTo>
                  <a:lnTo>
                    <a:pt x="120" y="396"/>
                  </a:lnTo>
                  <a:lnTo>
                    <a:pt x="130" y="394"/>
                  </a:lnTo>
                  <a:lnTo>
                    <a:pt x="136" y="390"/>
                  </a:lnTo>
                  <a:lnTo>
                    <a:pt x="142" y="382"/>
                  </a:lnTo>
                  <a:lnTo>
                    <a:pt x="144" y="372"/>
                  </a:lnTo>
                  <a:lnTo>
                    <a:pt x="144" y="64"/>
                  </a:lnTo>
                  <a:lnTo>
                    <a:pt x="152" y="64"/>
                  </a:lnTo>
                  <a:lnTo>
                    <a:pt x="152" y="176"/>
                  </a:lnTo>
                  <a:lnTo>
                    <a:pt x="152" y="176"/>
                  </a:lnTo>
                  <a:lnTo>
                    <a:pt x="154" y="184"/>
                  </a:lnTo>
                  <a:lnTo>
                    <a:pt x="158" y="190"/>
                  </a:lnTo>
                  <a:lnTo>
                    <a:pt x="164" y="192"/>
                  </a:lnTo>
                  <a:lnTo>
                    <a:pt x="170" y="194"/>
                  </a:lnTo>
                  <a:lnTo>
                    <a:pt x="176" y="192"/>
                  </a:lnTo>
                  <a:lnTo>
                    <a:pt x="182" y="190"/>
                  </a:lnTo>
                  <a:lnTo>
                    <a:pt x="186" y="184"/>
                  </a:lnTo>
                  <a:lnTo>
                    <a:pt x="188" y="176"/>
                  </a:lnTo>
                  <a:lnTo>
                    <a:pt x="188" y="54"/>
                  </a:lnTo>
                  <a:lnTo>
                    <a:pt x="188" y="54"/>
                  </a:lnTo>
                  <a:lnTo>
                    <a:pt x="186" y="44"/>
                  </a:lnTo>
                  <a:lnTo>
                    <a:pt x="184" y="34"/>
                  </a:lnTo>
                  <a:lnTo>
                    <a:pt x="178" y="24"/>
                  </a:lnTo>
                  <a:lnTo>
                    <a:pt x="172" y="18"/>
                  </a:lnTo>
                  <a:lnTo>
                    <a:pt x="166" y="10"/>
                  </a:lnTo>
                  <a:lnTo>
                    <a:pt x="156" y="6"/>
                  </a:lnTo>
                  <a:lnTo>
                    <a:pt x="146" y="2"/>
                  </a:lnTo>
                  <a:lnTo>
                    <a:pt x="136" y="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7209393" y="2503606"/>
            <a:ext cx="450790" cy="1160540"/>
            <a:chOff x="1817688" y="465138"/>
            <a:chExt cx="298450" cy="768350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72" name="Freeform 18"/>
            <p:cNvSpPr>
              <a:spLocks/>
            </p:cNvSpPr>
            <p:nvPr/>
          </p:nvSpPr>
          <p:spPr bwMode="auto">
            <a:xfrm>
              <a:off x="1903413" y="465138"/>
              <a:ext cx="127000" cy="127000"/>
            </a:xfrm>
            <a:custGeom>
              <a:avLst/>
              <a:gdLst>
                <a:gd name="T0" fmla="*/ 40 w 80"/>
                <a:gd name="T1" fmla="*/ 80 h 80"/>
                <a:gd name="T2" fmla="*/ 40 w 80"/>
                <a:gd name="T3" fmla="*/ 80 h 80"/>
                <a:gd name="T4" fmla="*/ 48 w 80"/>
                <a:gd name="T5" fmla="*/ 78 h 80"/>
                <a:gd name="T6" fmla="*/ 56 w 80"/>
                <a:gd name="T7" fmla="*/ 76 h 80"/>
                <a:gd name="T8" fmla="*/ 62 w 80"/>
                <a:gd name="T9" fmla="*/ 72 h 80"/>
                <a:gd name="T10" fmla="*/ 68 w 80"/>
                <a:gd name="T11" fmla="*/ 68 h 80"/>
                <a:gd name="T12" fmla="*/ 72 w 80"/>
                <a:gd name="T13" fmla="*/ 62 h 80"/>
                <a:gd name="T14" fmla="*/ 76 w 80"/>
                <a:gd name="T15" fmla="*/ 56 h 80"/>
                <a:gd name="T16" fmla="*/ 78 w 80"/>
                <a:gd name="T17" fmla="*/ 48 h 80"/>
                <a:gd name="T18" fmla="*/ 80 w 80"/>
                <a:gd name="T19" fmla="*/ 40 h 80"/>
                <a:gd name="T20" fmla="*/ 80 w 80"/>
                <a:gd name="T21" fmla="*/ 40 h 80"/>
                <a:gd name="T22" fmla="*/ 78 w 80"/>
                <a:gd name="T23" fmla="*/ 32 h 80"/>
                <a:gd name="T24" fmla="*/ 76 w 80"/>
                <a:gd name="T25" fmla="*/ 24 h 80"/>
                <a:gd name="T26" fmla="*/ 72 w 80"/>
                <a:gd name="T27" fmla="*/ 18 h 80"/>
                <a:gd name="T28" fmla="*/ 68 w 80"/>
                <a:gd name="T29" fmla="*/ 12 h 80"/>
                <a:gd name="T30" fmla="*/ 62 w 80"/>
                <a:gd name="T31" fmla="*/ 6 h 80"/>
                <a:gd name="T32" fmla="*/ 56 w 80"/>
                <a:gd name="T33" fmla="*/ 2 h 80"/>
                <a:gd name="T34" fmla="*/ 48 w 80"/>
                <a:gd name="T35" fmla="*/ 0 h 80"/>
                <a:gd name="T36" fmla="*/ 40 w 80"/>
                <a:gd name="T37" fmla="*/ 0 h 80"/>
                <a:gd name="T38" fmla="*/ 40 w 80"/>
                <a:gd name="T39" fmla="*/ 0 h 80"/>
                <a:gd name="T40" fmla="*/ 32 w 80"/>
                <a:gd name="T41" fmla="*/ 0 h 80"/>
                <a:gd name="T42" fmla="*/ 24 w 80"/>
                <a:gd name="T43" fmla="*/ 2 h 80"/>
                <a:gd name="T44" fmla="*/ 16 w 80"/>
                <a:gd name="T45" fmla="*/ 6 h 80"/>
                <a:gd name="T46" fmla="*/ 12 w 80"/>
                <a:gd name="T47" fmla="*/ 12 h 80"/>
                <a:gd name="T48" fmla="*/ 6 w 80"/>
                <a:gd name="T49" fmla="*/ 18 h 80"/>
                <a:gd name="T50" fmla="*/ 2 w 80"/>
                <a:gd name="T51" fmla="*/ 24 h 80"/>
                <a:gd name="T52" fmla="*/ 0 w 80"/>
                <a:gd name="T53" fmla="*/ 32 h 80"/>
                <a:gd name="T54" fmla="*/ 0 w 80"/>
                <a:gd name="T55" fmla="*/ 40 h 80"/>
                <a:gd name="T56" fmla="*/ 0 w 80"/>
                <a:gd name="T57" fmla="*/ 40 h 80"/>
                <a:gd name="T58" fmla="*/ 0 w 80"/>
                <a:gd name="T59" fmla="*/ 48 h 80"/>
                <a:gd name="T60" fmla="*/ 2 w 80"/>
                <a:gd name="T61" fmla="*/ 56 h 80"/>
                <a:gd name="T62" fmla="*/ 6 w 80"/>
                <a:gd name="T63" fmla="*/ 62 h 80"/>
                <a:gd name="T64" fmla="*/ 12 w 80"/>
                <a:gd name="T65" fmla="*/ 68 h 80"/>
                <a:gd name="T66" fmla="*/ 16 w 80"/>
                <a:gd name="T67" fmla="*/ 72 h 80"/>
                <a:gd name="T68" fmla="*/ 24 w 80"/>
                <a:gd name="T69" fmla="*/ 76 h 80"/>
                <a:gd name="T70" fmla="*/ 32 w 80"/>
                <a:gd name="T71" fmla="*/ 78 h 80"/>
                <a:gd name="T72" fmla="*/ 40 w 80"/>
                <a:gd name="T73" fmla="*/ 80 h 80"/>
                <a:gd name="T74" fmla="*/ 40 w 80"/>
                <a:gd name="T7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0" h="80">
                  <a:moveTo>
                    <a:pt x="40" y="80"/>
                  </a:moveTo>
                  <a:lnTo>
                    <a:pt x="40" y="80"/>
                  </a:lnTo>
                  <a:lnTo>
                    <a:pt x="48" y="78"/>
                  </a:lnTo>
                  <a:lnTo>
                    <a:pt x="56" y="76"/>
                  </a:lnTo>
                  <a:lnTo>
                    <a:pt x="62" y="72"/>
                  </a:lnTo>
                  <a:lnTo>
                    <a:pt x="68" y="68"/>
                  </a:lnTo>
                  <a:lnTo>
                    <a:pt x="72" y="62"/>
                  </a:lnTo>
                  <a:lnTo>
                    <a:pt x="76" y="56"/>
                  </a:lnTo>
                  <a:lnTo>
                    <a:pt x="78" y="48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8" y="32"/>
                  </a:lnTo>
                  <a:lnTo>
                    <a:pt x="76" y="24"/>
                  </a:lnTo>
                  <a:lnTo>
                    <a:pt x="72" y="18"/>
                  </a:lnTo>
                  <a:lnTo>
                    <a:pt x="68" y="12"/>
                  </a:lnTo>
                  <a:lnTo>
                    <a:pt x="62" y="6"/>
                  </a:lnTo>
                  <a:lnTo>
                    <a:pt x="56" y="2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0"/>
                  </a:lnTo>
                  <a:lnTo>
                    <a:pt x="24" y="2"/>
                  </a:lnTo>
                  <a:lnTo>
                    <a:pt x="16" y="6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2" y="24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2" y="56"/>
                  </a:lnTo>
                  <a:lnTo>
                    <a:pt x="6" y="62"/>
                  </a:lnTo>
                  <a:lnTo>
                    <a:pt x="12" y="68"/>
                  </a:lnTo>
                  <a:lnTo>
                    <a:pt x="16" y="72"/>
                  </a:lnTo>
                  <a:lnTo>
                    <a:pt x="24" y="76"/>
                  </a:lnTo>
                  <a:lnTo>
                    <a:pt x="32" y="78"/>
                  </a:lnTo>
                  <a:lnTo>
                    <a:pt x="40" y="80"/>
                  </a:lnTo>
                  <a:lnTo>
                    <a:pt x="4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  <p:sp>
          <p:nvSpPr>
            <p:cNvPr id="73" name="Line 19"/>
            <p:cNvSpPr>
              <a:spLocks noChangeShapeType="1"/>
            </p:cNvSpPr>
            <p:nvPr/>
          </p:nvSpPr>
          <p:spPr bwMode="auto">
            <a:xfrm>
              <a:off x="1966913" y="5286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  <p:sp>
          <p:nvSpPr>
            <p:cNvPr id="74" name="Line 20"/>
            <p:cNvSpPr>
              <a:spLocks noChangeShapeType="1"/>
            </p:cNvSpPr>
            <p:nvPr/>
          </p:nvSpPr>
          <p:spPr bwMode="auto">
            <a:xfrm>
              <a:off x="1966913" y="5286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  <p:sp>
          <p:nvSpPr>
            <p:cNvPr id="75" name="Freeform 21"/>
            <p:cNvSpPr>
              <a:spLocks/>
            </p:cNvSpPr>
            <p:nvPr/>
          </p:nvSpPr>
          <p:spPr bwMode="auto">
            <a:xfrm>
              <a:off x="1817688" y="604838"/>
              <a:ext cx="298450" cy="628650"/>
            </a:xfrm>
            <a:custGeom>
              <a:avLst/>
              <a:gdLst>
                <a:gd name="T0" fmla="*/ 50 w 188"/>
                <a:gd name="T1" fmla="*/ 0 h 396"/>
                <a:gd name="T2" fmla="*/ 30 w 188"/>
                <a:gd name="T3" fmla="*/ 4 h 396"/>
                <a:gd name="T4" fmla="*/ 14 w 188"/>
                <a:gd name="T5" fmla="*/ 16 h 396"/>
                <a:gd name="T6" fmla="*/ 4 w 188"/>
                <a:gd name="T7" fmla="*/ 32 h 396"/>
                <a:gd name="T8" fmla="*/ 0 w 188"/>
                <a:gd name="T9" fmla="*/ 52 h 396"/>
                <a:gd name="T10" fmla="*/ 0 w 188"/>
                <a:gd name="T11" fmla="*/ 176 h 396"/>
                <a:gd name="T12" fmla="*/ 4 w 188"/>
                <a:gd name="T13" fmla="*/ 190 h 396"/>
                <a:gd name="T14" fmla="*/ 16 w 188"/>
                <a:gd name="T15" fmla="*/ 194 h 396"/>
                <a:gd name="T16" fmla="*/ 28 w 188"/>
                <a:gd name="T17" fmla="*/ 190 h 396"/>
                <a:gd name="T18" fmla="*/ 34 w 188"/>
                <a:gd name="T19" fmla="*/ 176 h 396"/>
                <a:gd name="T20" fmla="*/ 42 w 188"/>
                <a:gd name="T21" fmla="*/ 64 h 396"/>
                <a:gd name="T22" fmla="*/ 42 w 188"/>
                <a:gd name="T23" fmla="*/ 372 h 396"/>
                <a:gd name="T24" fmla="*/ 50 w 188"/>
                <a:gd name="T25" fmla="*/ 390 h 396"/>
                <a:gd name="T26" fmla="*/ 66 w 188"/>
                <a:gd name="T27" fmla="*/ 396 h 396"/>
                <a:gd name="T28" fmla="*/ 82 w 188"/>
                <a:gd name="T29" fmla="*/ 388 h 396"/>
                <a:gd name="T30" fmla="*/ 90 w 188"/>
                <a:gd name="T31" fmla="*/ 372 h 396"/>
                <a:gd name="T32" fmla="*/ 98 w 188"/>
                <a:gd name="T33" fmla="*/ 192 h 396"/>
                <a:gd name="T34" fmla="*/ 98 w 188"/>
                <a:gd name="T35" fmla="*/ 372 h 396"/>
                <a:gd name="T36" fmla="*/ 104 w 188"/>
                <a:gd name="T37" fmla="*/ 388 h 396"/>
                <a:gd name="T38" fmla="*/ 120 w 188"/>
                <a:gd name="T39" fmla="*/ 396 h 396"/>
                <a:gd name="T40" fmla="*/ 136 w 188"/>
                <a:gd name="T41" fmla="*/ 390 h 396"/>
                <a:gd name="T42" fmla="*/ 144 w 188"/>
                <a:gd name="T43" fmla="*/ 372 h 396"/>
                <a:gd name="T44" fmla="*/ 152 w 188"/>
                <a:gd name="T45" fmla="*/ 64 h 396"/>
                <a:gd name="T46" fmla="*/ 152 w 188"/>
                <a:gd name="T47" fmla="*/ 176 h 396"/>
                <a:gd name="T48" fmla="*/ 158 w 188"/>
                <a:gd name="T49" fmla="*/ 190 h 396"/>
                <a:gd name="T50" fmla="*/ 170 w 188"/>
                <a:gd name="T51" fmla="*/ 194 h 396"/>
                <a:gd name="T52" fmla="*/ 182 w 188"/>
                <a:gd name="T53" fmla="*/ 190 h 396"/>
                <a:gd name="T54" fmla="*/ 188 w 188"/>
                <a:gd name="T55" fmla="*/ 176 h 396"/>
                <a:gd name="T56" fmla="*/ 188 w 188"/>
                <a:gd name="T57" fmla="*/ 54 h 396"/>
                <a:gd name="T58" fmla="*/ 184 w 188"/>
                <a:gd name="T59" fmla="*/ 34 h 396"/>
                <a:gd name="T60" fmla="*/ 172 w 188"/>
                <a:gd name="T61" fmla="*/ 18 h 396"/>
                <a:gd name="T62" fmla="*/ 156 w 188"/>
                <a:gd name="T63" fmla="*/ 6 h 396"/>
                <a:gd name="T64" fmla="*/ 136 w 188"/>
                <a:gd name="T65" fmla="*/ 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8" h="396">
                  <a:moveTo>
                    <a:pt x="50" y="0"/>
                  </a:moveTo>
                  <a:lnTo>
                    <a:pt x="50" y="0"/>
                  </a:lnTo>
                  <a:lnTo>
                    <a:pt x="40" y="2"/>
                  </a:lnTo>
                  <a:lnTo>
                    <a:pt x="30" y="4"/>
                  </a:lnTo>
                  <a:lnTo>
                    <a:pt x="22" y="10"/>
                  </a:lnTo>
                  <a:lnTo>
                    <a:pt x="14" y="16"/>
                  </a:lnTo>
                  <a:lnTo>
                    <a:pt x="8" y="24"/>
                  </a:lnTo>
                  <a:lnTo>
                    <a:pt x="4" y="32"/>
                  </a:lnTo>
                  <a:lnTo>
                    <a:pt x="0" y="42"/>
                  </a:lnTo>
                  <a:lnTo>
                    <a:pt x="0" y="52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0" y="184"/>
                  </a:lnTo>
                  <a:lnTo>
                    <a:pt x="4" y="190"/>
                  </a:lnTo>
                  <a:lnTo>
                    <a:pt x="10" y="192"/>
                  </a:lnTo>
                  <a:lnTo>
                    <a:pt x="16" y="194"/>
                  </a:lnTo>
                  <a:lnTo>
                    <a:pt x="24" y="192"/>
                  </a:lnTo>
                  <a:lnTo>
                    <a:pt x="28" y="190"/>
                  </a:lnTo>
                  <a:lnTo>
                    <a:pt x="32" y="184"/>
                  </a:lnTo>
                  <a:lnTo>
                    <a:pt x="34" y="176"/>
                  </a:lnTo>
                  <a:lnTo>
                    <a:pt x="34" y="64"/>
                  </a:lnTo>
                  <a:lnTo>
                    <a:pt x="42" y="64"/>
                  </a:lnTo>
                  <a:lnTo>
                    <a:pt x="42" y="372"/>
                  </a:lnTo>
                  <a:lnTo>
                    <a:pt x="42" y="372"/>
                  </a:lnTo>
                  <a:lnTo>
                    <a:pt x="44" y="382"/>
                  </a:lnTo>
                  <a:lnTo>
                    <a:pt x="50" y="390"/>
                  </a:lnTo>
                  <a:lnTo>
                    <a:pt x="58" y="394"/>
                  </a:lnTo>
                  <a:lnTo>
                    <a:pt x="66" y="396"/>
                  </a:lnTo>
                  <a:lnTo>
                    <a:pt x="74" y="394"/>
                  </a:lnTo>
                  <a:lnTo>
                    <a:pt x="82" y="388"/>
                  </a:lnTo>
                  <a:lnTo>
                    <a:pt x="88" y="382"/>
                  </a:lnTo>
                  <a:lnTo>
                    <a:pt x="90" y="372"/>
                  </a:lnTo>
                  <a:lnTo>
                    <a:pt x="90" y="192"/>
                  </a:lnTo>
                  <a:lnTo>
                    <a:pt x="98" y="192"/>
                  </a:lnTo>
                  <a:lnTo>
                    <a:pt x="98" y="372"/>
                  </a:lnTo>
                  <a:lnTo>
                    <a:pt x="98" y="372"/>
                  </a:lnTo>
                  <a:lnTo>
                    <a:pt x="100" y="382"/>
                  </a:lnTo>
                  <a:lnTo>
                    <a:pt x="104" y="388"/>
                  </a:lnTo>
                  <a:lnTo>
                    <a:pt x="112" y="394"/>
                  </a:lnTo>
                  <a:lnTo>
                    <a:pt x="120" y="396"/>
                  </a:lnTo>
                  <a:lnTo>
                    <a:pt x="130" y="394"/>
                  </a:lnTo>
                  <a:lnTo>
                    <a:pt x="136" y="390"/>
                  </a:lnTo>
                  <a:lnTo>
                    <a:pt x="142" y="382"/>
                  </a:lnTo>
                  <a:lnTo>
                    <a:pt x="144" y="372"/>
                  </a:lnTo>
                  <a:lnTo>
                    <a:pt x="144" y="64"/>
                  </a:lnTo>
                  <a:lnTo>
                    <a:pt x="152" y="64"/>
                  </a:lnTo>
                  <a:lnTo>
                    <a:pt x="152" y="176"/>
                  </a:lnTo>
                  <a:lnTo>
                    <a:pt x="152" y="176"/>
                  </a:lnTo>
                  <a:lnTo>
                    <a:pt x="154" y="184"/>
                  </a:lnTo>
                  <a:lnTo>
                    <a:pt x="158" y="190"/>
                  </a:lnTo>
                  <a:lnTo>
                    <a:pt x="164" y="192"/>
                  </a:lnTo>
                  <a:lnTo>
                    <a:pt x="170" y="194"/>
                  </a:lnTo>
                  <a:lnTo>
                    <a:pt x="176" y="192"/>
                  </a:lnTo>
                  <a:lnTo>
                    <a:pt x="182" y="190"/>
                  </a:lnTo>
                  <a:lnTo>
                    <a:pt x="186" y="184"/>
                  </a:lnTo>
                  <a:lnTo>
                    <a:pt x="188" y="176"/>
                  </a:lnTo>
                  <a:lnTo>
                    <a:pt x="188" y="54"/>
                  </a:lnTo>
                  <a:lnTo>
                    <a:pt x="188" y="54"/>
                  </a:lnTo>
                  <a:lnTo>
                    <a:pt x="186" y="44"/>
                  </a:lnTo>
                  <a:lnTo>
                    <a:pt x="184" y="34"/>
                  </a:lnTo>
                  <a:lnTo>
                    <a:pt x="178" y="24"/>
                  </a:lnTo>
                  <a:lnTo>
                    <a:pt x="172" y="18"/>
                  </a:lnTo>
                  <a:lnTo>
                    <a:pt x="166" y="10"/>
                  </a:lnTo>
                  <a:lnTo>
                    <a:pt x="156" y="6"/>
                  </a:lnTo>
                  <a:lnTo>
                    <a:pt x="146" y="2"/>
                  </a:lnTo>
                  <a:lnTo>
                    <a:pt x="136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8075187" y="2503606"/>
            <a:ext cx="450790" cy="1160540"/>
            <a:chOff x="1817688" y="465138"/>
            <a:chExt cx="298450" cy="768350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68" name="Freeform 18"/>
            <p:cNvSpPr>
              <a:spLocks/>
            </p:cNvSpPr>
            <p:nvPr/>
          </p:nvSpPr>
          <p:spPr bwMode="auto">
            <a:xfrm>
              <a:off x="1903413" y="465138"/>
              <a:ext cx="127000" cy="127000"/>
            </a:xfrm>
            <a:custGeom>
              <a:avLst/>
              <a:gdLst>
                <a:gd name="T0" fmla="*/ 40 w 80"/>
                <a:gd name="T1" fmla="*/ 80 h 80"/>
                <a:gd name="T2" fmla="*/ 40 w 80"/>
                <a:gd name="T3" fmla="*/ 80 h 80"/>
                <a:gd name="T4" fmla="*/ 48 w 80"/>
                <a:gd name="T5" fmla="*/ 78 h 80"/>
                <a:gd name="T6" fmla="*/ 56 w 80"/>
                <a:gd name="T7" fmla="*/ 76 h 80"/>
                <a:gd name="T8" fmla="*/ 62 w 80"/>
                <a:gd name="T9" fmla="*/ 72 h 80"/>
                <a:gd name="T10" fmla="*/ 68 w 80"/>
                <a:gd name="T11" fmla="*/ 68 h 80"/>
                <a:gd name="T12" fmla="*/ 72 w 80"/>
                <a:gd name="T13" fmla="*/ 62 h 80"/>
                <a:gd name="T14" fmla="*/ 76 w 80"/>
                <a:gd name="T15" fmla="*/ 56 h 80"/>
                <a:gd name="T16" fmla="*/ 78 w 80"/>
                <a:gd name="T17" fmla="*/ 48 h 80"/>
                <a:gd name="T18" fmla="*/ 80 w 80"/>
                <a:gd name="T19" fmla="*/ 40 h 80"/>
                <a:gd name="T20" fmla="*/ 80 w 80"/>
                <a:gd name="T21" fmla="*/ 40 h 80"/>
                <a:gd name="T22" fmla="*/ 78 w 80"/>
                <a:gd name="T23" fmla="*/ 32 h 80"/>
                <a:gd name="T24" fmla="*/ 76 w 80"/>
                <a:gd name="T25" fmla="*/ 24 h 80"/>
                <a:gd name="T26" fmla="*/ 72 w 80"/>
                <a:gd name="T27" fmla="*/ 18 h 80"/>
                <a:gd name="T28" fmla="*/ 68 w 80"/>
                <a:gd name="T29" fmla="*/ 12 h 80"/>
                <a:gd name="T30" fmla="*/ 62 w 80"/>
                <a:gd name="T31" fmla="*/ 6 h 80"/>
                <a:gd name="T32" fmla="*/ 56 w 80"/>
                <a:gd name="T33" fmla="*/ 2 h 80"/>
                <a:gd name="T34" fmla="*/ 48 w 80"/>
                <a:gd name="T35" fmla="*/ 0 h 80"/>
                <a:gd name="T36" fmla="*/ 40 w 80"/>
                <a:gd name="T37" fmla="*/ 0 h 80"/>
                <a:gd name="T38" fmla="*/ 40 w 80"/>
                <a:gd name="T39" fmla="*/ 0 h 80"/>
                <a:gd name="T40" fmla="*/ 32 w 80"/>
                <a:gd name="T41" fmla="*/ 0 h 80"/>
                <a:gd name="T42" fmla="*/ 24 w 80"/>
                <a:gd name="T43" fmla="*/ 2 h 80"/>
                <a:gd name="T44" fmla="*/ 16 w 80"/>
                <a:gd name="T45" fmla="*/ 6 h 80"/>
                <a:gd name="T46" fmla="*/ 12 w 80"/>
                <a:gd name="T47" fmla="*/ 12 h 80"/>
                <a:gd name="T48" fmla="*/ 6 w 80"/>
                <a:gd name="T49" fmla="*/ 18 h 80"/>
                <a:gd name="T50" fmla="*/ 2 w 80"/>
                <a:gd name="T51" fmla="*/ 24 h 80"/>
                <a:gd name="T52" fmla="*/ 0 w 80"/>
                <a:gd name="T53" fmla="*/ 32 h 80"/>
                <a:gd name="T54" fmla="*/ 0 w 80"/>
                <a:gd name="T55" fmla="*/ 40 h 80"/>
                <a:gd name="T56" fmla="*/ 0 w 80"/>
                <a:gd name="T57" fmla="*/ 40 h 80"/>
                <a:gd name="T58" fmla="*/ 0 w 80"/>
                <a:gd name="T59" fmla="*/ 48 h 80"/>
                <a:gd name="T60" fmla="*/ 2 w 80"/>
                <a:gd name="T61" fmla="*/ 56 h 80"/>
                <a:gd name="T62" fmla="*/ 6 w 80"/>
                <a:gd name="T63" fmla="*/ 62 h 80"/>
                <a:gd name="T64" fmla="*/ 12 w 80"/>
                <a:gd name="T65" fmla="*/ 68 h 80"/>
                <a:gd name="T66" fmla="*/ 16 w 80"/>
                <a:gd name="T67" fmla="*/ 72 h 80"/>
                <a:gd name="T68" fmla="*/ 24 w 80"/>
                <a:gd name="T69" fmla="*/ 76 h 80"/>
                <a:gd name="T70" fmla="*/ 32 w 80"/>
                <a:gd name="T71" fmla="*/ 78 h 80"/>
                <a:gd name="T72" fmla="*/ 40 w 80"/>
                <a:gd name="T73" fmla="*/ 80 h 80"/>
                <a:gd name="T74" fmla="*/ 40 w 80"/>
                <a:gd name="T7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0" h="80">
                  <a:moveTo>
                    <a:pt x="40" y="80"/>
                  </a:moveTo>
                  <a:lnTo>
                    <a:pt x="40" y="80"/>
                  </a:lnTo>
                  <a:lnTo>
                    <a:pt x="48" y="78"/>
                  </a:lnTo>
                  <a:lnTo>
                    <a:pt x="56" y="76"/>
                  </a:lnTo>
                  <a:lnTo>
                    <a:pt x="62" y="72"/>
                  </a:lnTo>
                  <a:lnTo>
                    <a:pt x="68" y="68"/>
                  </a:lnTo>
                  <a:lnTo>
                    <a:pt x="72" y="62"/>
                  </a:lnTo>
                  <a:lnTo>
                    <a:pt x="76" y="56"/>
                  </a:lnTo>
                  <a:lnTo>
                    <a:pt x="78" y="48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8" y="32"/>
                  </a:lnTo>
                  <a:lnTo>
                    <a:pt x="76" y="24"/>
                  </a:lnTo>
                  <a:lnTo>
                    <a:pt x="72" y="18"/>
                  </a:lnTo>
                  <a:lnTo>
                    <a:pt x="68" y="12"/>
                  </a:lnTo>
                  <a:lnTo>
                    <a:pt x="62" y="6"/>
                  </a:lnTo>
                  <a:lnTo>
                    <a:pt x="56" y="2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0"/>
                  </a:lnTo>
                  <a:lnTo>
                    <a:pt x="24" y="2"/>
                  </a:lnTo>
                  <a:lnTo>
                    <a:pt x="16" y="6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2" y="24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2" y="56"/>
                  </a:lnTo>
                  <a:lnTo>
                    <a:pt x="6" y="62"/>
                  </a:lnTo>
                  <a:lnTo>
                    <a:pt x="12" y="68"/>
                  </a:lnTo>
                  <a:lnTo>
                    <a:pt x="16" y="72"/>
                  </a:lnTo>
                  <a:lnTo>
                    <a:pt x="24" y="76"/>
                  </a:lnTo>
                  <a:lnTo>
                    <a:pt x="32" y="78"/>
                  </a:lnTo>
                  <a:lnTo>
                    <a:pt x="40" y="80"/>
                  </a:lnTo>
                  <a:lnTo>
                    <a:pt x="4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  <p:sp>
          <p:nvSpPr>
            <p:cNvPr id="69" name="Line 19"/>
            <p:cNvSpPr>
              <a:spLocks noChangeShapeType="1"/>
            </p:cNvSpPr>
            <p:nvPr/>
          </p:nvSpPr>
          <p:spPr bwMode="auto">
            <a:xfrm>
              <a:off x="1966913" y="5286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  <p:sp>
          <p:nvSpPr>
            <p:cNvPr id="70" name="Line 20"/>
            <p:cNvSpPr>
              <a:spLocks noChangeShapeType="1"/>
            </p:cNvSpPr>
            <p:nvPr/>
          </p:nvSpPr>
          <p:spPr bwMode="auto">
            <a:xfrm>
              <a:off x="1966913" y="5286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  <p:sp>
          <p:nvSpPr>
            <p:cNvPr id="71" name="Freeform 21"/>
            <p:cNvSpPr>
              <a:spLocks/>
            </p:cNvSpPr>
            <p:nvPr/>
          </p:nvSpPr>
          <p:spPr bwMode="auto">
            <a:xfrm>
              <a:off x="1817688" y="604838"/>
              <a:ext cx="298450" cy="628650"/>
            </a:xfrm>
            <a:custGeom>
              <a:avLst/>
              <a:gdLst>
                <a:gd name="T0" fmla="*/ 50 w 188"/>
                <a:gd name="T1" fmla="*/ 0 h 396"/>
                <a:gd name="T2" fmla="*/ 30 w 188"/>
                <a:gd name="T3" fmla="*/ 4 h 396"/>
                <a:gd name="T4" fmla="*/ 14 w 188"/>
                <a:gd name="T5" fmla="*/ 16 h 396"/>
                <a:gd name="T6" fmla="*/ 4 w 188"/>
                <a:gd name="T7" fmla="*/ 32 h 396"/>
                <a:gd name="T8" fmla="*/ 0 w 188"/>
                <a:gd name="T9" fmla="*/ 52 h 396"/>
                <a:gd name="T10" fmla="*/ 0 w 188"/>
                <a:gd name="T11" fmla="*/ 176 h 396"/>
                <a:gd name="T12" fmla="*/ 4 w 188"/>
                <a:gd name="T13" fmla="*/ 190 h 396"/>
                <a:gd name="T14" fmla="*/ 16 w 188"/>
                <a:gd name="T15" fmla="*/ 194 h 396"/>
                <a:gd name="T16" fmla="*/ 28 w 188"/>
                <a:gd name="T17" fmla="*/ 190 h 396"/>
                <a:gd name="T18" fmla="*/ 34 w 188"/>
                <a:gd name="T19" fmla="*/ 176 h 396"/>
                <a:gd name="T20" fmla="*/ 42 w 188"/>
                <a:gd name="T21" fmla="*/ 64 h 396"/>
                <a:gd name="T22" fmla="*/ 42 w 188"/>
                <a:gd name="T23" fmla="*/ 372 h 396"/>
                <a:gd name="T24" fmla="*/ 50 w 188"/>
                <a:gd name="T25" fmla="*/ 390 h 396"/>
                <a:gd name="T26" fmla="*/ 66 w 188"/>
                <a:gd name="T27" fmla="*/ 396 h 396"/>
                <a:gd name="T28" fmla="*/ 82 w 188"/>
                <a:gd name="T29" fmla="*/ 388 h 396"/>
                <a:gd name="T30" fmla="*/ 90 w 188"/>
                <a:gd name="T31" fmla="*/ 372 h 396"/>
                <a:gd name="T32" fmla="*/ 98 w 188"/>
                <a:gd name="T33" fmla="*/ 192 h 396"/>
                <a:gd name="T34" fmla="*/ 98 w 188"/>
                <a:gd name="T35" fmla="*/ 372 h 396"/>
                <a:gd name="T36" fmla="*/ 104 w 188"/>
                <a:gd name="T37" fmla="*/ 388 h 396"/>
                <a:gd name="T38" fmla="*/ 120 w 188"/>
                <a:gd name="T39" fmla="*/ 396 h 396"/>
                <a:gd name="T40" fmla="*/ 136 w 188"/>
                <a:gd name="T41" fmla="*/ 390 h 396"/>
                <a:gd name="T42" fmla="*/ 144 w 188"/>
                <a:gd name="T43" fmla="*/ 372 h 396"/>
                <a:gd name="T44" fmla="*/ 152 w 188"/>
                <a:gd name="T45" fmla="*/ 64 h 396"/>
                <a:gd name="T46" fmla="*/ 152 w 188"/>
                <a:gd name="T47" fmla="*/ 176 h 396"/>
                <a:gd name="T48" fmla="*/ 158 w 188"/>
                <a:gd name="T49" fmla="*/ 190 h 396"/>
                <a:gd name="T50" fmla="*/ 170 w 188"/>
                <a:gd name="T51" fmla="*/ 194 h 396"/>
                <a:gd name="T52" fmla="*/ 182 w 188"/>
                <a:gd name="T53" fmla="*/ 190 h 396"/>
                <a:gd name="T54" fmla="*/ 188 w 188"/>
                <a:gd name="T55" fmla="*/ 176 h 396"/>
                <a:gd name="T56" fmla="*/ 188 w 188"/>
                <a:gd name="T57" fmla="*/ 54 h 396"/>
                <a:gd name="T58" fmla="*/ 184 w 188"/>
                <a:gd name="T59" fmla="*/ 34 h 396"/>
                <a:gd name="T60" fmla="*/ 172 w 188"/>
                <a:gd name="T61" fmla="*/ 18 h 396"/>
                <a:gd name="T62" fmla="*/ 156 w 188"/>
                <a:gd name="T63" fmla="*/ 6 h 396"/>
                <a:gd name="T64" fmla="*/ 136 w 188"/>
                <a:gd name="T65" fmla="*/ 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8" h="396">
                  <a:moveTo>
                    <a:pt x="50" y="0"/>
                  </a:moveTo>
                  <a:lnTo>
                    <a:pt x="50" y="0"/>
                  </a:lnTo>
                  <a:lnTo>
                    <a:pt x="40" y="2"/>
                  </a:lnTo>
                  <a:lnTo>
                    <a:pt x="30" y="4"/>
                  </a:lnTo>
                  <a:lnTo>
                    <a:pt x="22" y="10"/>
                  </a:lnTo>
                  <a:lnTo>
                    <a:pt x="14" y="16"/>
                  </a:lnTo>
                  <a:lnTo>
                    <a:pt x="8" y="24"/>
                  </a:lnTo>
                  <a:lnTo>
                    <a:pt x="4" y="32"/>
                  </a:lnTo>
                  <a:lnTo>
                    <a:pt x="0" y="42"/>
                  </a:lnTo>
                  <a:lnTo>
                    <a:pt x="0" y="52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0" y="184"/>
                  </a:lnTo>
                  <a:lnTo>
                    <a:pt x="4" y="190"/>
                  </a:lnTo>
                  <a:lnTo>
                    <a:pt x="10" y="192"/>
                  </a:lnTo>
                  <a:lnTo>
                    <a:pt x="16" y="194"/>
                  </a:lnTo>
                  <a:lnTo>
                    <a:pt x="24" y="192"/>
                  </a:lnTo>
                  <a:lnTo>
                    <a:pt x="28" y="190"/>
                  </a:lnTo>
                  <a:lnTo>
                    <a:pt x="32" y="184"/>
                  </a:lnTo>
                  <a:lnTo>
                    <a:pt x="34" y="176"/>
                  </a:lnTo>
                  <a:lnTo>
                    <a:pt x="34" y="64"/>
                  </a:lnTo>
                  <a:lnTo>
                    <a:pt x="42" y="64"/>
                  </a:lnTo>
                  <a:lnTo>
                    <a:pt x="42" y="372"/>
                  </a:lnTo>
                  <a:lnTo>
                    <a:pt x="42" y="372"/>
                  </a:lnTo>
                  <a:lnTo>
                    <a:pt x="44" y="382"/>
                  </a:lnTo>
                  <a:lnTo>
                    <a:pt x="50" y="390"/>
                  </a:lnTo>
                  <a:lnTo>
                    <a:pt x="58" y="394"/>
                  </a:lnTo>
                  <a:lnTo>
                    <a:pt x="66" y="396"/>
                  </a:lnTo>
                  <a:lnTo>
                    <a:pt x="74" y="394"/>
                  </a:lnTo>
                  <a:lnTo>
                    <a:pt x="82" y="388"/>
                  </a:lnTo>
                  <a:lnTo>
                    <a:pt x="88" y="382"/>
                  </a:lnTo>
                  <a:lnTo>
                    <a:pt x="90" y="372"/>
                  </a:lnTo>
                  <a:lnTo>
                    <a:pt x="90" y="192"/>
                  </a:lnTo>
                  <a:lnTo>
                    <a:pt x="98" y="192"/>
                  </a:lnTo>
                  <a:lnTo>
                    <a:pt x="98" y="372"/>
                  </a:lnTo>
                  <a:lnTo>
                    <a:pt x="98" y="372"/>
                  </a:lnTo>
                  <a:lnTo>
                    <a:pt x="100" y="382"/>
                  </a:lnTo>
                  <a:lnTo>
                    <a:pt x="104" y="388"/>
                  </a:lnTo>
                  <a:lnTo>
                    <a:pt x="112" y="394"/>
                  </a:lnTo>
                  <a:lnTo>
                    <a:pt x="120" y="396"/>
                  </a:lnTo>
                  <a:lnTo>
                    <a:pt x="130" y="394"/>
                  </a:lnTo>
                  <a:lnTo>
                    <a:pt x="136" y="390"/>
                  </a:lnTo>
                  <a:lnTo>
                    <a:pt x="142" y="382"/>
                  </a:lnTo>
                  <a:lnTo>
                    <a:pt x="144" y="372"/>
                  </a:lnTo>
                  <a:lnTo>
                    <a:pt x="144" y="64"/>
                  </a:lnTo>
                  <a:lnTo>
                    <a:pt x="152" y="64"/>
                  </a:lnTo>
                  <a:lnTo>
                    <a:pt x="152" y="176"/>
                  </a:lnTo>
                  <a:lnTo>
                    <a:pt x="152" y="176"/>
                  </a:lnTo>
                  <a:lnTo>
                    <a:pt x="154" y="184"/>
                  </a:lnTo>
                  <a:lnTo>
                    <a:pt x="158" y="190"/>
                  </a:lnTo>
                  <a:lnTo>
                    <a:pt x="164" y="192"/>
                  </a:lnTo>
                  <a:lnTo>
                    <a:pt x="170" y="194"/>
                  </a:lnTo>
                  <a:lnTo>
                    <a:pt x="176" y="192"/>
                  </a:lnTo>
                  <a:lnTo>
                    <a:pt x="182" y="190"/>
                  </a:lnTo>
                  <a:lnTo>
                    <a:pt x="186" y="184"/>
                  </a:lnTo>
                  <a:lnTo>
                    <a:pt x="188" y="176"/>
                  </a:lnTo>
                  <a:lnTo>
                    <a:pt x="188" y="54"/>
                  </a:lnTo>
                  <a:lnTo>
                    <a:pt x="188" y="54"/>
                  </a:lnTo>
                  <a:lnTo>
                    <a:pt x="186" y="44"/>
                  </a:lnTo>
                  <a:lnTo>
                    <a:pt x="184" y="34"/>
                  </a:lnTo>
                  <a:lnTo>
                    <a:pt x="178" y="24"/>
                  </a:lnTo>
                  <a:lnTo>
                    <a:pt x="172" y="18"/>
                  </a:lnTo>
                  <a:lnTo>
                    <a:pt x="166" y="10"/>
                  </a:lnTo>
                  <a:lnTo>
                    <a:pt x="156" y="6"/>
                  </a:lnTo>
                  <a:lnTo>
                    <a:pt x="146" y="2"/>
                  </a:lnTo>
                  <a:lnTo>
                    <a:pt x="136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</p:grpSp>
      <p:pic>
        <p:nvPicPr>
          <p:cNvPr id="96" name="Picture 9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53" y="2494467"/>
            <a:ext cx="857957" cy="253097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33126" y="361624"/>
            <a:ext cx="7137706" cy="914400"/>
          </a:xfrm>
        </p:spPr>
        <p:txBody>
          <a:bodyPr/>
          <a:lstStyle/>
          <a:p>
            <a:r>
              <a:rPr lang="ru-RU" dirty="0" smtClean="0"/>
              <a:t>Выявить отток клиентов и повысить лояльность клиентов </a:t>
            </a:r>
            <a:r>
              <a:rPr dirty="0"/>
              <a:t/>
            </a:r>
            <a:br>
              <a:rPr dirty="0"/>
            </a:br>
            <a:endParaRPr lang="ru-RU" dirty="0"/>
          </a:p>
        </p:txBody>
      </p:sp>
      <p:sp>
        <p:nvSpPr>
          <p:cNvPr id="93" name="Rectangle 17"/>
          <p:cNvSpPr>
            <a:spLocks/>
          </p:cNvSpPr>
          <p:nvPr/>
        </p:nvSpPr>
        <p:spPr bwMode="auto">
          <a:xfrm>
            <a:off x="142451" y="1237607"/>
            <a:ext cx="7389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rgbClr val="FFFFFF"/>
                </a:solidFill>
                <a:latin typeface="+mj-lt"/>
                <a:sym typeface="Helvetica Neue" charset="0"/>
              </a:rPr>
              <a:t>Машинное обучение</a:t>
            </a:r>
          </a:p>
        </p:txBody>
      </p:sp>
      <p:sp>
        <p:nvSpPr>
          <p:cNvPr id="97" name="Rectangle 17"/>
          <p:cNvSpPr>
            <a:spLocks/>
          </p:cNvSpPr>
          <p:nvPr/>
        </p:nvSpPr>
        <p:spPr bwMode="auto">
          <a:xfrm>
            <a:off x="142450" y="1684774"/>
            <a:ext cx="79730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rgbClr val="FFFFFF"/>
                </a:solidFill>
                <a:latin typeface="+mj-lt"/>
                <a:sym typeface="Helvetica Neue" charset="0"/>
              </a:rPr>
              <a:t>Имитационное моделирование</a:t>
            </a:r>
            <a:endParaRPr lang="ru-RU" sz="800" i="1" dirty="0">
              <a:solidFill>
                <a:srgbClr val="FFFFFF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98" name="Rectangle 17"/>
          <p:cNvSpPr>
            <a:spLocks/>
          </p:cNvSpPr>
          <p:nvPr/>
        </p:nvSpPr>
        <p:spPr bwMode="auto">
          <a:xfrm>
            <a:off x="142451" y="2124246"/>
            <a:ext cx="73896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i="1" dirty="0" smtClean="0">
                <a:solidFill>
                  <a:srgbClr val="FFFFFF"/>
                </a:solidFill>
                <a:latin typeface="+mj-lt"/>
                <a:sym typeface="Helvetica Neue" charset="0"/>
              </a:rPr>
              <a:t>Text mining</a:t>
            </a:r>
            <a:endParaRPr lang="ru-RU" sz="800" i="1" dirty="0">
              <a:solidFill>
                <a:srgbClr val="FFFFFF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48421" y="3650339"/>
            <a:ext cx="727019" cy="749071"/>
            <a:chOff x="148422" y="3478099"/>
            <a:chExt cx="727019" cy="749071"/>
          </a:xfrm>
        </p:grpSpPr>
        <p:sp>
          <p:nvSpPr>
            <p:cNvPr id="30" name="Rectangle 17"/>
            <p:cNvSpPr>
              <a:spLocks/>
            </p:cNvSpPr>
            <p:nvPr/>
          </p:nvSpPr>
          <p:spPr bwMode="auto">
            <a:xfrm>
              <a:off x="148422" y="3673172"/>
              <a:ext cx="727019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rgbClr val="FFFFFF"/>
                  </a:solidFill>
                  <a:latin typeface="+mj-lt"/>
                  <a:sym typeface="Helvetica Neue" charset="0"/>
                </a:rPr>
                <a:t>Веб-ресурсы, продукт, датчики, приложения</a:t>
              </a:r>
              <a:endParaRPr lang="ru-RU" sz="900" i="1" dirty="0">
                <a:solidFill>
                  <a:srgbClr val="FFFFFF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grpSp>
          <p:nvGrpSpPr>
            <p:cNvPr id="99" name="Group 157"/>
            <p:cNvGrpSpPr>
              <a:grpSpLocks noChangeAspect="1"/>
            </p:cNvGrpSpPr>
            <p:nvPr/>
          </p:nvGrpSpPr>
          <p:grpSpPr bwMode="auto">
            <a:xfrm>
              <a:off x="384568" y="3478099"/>
              <a:ext cx="254721" cy="240654"/>
              <a:chOff x="3815" y="1810"/>
              <a:chExt cx="2354" cy="2224"/>
            </a:xfrm>
            <a:solidFill>
              <a:schemeClr val="bg1"/>
            </a:solidFill>
          </p:grpSpPr>
          <p:sp>
            <p:nvSpPr>
              <p:cNvPr id="100" name="Freeform 159"/>
              <p:cNvSpPr>
                <a:spLocks noEditPoints="1"/>
              </p:cNvSpPr>
              <p:nvPr/>
            </p:nvSpPr>
            <p:spPr bwMode="auto">
              <a:xfrm>
                <a:off x="3815" y="1810"/>
                <a:ext cx="2021" cy="1982"/>
              </a:xfrm>
              <a:custGeom>
                <a:avLst/>
                <a:gdLst>
                  <a:gd name="T0" fmla="*/ 3423 w 4043"/>
                  <a:gd name="T1" fmla="*/ 409 h 3965"/>
                  <a:gd name="T2" fmla="*/ 3363 w 4043"/>
                  <a:gd name="T3" fmla="*/ 435 h 3965"/>
                  <a:gd name="T4" fmla="*/ 3317 w 4043"/>
                  <a:gd name="T5" fmla="*/ 481 h 3965"/>
                  <a:gd name="T6" fmla="*/ 3291 w 4043"/>
                  <a:gd name="T7" fmla="*/ 542 h 3965"/>
                  <a:gd name="T8" fmla="*/ 3291 w 4043"/>
                  <a:gd name="T9" fmla="*/ 611 h 3965"/>
                  <a:gd name="T10" fmla="*/ 3317 w 4043"/>
                  <a:gd name="T11" fmla="*/ 671 h 3965"/>
                  <a:gd name="T12" fmla="*/ 3363 w 4043"/>
                  <a:gd name="T13" fmla="*/ 716 h 3965"/>
                  <a:gd name="T14" fmla="*/ 3423 w 4043"/>
                  <a:gd name="T15" fmla="*/ 742 h 3965"/>
                  <a:gd name="T16" fmla="*/ 3491 w 4043"/>
                  <a:gd name="T17" fmla="*/ 742 h 3965"/>
                  <a:gd name="T18" fmla="*/ 3553 w 4043"/>
                  <a:gd name="T19" fmla="*/ 716 h 3965"/>
                  <a:gd name="T20" fmla="*/ 3598 w 4043"/>
                  <a:gd name="T21" fmla="*/ 671 h 3965"/>
                  <a:gd name="T22" fmla="*/ 3624 w 4043"/>
                  <a:gd name="T23" fmla="*/ 611 h 3965"/>
                  <a:gd name="T24" fmla="*/ 3624 w 4043"/>
                  <a:gd name="T25" fmla="*/ 542 h 3965"/>
                  <a:gd name="T26" fmla="*/ 3598 w 4043"/>
                  <a:gd name="T27" fmla="*/ 481 h 3965"/>
                  <a:gd name="T28" fmla="*/ 3553 w 4043"/>
                  <a:gd name="T29" fmla="*/ 435 h 3965"/>
                  <a:gd name="T30" fmla="*/ 3491 w 4043"/>
                  <a:gd name="T31" fmla="*/ 409 h 3965"/>
                  <a:gd name="T32" fmla="*/ 2924 w 4043"/>
                  <a:gd name="T33" fmla="*/ 406 h 3965"/>
                  <a:gd name="T34" fmla="*/ 2858 w 4043"/>
                  <a:gd name="T35" fmla="*/ 419 h 3965"/>
                  <a:gd name="T36" fmla="*/ 2804 w 4043"/>
                  <a:gd name="T37" fmla="*/ 456 h 3965"/>
                  <a:gd name="T38" fmla="*/ 2768 w 4043"/>
                  <a:gd name="T39" fmla="*/ 511 h 3965"/>
                  <a:gd name="T40" fmla="*/ 2755 w 4043"/>
                  <a:gd name="T41" fmla="*/ 576 h 3965"/>
                  <a:gd name="T42" fmla="*/ 2768 w 4043"/>
                  <a:gd name="T43" fmla="*/ 642 h 3965"/>
                  <a:gd name="T44" fmla="*/ 2804 w 4043"/>
                  <a:gd name="T45" fmla="*/ 696 h 3965"/>
                  <a:gd name="T46" fmla="*/ 2858 w 4043"/>
                  <a:gd name="T47" fmla="*/ 732 h 3965"/>
                  <a:gd name="T48" fmla="*/ 2924 w 4043"/>
                  <a:gd name="T49" fmla="*/ 746 h 3965"/>
                  <a:gd name="T50" fmla="*/ 2991 w 4043"/>
                  <a:gd name="T51" fmla="*/ 732 h 3965"/>
                  <a:gd name="T52" fmla="*/ 3045 w 4043"/>
                  <a:gd name="T53" fmla="*/ 696 h 3965"/>
                  <a:gd name="T54" fmla="*/ 3081 w 4043"/>
                  <a:gd name="T55" fmla="*/ 642 h 3965"/>
                  <a:gd name="T56" fmla="*/ 3094 w 4043"/>
                  <a:gd name="T57" fmla="*/ 576 h 3965"/>
                  <a:gd name="T58" fmla="*/ 3081 w 4043"/>
                  <a:gd name="T59" fmla="*/ 511 h 3965"/>
                  <a:gd name="T60" fmla="*/ 3045 w 4043"/>
                  <a:gd name="T61" fmla="*/ 456 h 3965"/>
                  <a:gd name="T62" fmla="*/ 2991 w 4043"/>
                  <a:gd name="T63" fmla="*/ 419 h 3965"/>
                  <a:gd name="T64" fmla="*/ 2924 w 4043"/>
                  <a:gd name="T65" fmla="*/ 406 h 3965"/>
                  <a:gd name="T66" fmla="*/ 3924 w 4043"/>
                  <a:gd name="T67" fmla="*/ 0 h 3965"/>
                  <a:gd name="T68" fmla="*/ 3984 w 4043"/>
                  <a:gd name="T69" fmla="*/ 18 h 3965"/>
                  <a:gd name="T70" fmla="*/ 4027 w 4043"/>
                  <a:gd name="T71" fmla="*/ 60 h 3965"/>
                  <a:gd name="T72" fmla="*/ 4043 w 4043"/>
                  <a:gd name="T73" fmla="*/ 120 h 3965"/>
                  <a:gd name="T74" fmla="*/ 4026 w 4043"/>
                  <a:gd name="T75" fmla="*/ 1778 h 3965"/>
                  <a:gd name="T76" fmla="*/ 3943 w 4043"/>
                  <a:gd name="T77" fmla="*/ 1795 h 3965"/>
                  <a:gd name="T78" fmla="*/ 3874 w 4043"/>
                  <a:gd name="T79" fmla="*/ 1841 h 3965"/>
                  <a:gd name="T80" fmla="*/ 3809 w 4043"/>
                  <a:gd name="T81" fmla="*/ 1868 h 3965"/>
                  <a:gd name="T82" fmla="*/ 3744 w 4043"/>
                  <a:gd name="T83" fmla="*/ 1878 h 3965"/>
                  <a:gd name="T84" fmla="*/ 3686 w 4043"/>
                  <a:gd name="T85" fmla="*/ 1908 h 3965"/>
                  <a:gd name="T86" fmla="*/ 357 w 4043"/>
                  <a:gd name="T87" fmla="*/ 1095 h 3965"/>
                  <a:gd name="T88" fmla="*/ 2587 w 4043"/>
                  <a:gd name="T89" fmla="*/ 3608 h 3965"/>
                  <a:gd name="T90" fmla="*/ 2585 w 4043"/>
                  <a:gd name="T91" fmla="*/ 3839 h 3965"/>
                  <a:gd name="T92" fmla="*/ 2602 w 4043"/>
                  <a:gd name="T93" fmla="*/ 3926 h 3965"/>
                  <a:gd name="T94" fmla="*/ 119 w 4043"/>
                  <a:gd name="T95" fmla="*/ 3965 h 3965"/>
                  <a:gd name="T96" fmla="*/ 59 w 4043"/>
                  <a:gd name="T97" fmla="*/ 3949 h 3965"/>
                  <a:gd name="T98" fmla="*/ 16 w 4043"/>
                  <a:gd name="T99" fmla="*/ 3906 h 3965"/>
                  <a:gd name="T100" fmla="*/ 0 w 4043"/>
                  <a:gd name="T101" fmla="*/ 3846 h 3965"/>
                  <a:gd name="T102" fmla="*/ 4 w 4043"/>
                  <a:gd name="T103" fmla="*/ 88 h 3965"/>
                  <a:gd name="T104" fmla="*/ 34 w 4043"/>
                  <a:gd name="T105" fmla="*/ 36 h 3965"/>
                  <a:gd name="T106" fmla="*/ 87 w 4043"/>
                  <a:gd name="T107" fmla="*/ 5 h 3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43" h="3965">
                    <a:moveTo>
                      <a:pt x="3457" y="406"/>
                    </a:moveTo>
                    <a:lnTo>
                      <a:pt x="3423" y="409"/>
                    </a:lnTo>
                    <a:lnTo>
                      <a:pt x="3391" y="419"/>
                    </a:lnTo>
                    <a:lnTo>
                      <a:pt x="3363" y="435"/>
                    </a:lnTo>
                    <a:lnTo>
                      <a:pt x="3337" y="456"/>
                    </a:lnTo>
                    <a:lnTo>
                      <a:pt x="3317" y="481"/>
                    </a:lnTo>
                    <a:lnTo>
                      <a:pt x="3301" y="511"/>
                    </a:lnTo>
                    <a:lnTo>
                      <a:pt x="3291" y="542"/>
                    </a:lnTo>
                    <a:lnTo>
                      <a:pt x="3287" y="576"/>
                    </a:lnTo>
                    <a:lnTo>
                      <a:pt x="3291" y="611"/>
                    </a:lnTo>
                    <a:lnTo>
                      <a:pt x="3301" y="642"/>
                    </a:lnTo>
                    <a:lnTo>
                      <a:pt x="3317" y="671"/>
                    </a:lnTo>
                    <a:lnTo>
                      <a:pt x="3337" y="696"/>
                    </a:lnTo>
                    <a:lnTo>
                      <a:pt x="3363" y="716"/>
                    </a:lnTo>
                    <a:lnTo>
                      <a:pt x="3391" y="732"/>
                    </a:lnTo>
                    <a:lnTo>
                      <a:pt x="3423" y="742"/>
                    </a:lnTo>
                    <a:lnTo>
                      <a:pt x="3457" y="746"/>
                    </a:lnTo>
                    <a:lnTo>
                      <a:pt x="3491" y="742"/>
                    </a:lnTo>
                    <a:lnTo>
                      <a:pt x="3524" y="732"/>
                    </a:lnTo>
                    <a:lnTo>
                      <a:pt x="3553" y="716"/>
                    </a:lnTo>
                    <a:lnTo>
                      <a:pt x="3577" y="696"/>
                    </a:lnTo>
                    <a:lnTo>
                      <a:pt x="3598" y="671"/>
                    </a:lnTo>
                    <a:lnTo>
                      <a:pt x="3614" y="642"/>
                    </a:lnTo>
                    <a:lnTo>
                      <a:pt x="3624" y="611"/>
                    </a:lnTo>
                    <a:lnTo>
                      <a:pt x="3627" y="576"/>
                    </a:lnTo>
                    <a:lnTo>
                      <a:pt x="3624" y="542"/>
                    </a:lnTo>
                    <a:lnTo>
                      <a:pt x="3614" y="511"/>
                    </a:lnTo>
                    <a:lnTo>
                      <a:pt x="3598" y="481"/>
                    </a:lnTo>
                    <a:lnTo>
                      <a:pt x="3577" y="456"/>
                    </a:lnTo>
                    <a:lnTo>
                      <a:pt x="3553" y="435"/>
                    </a:lnTo>
                    <a:lnTo>
                      <a:pt x="3524" y="419"/>
                    </a:lnTo>
                    <a:lnTo>
                      <a:pt x="3491" y="409"/>
                    </a:lnTo>
                    <a:lnTo>
                      <a:pt x="3457" y="406"/>
                    </a:lnTo>
                    <a:close/>
                    <a:moveTo>
                      <a:pt x="2924" y="406"/>
                    </a:moveTo>
                    <a:lnTo>
                      <a:pt x="2890" y="409"/>
                    </a:lnTo>
                    <a:lnTo>
                      <a:pt x="2858" y="419"/>
                    </a:lnTo>
                    <a:lnTo>
                      <a:pt x="2830" y="435"/>
                    </a:lnTo>
                    <a:lnTo>
                      <a:pt x="2804" y="456"/>
                    </a:lnTo>
                    <a:lnTo>
                      <a:pt x="2784" y="481"/>
                    </a:lnTo>
                    <a:lnTo>
                      <a:pt x="2768" y="511"/>
                    </a:lnTo>
                    <a:lnTo>
                      <a:pt x="2758" y="542"/>
                    </a:lnTo>
                    <a:lnTo>
                      <a:pt x="2755" y="576"/>
                    </a:lnTo>
                    <a:lnTo>
                      <a:pt x="2758" y="611"/>
                    </a:lnTo>
                    <a:lnTo>
                      <a:pt x="2768" y="642"/>
                    </a:lnTo>
                    <a:lnTo>
                      <a:pt x="2784" y="671"/>
                    </a:lnTo>
                    <a:lnTo>
                      <a:pt x="2804" y="696"/>
                    </a:lnTo>
                    <a:lnTo>
                      <a:pt x="2830" y="716"/>
                    </a:lnTo>
                    <a:lnTo>
                      <a:pt x="2858" y="732"/>
                    </a:lnTo>
                    <a:lnTo>
                      <a:pt x="2890" y="742"/>
                    </a:lnTo>
                    <a:lnTo>
                      <a:pt x="2924" y="746"/>
                    </a:lnTo>
                    <a:lnTo>
                      <a:pt x="2958" y="742"/>
                    </a:lnTo>
                    <a:lnTo>
                      <a:pt x="2991" y="732"/>
                    </a:lnTo>
                    <a:lnTo>
                      <a:pt x="3020" y="716"/>
                    </a:lnTo>
                    <a:lnTo>
                      <a:pt x="3045" y="696"/>
                    </a:lnTo>
                    <a:lnTo>
                      <a:pt x="3065" y="671"/>
                    </a:lnTo>
                    <a:lnTo>
                      <a:pt x="3081" y="642"/>
                    </a:lnTo>
                    <a:lnTo>
                      <a:pt x="3091" y="611"/>
                    </a:lnTo>
                    <a:lnTo>
                      <a:pt x="3094" y="576"/>
                    </a:lnTo>
                    <a:lnTo>
                      <a:pt x="3091" y="542"/>
                    </a:lnTo>
                    <a:lnTo>
                      <a:pt x="3081" y="511"/>
                    </a:lnTo>
                    <a:lnTo>
                      <a:pt x="3065" y="481"/>
                    </a:lnTo>
                    <a:lnTo>
                      <a:pt x="3045" y="456"/>
                    </a:lnTo>
                    <a:lnTo>
                      <a:pt x="3020" y="435"/>
                    </a:lnTo>
                    <a:lnTo>
                      <a:pt x="2991" y="419"/>
                    </a:lnTo>
                    <a:lnTo>
                      <a:pt x="2958" y="409"/>
                    </a:lnTo>
                    <a:lnTo>
                      <a:pt x="2924" y="406"/>
                    </a:lnTo>
                    <a:close/>
                    <a:moveTo>
                      <a:pt x="119" y="0"/>
                    </a:moveTo>
                    <a:lnTo>
                      <a:pt x="3924" y="0"/>
                    </a:lnTo>
                    <a:lnTo>
                      <a:pt x="3956" y="5"/>
                    </a:lnTo>
                    <a:lnTo>
                      <a:pt x="3984" y="18"/>
                    </a:lnTo>
                    <a:lnTo>
                      <a:pt x="4009" y="36"/>
                    </a:lnTo>
                    <a:lnTo>
                      <a:pt x="4027" y="60"/>
                    </a:lnTo>
                    <a:lnTo>
                      <a:pt x="4039" y="88"/>
                    </a:lnTo>
                    <a:lnTo>
                      <a:pt x="4043" y="120"/>
                    </a:lnTo>
                    <a:lnTo>
                      <a:pt x="4043" y="1778"/>
                    </a:lnTo>
                    <a:lnTo>
                      <a:pt x="4026" y="1778"/>
                    </a:lnTo>
                    <a:lnTo>
                      <a:pt x="3983" y="1783"/>
                    </a:lnTo>
                    <a:lnTo>
                      <a:pt x="3943" y="1795"/>
                    </a:lnTo>
                    <a:lnTo>
                      <a:pt x="3907" y="1815"/>
                    </a:lnTo>
                    <a:lnTo>
                      <a:pt x="3874" y="1841"/>
                    </a:lnTo>
                    <a:lnTo>
                      <a:pt x="3849" y="1873"/>
                    </a:lnTo>
                    <a:lnTo>
                      <a:pt x="3809" y="1868"/>
                    </a:lnTo>
                    <a:lnTo>
                      <a:pt x="3776" y="1871"/>
                    </a:lnTo>
                    <a:lnTo>
                      <a:pt x="3744" y="1878"/>
                    </a:lnTo>
                    <a:lnTo>
                      <a:pt x="3713" y="1891"/>
                    </a:lnTo>
                    <a:lnTo>
                      <a:pt x="3686" y="1908"/>
                    </a:lnTo>
                    <a:lnTo>
                      <a:pt x="3686" y="1095"/>
                    </a:lnTo>
                    <a:lnTo>
                      <a:pt x="357" y="1095"/>
                    </a:lnTo>
                    <a:lnTo>
                      <a:pt x="357" y="3608"/>
                    </a:lnTo>
                    <a:lnTo>
                      <a:pt x="2587" y="3608"/>
                    </a:lnTo>
                    <a:lnTo>
                      <a:pt x="2585" y="3640"/>
                    </a:lnTo>
                    <a:lnTo>
                      <a:pt x="2585" y="3839"/>
                    </a:lnTo>
                    <a:lnTo>
                      <a:pt x="2590" y="3885"/>
                    </a:lnTo>
                    <a:lnTo>
                      <a:pt x="2602" y="3926"/>
                    </a:lnTo>
                    <a:lnTo>
                      <a:pt x="2622" y="3965"/>
                    </a:lnTo>
                    <a:lnTo>
                      <a:pt x="119" y="3965"/>
                    </a:lnTo>
                    <a:lnTo>
                      <a:pt x="87" y="3961"/>
                    </a:lnTo>
                    <a:lnTo>
                      <a:pt x="59" y="3949"/>
                    </a:lnTo>
                    <a:lnTo>
                      <a:pt x="34" y="3931"/>
                    </a:lnTo>
                    <a:lnTo>
                      <a:pt x="16" y="3906"/>
                    </a:lnTo>
                    <a:lnTo>
                      <a:pt x="4" y="3878"/>
                    </a:lnTo>
                    <a:lnTo>
                      <a:pt x="0" y="3846"/>
                    </a:lnTo>
                    <a:lnTo>
                      <a:pt x="0" y="120"/>
                    </a:lnTo>
                    <a:lnTo>
                      <a:pt x="4" y="88"/>
                    </a:lnTo>
                    <a:lnTo>
                      <a:pt x="16" y="60"/>
                    </a:lnTo>
                    <a:lnTo>
                      <a:pt x="34" y="36"/>
                    </a:lnTo>
                    <a:lnTo>
                      <a:pt x="59" y="18"/>
                    </a:lnTo>
                    <a:lnTo>
                      <a:pt x="87" y="5"/>
                    </a:lnTo>
                    <a:lnTo>
                      <a:pt x="1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latin typeface="+mj-lt"/>
                </a:endParaRPr>
              </a:p>
            </p:txBody>
          </p:sp>
          <p:sp>
            <p:nvSpPr>
              <p:cNvPr id="104" name="Freeform 160"/>
              <p:cNvSpPr>
                <a:spLocks noEditPoints="1"/>
              </p:cNvSpPr>
              <p:nvPr/>
            </p:nvSpPr>
            <p:spPr bwMode="auto">
              <a:xfrm>
                <a:off x="4491" y="2507"/>
                <a:ext cx="895" cy="895"/>
              </a:xfrm>
              <a:custGeom>
                <a:avLst/>
                <a:gdLst>
                  <a:gd name="T0" fmla="*/ 727 w 1791"/>
                  <a:gd name="T1" fmla="*/ 498 h 1790"/>
                  <a:gd name="T2" fmla="*/ 554 w 1791"/>
                  <a:gd name="T3" fmla="*/ 632 h 1790"/>
                  <a:gd name="T4" fmla="*/ 469 w 1791"/>
                  <a:gd name="T5" fmla="*/ 836 h 1790"/>
                  <a:gd name="T6" fmla="*/ 499 w 1791"/>
                  <a:gd name="T7" fmla="*/ 1062 h 1790"/>
                  <a:gd name="T8" fmla="*/ 632 w 1791"/>
                  <a:gd name="T9" fmla="*/ 1236 h 1790"/>
                  <a:gd name="T10" fmla="*/ 837 w 1791"/>
                  <a:gd name="T11" fmla="*/ 1322 h 1790"/>
                  <a:gd name="T12" fmla="*/ 1063 w 1791"/>
                  <a:gd name="T13" fmla="*/ 1292 h 1790"/>
                  <a:gd name="T14" fmla="*/ 1236 w 1791"/>
                  <a:gd name="T15" fmla="*/ 1158 h 1790"/>
                  <a:gd name="T16" fmla="*/ 1323 w 1791"/>
                  <a:gd name="T17" fmla="*/ 953 h 1790"/>
                  <a:gd name="T18" fmla="*/ 1293 w 1791"/>
                  <a:gd name="T19" fmla="*/ 728 h 1790"/>
                  <a:gd name="T20" fmla="*/ 1159 w 1791"/>
                  <a:gd name="T21" fmla="*/ 553 h 1790"/>
                  <a:gd name="T22" fmla="*/ 955 w 1791"/>
                  <a:gd name="T23" fmla="*/ 468 h 1790"/>
                  <a:gd name="T24" fmla="*/ 1052 w 1791"/>
                  <a:gd name="T25" fmla="*/ 3 h 1790"/>
                  <a:gd name="T26" fmla="*/ 1139 w 1791"/>
                  <a:gd name="T27" fmla="*/ 73 h 1790"/>
                  <a:gd name="T28" fmla="*/ 1192 w 1791"/>
                  <a:gd name="T29" fmla="*/ 180 h 1790"/>
                  <a:gd name="T30" fmla="*/ 1303 w 1791"/>
                  <a:gd name="T31" fmla="*/ 142 h 1790"/>
                  <a:gd name="T32" fmla="*/ 1416 w 1791"/>
                  <a:gd name="T33" fmla="*/ 155 h 1790"/>
                  <a:gd name="T34" fmla="*/ 1649 w 1791"/>
                  <a:gd name="T35" fmla="*/ 402 h 1790"/>
                  <a:gd name="T36" fmla="*/ 1636 w 1791"/>
                  <a:gd name="T37" fmla="*/ 513 h 1790"/>
                  <a:gd name="T38" fmla="*/ 1625 w 1791"/>
                  <a:gd name="T39" fmla="*/ 638 h 1790"/>
                  <a:gd name="T40" fmla="*/ 1741 w 1791"/>
                  <a:gd name="T41" fmla="*/ 666 h 1790"/>
                  <a:gd name="T42" fmla="*/ 1791 w 1791"/>
                  <a:gd name="T43" fmla="*/ 769 h 1790"/>
                  <a:gd name="T44" fmla="*/ 1762 w 1791"/>
                  <a:gd name="T45" fmla="*/ 1104 h 1790"/>
                  <a:gd name="T46" fmla="*/ 1659 w 1791"/>
                  <a:gd name="T47" fmla="*/ 1152 h 1790"/>
                  <a:gd name="T48" fmla="*/ 1618 w 1791"/>
                  <a:gd name="T49" fmla="*/ 1252 h 1790"/>
                  <a:gd name="T50" fmla="*/ 1655 w 1791"/>
                  <a:gd name="T51" fmla="*/ 1361 h 1790"/>
                  <a:gd name="T52" fmla="*/ 1439 w 1791"/>
                  <a:gd name="T53" fmla="*/ 1617 h 1790"/>
                  <a:gd name="T54" fmla="*/ 1332 w 1791"/>
                  <a:gd name="T55" fmla="*/ 1655 h 1790"/>
                  <a:gd name="T56" fmla="*/ 1229 w 1791"/>
                  <a:gd name="T57" fmla="*/ 1592 h 1790"/>
                  <a:gd name="T58" fmla="*/ 1149 w 1791"/>
                  <a:gd name="T59" fmla="*/ 1688 h 1790"/>
                  <a:gd name="T60" fmla="*/ 1079 w 1791"/>
                  <a:gd name="T61" fmla="*/ 1777 h 1790"/>
                  <a:gd name="T62" fmla="*/ 740 w 1791"/>
                  <a:gd name="T63" fmla="*/ 1787 h 1790"/>
                  <a:gd name="T64" fmla="*/ 652 w 1791"/>
                  <a:gd name="T65" fmla="*/ 1717 h 1790"/>
                  <a:gd name="T66" fmla="*/ 600 w 1791"/>
                  <a:gd name="T67" fmla="*/ 1609 h 1790"/>
                  <a:gd name="T68" fmla="*/ 487 w 1791"/>
                  <a:gd name="T69" fmla="*/ 1648 h 1790"/>
                  <a:gd name="T70" fmla="*/ 374 w 1791"/>
                  <a:gd name="T71" fmla="*/ 1635 h 1790"/>
                  <a:gd name="T72" fmla="*/ 141 w 1791"/>
                  <a:gd name="T73" fmla="*/ 1389 h 1790"/>
                  <a:gd name="T74" fmla="*/ 154 w 1791"/>
                  <a:gd name="T75" fmla="*/ 1276 h 1790"/>
                  <a:gd name="T76" fmla="*/ 167 w 1791"/>
                  <a:gd name="T77" fmla="*/ 1152 h 1790"/>
                  <a:gd name="T78" fmla="*/ 50 w 1791"/>
                  <a:gd name="T79" fmla="*/ 1124 h 1790"/>
                  <a:gd name="T80" fmla="*/ 0 w 1791"/>
                  <a:gd name="T81" fmla="*/ 1021 h 1790"/>
                  <a:gd name="T82" fmla="*/ 29 w 1791"/>
                  <a:gd name="T83" fmla="*/ 686 h 1790"/>
                  <a:gd name="T84" fmla="*/ 133 w 1791"/>
                  <a:gd name="T85" fmla="*/ 638 h 1790"/>
                  <a:gd name="T86" fmla="*/ 174 w 1791"/>
                  <a:gd name="T87" fmla="*/ 538 h 1790"/>
                  <a:gd name="T88" fmla="*/ 136 w 1791"/>
                  <a:gd name="T89" fmla="*/ 429 h 1790"/>
                  <a:gd name="T90" fmla="*/ 351 w 1791"/>
                  <a:gd name="T91" fmla="*/ 173 h 1790"/>
                  <a:gd name="T92" fmla="*/ 459 w 1791"/>
                  <a:gd name="T93" fmla="*/ 135 h 1790"/>
                  <a:gd name="T94" fmla="*/ 562 w 1791"/>
                  <a:gd name="T95" fmla="*/ 197 h 1790"/>
                  <a:gd name="T96" fmla="*/ 642 w 1791"/>
                  <a:gd name="T97" fmla="*/ 102 h 1790"/>
                  <a:gd name="T98" fmla="*/ 712 w 1791"/>
                  <a:gd name="T99" fmla="*/ 13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91" h="1790">
                    <a:moveTo>
                      <a:pt x="896" y="463"/>
                    </a:moveTo>
                    <a:lnTo>
                      <a:pt x="837" y="468"/>
                    </a:lnTo>
                    <a:lnTo>
                      <a:pt x="780" y="479"/>
                    </a:lnTo>
                    <a:lnTo>
                      <a:pt x="727" y="498"/>
                    </a:lnTo>
                    <a:lnTo>
                      <a:pt x="677" y="523"/>
                    </a:lnTo>
                    <a:lnTo>
                      <a:pt x="632" y="553"/>
                    </a:lnTo>
                    <a:lnTo>
                      <a:pt x="590" y="590"/>
                    </a:lnTo>
                    <a:lnTo>
                      <a:pt x="554" y="632"/>
                    </a:lnTo>
                    <a:lnTo>
                      <a:pt x="523" y="678"/>
                    </a:lnTo>
                    <a:lnTo>
                      <a:pt x="499" y="728"/>
                    </a:lnTo>
                    <a:lnTo>
                      <a:pt x="480" y="781"/>
                    </a:lnTo>
                    <a:lnTo>
                      <a:pt x="469" y="836"/>
                    </a:lnTo>
                    <a:lnTo>
                      <a:pt x="464" y="895"/>
                    </a:lnTo>
                    <a:lnTo>
                      <a:pt x="469" y="953"/>
                    </a:lnTo>
                    <a:lnTo>
                      <a:pt x="480" y="1009"/>
                    </a:lnTo>
                    <a:lnTo>
                      <a:pt x="499" y="1062"/>
                    </a:lnTo>
                    <a:lnTo>
                      <a:pt x="523" y="1112"/>
                    </a:lnTo>
                    <a:lnTo>
                      <a:pt x="554" y="1158"/>
                    </a:lnTo>
                    <a:lnTo>
                      <a:pt x="590" y="1199"/>
                    </a:lnTo>
                    <a:lnTo>
                      <a:pt x="632" y="1236"/>
                    </a:lnTo>
                    <a:lnTo>
                      <a:pt x="677" y="1268"/>
                    </a:lnTo>
                    <a:lnTo>
                      <a:pt x="727" y="1292"/>
                    </a:lnTo>
                    <a:lnTo>
                      <a:pt x="780" y="1311"/>
                    </a:lnTo>
                    <a:lnTo>
                      <a:pt x="837" y="1322"/>
                    </a:lnTo>
                    <a:lnTo>
                      <a:pt x="896" y="1326"/>
                    </a:lnTo>
                    <a:lnTo>
                      <a:pt x="955" y="1322"/>
                    </a:lnTo>
                    <a:lnTo>
                      <a:pt x="1010" y="1311"/>
                    </a:lnTo>
                    <a:lnTo>
                      <a:pt x="1063" y="1292"/>
                    </a:lnTo>
                    <a:lnTo>
                      <a:pt x="1113" y="1268"/>
                    </a:lnTo>
                    <a:lnTo>
                      <a:pt x="1159" y="1236"/>
                    </a:lnTo>
                    <a:lnTo>
                      <a:pt x="1200" y="1199"/>
                    </a:lnTo>
                    <a:lnTo>
                      <a:pt x="1236" y="1158"/>
                    </a:lnTo>
                    <a:lnTo>
                      <a:pt x="1268" y="1112"/>
                    </a:lnTo>
                    <a:lnTo>
                      <a:pt x="1293" y="1062"/>
                    </a:lnTo>
                    <a:lnTo>
                      <a:pt x="1310" y="1009"/>
                    </a:lnTo>
                    <a:lnTo>
                      <a:pt x="1323" y="953"/>
                    </a:lnTo>
                    <a:lnTo>
                      <a:pt x="1326" y="895"/>
                    </a:lnTo>
                    <a:lnTo>
                      <a:pt x="1323" y="836"/>
                    </a:lnTo>
                    <a:lnTo>
                      <a:pt x="1310" y="781"/>
                    </a:lnTo>
                    <a:lnTo>
                      <a:pt x="1293" y="728"/>
                    </a:lnTo>
                    <a:lnTo>
                      <a:pt x="1268" y="678"/>
                    </a:lnTo>
                    <a:lnTo>
                      <a:pt x="1236" y="632"/>
                    </a:lnTo>
                    <a:lnTo>
                      <a:pt x="1200" y="590"/>
                    </a:lnTo>
                    <a:lnTo>
                      <a:pt x="1159" y="553"/>
                    </a:lnTo>
                    <a:lnTo>
                      <a:pt x="1113" y="523"/>
                    </a:lnTo>
                    <a:lnTo>
                      <a:pt x="1063" y="498"/>
                    </a:lnTo>
                    <a:lnTo>
                      <a:pt x="1010" y="479"/>
                    </a:lnTo>
                    <a:lnTo>
                      <a:pt x="955" y="468"/>
                    </a:lnTo>
                    <a:lnTo>
                      <a:pt x="896" y="463"/>
                    </a:lnTo>
                    <a:close/>
                    <a:moveTo>
                      <a:pt x="770" y="0"/>
                    </a:moveTo>
                    <a:lnTo>
                      <a:pt x="1020" y="0"/>
                    </a:lnTo>
                    <a:lnTo>
                      <a:pt x="1052" y="3"/>
                    </a:lnTo>
                    <a:lnTo>
                      <a:pt x="1079" y="13"/>
                    </a:lnTo>
                    <a:lnTo>
                      <a:pt x="1103" y="29"/>
                    </a:lnTo>
                    <a:lnTo>
                      <a:pt x="1125" y="49"/>
                    </a:lnTo>
                    <a:lnTo>
                      <a:pt x="1139" y="73"/>
                    </a:lnTo>
                    <a:lnTo>
                      <a:pt x="1149" y="102"/>
                    </a:lnTo>
                    <a:lnTo>
                      <a:pt x="1153" y="132"/>
                    </a:lnTo>
                    <a:lnTo>
                      <a:pt x="1153" y="166"/>
                    </a:lnTo>
                    <a:lnTo>
                      <a:pt x="1192" y="180"/>
                    </a:lnTo>
                    <a:lnTo>
                      <a:pt x="1229" y="197"/>
                    </a:lnTo>
                    <a:lnTo>
                      <a:pt x="1253" y="173"/>
                    </a:lnTo>
                    <a:lnTo>
                      <a:pt x="1276" y="155"/>
                    </a:lnTo>
                    <a:lnTo>
                      <a:pt x="1303" y="142"/>
                    </a:lnTo>
                    <a:lnTo>
                      <a:pt x="1332" y="135"/>
                    </a:lnTo>
                    <a:lnTo>
                      <a:pt x="1360" y="135"/>
                    </a:lnTo>
                    <a:lnTo>
                      <a:pt x="1389" y="142"/>
                    </a:lnTo>
                    <a:lnTo>
                      <a:pt x="1416" y="155"/>
                    </a:lnTo>
                    <a:lnTo>
                      <a:pt x="1439" y="173"/>
                    </a:lnTo>
                    <a:lnTo>
                      <a:pt x="1618" y="350"/>
                    </a:lnTo>
                    <a:lnTo>
                      <a:pt x="1636" y="375"/>
                    </a:lnTo>
                    <a:lnTo>
                      <a:pt x="1649" y="402"/>
                    </a:lnTo>
                    <a:lnTo>
                      <a:pt x="1655" y="429"/>
                    </a:lnTo>
                    <a:lnTo>
                      <a:pt x="1655" y="459"/>
                    </a:lnTo>
                    <a:lnTo>
                      <a:pt x="1649" y="488"/>
                    </a:lnTo>
                    <a:lnTo>
                      <a:pt x="1636" y="513"/>
                    </a:lnTo>
                    <a:lnTo>
                      <a:pt x="1618" y="538"/>
                    </a:lnTo>
                    <a:lnTo>
                      <a:pt x="1593" y="562"/>
                    </a:lnTo>
                    <a:lnTo>
                      <a:pt x="1609" y="599"/>
                    </a:lnTo>
                    <a:lnTo>
                      <a:pt x="1625" y="638"/>
                    </a:lnTo>
                    <a:lnTo>
                      <a:pt x="1659" y="638"/>
                    </a:lnTo>
                    <a:lnTo>
                      <a:pt x="1689" y="640"/>
                    </a:lnTo>
                    <a:lnTo>
                      <a:pt x="1716" y="651"/>
                    </a:lnTo>
                    <a:lnTo>
                      <a:pt x="1741" y="666"/>
                    </a:lnTo>
                    <a:lnTo>
                      <a:pt x="1762" y="686"/>
                    </a:lnTo>
                    <a:lnTo>
                      <a:pt x="1778" y="712"/>
                    </a:lnTo>
                    <a:lnTo>
                      <a:pt x="1788" y="739"/>
                    </a:lnTo>
                    <a:lnTo>
                      <a:pt x="1791" y="769"/>
                    </a:lnTo>
                    <a:lnTo>
                      <a:pt x="1791" y="1021"/>
                    </a:lnTo>
                    <a:lnTo>
                      <a:pt x="1788" y="1051"/>
                    </a:lnTo>
                    <a:lnTo>
                      <a:pt x="1778" y="1079"/>
                    </a:lnTo>
                    <a:lnTo>
                      <a:pt x="1762" y="1104"/>
                    </a:lnTo>
                    <a:lnTo>
                      <a:pt x="1741" y="1124"/>
                    </a:lnTo>
                    <a:lnTo>
                      <a:pt x="1716" y="1139"/>
                    </a:lnTo>
                    <a:lnTo>
                      <a:pt x="1689" y="1149"/>
                    </a:lnTo>
                    <a:lnTo>
                      <a:pt x="1659" y="1152"/>
                    </a:lnTo>
                    <a:lnTo>
                      <a:pt x="1625" y="1152"/>
                    </a:lnTo>
                    <a:lnTo>
                      <a:pt x="1609" y="1191"/>
                    </a:lnTo>
                    <a:lnTo>
                      <a:pt x="1593" y="1228"/>
                    </a:lnTo>
                    <a:lnTo>
                      <a:pt x="1618" y="1252"/>
                    </a:lnTo>
                    <a:lnTo>
                      <a:pt x="1636" y="1276"/>
                    </a:lnTo>
                    <a:lnTo>
                      <a:pt x="1649" y="1304"/>
                    </a:lnTo>
                    <a:lnTo>
                      <a:pt x="1655" y="1331"/>
                    </a:lnTo>
                    <a:lnTo>
                      <a:pt x="1655" y="1361"/>
                    </a:lnTo>
                    <a:lnTo>
                      <a:pt x="1649" y="1389"/>
                    </a:lnTo>
                    <a:lnTo>
                      <a:pt x="1636" y="1415"/>
                    </a:lnTo>
                    <a:lnTo>
                      <a:pt x="1618" y="1439"/>
                    </a:lnTo>
                    <a:lnTo>
                      <a:pt x="1439" y="1617"/>
                    </a:lnTo>
                    <a:lnTo>
                      <a:pt x="1416" y="1635"/>
                    </a:lnTo>
                    <a:lnTo>
                      <a:pt x="1389" y="1648"/>
                    </a:lnTo>
                    <a:lnTo>
                      <a:pt x="1360" y="1655"/>
                    </a:lnTo>
                    <a:lnTo>
                      <a:pt x="1332" y="1655"/>
                    </a:lnTo>
                    <a:lnTo>
                      <a:pt x="1303" y="1648"/>
                    </a:lnTo>
                    <a:lnTo>
                      <a:pt x="1276" y="1635"/>
                    </a:lnTo>
                    <a:lnTo>
                      <a:pt x="1253" y="1617"/>
                    </a:lnTo>
                    <a:lnTo>
                      <a:pt x="1229" y="1592"/>
                    </a:lnTo>
                    <a:lnTo>
                      <a:pt x="1192" y="1609"/>
                    </a:lnTo>
                    <a:lnTo>
                      <a:pt x="1153" y="1624"/>
                    </a:lnTo>
                    <a:lnTo>
                      <a:pt x="1153" y="1658"/>
                    </a:lnTo>
                    <a:lnTo>
                      <a:pt x="1149" y="1688"/>
                    </a:lnTo>
                    <a:lnTo>
                      <a:pt x="1139" y="1717"/>
                    </a:lnTo>
                    <a:lnTo>
                      <a:pt x="1125" y="1741"/>
                    </a:lnTo>
                    <a:lnTo>
                      <a:pt x="1103" y="1761"/>
                    </a:lnTo>
                    <a:lnTo>
                      <a:pt x="1079" y="1777"/>
                    </a:lnTo>
                    <a:lnTo>
                      <a:pt x="1052" y="1787"/>
                    </a:lnTo>
                    <a:lnTo>
                      <a:pt x="1020" y="1790"/>
                    </a:lnTo>
                    <a:lnTo>
                      <a:pt x="770" y="1790"/>
                    </a:lnTo>
                    <a:lnTo>
                      <a:pt x="740" y="1787"/>
                    </a:lnTo>
                    <a:lnTo>
                      <a:pt x="712" y="1777"/>
                    </a:lnTo>
                    <a:lnTo>
                      <a:pt x="687" y="1761"/>
                    </a:lnTo>
                    <a:lnTo>
                      <a:pt x="667" y="1741"/>
                    </a:lnTo>
                    <a:lnTo>
                      <a:pt x="652" y="1717"/>
                    </a:lnTo>
                    <a:lnTo>
                      <a:pt x="642" y="1688"/>
                    </a:lnTo>
                    <a:lnTo>
                      <a:pt x="637" y="1658"/>
                    </a:lnTo>
                    <a:lnTo>
                      <a:pt x="637" y="1624"/>
                    </a:lnTo>
                    <a:lnTo>
                      <a:pt x="600" y="1609"/>
                    </a:lnTo>
                    <a:lnTo>
                      <a:pt x="562" y="1592"/>
                    </a:lnTo>
                    <a:lnTo>
                      <a:pt x="537" y="1617"/>
                    </a:lnTo>
                    <a:lnTo>
                      <a:pt x="514" y="1635"/>
                    </a:lnTo>
                    <a:lnTo>
                      <a:pt x="487" y="1648"/>
                    </a:lnTo>
                    <a:lnTo>
                      <a:pt x="459" y="1655"/>
                    </a:lnTo>
                    <a:lnTo>
                      <a:pt x="430" y="1655"/>
                    </a:lnTo>
                    <a:lnTo>
                      <a:pt x="401" y="1648"/>
                    </a:lnTo>
                    <a:lnTo>
                      <a:pt x="374" y="1635"/>
                    </a:lnTo>
                    <a:lnTo>
                      <a:pt x="351" y="1617"/>
                    </a:lnTo>
                    <a:lnTo>
                      <a:pt x="174" y="1439"/>
                    </a:lnTo>
                    <a:lnTo>
                      <a:pt x="154" y="1415"/>
                    </a:lnTo>
                    <a:lnTo>
                      <a:pt x="141" y="1389"/>
                    </a:lnTo>
                    <a:lnTo>
                      <a:pt x="136" y="1361"/>
                    </a:lnTo>
                    <a:lnTo>
                      <a:pt x="136" y="1331"/>
                    </a:lnTo>
                    <a:lnTo>
                      <a:pt x="141" y="1304"/>
                    </a:lnTo>
                    <a:lnTo>
                      <a:pt x="154" y="1276"/>
                    </a:lnTo>
                    <a:lnTo>
                      <a:pt x="174" y="1252"/>
                    </a:lnTo>
                    <a:lnTo>
                      <a:pt x="199" y="1228"/>
                    </a:lnTo>
                    <a:lnTo>
                      <a:pt x="181" y="1191"/>
                    </a:lnTo>
                    <a:lnTo>
                      <a:pt x="167" y="1152"/>
                    </a:lnTo>
                    <a:lnTo>
                      <a:pt x="133" y="1152"/>
                    </a:lnTo>
                    <a:lnTo>
                      <a:pt x="101" y="1149"/>
                    </a:lnTo>
                    <a:lnTo>
                      <a:pt x="74" y="1139"/>
                    </a:lnTo>
                    <a:lnTo>
                      <a:pt x="50" y="1124"/>
                    </a:lnTo>
                    <a:lnTo>
                      <a:pt x="29" y="1104"/>
                    </a:lnTo>
                    <a:lnTo>
                      <a:pt x="14" y="1079"/>
                    </a:lnTo>
                    <a:lnTo>
                      <a:pt x="4" y="1051"/>
                    </a:lnTo>
                    <a:lnTo>
                      <a:pt x="0" y="1021"/>
                    </a:lnTo>
                    <a:lnTo>
                      <a:pt x="0" y="769"/>
                    </a:lnTo>
                    <a:lnTo>
                      <a:pt x="4" y="739"/>
                    </a:lnTo>
                    <a:lnTo>
                      <a:pt x="14" y="712"/>
                    </a:lnTo>
                    <a:lnTo>
                      <a:pt x="29" y="686"/>
                    </a:lnTo>
                    <a:lnTo>
                      <a:pt x="50" y="666"/>
                    </a:lnTo>
                    <a:lnTo>
                      <a:pt x="74" y="651"/>
                    </a:lnTo>
                    <a:lnTo>
                      <a:pt x="101" y="640"/>
                    </a:lnTo>
                    <a:lnTo>
                      <a:pt x="133" y="638"/>
                    </a:lnTo>
                    <a:lnTo>
                      <a:pt x="167" y="638"/>
                    </a:lnTo>
                    <a:lnTo>
                      <a:pt x="181" y="599"/>
                    </a:lnTo>
                    <a:lnTo>
                      <a:pt x="199" y="562"/>
                    </a:lnTo>
                    <a:lnTo>
                      <a:pt x="174" y="538"/>
                    </a:lnTo>
                    <a:lnTo>
                      <a:pt x="154" y="513"/>
                    </a:lnTo>
                    <a:lnTo>
                      <a:pt x="141" y="488"/>
                    </a:lnTo>
                    <a:lnTo>
                      <a:pt x="136" y="459"/>
                    </a:lnTo>
                    <a:lnTo>
                      <a:pt x="136" y="429"/>
                    </a:lnTo>
                    <a:lnTo>
                      <a:pt x="141" y="402"/>
                    </a:lnTo>
                    <a:lnTo>
                      <a:pt x="154" y="375"/>
                    </a:lnTo>
                    <a:lnTo>
                      <a:pt x="174" y="350"/>
                    </a:lnTo>
                    <a:lnTo>
                      <a:pt x="351" y="173"/>
                    </a:lnTo>
                    <a:lnTo>
                      <a:pt x="376" y="155"/>
                    </a:lnTo>
                    <a:lnTo>
                      <a:pt x="401" y="142"/>
                    </a:lnTo>
                    <a:lnTo>
                      <a:pt x="430" y="135"/>
                    </a:lnTo>
                    <a:lnTo>
                      <a:pt x="459" y="135"/>
                    </a:lnTo>
                    <a:lnTo>
                      <a:pt x="487" y="142"/>
                    </a:lnTo>
                    <a:lnTo>
                      <a:pt x="514" y="155"/>
                    </a:lnTo>
                    <a:lnTo>
                      <a:pt x="537" y="173"/>
                    </a:lnTo>
                    <a:lnTo>
                      <a:pt x="562" y="197"/>
                    </a:lnTo>
                    <a:lnTo>
                      <a:pt x="600" y="180"/>
                    </a:lnTo>
                    <a:lnTo>
                      <a:pt x="637" y="166"/>
                    </a:lnTo>
                    <a:lnTo>
                      <a:pt x="637" y="132"/>
                    </a:lnTo>
                    <a:lnTo>
                      <a:pt x="642" y="102"/>
                    </a:lnTo>
                    <a:lnTo>
                      <a:pt x="652" y="73"/>
                    </a:lnTo>
                    <a:lnTo>
                      <a:pt x="667" y="49"/>
                    </a:lnTo>
                    <a:lnTo>
                      <a:pt x="687" y="29"/>
                    </a:lnTo>
                    <a:lnTo>
                      <a:pt x="712" y="13"/>
                    </a:lnTo>
                    <a:lnTo>
                      <a:pt x="740" y="3"/>
                    </a:lnTo>
                    <a:lnTo>
                      <a:pt x="7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latin typeface="+mj-lt"/>
                </a:endParaRPr>
              </a:p>
            </p:txBody>
          </p:sp>
          <p:sp>
            <p:nvSpPr>
              <p:cNvPr id="105" name="Freeform 161"/>
              <p:cNvSpPr>
                <a:spLocks noEditPoints="1"/>
              </p:cNvSpPr>
              <p:nvPr/>
            </p:nvSpPr>
            <p:spPr bwMode="auto">
              <a:xfrm>
                <a:off x="5171" y="3325"/>
                <a:ext cx="710" cy="709"/>
              </a:xfrm>
              <a:custGeom>
                <a:avLst/>
                <a:gdLst>
                  <a:gd name="T0" fmla="*/ 602 w 1421"/>
                  <a:gd name="T1" fmla="*/ 385 h 1419"/>
                  <a:gd name="T2" fmla="*/ 469 w 1421"/>
                  <a:gd name="T3" fmla="*/ 467 h 1419"/>
                  <a:gd name="T4" fmla="*/ 386 w 1421"/>
                  <a:gd name="T5" fmla="*/ 602 h 1419"/>
                  <a:gd name="T6" fmla="*/ 373 w 1421"/>
                  <a:gd name="T7" fmla="*/ 765 h 1419"/>
                  <a:gd name="T8" fmla="*/ 435 w 1421"/>
                  <a:gd name="T9" fmla="*/ 912 h 1419"/>
                  <a:gd name="T10" fmla="*/ 553 w 1421"/>
                  <a:gd name="T11" fmla="*/ 1013 h 1419"/>
                  <a:gd name="T12" fmla="*/ 711 w 1421"/>
                  <a:gd name="T13" fmla="*/ 1051 h 1419"/>
                  <a:gd name="T14" fmla="*/ 868 w 1421"/>
                  <a:gd name="T15" fmla="*/ 1013 h 1419"/>
                  <a:gd name="T16" fmla="*/ 986 w 1421"/>
                  <a:gd name="T17" fmla="*/ 912 h 1419"/>
                  <a:gd name="T18" fmla="*/ 1048 w 1421"/>
                  <a:gd name="T19" fmla="*/ 765 h 1419"/>
                  <a:gd name="T20" fmla="*/ 1035 w 1421"/>
                  <a:gd name="T21" fmla="*/ 602 h 1419"/>
                  <a:gd name="T22" fmla="*/ 952 w 1421"/>
                  <a:gd name="T23" fmla="*/ 467 h 1419"/>
                  <a:gd name="T24" fmla="*/ 819 w 1421"/>
                  <a:gd name="T25" fmla="*/ 385 h 1419"/>
                  <a:gd name="T26" fmla="*/ 611 w 1421"/>
                  <a:gd name="T27" fmla="*/ 0 h 1419"/>
                  <a:gd name="T28" fmla="*/ 864 w 1421"/>
                  <a:gd name="T29" fmla="*/ 14 h 1419"/>
                  <a:gd name="T30" fmla="*/ 911 w 1421"/>
                  <a:gd name="T31" fmla="*/ 76 h 1419"/>
                  <a:gd name="T32" fmla="*/ 975 w 1421"/>
                  <a:gd name="T33" fmla="*/ 156 h 1419"/>
                  <a:gd name="T34" fmla="*/ 1032 w 1421"/>
                  <a:gd name="T35" fmla="*/ 113 h 1419"/>
                  <a:gd name="T36" fmla="*/ 1085 w 1421"/>
                  <a:gd name="T37" fmla="*/ 107 h 1419"/>
                  <a:gd name="T38" fmla="*/ 1142 w 1421"/>
                  <a:gd name="T39" fmla="*/ 137 h 1419"/>
                  <a:gd name="T40" fmla="*/ 1311 w 1421"/>
                  <a:gd name="T41" fmla="*/ 326 h 1419"/>
                  <a:gd name="T42" fmla="*/ 1299 w 1421"/>
                  <a:gd name="T43" fmla="*/ 403 h 1419"/>
                  <a:gd name="T44" fmla="*/ 1288 w 1421"/>
                  <a:gd name="T45" fmla="*/ 505 h 1419"/>
                  <a:gd name="T46" fmla="*/ 1368 w 1421"/>
                  <a:gd name="T47" fmla="*/ 519 h 1419"/>
                  <a:gd name="T48" fmla="*/ 1417 w 1421"/>
                  <a:gd name="T49" fmla="*/ 582 h 1419"/>
                  <a:gd name="T50" fmla="*/ 1417 w 1421"/>
                  <a:gd name="T51" fmla="*/ 836 h 1419"/>
                  <a:gd name="T52" fmla="*/ 1368 w 1421"/>
                  <a:gd name="T53" fmla="*/ 899 h 1419"/>
                  <a:gd name="T54" fmla="*/ 1288 w 1421"/>
                  <a:gd name="T55" fmla="*/ 913 h 1419"/>
                  <a:gd name="T56" fmla="*/ 1299 w 1421"/>
                  <a:gd name="T57" fmla="*/ 1015 h 1419"/>
                  <a:gd name="T58" fmla="*/ 1311 w 1421"/>
                  <a:gd name="T59" fmla="*/ 1093 h 1419"/>
                  <a:gd name="T60" fmla="*/ 1142 w 1421"/>
                  <a:gd name="T61" fmla="*/ 1282 h 1419"/>
                  <a:gd name="T62" fmla="*/ 1068 w 1421"/>
                  <a:gd name="T63" fmla="*/ 1312 h 1419"/>
                  <a:gd name="T64" fmla="*/ 994 w 1421"/>
                  <a:gd name="T65" fmla="*/ 1282 h 1419"/>
                  <a:gd name="T66" fmla="*/ 915 w 1421"/>
                  <a:gd name="T67" fmla="*/ 1315 h 1419"/>
                  <a:gd name="T68" fmla="*/ 884 w 1421"/>
                  <a:gd name="T69" fmla="*/ 1388 h 1419"/>
                  <a:gd name="T70" fmla="*/ 811 w 1421"/>
                  <a:gd name="T71" fmla="*/ 1419 h 1419"/>
                  <a:gd name="T72" fmla="*/ 558 w 1421"/>
                  <a:gd name="T73" fmla="*/ 1405 h 1419"/>
                  <a:gd name="T74" fmla="*/ 511 w 1421"/>
                  <a:gd name="T75" fmla="*/ 1342 h 1419"/>
                  <a:gd name="T76" fmla="*/ 446 w 1421"/>
                  <a:gd name="T77" fmla="*/ 1262 h 1419"/>
                  <a:gd name="T78" fmla="*/ 379 w 1421"/>
                  <a:gd name="T79" fmla="*/ 1309 h 1419"/>
                  <a:gd name="T80" fmla="*/ 302 w 1421"/>
                  <a:gd name="T81" fmla="*/ 1299 h 1419"/>
                  <a:gd name="T82" fmla="*/ 122 w 1421"/>
                  <a:gd name="T83" fmla="*/ 1119 h 1419"/>
                  <a:gd name="T84" fmla="*/ 110 w 1421"/>
                  <a:gd name="T85" fmla="*/ 1041 h 1419"/>
                  <a:gd name="T86" fmla="*/ 158 w 1421"/>
                  <a:gd name="T87" fmla="*/ 973 h 1419"/>
                  <a:gd name="T88" fmla="*/ 78 w 1421"/>
                  <a:gd name="T89" fmla="*/ 911 h 1419"/>
                  <a:gd name="T90" fmla="*/ 15 w 1421"/>
                  <a:gd name="T91" fmla="*/ 862 h 1419"/>
                  <a:gd name="T92" fmla="*/ 0 w 1421"/>
                  <a:gd name="T93" fmla="*/ 610 h 1419"/>
                  <a:gd name="T94" fmla="*/ 32 w 1421"/>
                  <a:gd name="T95" fmla="*/ 536 h 1419"/>
                  <a:gd name="T96" fmla="*/ 106 w 1421"/>
                  <a:gd name="T97" fmla="*/ 505 h 1419"/>
                  <a:gd name="T98" fmla="*/ 139 w 1421"/>
                  <a:gd name="T99" fmla="*/ 426 h 1419"/>
                  <a:gd name="T100" fmla="*/ 108 w 1421"/>
                  <a:gd name="T101" fmla="*/ 352 h 1419"/>
                  <a:gd name="T102" fmla="*/ 139 w 1421"/>
                  <a:gd name="T103" fmla="*/ 277 h 1419"/>
                  <a:gd name="T104" fmla="*/ 326 w 1421"/>
                  <a:gd name="T105" fmla="*/ 110 h 1419"/>
                  <a:gd name="T106" fmla="*/ 405 w 1421"/>
                  <a:gd name="T107" fmla="*/ 120 h 1419"/>
                  <a:gd name="T108" fmla="*/ 506 w 1421"/>
                  <a:gd name="T109" fmla="*/ 132 h 1419"/>
                  <a:gd name="T110" fmla="*/ 521 w 1421"/>
                  <a:gd name="T111" fmla="*/ 52 h 1419"/>
                  <a:gd name="T112" fmla="*/ 583 w 1421"/>
                  <a:gd name="T113" fmla="*/ 3 h 1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21" h="1419">
                    <a:moveTo>
                      <a:pt x="711" y="367"/>
                    </a:moveTo>
                    <a:lnTo>
                      <a:pt x="655" y="372"/>
                    </a:lnTo>
                    <a:lnTo>
                      <a:pt x="602" y="385"/>
                    </a:lnTo>
                    <a:lnTo>
                      <a:pt x="553" y="406"/>
                    </a:lnTo>
                    <a:lnTo>
                      <a:pt x="509" y="433"/>
                    </a:lnTo>
                    <a:lnTo>
                      <a:pt x="469" y="467"/>
                    </a:lnTo>
                    <a:lnTo>
                      <a:pt x="435" y="508"/>
                    </a:lnTo>
                    <a:lnTo>
                      <a:pt x="406" y="552"/>
                    </a:lnTo>
                    <a:lnTo>
                      <a:pt x="386" y="602"/>
                    </a:lnTo>
                    <a:lnTo>
                      <a:pt x="373" y="653"/>
                    </a:lnTo>
                    <a:lnTo>
                      <a:pt x="369" y="709"/>
                    </a:lnTo>
                    <a:lnTo>
                      <a:pt x="373" y="765"/>
                    </a:lnTo>
                    <a:lnTo>
                      <a:pt x="386" y="818"/>
                    </a:lnTo>
                    <a:lnTo>
                      <a:pt x="406" y="866"/>
                    </a:lnTo>
                    <a:lnTo>
                      <a:pt x="435" y="912"/>
                    </a:lnTo>
                    <a:lnTo>
                      <a:pt x="469" y="951"/>
                    </a:lnTo>
                    <a:lnTo>
                      <a:pt x="509" y="985"/>
                    </a:lnTo>
                    <a:lnTo>
                      <a:pt x="553" y="1013"/>
                    </a:lnTo>
                    <a:lnTo>
                      <a:pt x="602" y="1033"/>
                    </a:lnTo>
                    <a:lnTo>
                      <a:pt x="655" y="1046"/>
                    </a:lnTo>
                    <a:lnTo>
                      <a:pt x="711" y="1051"/>
                    </a:lnTo>
                    <a:lnTo>
                      <a:pt x="766" y="1046"/>
                    </a:lnTo>
                    <a:lnTo>
                      <a:pt x="819" y="1033"/>
                    </a:lnTo>
                    <a:lnTo>
                      <a:pt x="868" y="1013"/>
                    </a:lnTo>
                    <a:lnTo>
                      <a:pt x="912" y="985"/>
                    </a:lnTo>
                    <a:lnTo>
                      <a:pt x="952" y="951"/>
                    </a:lnTo>
                    <a:lnTo>
                      <a:pt x="986" y="912"/>
                    </a:lnTo>
                    <a:lnTo>
                      <a:pt x="1014" y="866"/>
                    </a:lnTo>
                    <a:lnTo>
                      <a:pt x="1035" y="818"/>
                    </a:lnTo>
                    <a:lnTo>
                      <a:pt x="1048" y="765"/>
                    </a:lnTo>
                    <a:lnTo>
                      <a:pt x="1052" y="709"/>
                    </a:lnTo>
                    <a:lnTo>
                      <a:pt x="1048" y="653"/>
                    </a:lnTo>
                    <a:lnTo>
                      <a:pt x="1035" y="602"/>
                    </a:lnTo>
                    <a:lnTo>
                      <a:pt x="1014" y="552"/>
                    </a:lnTo>
                    <a:lnTo>
                      <a:pt x="986" y="508"/>
                    </a:lnTo>
                    <a:lnTo>
                      <a:pt x="952" y="467"/>
                    </a:lnTo>
                    <a:lnTo>
                      <a:pt x="912" y="433"/>
                    </a:lnTo>
                    <a:lnTo>
                      <a:pt x="868" y="406"/>
                    </a:lnTo>
                    <a:lnTo>
                      <a:pt x="819" y="385"/>
                    </a:lnTo>
                    <a:lnTo>
                      <a:pt x="766" y="372"/>
                    </a:lnTo>
                    <a:lnTo>
                      <a:pt x="711" y="367"/>
                    </a:lnTo>
                    <a:close/>
                    <a:moveTo>
                      <a:pt x="611" y="0"/>
                    </a:moveTo>
                    <a:lnTo>
                      <a:pt x="811" y="0"/>
                    </a:lnTo>
                    <a:lnTo>
                      <a:pt x="838" y="3"/>
                    </a:lnTo>
                    <a:lnTo>
                      <a:pt x="864" y="14"/>
                    </a:lnTo>
                    <a:lnTo>
                      <a:pt x="884" y="30"/>
                    </a:lnTo>
                    <a:lnTo>
                      <a:pt x="901" y="52"/>
                    </a:lnTo>
                    <a:lnTo>
                      <a:pt x="911" y="76"/>
                    </a:lnTo>
                    <a:lnTo>
                      <a:pt x="915" y="104"/>
                    </a:lnTo>
                    <a:lnTo>
                      <a:pt x="915" y="132"/>
                    </a:lnTo>
                    <a:lnTo>
                      <a:pt x="975" y="156"/>
                    </a:lnTo>
                    <a:lnTo>
                      <a:pt x="994" y="137"/>
                    </a:lnTo>
                    <a:lnTo>
                      <a:pt x="1014" y="122"/>
                    </a:lnTo>
                    <a:lnTo>
                      <a:pt x="1032" y="113"/>
                    </a:lnTo>
                    <a:lnTo>
                      <a:pt x="1052" y="107"/>
                    </a:lnTo>
                    <a:lnTo>
                      <a:pt x="1069" y="107"/>
                    </a:lnTo>
                    <a:lnTo>
                      <a:pt x="1085" y="107"/>
                    </a:lnTo>
                    <a:lnTo>
                      <a:pt x="1095" y="110"/>
                    </a:lnTo>
                    <a:lnTo>
                      <a:pt x="1121" y="120"/>
                    </a:lnTo>
                    <a:lnTo>
                      <a:pt x="1142" y="137"/>
                    </a:lnTo>
                    <a:lnTo>
                      <a:pt x="1282" y="277"/>
                    </a:lnTo>
                    <a:lnTo>
                      <a:pt x="1299" y="300"/>
                    </a:lnTo>
                    <a:lnTo>
                      <a:pt x="1311" y="326"/>
                    </a:lnTo>
                    <a:lnTo>
                      <a:pt x="1314" y="352"/>
                    </a:lnTo>
                    <a:lnTo>
                      <a:pt x="1311" y="379"/>
                    </a:lnTo>
                    <a:lnTo>
                      <a:pt x="1299" y="403"/>
                    </a:lnTo>
                    <a:lnTo>
                      <a:pt x="1282" y="426"/>
                    </a:lnTo>
                    <a:lnTo>
                      <a:pt x="1264" y="445"/>
                    </a:lnTo>
                    <a:lnTo>
                      <a:pt x="1288" y="505"/>
                    </a:lnTo>
                    <a:lnTo>
                      <a:pt x="1315" y="505"/>
                    </a:lnTo>
                    <a:lnTo>
                      <a:pt x="1344" y="509"/>
                    </a:lnTo>
                    <a:lnTo>
                      <a:pt x="1368" y="519"/>
                    </a:lnTo>
                    <a:lnTo>
                      <a:pt x="1389" y="536"/>
                    </a:lnTo>
                    <a:lnTo>
                      <a:pt x="1407" y="558"/>
                    </a:lnTo>
                    <a:lnTo>
                      <a:pt x="1417" y="582"/>
                    </a:lnTo>
                    <a:lnTo>
                      <a:pt x="1421" y="610"/>
                    </a:lnTo>
                    <a:lnTo>
                      <a:pt x="1421" y="809"/>
                    </a:lnTo>
                    <a:lnTo>
                      <a:pt x="1417" y="836"/>
                    </a:lnTo>
                    <a:lnTo>
                      <a:pt x="1407" y="862"/>
                    </a:lnTo>
                    <a:lnTo>
                      <a:pt x="1389" y="883"/>
                    </a:lnTo>
                    <a:lnTo>
                      <a:pt x="1368" y="899"/>
                    </a:lnTo>
                    <a:lnTo>
                      <a:pt x="1344" y="911"/>
                    </a:lnTo>
                    <a:lnTo>
                      <a:pt x="1315" y="913"/>
                    </a:lnTo>
                    <a:lnTo>
                      <a:pt x="1288" y="913"/>
                    </a:lnTo>
                    <a:lnTo>
                      <a:pt x="1264" y="973"/>
                    </a:lnTo>
                    <a:lnTo>
                      <a:pt x="1282" y="993"/>
                    </a:lnTo>
                    <a:lnTo>
                      <a:pt x="1299" y="1015"/>
                    </a:lnTo>
                    <a:lnTo>
                      <a:pt x="1311" y="1041"/>
                    </a:lnTo>
                    <a:lnTo>
                      <a:pt x="1314" y="1066"/>
                    </a:lnTo>
                    <a:lnTo>
                      <a:pt x="1311" y="1093"/>
                    </a:lnTo>
                    <a:lnTo>
                      <a:pt x="1299" y="1119"/>
                    </a:lnTo>
                    <a:lnTo>
                      <a:pt x="1282" y="1141"/>
                    </a:lnTo>
                    <a:lnTo>
                      <a:pt x="1142" y="1282"/>
                    </a:lnTo>
                    <a:lnTo>
                      <a:pt x="1119" y="1299"/>
                    </a:lnTo>
                    <a:lnTo>
                      <a:pt x="1095" y="1309"/>
                    </a:lnTo>
                    <a:lnTo>
                      <a:pt x="1068" y="1312"/>
                    </a:lnTo>
                    <a:lnTo>
                      <a:pt x="1042" y="1309"/>
                    </a:lnTo>
                    <a:lnTo>
                      <a:pt x="1016" y="1299"/>
                    </a:lnTo>
                    <a:lnTo>
                      <a:pt x="994" y="1282"/>
                    </a:lnTo>
                    <a:lnTo>
                      <a:pt x="975" y="1262"/>
                    </a:lnTo>
                    <a:lnTo>
                      <a:pt x="915" y="1288"/>
                    </a:lnTo>
                    <a:lnTo>
                      <a:pt x="915" y="1315"/>
                    </a:lnTo>
                    <a:lnTo>
                      <a:pt x="911" y="1342"/>
                    </a:lnTo>
                    <a:lnTo>
                      <a:pt x="901" y="1368"/>
                    </a:lnTo>
                    <a:lnTo>
                      <a:pt x="884" y="1388"/>
                    </a:lnTo>
                    <a:lnTo>
                      <a:pt x="864" y="1405"/>
                    </a:lnTo>
                    <a:lnTo>
                      <a:pt x="838" y="1415"/>
                    </a:lnTo>
                    <a:lnTo>
                      <a:pt x="811" y="1419"/>
                    </a:lnTo>
                    <a:lnTo>
                      <a:pt x="611" y="1419"/>
                    </a:lnTo>
                    <a:lnTo>
                      <a:pt x="583" y="1415"/>
                    </a:lnTo>
                    <a:lnTo>
                      <a:pt x="558" y="1405"/>
                    </a:lnTo>
                    <a:lnTo>
                      <a:pt x="538" y="1388"/>
                    </a:lnTo>
                    <a:lnTo>
                      <a:pt x="521" y="1368"/>
                    </a:lnTo>
                    <a:lnTo>
                      <a:pt x="511" y="1342"/>
                    </a:lnTo>
                    <a:lnTo>
                      <a:pt x="506" y="1315"/>
                    </a:lnTo>
                    <a:lnTo>
                      <a:pt x="506" y="1288"/>
                    </a:lnTo>
                    <a:lnTo>
                      <a:pt x="446" y="1262"/>
                    </a:lnTo>
                    <a:lnTo>
                      <a:pt x="428" y="1282"/>
                    </a:lnTo>
                    <a:lnTo>
                      <a:pt x="405" y="1299"/>
                    </a:lnTo>
                    <a:lnTo>
                      <a:pt x="379" y="1309"/>
                    </a:lnTo>
                    <a:lnTo>
                      <a:pt x="353" y="1312"/>
                    </a:lnTo>
                    <a:lnTo>
                      <a:pt x="326" y="1309"/>
                    </a:lnTo>
                    <a:lnTo>
                      <a:pt x="302" y="1299"/>
                    </a:lnTo>
                    <a:lnTo>
                      <a:pt x="279" y="1282"/>
                    </a:lnTo>
                    <a:lnTo>
                      <a:pt x="139" y="1141"/>
                    </a:lnTo>
                    <a:lnTo>
                      <a:pt x="122" y="1119"/>
                    </a:lnTo>
                    <a:lnTo>
                      <a:pt x="110" y="1093"/>
                    </a:lnTo>
                    <a:lnTo>
                      <a:pt x="108" y="1066"/>
                    </a:lnTo>
                    <a:lnTo>
                      <a:pt x="110" y="1041"/>
                    </a:lnTo>
                    <a:lnTo>
                      <a:pt x="122" y="1015"/>
                    </a:lnTo>
                    <a:lnTo>
                      <a:pt x="139" y="993"/>
                    </a:lnTo>
                    <a:lnTo>
                      <a:pt x="158" y="973"/>
                    </a:lnTo>
                    <a:lnTo>
                      <a:pt x="133" y="913"/>
                    </a:lnTo>
                    <a:lnTo>
                      <a:pt x="106" y="913"/>
                    </a:lnTo>
                    <a:lnTo>
                      <a:pt x="78" y="911"/>
                    </a:lnTo>
                    <a:lnTo>
                      <a:pt x="53" y="899"/>
                    </a:lnTo>
                    <a:lnTo>
                      <a:pt x="32" y="883"/>
                    </a:lnTo>
                    <a:lnTo>
                      <a:pt x="15" y="862"/>
                    </a:lnTo>
                    <a:lnTo>
                      <a:pt x="5" y="836"/>
                    </a:lnTo>
                    <a:lnTo>
                      <a:pt x="0" y="809"/>
                    </a:lnTo>
                    <a:lnTo>
                      <a:pt x="0" y="610"/>
                    </a:lnTo>
                    <a:lnTo>
                      <a:pt x="5" y="582"/>
                    </a:lnTo>
                    <a:lnTo>
                      <a:pt x="15" y="558"/>
                    </a:lnTo>
                    <a:lnTo>
                      <a:pt x="32" y="536"/>
                    </a:lnTo>
                    <a:lnTo>
                      <a:pt x="53" y="519"/>
                    </a:lnTo>
                    <a:lnTo>
                      <a:pt x="78" y="509"/>
                    </a:lnTo>
                    <a:lnTo>
                      <a:pt x="106" y="505"/>
                    </a:lnTo>
                    <a:lnTo>
                      <a:pt x="133" y="505"/>
                    </a:lnTo>
                    <a:lnTo>
                      <a:pt x="158" y="445"/>
                    </a:lnTo>
                    <a:lnTo>
                      <a:pt x="139" y="426"/>
                    </a:lnTo>
                    <a:lnTo>
                      <a:pt x="122" y="403"/>
                    </a:lnTo>
                    <a:lnTo>
                      <a:pt x="110" y="379"/>
                    </a:lnTo>
                    <a:lnTo>
                      <a:pt x="108" y="352"/>
                    </a:lnTo>
                    <a:lnTo>
                      <a:pt x="110" y="326"/>
                    </a:lnTo>
                    <a:lnTo>
                      <a:pt x="122" y="300"/>
                    </a:lnTo>
                    <a:lnTo>
                      <a:pt x="139" y="277"/>
                    </a:lnTo>
                    <a:lnTo>
                      <a:pt x="279" y="137"/>
                    </a:lnTo>
                    <a:lnTo>
                      <a:pt x="302" y="120"/>
                    </a:lnTo>
                    <a:lnTo>
                      <a:pt x="326" y="110"/>
                    </a:lnTo>
                    <a:lnTo>
                      <a:pt x="353" y="106"/>
                    </a:lnTo>
                    <a:lnTo>
                      <a:pt x="379" y="110"/>
                    </a:lnTo>
                    <a:lnTo>
                      <a:pt x="405" y="120"/>
                    </a:lnTo>
                    <a:lnTo>
                      <a:pt x="428" y="137"/>
                    </a:lnTo>
                    <a:lnTo>
                      <a:pt x="446" y="156"/>
                    </a:lnTo>
                    <a:lnTo>
                      <a:pt x="506" y="132"/>
                    </a:lnTo>
                    <a:lnTo>
                      <a:pt x="506" y="104"/>
                    </a:lnTo>
                    <a:lnTo>
                      <a:pt x="511" y="76"/>
                    </a:lnTo>
                    <a:lnTo>
                      <a:pt x="521" y="52"/>
                    </a:lnTo>
                    <a:lnTo>
                      <a:pt x="538" y="30"/>
                    </a:lnTo>
                    <a:lnTo>
                      <a:pt x="558" y="14"/>
                    </a:lnTo>
                    <a:lnTo>
                      <a:pt x="583" y="3"/>
                    </a:lnTo>
                    <a:lnTo>
                      <a:pt x="6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latin typeface="+mj-lt"/>
                </a:endParaRPr>
              </a:p>
            </p:txBody>
          </p:sp>
          <p:sp>
            <p:nvSpPr>
              <p:cNvPr id="106" name="Freeform 162"/>
              <p:cNvSpPr>
                <a:spLocks noEditPoints="1"/>
              </p:cNvSpPr>
              <p:nvPr/>
            </p:nvSpPr>
            <p:spPr bwMode="auto">
              <a:xfrm>
                <a:off x="5571" y="2763"/>
                <a:ext cx="598" cy="598"/>
              </a:xfrm>
              <a:custGeom>
                <a:avLst/>
                <a:gdLst>
                  <a:gd name="T0" fmla="*/ 506 w 1194"/>
                  <a:gd name="T1" fmla="*/ 324 h 1196"/>
                  <a:gd name="T2" fmla="*/ 393 w 1194"/>
                  <a:gd name="T3" fmla="*/ 394 h 1196"/>
                  <a:gd name="T4" fmla="*/ 324 w 1194"/>
                  <a:gd name="T5" fmla="*/ 507 h 1196"/>
                  <a:gd name="T6" fmla="*/ 313 w 1194"/>
                  <a:gd name="T7" fmla="*/ 644 h 1196"/>
                  <a:gd name="T8" fmla="*/ 364 w 1194"/>
                  <a:gd name="T9" fmla="*/ 767 h 1196"/>
                  <a:gd name="T10" fmla="*/ 464 w 1194"/>
                  <a:gd name="T11" fmla="*/ 853 h 1196"/>
                  <a:gd name="T12" fmla="*/ 597 w 1194"/>
                  <a:gd name="T13" fmla="*/ 886 h 1196"/>
                  <a:gd name="T14" fmla="*/ 729 w 1194"/>
                  <a:gd name="T15" fmla="*/ 853 h 1196"/>
                  <a:gd name="T16" fmla="*/ 829 w 1194"/>
                  <a:gd name="T17" fmla="*/ 767 h 1196"/>
                  <a:gd name="T18" fmla="*/ 881 w 1194"/>
                  <a:gd name="T19" fmla="*/ 644 h 1196"/>
                  <a:gd name="T20" fmla="*/ 870 w 1194"/>
                  <a:gd name="T21" fmla="*/ 507 h 1196"/>
                  <a:gd name="T22" fmla="*/ 800 w 1194"/>
                  <a:gd name="T23" fmla="*/ 394 h 1196"/>
                  <a:gd name="T24" fmla="*/ 689 w 1194"/>
                  <a:gd name="T25" fmla="*/ 324 h 1196"/>
                  <a:gd name="T26" fmla="*/ 513 w 1194"/>
                  <a:gd name="T27" fmla="*/ 0 h 1196"/>
                  <a:gd name="T28" fmla="*/ 726 w 1194"/>
                  <a:gd name="T29" fmla="*/ 11 h 1196"/>
                  <a:gd name="T30" fmla="*/ 766 w 1194"/>
                  <a:gd name="T31" fmla="*/ 64 h 1196"/>
                  <a:gd name="T32" fmla="*/ 820 w 1194"/>
                  <a:gd name="T33" fmla="*/ 131 h 1196"/>
                  <a:gd name="T34" fmla="*/ 876 w 1194"/>
                  <a:gd name="T35" fmla="*/ 93 h 1196"/>
                  <a:gd name="T36" fmla="*/ 941 w 1194"/>
                  <a:gd name="T37" fmla="*/ 101 h 1196"/>
                  <a:gd name="T38" fmla="*/ 1093 w 1194"/>
                  <a:gd name="T39" fmla="*/ 253 h 1196"/>
                  <a:gd name="T40" fmla="*/ 1102 w 1194"/>
                  <a:gd name="T41" fmla="*/ 319 h 1196"/>
                  <a:gd name="T42" fmla="*/ 1063 w 1194"/>
                  <a:gd name="T43" fmla="*/ 376 h 1196"/>
                  <a:gd name="T44" fmla="*/ 1130 w 1194"/>
                  <a:gd name="T45" fmla="*/ 429 h 1196"/>
                  <a:gd name="T46" fmla="*/ 1183 w 1194"/>
                  <a:gd name="T47" fmla="*/ 469 h 1196"/>
                  <a:gd name="T48" fmla="*/ 1194 w 1194"/>
                  <a:gd name="T49" fmla="*/ 682 h 1196"/>
                  <a:gd name="T50" fmla="*/ 1169 w 1194"/>
                  <a:gd name="T51" fmla="*/ 743 h 1196"/>
                  <a:gd name="T52" fmla="*/ 1106 w 1194"/>
                  <a:gd name="T53" fmla="*/ 770 h 1196"/>
                  <a:gd name="T54" fmla="*/ 1079 w 1194"/>
                  <a:gd name="T55" fmla="*/ 836 h 1196"/>
                  <a:gd name="T56" fmla="*/ 1104 w 1194"/>
                  <a:gd name="T57" fmla="*/ 899 h 1196"/>
                  <a:gd name="T58" fmla="*/ 1079 w 1194"/>
                  <a:gd name="T59" fmla="*/ 962 h 1196"/>
                  <a:gd name="T60" fmla="*/ 920 w 1194"/>
                  <a:gd name="T61" fmla="*/ 1103 h 1196"/>
                  <a:gd name="T62" fmla="*/ 854 w 1194"/>
                  <a:gd name="T63" fmla="*/ 1095 h 1196"/>
                  <a:gd name="T64" fmla="*/ 769 w 1194"/>
                  <a:gd name="T65" fmla="*/ 1085 h 1196"/>
                  <a:gd name="T66" fmla="*/ 757 w 1194"/>
                  <a:gd name="T67" fmla="*/ 1152 h 1196"/>
                  <a:gd name="T68" fmla="*/ 704 w 1194"/>
                  <a:gd name="T69" fmla="*/ 1192 h 1196"/>
                  <a:gd name="T70" fmla="*/ 490 w 1194"/>
                  <a:gd name="T71" fmla="*/ 1192 h 1196"/>
                  <a:gd name="T72" fmla="*/ 437 w 1194"/>
                  <a:gd name="T73" fmla="*/ 1152 h 1196"/>
                  <a:gd name="T74" fmla="*/ 426 w 1194"/>
                  <a:gd name="T75" fmla="*/ 1085 h 1196"/>
                  <a:gd name="T76" fmla="*/ 340 w 1194"/>
                  <a:gd name="T77" fmla="*/ 1095 h 1196"/>
                  <a:gd name="T78" fmla="*/ 274 w 1194"/>
                  <a:gd name="T79" fmla="*/ 1103 h 1196"/>
                  <a:gd name="T80" fmla="*/ 115 w 1194"/>
                  <a:gd name="T81" fmla="*/ 962 h 1196"/>
                  <a:gd name="T82" fmla="*/ 90 w 1194"/>
                  <a:gd name="T83" fmla="*/ 899 h 1196"/>
                  <a:gd name="T84" fmla="*/ 115 w 1194"/>
                  <a:gd name="T85" fmla="*/ 836 h 1196"/>
                  <a:gd name="T86" fmla="*/ 87 w 1194"/>
                  <a:gd name="T87" fmla="*/ 770 h 1196"/>
                  <a:gd name="T88" fmla="*/ 25 w 1194"/>
                  <a:gd name="T89" fmla="*/ 743 h 1196"/>
                  <a:gd name="T90" fmla="*/ 0 w 1194"/>
                  <a:gd name="T91" fmla="*/ 682 h 1196"/>
                  <a:gd name="T92" fmla="*/ 11 w 1194"/>
                  <a:gd name="T93" fmla="*/ 469 h 1196"/>
                  <a:gd name="T94" fmla="*/ 64 w 1194"/>
                  <a:gd name="T95" fmla="*/ 429 h 1196"/>
                  <a:gd name="T96" fmla="*/ 131 w 1194"/>
                  <a:gd name="T97" fmla="*/ 376 h 1196"/>
                  <a:gd name="T98" fmla="*/ 93 w 1194"/>
                  <a:gd name="T99" fmla="*/ 319 h 1196"/>
                  <a:gd name="T100" fmla="*/ 101 w 1194"/>
                  <a:gd name="T101" fmla="*/ 253 h 1196"/>
                  <a:gd name="T102" fmla="*/ 253 w 1194"/>
                  <a:gd name="T103" fmla="*/ 101 h 1196"/>
                  <a:gd name="T104" fmla="*/ 318 w 1194"/>
                  <a:gd name="T105" fmla="*/ 93 h 1196"/>
                  <a:gd name="T106" fmla="*/ 374 w 1194"/>
                  <a:gd name="T107" fmla="*/ 131 h 1196"/>
                  <a:gd name="T108" fmla="*/ 428 w 1194"/>
                  <a:gd name="T109" fmla="*/ 64 h 1196"/>
                  <a:gd name="T110" fmla="*/ 468 w 1194"/>
                  <a:gd name="T111" fmla="*/ 11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94" h="1196">
                    <a:moveTo>
                      <a:pt x="597" y="310"/>
                    </a:moveTo>
                    <a:lnTo>
                      <a:pt x="550" y="313"/>
                    </a:lnTo>
                    <a:lnTo>
                      <a:pt x="506" y="324"/>
                    </a:lnTo>
                    <a:lnTo>
                      <a:pt x="464" y="341"/>
                    </a:lnTo>
                    <a:lnTo>
                      <a:pt x="427" y="366"/>
                    </a:lnTo>
                    <a:lnTo>
                      <a:pt x="393" y="394"/>
                    </a:lnTo>
                    <a:lnTo>
                      <a:pt x="364" y="427"/>
                    </a:lnTo>
                    <a:lnTo>
                      <a:pt x="341" y="466"/>
                    </a:lnTo>
                    <a:lnTo>
                      <a:pt x="324" y="507"/>
                    </a:lnTo>
                    <a:lnTo>
                      <a:pt x="313" y="552"/>
                    </a:lnTo>
                    <a:lnTo>
                      <a:pt x="308" y="597"/>
                    </a:lnTo>
                    <a:lnTo>
                      <a:pt x="313" y="644"/>
                    </a:lnTo>
                    <a:lnTo>
                      <a:pt x="324" y="689"/>
                    </a:lnTo>
                    <a:lnTo>
                      <a:pt x="341" y="730"/>
                    </a:lnTo>
                    <a:lnTo>
                      <a:pt x="364" y="767"/>
                    </a:lnTo>
                    <a:lnTo>
                      <a:pt x="393" y="802"/>
                    </a:lnTo>
                    <a:lnTo>
                      <a:pt x="427" y="830"/>
                    </a:lnTo>
                    <a:lnTo>
                      <a:pt x="464" y="853"/>
                    </a:lnTo>
                    <a:lnTo>
                      <a:pt x="506" y="870"/>
                    </a:lnTo>
                    <a:lnTo>
                      <a:pt x="550" y="882"/>
                    </a:lnTo>
                    <a:lnTo>
                      <a:pt x="597" y="886"/>
                    </a:lnTo>
                    <a:lnTo>
                      <a:pt x="644" y="882"/>
                    </a:lnTo>
                    <a:lnTo>
                      <a:pt x="689" y="870"/>
                    </a:lnTo>
                    <a:lnTo>
                      <a:pt x="729" y="853"/>
                    </a:lnTo>
                    <a:lnTo>
                      <a:pt x="767" y="830"/>
                    </a:lnTo>
                    <a:lnTo>
                      <a:pt x="800" y="802"/>
                    </a:lnTo>
                    <a:lnTo>
                      <a:pt x="829" y="767"/>
                    </a:lnTo>
                    <a:lnTo>
                      <a:pt x="853" y="730"/>
                    </a:lnTo>
                    <a:lnTo>
                      <a:pt x="870" y="689"/>
                    </a:lnTo>
                    <a:lnTo>
                      <a:pt x="881" y="644"/>
                    </a:lnTo>
                    <a:lnTo>
                      <a:pt x="884" y="597"/>
                    </a:lnTo>
                    <a:lnTo>
                      <a:pt x="881" y="552"/>
                    </a:lnTo>
                    <a:lnTo>
                      <a:pt x="870" y="507"/>
                    </a:lnTo>
                    <a:lnTo>
                      <a:pt x="853" y="466"/>
                    </a:lnTo>
                    <a:lnTo>
                      <a:pt x="829" y="427"/>
                    </a:lnTo>
                    <a:lnTo>
                      <a:pt x="800" y="394"/>
                    </a:lnTo>
                    <a:lnTo>
                      <a:pt x="767" y="366"/>
                    </a:lnTo>
                    <a:lnTo>
                      <a:pt x="729" y="341"/>
                    </a:lnTo>
                    <a:lnTo>
                      <a:pt x="689" y="324"/>
                    </a:lnTo>
                    <a:lnTo>
                      <a:pt x="644" y="313"/>
                    </a:lnTo>
                    <a:lnTo>
                      <a:pt x="597" y="310"/>
                    </a:lnTo>
                    <a:close/>
                    <a:moveTo>
                      <a:pt x="513" y="0"/>
                    </a:moveTo>
                    <a:lnTo>
                      <a:pt x="681" y="0"/>
                    </a:lnTo>
                    <a:lnTo>
                      <a:pt x="704" y="3"/>
                    </a:lnTo>
                    <a:lnTo>
                      <a:pt x="726" y="11"/>
                    </a:lnTo>
                    <a:lnTo>
                      <a:pt x="743" y="26"/>
                    </a:lnTo>
                    <a:lnTo>
                      <a:pt x="757" y="43"/>
                    </a:lnTo>
                    <a:lnTo>
                      <a:pt x="766" y="64"/>
                    </a:lnTo>
                    <a:lnTo>
                      <a:pt x="769" y="88"/>
                    </a:lnTo>
                    <a:lnTo>
                      <a:pt x="769" y="111"/>
                    </a:lnTo>
                    <a:lnTo>
                      <a:pt x="820" y="131"/>
                    </a:lnTo>
                    <a:lnTo>
                      <a:pt x="836" y="116"/>
                    </a:lnTo>
                    <a:lnTo>
                      <a:pt x="854" y="101"/>
                    </a:lnTo>
                    <a:lnTo>
                      <a:pt x="876" y="93"/>
                    </a:lnTo>
                    <a:lnTo>
                      <a:pt x="899" y="90"/>
                    </a:lnTo>
                    <a:lnTo>
                      <a:pt x="920" y="93"/>
                    </a:lnTo>
                    <a:lnTo>
                      <a:pt x="941" y="101"/>
                    </a:lnTo>
                    <a:lnTo>
                      <a:pt x="960" y="116"/>
                    </a:lnTo>
                    <a:lnTo>
                      <a:pt x="1079" y="234"/>
                    </a:lnTo>
                    <a:lnTo>
                      <a:pt x="1093" y="253"/>
                    </a:lnTo>
                    <a:lnTo>
                      <a:pt x="1102" y="274"/>
                    </a:lnTo>
                    <a:lnTo>
                      <a:pt x="1104" y="297"/>
                    </a:lnTo>
                    <a:lnTo>
                      <a:pt x="1102" y="319"/>
                    </a:lnTo>
                    <a:lnTo>
                      <a:pt x="1093" y="340"/>
                    </a:lnTo>
                    <a:lnTo>
                      <a:pt x="1079" y="359"/>
                    </a:lnTo>
                    <a:lnTo>
                      <a:pt x="1063" y="376"/>
                    </a:lnTo>
                    <a:lnTo>
                      <a:pt x="1083" y="426"/>
                    </a:lnTo>
                    <a:lnTo>
                      <a:pt x="1106" y="426"/>
                    </a:lnTo>
                    <a:lnTo>
                      <a:pt x="1130" y="429"/>
                    </a:lnTo>
                    <a:lnTo>
                      <a:pt x="1152" y="437"/>
                    </a:lnTo>
                    <a:lnTo>
                      <a:pt x="1169" y="451"/>
                    </a:lnTo>
                    <a:lnTo>
                      <a:pt x="1183" y="469"/>
                    </a:lnTo>
                    <a:lnTo>
                      <a:pt x="1192" y="490"/>
                    </a:lnTo>
                    <a:lnTo>
                      <a:pt x="1194" y="514"/>
                    </a:lnTo>
                    <a:lnTo>
                      <a:pt x="1194" y="682"/>
                    </a:lnTo>
                    <a:lnTo>
                      <a:pt x="1192" y="704"/>
                    </a:lnTo>
                    <a:lnTo>
                      <a:pt x="1183" y="726"/>
                    </a:lnTo>
                    <a:lnTo>
                      <a:pt x="1169" y="743"/>
                    </a:lnTo>
                    <a:lnTo>
                      <a:pt x="1152" y="757"/>
                    </a:lnTo>
                    <a:lnTo>
                      <a:pt x="1130" y="766"/>
                    </a:lnTo>
                    <a:lnTo>
                      <a:pt x="1106" y="770"/>
                    </a:lnTo>
                    <a:lnTo>
                      <a:pt x="1083" y="770"/>
                    </a:lnTo>
                    <a:lnTo>
                      <a:pt x="1063" y="820"/>
                    </a:lnTo>
                    <a:lnTo>
                      <a:pt x="1079" y="836"/>
                    </a:lnTo>
                    <a:lnTo>
                      <a:pt x="1093" y="854"/>
                    </a:lnTo>
                    <a:lnTo>
                      <a:pt x="1102" y="876"/>
                    </a:lnTo>
                    <a:lnTo>
                      <a:pt x="1104" y="899"/>
                    </a:lnTo>
                    <a:lnTo>
                      <a:pt x="1102" y="922"/>
                    </a:lnTo>
                    <a:lnTo>
                      <a:pt x="1093" y="942"/>
                    </a:lnTo>
                    <a:lnTo>
                      <a:pt x="1079" y="962"/>
                    </a:lnTo>
                    <a:lnTo>
                      <a:pt x="960" y="1079"/>
                    </a:lnTo>
                    <a:lnTo>
                      <a:pt x="941" y="1095"/>
                    </a:lnTo>
                    <a:lnTo>
                      <a:pt x="920" y="1103"/>
                    </a:lnTo>
                    <a:lnTo>
                      <a:pt x="899" y="1106"/>
                    </a:lnTo>
                    <a:lnTo>
                      <a:pt x="876" y="1103"/>
                    </a:lnTo>
                    <a:lnTo>
                      <a:pt x="854" y="1095"/>
                    </a:lnTo>
                    <a:lnTo>
                      <a:pt x="836" y="1079"/>
                    </a:lnTo>
                    <a:lnTo>
                      <a:pt x="820" y="1063"/>
                    </a:lnTo>
                    <a:lnTo>
                      <a:pt x="769" y="1085"/>
                    </a:lnTo>
                    <a:lnTo>
                      <a:pt x="769" y="1107"/>
                    </a:lnTo>
                    <a:lnTo>
                      <a:pt x="766" y="1130"/>
                    </a:lnTo>
                    <a:lnTo>
                      <a:pt x="757" y="1152"/>
                    </a:lnTo>
                    <a:lnTo>
                      <a:pt x="743" y="1169"/>
                    </a:lnTo>
                    <a:lnTo>
                      <a:pt x="726" y="1183"/>
                    </a:lnTo>
                    <a:lnTo>
                      <a:pt x="704" y="1192"/>
                    </a:lnTo>
                    <a:lnTo>
                      <a:pt x="681" y="1196"/>
                    </a:lnTo>
                    <a:lnTo>
                      <a:pt x="513" y="1196"/>
                    </a:lnTo>
                    <a:lnTo>
                      <a:pt x="490" y="1192"/>
                    </a:lnTo>
                    <a:lnTo>
                      <a:pt x="468" y="1183"/>
                    </a:lnTo>
                    <a:lnTo>
                      <a:pt x="451" y="1169"/>
                    </a:lnTo>
                    <a:lnTo>
                      <a:pt x="437" y="1152"/>
                    </a:lnTo>
                    <a:lnTo>
                      <a:pt x="428" y="1130"/>
                    </a:lnTo>
                    <a:lnTo>
                      <a:pt x="426" y="1107"/>
                    </a:lnTo>
                    <a:lnTo>
                      <a:pt x="426" y="1085"/>
                    </a:lnTo>
                    <a:lnTo>
                      <a:pt x="374" y="1063"/>
                    </a:lnTo>
                    <a:lnTo>
                      <a:pt x="358" y="1079"/>
                    </a:lnTo>
                    <a:lnTo>
                      <a:pt x="340" y="1095"/>
                    </a:lnTo>
                    <a:lnTo>
                      <a:pt x="318" y="1103"/>
                    </a:lnTo>
                    <a:lnTo>
                      <a:pt x="296" y="1106"/>
                    </a:lnTo>
                    <a:lnTo>
                      <a:pt x="274" y="1103"/>
                    </a:lnTo>
                    <a:lnTo>
                      <a:pt x="253" y="1095"/>
                    </a:lnTo>
                    <a:lnTo>
                      <a:pt x="234" y="1079"/>
                    </a:lnTo>
                    <a:lnTo>
                      <a:pt x="115" y="962"/>
                    </a:lnTo>
                    <a:lnTo>
                      <a:pt x="101" y="942"/>
                    </a:lnTo>
                    <a:lnTo>
                      <a:pt x="93" y="922"/>
                    </a:lnTo>
                    <a:lnTo>
                      <a:pt x="90" y="899"/>
                    </a:lnTo>
                    <a:lnTo>
                      <a:pt x="93" y="876"/>
                    </a:lnTo>
                    <a:lnTo>
                      <a:pt x="101" y="854"/>
                    </a:lnTo>
                    <a:lnTo>
                      <a:pt x="115" y="836"/>
                    </a:lnTo>
                    <a:lnTo>
                      <a:pt x="131" y="820"/>
                    </a:lnTo>
                    <a:lnTo>
                      <a:pt x="110" y="770"/>
                    </a:lnTo>
                    <a:lnTo>
                      <a:pt x="87" y="770"/>
                    </a:lnTo>
                    <a:lnTo>
                      <a:pt x="64" y="766"/>
                    </a:lnTo>
                    <a:lnTo>
                      <a:pt x="43" y="757"/>
                    </a:lnTo>
                    <a:lnTo>
                      <a:pt x="25" y="743"/>
                    </a:lnTo>
                    <a:lnTo>
                      <a:pt x="11" y="726"/>
                    </a:lnTo>
                    <a:lnTo>
                      <a:pt x="3" y="704"/>
                    </a:lnTo>
                    <a:lnTo>
                      <a:pt x="0" y="682"/>
                    </a:lnTo>
                    <a:lnTo>
                      <a:pt x="0" y="514"/>
                    </a:lnTo>
                    <a:lnTo>
                      <a:pt x="3" y="490"/>
                    </a:lnTo>
                    <a:lnTo>
                      <a:pt x="11" y="469"/>
                    </a:lnTo>
                    <a:lnTo>
                      <a:pt x="25" y="451"/>
                    </a:lnTo>
                    <a:lnTo>
                      <a:pt x="43" y="437"/>
                    </a:lnTo>
                    <a:lnTo>
                      <a:pt x="64" y="429"/>
                    </a:lnTo>
                    <a:lnTo>
                      <a:pt x="87" y="426"/>
                    </a:lnTo>
                    <a:lnTo>
                      <a:pt x="110" y="426"/>
                    </a:lnTo>
                    <a:lnTo>
                      <a:pt x="131" y="376"/>
                    </a:lnTo>
                    <a:lnTo>
                      <a:pt x="115" y="359"/>
                    </a:lnTo>
                    <a:lnTo>
                      <a:pt x="101" y="340"/>
                    </a:lnTo>
                    <a:lnTo>
                      <a:pt x="93" y="319"/>
                    </a:lnTo>
                    <a:lnTo>
                      <a:pt x="90" y="297"/>
                    </a:lnTo>
                    <a:lnTo>
                      <a:pt x="93" y="274"/>
                    </a:lnTo>
                    <a:lnTo>
                      <a:pt x="101" y="253"/>
                    </a:lnTo>
                    <a:lnTo>
                      <a:pt x="115" y="234"/>
                    </a:lnTo>
                    <a:lnTo>
                      <a:pt x="234" y="116"/>
                    </a:lnTo>
                    <a:lnTo>
                      <a:pt x="253" y="101"/>
                    </a:lnTo>
                    <a:lnTo>
                      <a:pt x="274" y="93"/>
                    </a:lnTo>
                    <a:lnTo>
                      <a:pt x="296" y="90"/>
                    </a:lnTo>
                    <a:lnTo>
                      <a:pt x="318" y="93"/>
                    </a:lnTo>
                    <a:lnTo>
                      <a:pt x="340" y="101"/>
                    </a:lnTo>
                    <a:lnTo>
                      <a:pt x="358" y="116"/>
                    </a:lnTo>
                    <a:lnTo>
                      <a:pt x="374" y="131"/>
                    </a:lnTo>
                    <a:lnTo>
                      <a:pt x="426" y="111"/>
                    </a:lnTo>
                    <a:lnTo>
                      <a:pt x="426" y="88"/>
                    </a:lnTo>
                    <a:lnTo>
                      <a:pt x="428" y="64"/>
                    </a:lnTo>
                    <a:lnTo>
                      <a:pt x="437" y="43"/>
                    </a:lnTo>
                    <a:lnTo>
                      <a:pt x="451" y="26"/>
                    </a:lnTo>
                    <a:lnTo>
                      <a:pt x="468" y="11"/>
                    </a:lnTo>
                    <a:lnTo>
                      <a:pt x="490" y="3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 dirty="0">
                  <a:latin typeface="+mj-lt"/>
                </a:endParaRPr>
              </a:p>
            </p:txBody>
          </p:sp>
        </p:grpSp>
      </p:grpSp>
      <p:grpSp>
        <p:nvGrpSpPr>
          <p:cNvPr id="8" name="Group 7"/>
          <p:cNvGrpSpPr/>
          <p:nvPr/>
        </p:nvGrpSpPr>
        <p:grpSpPr>
          <a:xfrm>
            <a:off x="147994" y="6208057"/>
            <a:ext cx="727877" cy="515892"/>
            <a:chOff x="147993" y="6208057"/>
            <a:chExt cx="727877" cy="515892"/>
          </a:xfrm>
        </p:grpSpPr>
        <p:sp>
          <p:nvSpPr>
            <p:cNvPr id="31" name="Rectangle 17"/>
            <p:cNvSpPr>
              <a:spLocks/>
            </p:cNvSpPr>
            <p:nvPr/>
          </p:nvSpPr>
          <p:spPr bwMode="auto">
            <a:xfrm>
              <a:off x="147993" y="6446950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rgbClr val="FFFFFF"/>
                  </a:solidFill>
                  <a:latin typeface="+mj-lt"/>
                  <a:sym typeface="Helvetica Neue" charset="0"/>
                </a:rPr>
                <a:t>Бизнес-партнеры</a:t>
              </a:r>
              <a:endParaRPr lang="ru-RU" sz="900" i="1" dirty="0">
                <a:solidFill>
                  <a:srgbClr val="FFFFFF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sp>
          <p:nvSpPr>
            <p:cNvPr id="107" name="Freeform 4831"/>
            <p:cNvSpPr>
              <a:spLocks noEditPoints="1"/>
            </p:cNvSpPr>
            <p:nvPr/>
          </p:nvSpPr>
          <p:spPr bwMode="auto">
            <a:xfrm>
              <a:off x="393188" y="6208057"/>
              <a:ext cx="273263" cy="147454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i="1" dirty="0">
                <a:latin typeface="+mj-lt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47994" y="5511712"/>
            <a:ext cx="727877" cy="472072"/>
            <a:chOff x="147993" y="5200955"/>
            <a:chExt cx="727877" cy="472072"/>
          </a:xfrm>
        </p:grpSpPr>
        <p:sp>
          <p:nvSpPr>
            <p:cNvPr id="37" name="Rectangle 17"/>
            <p:cNvSpPr>
              <a:spLocks/>
            </p:cNvSpPr>
            <p:nvPr/>
          </p:nvSpPr>
          <p:spPr bwMode="auto">
            <a:xfrm>
              <a:off x="147993" y="5396028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rgbClr val="FFFFFF"/>
                  </a:solidFill>
                  <a:latin typeface="+mj-lt"/>
                  <a:sym typeface="Helvetica Neue" charset="0"/>
                </a:rPr>
                <a:t>Рыночные данные</a:t>
              </a:r>
              <a:endParaRPr lang="ru-RU" sz="900" i="1" dirty="0">
                <a:solidFill>
                  <a:srgbClr val="FFFFFF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grpSp>
          <p:nvGrpSpPr>
            <p:cNvPr id="108" name="Group 165"/>
            <p:cNvGrpSpPr>
              <a:grpSpLocks noChangeAspect="1"/>
            </p:cNvGrpSpPr>
            <p:nvPr/>
          </p:nvGrpSpPr>
          <p:grpSpPr bwMode="auto">
            <a:xfrm>
              <a:off x="379345" y="5200955"/>
              <a:ext cx="253587" cy="198314"/>
              <a:chOff x="-1919" y="3510"/>
              <a:chExt cx="679" cy="531"/>
            </a:xfrm>
            <a:solidFill>
              <a:schemeClr val="bg1"/>
            </a:solidFill>
          </p:grpSpPr>
          <p:sp>
            <p:nvSpPr>
              <p:cNvPr id="109" name="Freeform 167"/>
              <p:cNvSpPr>
                <a:spLocks/>
              </p:cNvSpPr>
              <p:nvPr/>
            </p:nvSpPr>
            <p:spPr bwMode="auto">
              <a:xfrm>
                <a:off x="-1803" y="3980"/>
                <a:ext cx="447" cy="61"/>
              </a:xfrm>
              <a:custGeom>
                <a:avLst/>
                <a:gdLst>
                  <a:gd name="T0" fmla="*/ 154 w 2237"/>
                  <a:gd name="T1" fmla="*/ 0 h 304"/>
                  <a:gd name="T2" fmla="*/ 2082 w 2237"/>
                  <a:gd name="T3" fmla="*/ 0 h 304"/>
                  <a:gd name="T4" fmla="*/ 2113 w 2237"/>
                  <a:gd name="T5" fmla="*/ 3 h 304"/>
                  <a:gd name="T6" fmla="*/ 2142 w 2237"/>
                  <a:gd name="T7" fmla="*/ 12 h 304"/>
                  <a:gd name="T8" fmla="*/ 2168 w 2237"/>
                  <a:gd name="T9" fmla="*/ 27 h 304"/>
                  <a:gd name="T10" fmla="*/ 2191 w 2237"/>
                  <a:gd name="T11" fmla="*/ 45 h 304"/>
                  <a:gd name="T12" fmla="*/ 2210 w 2237"/>
                  <a:gd name="T13" fmla="*/ 68 h 304"/>
                  <a:gd name="T14" fmla="*/ 2224 w 2237"/>
                  <a:gd name="T15" fmla="*/ 93 h 304"/>
                  <a:gd name="T16" fmla="*/ 2234 w 2237"/>
                  <a:gd name="T17" fmla="*/ 122 h 304"/>
                  <a:gd name="T18" fmla="*/ 2237 w 2237"/>
                  <a:gd name="T19" fmla="*/ 153 h 304"/>
                  <a:gd name="T20" fmla="*/ 2234 w 2237"/>
                  <a:gd name="T21" fmla="*/ 183 h 304"/>
                  <a:gd name="T22" fmla="*/ 2224 w 2237"/>
                  <a:gd name="T23" fmla="*/ 212 h 304"/>
                  <a:gd name="T24" fmla="*/ 2210 w 2237"/>
                  <a:gd name="T25" fmla="*/ 237 h 304"/>
                  <a:gd name="T26" fmla="*/ 2191 w 2237"/>
                  <a:gd name="T27" fmla="*/ 260 h 304"/>
                  <a:gd name="T28" fmla="*/ 2168 w 2237"/>
                  <a:gd name="T29" fmla="*/ 278 h 304"/>
                  <a:gd name="T30" fmla="*/ 2142 w 2237"/>
                  <a:gd name="T31" fmla="*/ 293 h 304"/>
                  <a:gd name="T32" fmla="*/ 2113 w 2237"/>
                  <a:gd name="T33" fmla="*/ 301 h 304"/>
                  <a:gd name="T34" fmla="*/ 2082 w 2237"/>
                  <a:gd name="T35" fmla="*/ 304 h 304"/>
                  <a:gd name="T36" fmla="*/ 154 w 2237"/>
                  <a:gd name="T37" fmla="*/ 304 h 304"/>
                  <a:gd name="T38" fmla="*/ 123 w 2237"/>
                  <a:gd name="T39" fmla="*/ 301 h 304"/>
                  <a:gd name="T40" fmla="*/ 93 w 2237"/>
                  <a:gd name="T41" fmla="*/ 293 h 304"/>
                  <a:gd name="T42" fmla="*/ 68 w 2237"/>
                  <a:gd name="T43" fmla="*/ 278 h 304"/>
                  <a:gd name="T44" fmla="*/ 45 w 2237"/>
                  <a:gd name="T45" fmla="*/ 260 h 304"/>
                  <a:gd name="T46" fmla="*/ 26 w 2237"/>
                  <a:gd name="T47" fmla="*/ 237 h 304"/>
                  <a:gd name="T48" fmla="*/ 11 w 2237"/>
                  <a:gd name="T49" fmla="*/ 212 h 304"/>
                  <a:gd name="T50" fmla="*/ 3 w 2237"/>
                  <a:gd name="T51" fmla="*/ 183 h 304"/>
                  <a:gd name="T52" fmla="*/ 0 w 2237"/>
                  <a:gd name="T53" fmla="*/ 153 h 304"/>
                  <a:gd name="T54" fmla="*/ 3 w 2237"/>
                  <a:gd name="T55" fmla="*/ 122 h 304"/>
                  <a:gd name="T56" fmla="*/ 11 w 2237"/>
                  <a:gd name="T57" fmla="*/ 93 h 304"/>
                  <a:gd name="T58" fmla="*/ 26 w 2237"/>
                  <a:gd name="T59" fmla="*/ 68 h 304"/>
                  <a:gd name="T60" fmla="*/ 45 w 2237"/>
                  <a:gd name="T61" fmla="*/ 45 h 304"/>
                  <a:gd name="T62" fmla="*/ 68 w 2237"/>
                  <a:gd name="T63" fmla="*/ 27 h 304"/>
                  <a:gd name="T64" fmla="*/ 93 w 2237"/>
                  <a:gd name="T65" fmla="*/ 12 h 304"/>
                  <a:gd name="T66" fmla="*/ 123 w 2237"/>
                  <a:gd name="T67" fmla="*/ 3 h 304"/>
                  <a:gd name="T68" fmla="*/ 154 w 2237"/>
                  <a:gd name="T69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37" h="304">
                    <a:moveTo>
                      <a:pt x="154" y="0"/>
                    </a:moveTo>
                    <a:lnTo>
                      <a:pt x="2082" y="0"/>
                    </a:lnTo>
                    <a:lnTo>
                      <a:pt x="2113" y="3"/>
                    </a:lnTo>
                    <a:lnTo>
                      <a:pt x="2142" y="12"/>
                    </a:lnTo>
                    <a:lnTo>
                      <a:pt x="2168" y="27"/>
                    </a:lnTo>
                    <a:lnTo>
                      <a:pt x="2191" y="45"/>
                    </a:lnTo>
                    <a:lnTo>
                      <a:pt x="2210" y="68"/>
                    </a:lnTo>
                    <a:lnTo>
                      <a:pt x="2224" y="93"/>
                    </a:lnTo>
                    <a:lnTo>
                      <a:pt x="2234" y="122"/>
                    </a:lnTo>
                    <a:lnTo>
                      <a:pt x="2237" y="153"/>
                    </a:lnTo>
                    <a:lnTo>
                      <a:pt x="2234" y="183"/>
                    </a:lnTo>
                    <a:lnTo>
                      <a:pt x="2224" y="212"/>
                    </a:lnTo>
                    <a:lnTo>
                      <a:pt x="2210" y="237"/>
                    </a:lnTo>
                    <a:lnTo>
                      <a:pt x="2191" y="260"/>
                    </a:lnTo>
                    <a:lnTo>
                      <a:pt x="2168" y="278"/>
                    </a:lnTo>
                    <a:lnTo>
                      <a:pt x="2142" y="293"/>
                    </a:lnTo>
                    <a:lnTo>
                      <a:pt x="2113" y="301"/>
                    </a:lnTo>
                    <a:lnTo>
                      <a:pt x="2082" y="304"/>
                    </a:lnTo>
                    <a:lnTo>
                      <a:pt x="154" y="304"/>
                    </a:lnTo>
                    <a:lnTo>
                      <a:pt x="123" y="301"/>
                    </a:lnTo>
                    <a:lnTo>
                      <a:pt x="93" y="293"/>
                    </a:lnTo>
                    <a:lnTo>
                      <a:pt x="68" y="278"/>
                    </a:lnTo>
                    <a:lnTo>
                      <a:pt x="45" y="260"/>
                    </a:lnTo>
                    <a:lnTo>
                      <a:pt x="26" y="237"/>
                    </a:lnTo>
                    <a:lnTo>
                      <a:pt x="11" y="212"/>
                    </a:lnTo>
                    <a:lnTo>
                      <a:pt x="3" y="183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5" y="45"/>
                    </a:lnTo>
                    <a:lnTo>
                      <a:pt x="68" y="27"/>
                    </a:lnTo>
                    <a:lnTo>
                      <a:pt x="93" y="12"/>
                    </a:lnTo>
                    <a:lnTo>
                      <a:pt x="123" y="3"/>
                    </a:lnTo>
                    <a:lnTo>
                      <a:pt x="1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10" name="Freeform 168"/>
              <p:cNvSpPr>
                <a:spLocks/>
              </p:cNvSpPr>
              <p:nvPr/>
            </p:nvSpPr>
            <p:spPr bwMode="auto">
              <a:xfrm>
                <a:off x="-1811" y="3730"/>
                <a:ext cx="46" cy="121"/>
              </a:xfrm>
              <a:custGeom>
                <a:avLst/>
                <a:gdLst>
                  <a:gd name="T0" fmla="*/ 117 w 232"/>
                  <a:gd name="T1" fmla="*/ 0 h 607"/>
                  <a:gd name="T2" fmla="*/ 143 w 232"/>
                  <a:gd name="T3" fmla="*/ 3 h 607"/>
                  <a:gd name="T4" fmla="*/ 168 w 232"/>
                  <a:gd name="T5" fmla="*/ 12 h 607"/>
                  <a:gd name="T6" fmla="*/ 190 w 232"/>
                  <a:gd name="T7" fmla="*/ 25 h 607"/>
                  <a:gd name="T8" fmla="*/ 207 w 232"/>
                  <a:gd name="T9" fmla="*/ 43 h 607"/>
                  <a:gd name="T10" fmla="*/ 221 w 232"/>
                  <a:gd name="T11" fmla="*/ 64 h 607"/>
                  <a:gd name="T12" fmla="*/ 229 w 232"/>
                  <a:gd name="T13" fmla="*/ 88 h 607"/>
                  <a:gd name="T14" fmla="*/ 232 w 232"/>
                  <a:gd name="T15" fmla="*/ 114 h 607"/>
                  <a:gd name="T16" fmla="*/ 232 w 232"/>
                  <a:gd name="T17" fmla="*/ 494 h 607"/>
                  <a:gd name="T18" fmla="*/ 229 w 232"/>
                  <a:gd name="T19" fmla="*/ 520 h 607"/>
                  <a:gd name="T20" fmla="*/ 221 w 232"/>
                  <a:gd name="T21" fmla="*/ 544 h 607"/>
                  <a:gd name="T22" fmla="*/ 207 w 232"/>
                  <a:gd name="T23" fmla="*/ 565 h 607"/>
                  <a:gd name="T24" fmla="*/ 190 w 232"/>
                  <a:gd name="T25" fmla="*/ 583 h 607"/>
                  <a:gd name="T26" fmla="*/ 168 w 232"/>
                  <a:gd name="T27" fmla="*/ 596 h 607"/>
                  <a:gd name="T28" fmla="*/ 143 w 232"/>
                  <a:gd name="T29" fmla="*/ 605 h 607"/>
                  <a:gd name="T30" fmla="*/ 117 w 232"/>
                  <a:gd name="T31" fmla="*/ 607 h 607"/>
                  <a:gd name="T32" fmla="*/ 90 w 232"/>
                  <a:gd name="T33" fmla="*/ 605 h 607"/>
                  <a:gd name="T34" fmla="*/ 66 w 232"/>
                  <a:gd name="T35" fmla="*/ 596 h 607"/>
                  <a:gd name="T36" fmla="*/ 44 w 232"/>
                  <a:gd name="T37" fmla="*/ 583 h 607"/>
                  <a:gd name="T38" fmla="*/ 26 w 232"/>
                  <a:gd name="T39" fmla="*/ 565 h 607"/>
                  <a:gd name="T40" fmla="*/ 13 w 232"/>
                  <a:gd name="T41" fmla="*/ 544 h 607"/>
                  <a:gd name="T42" fmla="*/ 4 w 232"/>
                  <a:gd name="T43" fmla="*/ 520 h 607"/>
                  <a:gd name="T44" fmla="*/ 0 w 232"/>
                  <a:gd name="T45" fmla="*/ 494 h 607"/>
                  <a:gd name="T46" fmla="*/ 0 w 232"/>
                  <a:gd name="T47" fmla="*/ 114 h 607"/>
                  <a:gd name="T48" fmla="*/ 4 w 232"/>
                  <a:gd name="T49" fmla="*/ 88 h 607"/>
                  <a:gd name="T50" fmla="*/ 13 w 232"/>
                  <a:gd name="T51" fmla="*/ 64 h 607"/>
                  <a:gd name="T52" fmla="*/ 26 w 232"/>
                  <a:gd name="T53" fmla="*/ 43 h 607"/>
                  <a:gd name="T54" fmla="*/ 44 w 232"/>
                  <a:gd name="T55" fmla="*/ 25 h 607"/>
                  <a:gd name="T56" fmla="*/ 66 w 232"/>
                  <a:gd name="T57" fmla="*/ 12 h 607"/>
                  <a:gd name="T58" fmla="*/ 90 w 232"/>
                  <a:gd name="T59" fmla="*/ 3 h 607"/>
                  <a:gd name="T60" fmla="*/ 117 w 232"/>
                  <a:gd name="T61" fmla="*/ 0 h 6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2" h="607">
                    <a:moveTo>
                      <a:pt x="117" y="0"/>
                    </a:moveTo>
                    <a:lnTo>
                      <a:pt x="143" y="3"/>
                    </a:lnTo>
                    <a:lnTo>
                      <a:pt x="168" y="12"/>
                    </a:lnTo>
                    <a:lnTo>
                      <a:pt x="190" y="25"/>
                    </a:lnTo>
                    <a:lnTo>
                      <a:pt x="207" y="43"/>
                    </a:lnTo>
                    <a:lnTo>
                      <a:pt x="221" y="64"/>
                    </a:lnTo>
                    <a:lnTo>
                      <a:pt x="229" y="88"/>
                    </a:lnTo>
                    <a:lnTo>
                      <a:pt x="232" y="114"/>
                    </a:lnTo>
                    <a:lnTo>
                      <a:pt x="232" y="494"/>
                    </a:lnTo>
                    <a:lnTo>
                      <a:pt x="229" y="520"/>
                    </a:lnTo>
                    <a:lnTo>
                      <a:pt x="221" y="544"/>
                    </a:lnTo>
                    <a:lnTo>
                      <a:pt x="207" y="565"/>
                    </a:lnTo>
                    <a:lnTo>
                      <a:pt x="190" y="583"/>
                    </a:lnTo>
                    <a:lnTo>
                      <a:pt x="168" y="596"/>
                    </a:lnTo>
                    <a:lnTo>
                      <a:pt x="143" y="605"/>
                    </a:lnTo>
                    <a:lnTo>
                      <a:pt x="117" y="607"/>
                    </a:lnTo>
                    <a:lnTo>
                      <a:pt x="90" y="605"/>
                    </a:lnTo>
                    <a:lnTo>
                      <a:pt x="66" y="596"/>
                    </a:lnTo>
                    <a:lnTo>
                      <a:pt x="44" y="583"/>
                    </a:lnTo>
                    <a:lnTo>
                      <a:pt x="26" y="565"/>
                    </a:lnTo>
                    <a:lnTo>
                      <a:pt x="13" y="544"/>
                    </a:lnTo>
                    <a:lnTo>
                      <a:pt x="4" y="520"/>
                    </a:lnTo>
                    <a:lnTo>
                      <a:pt x="0" y="494"/>
                    </a:lnTo>
                    <a:lnTo>
                      <a:pt x="0" y="114"/>
                    </a:lnTo>
                    <a:lnTo>
                      <a:pt x="4" y="88"/>
                    </a:lnTo>
                    <a:lnTo>
                      <a:pt x="13" y="64"/>
                    </a:lnTo>
                    <a:lnTo>
                      <a:pt x="26" y="43"/>
                    </a:lnTo>
                    <a:lnTo>
                      <a:pt x="44" y="25"/>
                    </a:lnTo>
                    <a:lnTo>
                      <a:pt x="66" y="12"/>
                    </a:lnTo>
                    <a:lnTo>
                      <a:pt x="90" y="3"/>
                    </a:lnTo>
                    <a:lnTo>
                      <a:pt x="11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11" name="Freeform 169"/>
              <p:cNvSpPr>
                <a:spLocks/>
              </p:cNvSpPr>
              <p:nvPr/>
            </p:nvSpPr>
            <p:spPr bwMode="auto">
              <a:xfrm>
                <a:off x="-1734" y="3699"/>
                <a:ext cx="46" cy="152"/>
              </a:xfrm>
              <a:custGeom>
                <a:avLst/>
                <a:gdLst>
                  <a:gd name="T0" fmla="*/ 116 w 232"/>
                  <a:gd name="T1" fmla="*/ 0 h 759"/>
                  <a:gd name="T2" fmla="*/ 142 w 232"/>
                  <a:gd name="T3" fmla="*/ 3 h 759"/>
                  <a:gd name="T4" fmla="*/ 167 w 232"/>
                  <a:gd name="T5" fmla="*/ 12 h 759"/>
                  <a:gd name="T6" fmla="*/ 188 w 232"/>
                  <a:gd name="T7" fmla="*/ 25 h 759"/>
                  <a:gd name="T8" fmla="*/ 207 w 232"/>
                  <a:gd name="T9" fmla="*/ 43 h 759"/>
                  <a:gd name="T10" fmla="*/ 220 w 232"/>
                  <a:gd name="T11" fmla="*/ 64 h 759"/>
                  <a:gd name="T12" fmla="*/ 229 w 232"/>
                  <a:gd name="T13" fmla="*/ 88 h 759"/>
                  <a:gd name="T14" fmla="*/ 232 w 232"/>
                  <a:gd name="T15" fmla="*/ 115 h 759"/>
                  <a:gd name="T16" fmla="*/ 232 w 232"/>
                  <a:gd name="T17" fmla="*/ 646 h 759"/>
                  <a:gd name="T18" fmla="*/ 229 w 232"/>
                  <a:gd name="T19" fmla="*/ 672 h 759"/>
                  <a:gd name="T20" fmla="*/ 220 w 232"/>
                  <a:gd name="T21" fmla="*/ 696 h 759"/>
                  <a:gd name="T22" fmla="*/ 207 w 232"/>
                  <a:gd name="T23" fmla="*/ 717 h 759"/>
                  <a:gd name="T24" fmla="*/ 188 w 232"/>
                  <a:gd name="T25" fmla="*/ 735 h 759"/>
                  <a:gd name="T26" fmla="*/ 167 w 232"/>
                  <a:gd name="T27" fmla="*/ 748 h 759"/>
                  <a:gd name="T28" fmla="*/ 142 w 232"/>
                  <a:gd name="T29" fmla="*/ 757 h 759"/>
                  <a:gd name="T30" fmla="*/ 116 w 232"/>
                  <a:gd name="T31" fmla="*/ 759 h 759"/>
                  <a:gd name="T32" fmla="*/ 89 w 232"/>
                  <a:gd name="T33" fmla="*/ 757 h 759"/>
                  <a:gd name="T34" fmla="*/ 66 w 232"/>
                  <a:gd name="T35" fmla="*/ 748 h 759"/>
                  <a:gd name="T36" fmla="*/ 44 w 232"/>
                  <a:gd name="T37" fmla="*/ 735 h 759"/>
                  <a:gd name="T38" fmla="*/ 26 w 232"/>
                  <a:gd name="T39" fmla="*/ 717 h 759"/>
                  <a:gd name="T40" fmla="*/ 13 w 232"/>
                  <a:gd name="T41" fmla="*/ 696 h 759"/>
                  <a:gd name="T42" fmla="*/ 3 w 232"/>
                  <a:gd name="T43" fmla="*/ 672 h 759"/>
                  <a:gd name="T44" fmla="*/ 0 w 232"/>
                  <a:gd name="T45" fmla="*/ 646 h 759"/>
                  <a:gd name="T46" fmla="*/ 0 w 232"/>
                  <a:gd name="T47" fmla="*/ 115 h 759"/>
                  <a:gd name="T48" fmla="*/ 3 w 232"/>
                  <a:gd name="T49" fmla="*/ 88 h 759"/>
                  <a:gd name="T50" fmla="*/ 13 w 232"/>
                  <a:gd name="T51" fmla="*/ 64 h 759"/>
                  <a:gd name="T52" fmla="*/ 26 w 232"/>
                  <a:gd name="T53" fmla="*/ 43 h 759"/>
                  <a:gd name="T54" fmla="*/ 44 w 232"/>
                  <a:gd name="T55" fmla="*/ 25 h 759"/>
                  <a:gd name="T56" fmla="*/ 66 w 232"/>
                  <a:gd name="T57" fmla="*/ 12 h 759"/>
                  <a:gd name="T58" fmla="*/ 89 w 232"/>
                  <a:gd name="T59" fmla="*/ 3 h 759"/>
                  <a:gd name="T60" fmla="*/ 116 w 232"/>
                  <a:gd name="T61" fmla="*/ 0 h 7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2" h="759">
                    <a:moveTo>
                      <a:pt x="116" y="0"/>
                    </a:moveTo>
                    <a:lnTo>
                      <a:pt x="142" y="3"/>
                    </a:lnTo>
                    <a:lnTo>
                      <a:pt x="167" y="12"/>
                    </a:lnTo>
                    <a:lnTo>
                      <a:pt x="188" y="25"/>
                    </a:lnTo>
                    <a:lnTo>
                      <a:pt x="207" y="43"/>
                    </a:lnTo>
                    <a:lnTo>
                      <a:pt x="220" y="64"/>
                    </a:lnTo>
                    <a:lnTo>
                      <a:pt x="229" y="88"/>
                    </a:lnTo>
                    <a:lnTo>
                      <a:pt x="232" y="115"/>
                    </a:lnTo>
                    <a:lnTo>
                      <a:pt x="232" y="646"/>
                    </a:lnTo>
                    <a:lnTo>
                      <a:pt x="229" y="672"/>
                    </a:lnTo>
                    <a:lnTo>
                      <a:pt x="220" y="696"/>
                    </a:lnTo>
                    <a:lnTo>
                      <a:pt x="207" y="717"/>
                    </a:lnTo>
                    <a:lnTo>
                      <a:pt x="188" y="735"/>
                    </a:lnTo>
                    <a:lnTo>
                      <a:pt x="167" y="748"/>
                    </a:lnTo>
                    <a:lnTo>
                      <a:pt x="142" y="757"/>
                    </a:lnTo>
                    <a:lnTo>
                      <a:pt x="116" y="759"/>
                    </a:lnTo>
                    <a:lnTo>
                      <a:pt x="89" y="757"/>
                    </a:lnTo>
                    <a:lnTo>
                      <a:pt x="66" y="748"/>
                    </a:lnTo>
                    <a:lnTo>
                      <a:pt x="44" y="735"/>
                    </a:lnTo>
                    <a:lnTo>
                      <a:pt x="26" y="717"/>
                    </a:lnTo>
                    <a:lnTo>
                      <a:pt x="13" y="696"/>
                    </a:lnTo>
                    <a:lnTo>
                      <a:pt x="3" y="672"/>
                    </a:lnTo>
                    <a:lnTo>
                      <a:pt x="0" y="646"/>
                    </a:lnTo>
                    <a:lnTo>
                      <a:pt x="0" y="115"/>
                    </a:lnTo>
                    <a:lnTo>
                      <a:pt x="3" y="88"/>
                    </a:lnTo>
                    <a:lnTo>
                      <a:pt x="13" y="64"/>
                    </a:lnTo>
                    <a:lnTo>
                      <a:pt x="26" y="43"/>
                    </a:lnTo>
                    <a:lnTo>
                      <a:pt x="44" y="25"/>
                    </a:lnTo>
                    <a:lnTo>
                      <a:pt x="66" y="12"/>
                    </a:lnTo>
                    <a:lnTo>
                      <a:pt x="89" y="3"/>
                    </a:lnTo>
                    <a:lnTo>
                      <a:pt x="11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12" name="Freeform 170"/>
              <p:cNvSpPr>
                <a:spLocks/>
              </p:cNvSpPr>
              <p:nvPr/>
            </p:nvSpPr>
            <p:spPr bwMode="auto">
              <a:xfrm>
                <a:off x="-1657" y="3669"/>
                <a:ext cx="46" cy="182"/>
              </a:xfrm>
              <a:custGeom>
                <a:avLst/>
                <a:gdLst>
                  <a:gd name="T0" fmla="*/ 115 w 230"/>
                  <a:gd name="T1" fmla="*/ 0 h 911"/>
                  <a:gd name="T2" fmla="*/ 141 w 230"/>
                  <a:gd name="T3" fmla="*/ 3 h 911"/>
                  <a:gd name="T4" fmla="*/ 166 w 230"/>
                  <a:gd name="T5" fmla="*/ 12 h 911"/>
                  <a:gd name="T6" fmla="*/ 187 w 230"/>
                  <a:gd name="T7" fmla="*/ 25 h 911"/>
                  <a:gd name="T8" fmla="*/ 206 w 230"/>
                  <a:gd name="T9" fmla="*/ 43 h 911"/>
                  <a:gd name="T10" fmla="*/ 219 w 230"/>
                  <a:gd name="T11" fmla="*/ 64 h 911"/>
                  <a:gd name="T12" fmla="*/ 227 w 230"/>
                  <a:gd name="T13" fmla="*/ 88 h 911"/>
                  <a:gd name="T14" fmla="*/ 230 w 230"/>
                  <a:gd name="T15" fmla="*/ 114 h 911"/>
                  <a:gd name="T16" fmla="*/ 230 w 230"/>
                  <a:gd name="T17" fmla="*/ 798 h 911"/>
                  <a:gd name="T18" fmla="*/ 227 w 230"/>
                  <a:gd name="T19" fmla="*/ 824 h 911"/>
                  <a:gd name="T20" fmla="*/ 219 w 230"/>
                  <a:gd name="T21" fmla="*/ 848 h 911"/>
                  <a:gd name="T22" fmla="*/ 206 w 230"/>
                  <a:gd name="T23" fmla="*/ 869 h 911"/>
                  <a:gd name="T24" fmla="*/ 187 w 230"/>
                  <a:gd name="T25" fmla="*/ 887 h 911"/>
                  <a:gd name="T26" fmla="*/ 166 w 230"/>
                  <a:gd name="T27" fmla="*/ 900 h 911"/>
                  <a:gd name="T28" fmla="*/ 141 w 230"/>
                  <a:gd name="T29" fmla="*/ 909 h 911"/>
                  <a:gd name="T30" fmla="*/ 115 w 230"/>
                  <a:gd name="T31" fmla="*/ 911 h 911"/>
                  <a:gd name="T32" fmla="*/ 88 w 230"/>
                  <a:gd name="T33" fmla="*/ 909 h 911"/>
                  <a:gd name="T34" fmla="*/ 64 w 230"/>
                  <a:gd name="T35" fmla="*/ 900 h 911"/>
                  <a:gd name="T36" fmla="*/ 42 w 230"/>
                  <a:gd name="T37" fmla="*/ 887 h 911"/>
                  <a:gd name="T38" fmla="*/ 25 w 230"/>
                  <a:gd name="T39" fmla="*/ 869 h 911"/>
                  <a:gd name="T40" fmla="*/ 11 w 230"/>
                  <a:gd name="T41" fmla="*/ 848 h 911"/>
                  <a:gd name="T42" fmla="*/ 3 w 230"/>
                  <a:gd name="T43" fmla="*/ 824 h 911"/>
                  <a:gd name="T44" fmla="*/ 0 w 230"/>
                  <a:gd name="T45" fmla="*/ 798 h 911"/>
                  <a:gd name="T46" fmla="*/ 0 w 230"/>
                  <a:gd name="T47" fmla="*/ 114 h 911"/>
                  <a:gd name="T48" fmla="*/ 3 w 230"/>
                  <a:gd name="T49" fmla="*/ 88 h 911"/>
                  <a:gd name="T50" fmla="*/ 11 w 230"/>
                  <a:gd name="T51" fmla="*/ 64 h 911"/>
                  <a:gd name="T52" fmla="*/ 25 w 230"/>
                  <a:gd name="T53" fmla="*/ 43 h 911"/>
                  <a:gd name="T54" fmla="*/ 42 w 230"/>
                  <a:gd name="T55" fmla="*/ 25 h 911"/>
                  <a:gd name="T56" fmla="*/ 64 w 230"/>
                  <a:gd name="T57" fmla="*/ 12 h 911"/>
                  <a:gd name="T58" fmla="*/ 88 w 230"/>
                  <a:gd name="T59" fmla="*/ 3 h 911"/>
                  <a:gd name="T60" fmla="*/ 115 w 230"/>
                  <a:gd name="T61" fmla="*/ 0 h 9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0" h="911">
                    <a:moveTo>
                      <a:pt x="115" y="0"/>
                    </a:moveTo>
                    <a:lnTo>
                      <a:pt x="141" y="3"/>
                    </a:lnTo>
                    <a:lnTo>
                      <a:pt x="166" y="12"/>
                    </a:lnTo>
                    <a:lnTo>
                      <a:pt x="187" y="25"/>
                    </a:lnTo>
                    <a:lnTo>
                      <a:pt x="206" y="43"/>
                    </a:lnTo>
                    <a:lnTo>
                      <a:pt x="219" y="64"/>
                    </a:lnTo>
                    <a:lnTo>
                      <a:pt x="227" y="88"/>
                    </a:lnTo>
                    <a:lnTo>
                      <a:pt x="230" y="114"/>
                    </a:lnTo>
                    <a:lnTo>
                      <a:pt x="230" y="798"/>
                    </a:lnTo>
                    <a:lnTo>
                      <a:pt x="227" y="824"/>
                    </a:lnTo>
                    <a:lnTo>
                      <a:pt x="219" y="848"/>
                    </a:lnTo>
                    <a:lnTo>
                      <a:pt x="206" y="869"/>
                    </a:lnTo>
                    <a:lnTo>
                      <a:pt x="187" y="887"/>
                    </a:lnTo>
                    <a:lnTo>
                      <a:pt x="166" y="900"/>
                    </a:lnTo>
                    <a:lnTo>
                      <a:pt x="141" y="909"/>
                    </a:lnTo>
                    <a:lnTo>
                      <a:pt x="115" y="911"/>
                    </a:lnTo>
                    <a:lnTo>
                      <a:pt x="88" y="909"/>
                    </a:lnTo>
                    <a:lnTo>
                      <a:pt x="64" y="900"/>
                    </a:lnTo>
                    <a:lnTo>
                      <a:pt x="42" y="887"/>
                    </a:lnTo>
                    <a:lnTo>
                      <a:pt x="25" y="869"/>
                    </a:lnTo>
                    <a:lnTo>
                      <a:pt x="11" y="848"/>
                    </a:lnTo>
                    <a:lnTo>
                      <a:pt x="3" y="824"/>
                    </a:lnTo>
                    <a:lnTo>
                      <a:pt x="0" y="798"/>
                    </a:lnTo>
                    <a:lnTo>
                      <a:pt x="0" y="114"/>
                    </a:lnTo>
                    <a:lnTo>
                      <a:pt x="3" y="88"/>
                    </a:lnTo>
                    <a:lnTo>
                      <a:pt x="11" y="64"/>
                    </a:lnTo>
                    <a:lnTo>
                      <a:pt x="25" y="43"/>
                    </a:lnTo>
                    <a:lnTo>
                      <a:pt x="42" y="25"/>
                    </a:lnTo>
                    <a:lnTo>
                      <a:pt x="64" y="12"/>
                    </a:lnTo>
                    <a:lnTo>
                      <a:pt x="88" y="3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13" name="Freeform 171"/>
              <p:cNvSpPr>
                <a:spLocks/>
              </p:cNvSpPr>
              <p:nvPr/>
            </p:nvSpPr>
            <p:spPr bwMode="auto">
              <a:xfrm>
                <a:off x="-1919" y="3510"/>
                <a:ext cx="679" cy="440"/>
              </a:xfrm>
              <a:custGeom>
                <a:avLst/>
                <a:gdLst>
                  <a:gd name="T0" fmla="*/ 3240 w 3394"/>
                  <a:gd name="T1" fmla="*/ 0 h 2203"/>
                  <a:gd name="T2" fmla="*/ 3300 w 3394"/>
                  <a:gd name="T3" fmla="*/ 11 h 2203"/>
                  <a:gd name="T4" fmla="*/ 3349 w 3394"/>
                  <a:gd name="T5" fmla="*/ 44 h 2203"/>
                  <a:gd name="T6" fmla="*/ 3382 w 3394"/>
                  <a:gd name="T7" fmla="*/ 92 h 2203"/>
                  <a:gd name="T8" fmla="*/ 3394 w 3394"/>
                  <a:gd name="T9" fmla="*/ 152 h 2203"/>
                  <a:gd name="T10" fmla="*/ 3187 w 3394"/>
                  <a:gd name="T11" fmla="*/ 1669 h 2203"/>
                  <a:gd name="T12" fmla="*/ 3245 w 3394"/>
                  <a:gd name="T13" fmla="*/ 1543 h 2203"/>
                  <a:gd name="T14" fmla="*/ 3281 w 3394"/>
                  <a:gd name="T15" fmla="*/ 1409 h 2203"/>
                  <a:gd name="T16" fmla="*/ 3294 w 3394"/>
                  <a:gd name="T17" fmla="*/ 1271 h 2203"/>
                  <a:gd name="T18" fmla="*/ 3282 w 3394"/>
                  <a:gd name="T19" fmla="*/ 1139 h 2203"/>
                  <a:gd name="T20" fmla="*/ 3251 w 3394"/>
                  <a:gd name="T21" fmla="*/ 1012 h 2203"/>
                  <a:gd name="T22" fmla="*/ 3199 w 3394"/>
                  <a:gd name="T23" fmla="*/ 894 h 2203"/>
                  <a:gd name="T24" fmla="*/ 3128 w 3394"/>
                  <a:gd name="T25" fmla="*/ 783 h 2203"/>
                  <a:gd name="T26" fmla="*/ 3085 w 3394"/>
                  <a:gd name="T27" fmla="*/ 304 h 2203"/>
                  <a:gd name="T28" fmla="*/ 309 w 3394"/>
                  <a:gd name="T29" fmla="*/ 1899 h 2203"/>
                  <a:gd name="T30" fmla="*/ 1989 w 3394"/>
                  <a:gd name="T31" fmla="*/ 1937 h 2203"/>
                  <a:gd name="T32" fmla="*/ 2097 w 3394"/>
                  <a:gd name="T33" fmla="*/ 2001 h 2203"/>
                  <a:gd name="T34" fmla="*/ 2214 w 3394"/>
                  <a:gd name="T35" fmla="*/ 2048 h 2203"/>
                  <a:gd name="T36" fmla="*/ 2338 w 3394"/>
                  <a:gd name="T37" fmla="*/ 2077 h 2203"/>
                  <a:gd name="T38" fmla="*/ 2465 w 3394"/>
                  <a:gd name="T39" fmla="*/ 2086 h 2203"/>
                  <a:gd name="T40" fmla="*/ 2607 w 3394"/>
                  <a:gd name="T41" fmla="*/ 2074 h 2203"/>
                  <a:gd name="T42" fmla="*/ 2743 w 3394"/>
                  <a:gd name="T43" fmla="*/ 2039 h 2203"/>
                  <a:gd name="T44" fmla="*/ 2871 w 3394"/>
                  <a:gd name="T45" fmla="*/ 1980 h 2203"/>
                  <a:gd name="T46" fmla="*/ 3089 w 3394"/>
                  <a:gd name="T47" fmla="*/ 2195 h 2203"/>
                  <a:gd name="T48" fmla="*/ 3098 w 3394"/>
                  <a:gd name="T49" fmla="*/ 2203 h 2203"/>
                  <a:gd name="T50" fmla="*/ 124 w 3394"/>
                  <a:gd name="T51" fmla="*/ 2199 h 2203"/>
                  <a:gd name="T52" fmla="*/ 69 w 3394"/>
                  <a:gd name="T53" fmla="*/ 2177 h 2203"/>
                  <a:gd name="T54" fmla="*/ 26 w 3394"/>
                  <a:gd name="T55" fmla="*/ 2135 h 2203"/>
                  <a:gd name="T56" fmla="*/ 3 w 3394"/>
                  <a:gd name="T57" fmla="*/ 2081 h 2203"/>
                  <a:gd name="T58" fmla="*/ 0 w 3394"/>
                  <a:gd name="T59" fmla="*/ 152 h 2203"/>
                  <a:gd name="T60" fmla="*/ 12 w 3394"/>
                  <a:gd name="T61" fmla="*/ 93 h 2203"/>
                  <a:gd name="T62" fmla="*/ 46 w 3394"/>
                  <a:gd name="T63" fmla="*/ 44 h 2203"/>
                  <a:gd name="T64" fmla="*/ 95 w 3394"/>
                  <a:gd name="T65" fmla="*/ 11 h 2203"/>
                  <a:gd name="T66" fmla="*/ 155 w 3394"/>
                  <a:gd name="T67" fmla="*/ 0 h 2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394" h="2203">
                    <a:moveTo>
                      <a:pt x="155" y="0"/>
                    </a:moveTo>
                    <a:lnTo>
                      <a:pt x="3240" y="0"/>
                    </a:lnTo>
                    <a:lnTo>
                      <a:pt x="3271" y="3"/>
                    </a:lnTo>
                    <a:lnTo>
                      <a:pt x="3300" y="11"/>
                    </a:lnTo>
                    <a:lnTo>
                      <a:pt x="3326" y="26"/>
                    </a:lnTo>
                    <a:lnTo>
                      <a:pt x="3349" y="44"/>
                    </a:lnTo>
                    <a:lnTo>
                      <a:pt x="3368" y="67"/>
                    </a:lnTo>
                    <a:lnTo>
                      <a:pt x="3382" y="92"/>
                    </a:lnTo>
                    <a:lnTo>
                      <a:pt x="3391" y="121"/>
                    </a:lnTo>
                    <a:lnTo>
                      <a:pt x="3394" y="152"/>
                    </a:lnTo>
                    <a:lnTo>
                      <a:pt x="3394" y="1874"/>
                    </a:lnTo>
                    <a:lnTo>
                      <a:pt x="3187" y="1669"/>
                    </a:lnTo>
                    <a:lnTo>
                      <a:pt x="3219" y="1608"/>
                    </a:lnTo>
                    <a:lnTo>
                      <a:pt x="3245" y="1543"/>
                    </a:lnTo>
                    <a:lnTo>
                      <a:pt x="3266" y="1478"/>
                    </a:lnTo>
                    <a:lnTo>
                      <a:pt x="3281" y="1409"/>
                    </a:lnTo>
                    <a:lnTo>
                      <a:pt x="3291" y="1341"/>
                    </a:lnTo>
                    <a:lnTo>
                      <a:pt x="3294" y="1271"/>
                    </a:lnTo>
                    <a:lnTo>
                      <a:pt x="3291" y="1205"/>
                    </a:lnTo>
                    <a:lnTo>
                      <a:pt x="3282" y="1139"/>
                    </a:lnTo>
                    <a:lnTo>
                      <a:pt x="3269" y="1075"/>
                    </a:lnTo>
                    <a:lnTo>
                      <a:pt x="3251" y="1012"/>
                    </a:lnTo>
                    <a:lnTo>
                      <a:pt x="3227" y="952"/>
                    </a:lnTo>
                    <a:lnTo>
                      <a:pt x="3199" y="894"/>
                    </a:lnTo>
                    <a:lnTo>
                      <a:pt x="3166" y="836"/>
                    </a:lnTo>
                    <a:lnTo>
                      <a:pt x="3128" y="783"/>
                    </a:lnTo>
                    <a:lnTo>
                      <a:pt x="3085" y="732"/>
                    </a:lnTo>
                    <a:lnTo>
                      <a:pt x="3085" y="304"/>
                    </a:lnTo>
                    <a:lnTo>
                      <a:pt x="309" y="304"/>
                    </a:lnTo>
                    <a:lnTo>
                      <a:pt x="309" y="1899"/>
                    </a:lnTo>
                    <a:lnTo>
                      <a:pt x="1938" y="1899"/>
                    </a:lnTo>
                    <a:lnTo>
                      <a:pt x="1989" y="1937"/>
                    </a:lnTo>
                    <a:lnTo>
                      <a:pt x="2042" y="1971"/>
                    </a:lnTo>
                    <a:lnTo>
                      <a:pt x="2097" y="2001"/>
                    </a:lnTo>
                    <a:lnTo>
                      <a:pt x="2155" y="2027"/>
                    </a:lnTo>
                    <a:lnTo>
                      <a:pt x="2214" y="2048"/>
                    </a:lnTo>
                    <a:lnTo>
                      <a:pt x="2275" y="2064"/>
                    </a:lnTo>
                    <a:lnTo>
                      <a:pt x="2338" y="2077"/>
                    </a:lnTo>
                    <a:lnTo>
                      <a:pt x="2401" y="2084"/>
                    </a:lnTo>
                    <a:lnTo>
                      <a:pt x="2465" y="2086"/>
                    </a:lnTo>
                    <a:lnTo>
                      <a:pt x="2537" y="2083"/>
                    </a:lnTo>
                    <a:lnTo>
                      <a:pt x="2607" y="2074"/>
                    </a:lnTo>
                    <a:lnTo>
                      <a:pt x="2675" y="2059"/>
                    </a:lnTo>
                    <a:lnTo>
                      <a:pt x="2743" y="2039"/>
                    </a:lnTo>
                    <a:lnTo>
                      <a:pt x="2808" y="2012"/>
                    </a:lnTo>
                    <a:lnTo>
                      <a:pt x="2871" y="1980"/>
                    </a:lnTo>
                    <a:lnTo>
                      <a:pt x="3085" y="2191"/>
                    </a:lnTo>
                    <a:lnTo>
                      <a:pt x="3089" y="2195"/>
                    </a:lnTo>
                    <a:lnTo>
                      <a:pt x="3094" y="2198"/>
                    </a:lnTo>
                    <a:lnTo>
                      <a:pt x="3098" y="2203"/>
                    </a:lnTo>
                    <a:lnTo>
                      <a:pt x="155" y="2203"/>
                    </a:lnTo>
                    <a:lnTo>
                      <a:pt x="124" y="2199"/>
                    </a:lnTo>
                    <a:lnTo>
                      <a:pt x="95" y="2190"/>
                    </a:lnTo>
                    <a:lnTo>
                      <a:pt x="69" y="2177"/>
                    </a:lnTo>
                    <a:lnTo>
                      <a:pt x="46" y="2158"/>
                    </a:lnTo>
                    <a:lnTo>
                      <a:pt x="26" y="2135"/>
                    </a:lnTo>
                    <a:lnTo>
                      <a:pt x="12" y="2109"/>
                    </a:lnTo>
                    <a:lnTo>
                      <a:pt x="3" y="2081"/>
                    </a:lnTo>
                    <a:lnTo>
                      <a:pt x="0" y="2051"/>
                    </a:lnTo>
                    <a:lnTo>
                      <a:pt x="0" y="152"/>
                    </a:lnTo>
                    <a:lnTo>
                      <a:pt x="3" y="121"/>
                    </a:lnTo>
                    <a:lnTo>
                      <a:pt x="12" y="93"/>
                    </a:lnTo>
                    <a:lnTo>
                      <a:pt x="26" y="67"/>
                    </a:lnTo>
                    <a:lnTo>
                      <a:pt x="46" y="44"/>
                    </a:lnTo>
                    <a:lnTo>
                      <a:pt x="69" y="26"/>
                    </a:lnTo>
                    <a:lnTo>
                      <a:pt x="95" y="11"/>
                    </a:lnTo>
                    <a:lnTo>
                      <a:pt x="124" y="3"/>
                    </a:lnTo>
                    <a:lnTo>
                      <a:pt x="1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15" name="Freeform 172"/>
              <p:cNvSpPr>
                <a:spLocks noEditPoints="1"/>
              </p:cNvSpPr>
              <p:nvPr/>
            </p:nvSpPr>
            <p:spPr bwMode="auto">
              <a:xfrm>
                <a:off x="-1561" y="3631"/>
                <a:ext cx="304" cy="299"/>
              </a:xfrm>
              <a:custGeom>
                <a:avLst/>
                <a:gdLst>
                  <a:gd name="T0" fmla="*/ 568 w 1520"/>
                  <a:gd name="T1" fmla="*/ 146 h 1495"/>
                  <a:gd name="T2" fmla="*/ 422 w 1520"/>
                  <a:gd name="T3" fmla="*/ 198 h 1495"/>
                  <a:gd name="T4" fmla="*/ 295 w 1520"/>
                  <a:gd name="T5" fmla="*/ 291 h 1495"/>
                  <a:gd name="T6" fmla="*/ 202 w 1520"/>
                  <a:gd name="T7" fmla="*/ 415 h 1495"/>
                  <a:gd name="T8" fmla="*/ 149 w 1520"/>
                  <a:gd name="T9" fmla="*/ 560 h 1495"/>
                  <a:gd name="T10" fmla="*/ 141 w 1520"/>
                  <a:gd name="T11" fmla="*/ 715 h 1495"/>
                  <a:gd name="T12" fmla="*/ 179 w 1520"/>
                  <a:gd name="T13" fmla="*/ 865 h 1495"/>
                  <a:gd name="T14" fmla="*/ 260 w 1520"/>
                  <a:gd name="T15" fmla="*/ 997 h 1495"/>
                  <a:gd name="T16" fmla="*/ 377 w 1520"/>
                  <a:gd name="T17" fmla="*/ 1101 h 1495"/>
                  <a:gd name="T18" fmla="*/ 518 w 1520"/>
                  <a:gd name="T19" fmla="*/ 1168 h 1495"/>
                  <a:gd name="T20" fmla="*/ 673 w 1520"/>
                  <a:gd name="T21" fmla="*/ 1190 h 1495"/>
                  <a:gd name="T22" fmla="*/ 829 w 1520"/>
                  <a:gd name="T23" fmla="*/ 1168 h 1495"/>
                  <a:gd name="T24" fmla="*/ 971 w 1520"/>
                  <a:gd name="T25" fmla="*/ 1101 h 1495"/>
                  <a:gd name="T26" fmla="*/ 1088 w 1520"/>
                  <a:gd name="T27" fmla="*/ 997 h 1495"/>
                  <a:gd name="T28" fmla="*/ 1168 w 1520"/>
                  <a:gd name="T29" fmla="*/ 865 h 1495"/>
                  <a:gd name="T30" fmla="*/ 1207 w 1520"/>
                  <a:gd name="T31" fmla="*/ 715 h 1495"/>
                  <a:gd name="T32" fmla="*/ 1198 w 1520"/>
                  <a:gd name="T33" fmla="*/ 560 h 1495"/>
                  <a:gd name="T34" fmla="*/ 1146 w 1520"/>
                  <a:gd name="T35" fmla="*/ 415 h 1495"/>
                  <a:gd name="T36" fmla="*/ 1053 w 1520"/>
                  <a:gd name="T37" fmla="*/ 291 h 1495"/>
                  <a:gd name="T38" fmla="*/ 926 w 1520"/>
                  <a:gd name="T39" fmla="*/ 198 h 1495"/>
                  <a:gd name="T40" fmla="*/ 779 w 1520"/>
                  <a:gd name="T41" fmla="*/ 146 h 1495"/>
                  <a:gd name="T42" fmla="*/ 673 w 1520"/>
                  <a:gd name="T43" fmla="*/ 0 h 1495"/>
                  <a:gd name="T44" fmla="*/ 849 w 1520"/>
                  <a:gd name="T45" fmla="*/ 23 h 1495"/>
                  <a:gd name="T46" fmla="*/ 1010 w 1520"/>
                  <a:gd name="T47" fmla="*/ 88 h 1495"/>
                  <a:gd name="T48" fmla="*/ 1151 w 1520"/>
                  <a:gd name="T49" fmla="*/ 195 h 1495"/>
                  <a:gd name="T50" fmla="*/ 1258 w 1520"/>
                  <a:gd name="T51" fmla="*/ 332 h 1495"/>
                  <a:gd name="T52" fmla="*/ 1324 w 1520"/>
                  <a:gd name="T53" fmla="*/ 490 h 1495"/>
                  <a:gd name="T54" fmla="*/ 1347 w 1520"/>
                  <a:gd name="T55" fmla="*/ 663 h 1495"/>
                  <a:gd name="T56" fmla="*/ 1322 w 1520"/>
                  <a:gd name="T57" fmla="*/ 841 h 1495"/>
                  <a:gd name="T58" fmla="*/ 1251 w 1520"/>
                  <a:gd name="T59" fmla="*/ 1004 h 1495"/>
                  <a:gd name="T60" fmla="*/ 1211 w 1520"/>
                  <a:gd name="T61" fmla="*/ 1132 h 1495"/>
                  <a:gd name="T62" fmla="*/ 1256 w 1520"/>
                  <a:gd name="T63" fmla="*/ 1142 h 1495"/>
                  <a:gd name="T64" fmla="*/ 1511 w 1520"/>
                  <a:gd name="T65" fmla="*/ 1395 h 1495"/>
                  <a:gd name="T66" fmla="*/ 1517 w 1520"/>
                  <a:gd name="T67" fmla="*/ 1445 h 1495"/>
                  <a:gd name="T68" fmla="*/ 1485 w 1520"/>
                  <a:gd name="T69" fmla="*/ 1487 h 1495"/>
                  <a:gd name="T70" fmla="*/ 1433 w 1520"/>
                  <a:gd name="T71" fmla="*/ 1493 h 1495"/>
                  <a:gd name="T72" fmla="*/ 1170 w 1520"/>
                  <a:gd name="T73" fmla="*/ 1248 h 1495"/>
                  <a:gd name="T74" fmla="*/ 1151 w 1520"/>
                  <a:gd name="T75" fmla="*/ 1208 h 1495"/>
                  <a:gd name="T76" fmla="*/ 1070 w 1520"/>
                  <a:gd name="T77" fmla="*/ 1198 h 1495"/>
                  <a:gd name="T78" fmla="*/ 911 w 1520"/>
                  <a:gd name="T79" fmla="*/ 1283 h 1495"/>
                  <a:gd name="T80" fmla="*/ 735 w 1520"/>
                  <a:gd name="T81" fmla="*/ 1323 h 1495"/>
                  <a:gd name="T82" fmla="*/ 556 w 1520"/>
                  <a:gd name="T83" fmla="*/ 1316 h 1495"/>
                  <a:gd name="T84" fmla="*/ 390 w 1520"/>
                  <a:gd name="T85" fmla="*/ 1264 h 1495"/>
                  <a:gd name="T86" fmla="*/ 242 w 1520"/>
                  <a:gd name="T87" fmla="*/ 1172 h 1495"/>
                  <a:gd name="T88" fmla="*/ 122 w 1520"/>
                  <a:gd name="T89" fmla="*/ 1043 h 1495"/>
                  <a:gd name="T90" fmla="*/ 40 w 1520"/>
                  <a:gd name="T91" fmla="*/ 890 h 1495"/>
                  <a:gd name="T92" fmla="*/ 3 w 1520"/>
                  <a:gd name="T93" fmla="*/ 722 h 1495"/>
                  <a:gd name="T94" fmla="*/ 10 w 1520"/>
                  <a:gd name="T95" fmla="*/ 547 h 1495"/>
                  <a:gd name="T96" fmla="*/ 63 w 1520"/>
                  <a:gd name="T97" fmla="*/ 383 h 1495"/>
                  <a:gd name="T98" fmla="*/ 157 w 1520"/>
                  <a:gd name="T99" fmla="*/ 238 h 1495"/>
                  <a:gd name="T100" fmla="*/ 288 w 1520"/>
                  <a:gd name="T101" fmla="*/ 119 h 1495"/>
                  <a:gd name="T102" fmla="*/ 443 w 1520"/>
                  <a:gd name="T103" fmla="*/ 40 h 1495"/>
                  <a:gd name="T104" fmla="*/ 614 w 1520"/>
                  <a:gd name="T105" fmla="*/ 2 h 1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20" h="1495">
                    <a:moveTo>
                      <a:pt x="673" y="136"/>
                    </a:moveTo>
                    <a:lnTo>
                      <a:pt x="620" y="138"/>
                    </a:lnTo>
                    <a:lnTo>
                      <a:pt x="568" y="146"/>
                    </a:lnTo>
                    <a:lnTo>
                      <a:pt x="518" y="159"/>
                    </a:lnTo>
                    <a:lnTo>
                      <a:pt x="469" y="176"/>
                    </a:lnTo>
                    <a:lnTo>
                      <a:pt x="422" y="198"/>
                    </a:lnTo>
                    <a:lnTo>
                      <a:pt x="377" y="224"/>
                    </a:lnTo>
                    <a:lnTo>
                      <a:pt x="335" y="255"/>
                    </a:lnTo>
                    <a:lnTo>
                      <a:pt x="295" y="291"/>
                    </a:lnTo>
                    <a:lnTo>
                      <a:pt x="260" y="330"/>
                    </a:lnTo>
                    <a:lnTo>
                      <a:pt x="229" y="371"/>
                    </a:lnTo>
                    <a:lnTo>
                      <a:pt x="202" y="415"/>
                    </a:lnTo>
                    <a:lnTo>
                      <a:pt x="179" y="462"/>
                    </a:lnTo>
                    <a:lnTo>
                      <a:pt x="161" y="510"/>
                    </a:lnTo>
                    <a:lnTo>
                      <a:pt x="149" y="560"/>
                    </a:lnTo>
                    <a:lnTo>
                      <a:pt x="141" y="611"/>
                    </a:lnTo>
                    <a:lnTo>
                      <a:pt x="138" y="663"/>
                    </a:lnTo>
                    <a:lnTo>
                      <a:pt x="141" y="715"/>
                    </a:lnTo>
                    <a:lnTo>
                      <a:pt x="149" y="767"/>
                    </a:lnTo>
                    <a:lnTo>
                      <a:pt x="161" y="817"/>
                    </a:lnTo>
                    <a:lnTo>
                      <a:pt x="179" y="865"/>
                    </a:lnTo>
                    <a:lnTo>
                      <a:pt x="202" y="911"/>
                    </a:lnTo>
                    <a:lnTo>
                      <a:pt x="229" y="955"/>
                    </a:lnTo>
                    <a:lnTo>
                      <a:pt x="260" y="997"/>
                    </a:lnTo>
                    <a:lnTo>
                      <a:pt x="295" y="1036"/>
                    </a:lnTo>
                    <a:lnTo>
                      <a:pt x="335" y="1071"/>
                    </a:lnTo>
                    <a:lnTo>
                      <a:pt x="377" y="1101"/>
                    </a:lnTo>
                    <a:lnTo>
                      <a:pt x="422" y="1128"/>
                    </a:lnTo>
                    <a:lnTo>
                      <a:pt x="469" y="1150"/>
                    </a:lnTo>
                    <a:lnTo>
                      <a:pt x="518" y="1168"/>
                    </a:lnTo>
                    <a:lnTo>
                      <a:pt x="568" y="1180"/>
                    </a:lnTo>
                    <a:lnTo>
                      <a:pt x="620" y="1187"/>
                    </a:lnTo>
                    <a:lnTo>
                      <a:pt x="673" y="1190"/>
                    </a:lnTo>
                    <a:lnTo>
                      <a:pt x="726" y="1187"/>
                    </a:lnTo>
                    <a:lnTo>
                      <a:pt x="779" y="1180"/>
                    </a:lnTo>
                    <a:lnTo>
                      <a:pt x="829" y="1168"/>
                    </a:lnTo>
                    <a:lnTo>
                      <a:pt x="879" y="1150"/>
                    </a:lnTo>
                    <a:lnTo>
                      <a:pt x="926" y="1128"/>
                    </a:lnTo>
                    <a:lnTo>
                      <a:pt x="971" y="1101"/>
                    </a:lnTo>
                    <a:lnTo>
                      <a:pt x="1013" y="1071"/>
                    </a:lnTo>
                    <a:lnTo>
                      <a:pt x="1053" y="1036"/>
                    </a:lnTo>
                    <a:lnTo>
                      <a:pt x="1088" y="997"/>
                    </a:lnTo>
                    <a:lnTo>
                      <a:pt x="1119" y="955"/>
                    </a:lnTo>
                    <a:lnTo>
                      <a:pt x="1146" y="911"/>
                    </a:lnTo>
                    <a:lnTo>
                      <a:pt x="1168" y="865"/>
                    </a:lnTo>
                    <a:lnTo>
                      <a:pt x="1186" y="817"/>
                    </a:lnTo>
                    <a:lnTo>
                      <a:pt x="1198" y="767"/>
                    </a:lnTo>
                    <a:lnTo>
                      <a:pt x="1207" y="715"/>
                    </a:lnTo>
                    <a:lnTo>
                      <a:pt x="1209" y="663"/>
                    </a:lnTo>
                    <a:lnTo>
                      <a:pt x="1207" y="611"/>
                    </a:lnTo>
                    <a:lnTo>
                      <a:pt x="1198" y="560"/>
                    </a:lnTo>
                    <a:lnTo>
                      <a:pt x="1186" y="510"/>
                    </a:lnTo>
                    <a:lnTo>
                      <a:pt x="1168" y="462"/>
                    </a:lnTo>
                    <a:lnTo>
                      <a:pt x="1146" y="415"/>
                    </a:lnTo>
                    <a:lnTo>
                      <a:pt x="1119" y="371"/>
                    </a:lnTo>
                    <a:lnTo>
                      <a:pt x="1088" y="330"/>
                    </a:lnTo>
                    <a:lnTo>
                      <a:pt x="1053" y="291"/>
                    </a:lnTo>
                    <a:lnTo>
                      <a:pt x="1013" y="255"/>
                    </a:lnTo>
                    <a:lnTo>
                      <a:pt x="971" y="224"/>
                    </a:lnTo>
                    <a:lnTo>
                      <a:pt x="926" y="198"/>
                    </a:lnTo>
                    <a:lnTo>
                      <a:pt x="879" y="176"/>
                    </a:lnTo>
                    <a:lnTo>
                      <a:pt x="829" y="159"/>
                    </a:lnTo>
                    <a:lnTo>
                      <a:pt x="779" y="146"/>
                    </a:lnTo>
                    <a:lnTo>
                      <a:pt x="726" y="138"/>
                    </a:lnTo>
                    <a:lnTo>
                      <a:pt x="673" y="136"/>
                    </a:lnTo>
                    <a:close/>
                    <a:moveTo>
                      <a:pt x="673" y="0"/>
                    </a:moveTo>
                    <a:lnTo>
                      <a:pt x="734" y="2"/>
                    </a:lnTo>
                    <a:lnTo>
                      <a:pt x="792" y="10"/>
                    </a:lnTo>
                    <a:lnTo>
                      <a:pt x="849" y="23"/>
                    </a:lnTo>
                    <a:lnTo>
                      <a:pt x="904" y="40"/>
                    </a:lnTo>
                    <a:lnTo>
                      <a:pt x="958" y="61"/>
                    </a:lnTo>
                    <a:lnTo>
                      <a:pt x="1010" y="88"/>
                    </a:lnTo>
                    <a:lnTo>
                      <a:pt x="1059" y="119"/>
                    </a:lnTo>
                    <a:lnTo>
                      <a:pt x="1106" y="155"/>
                    </a:lnTo>
                    <a:lnTo>
                      <a:pt x="1151" y="195"/>
                    </a:lnTo>
                    <a:lnTo>
                      <a:pt x="1190" y="238"/>
                    </a:lnTo>
                    <a:lnTo>
                      <a:pt x="1226" y="284"/>
                    </a:lnTo>
                    <a:lnTo>
                      <a:pt x="1258" y="332"/>
                    </a:lnTo>
                    <a:lnTo>
                      <a:pt x="1285" y="383"/>
                    </a:lnTo>
                    <a:lnTo>
                      <a:pt x="1306" y="436"/>
                    </a:lnTo>
                    <a:lnTo>
                      <a:pt x="1324" y="490"/>
                    </a:lnTo>
                    <a:lnTo>
                      <a:pt x="1337" y="547"/>
                    </a:lnTo>
                    <a:lnTo>
                      <a:pt x="1345" y="604"/>
                    </a:lnTo>
                    <a:lnTo>
                      <a:pt x="1347" y="663"/>
                    </a:lnTo>
                    <a:lnTo>
                      <a:pt x="1344" y="724"/>
                    </a:lnTo>
                    <a:lnTo>
                      <a:pt x="1337" y="783"/>
                    </a:lnTo>
                    <a:lnTo>
                      <a:pt x="1322" y="841"/>
                    </a:lnTo>
                    <a:lnTo>
                      <a:pt x="1303" y="898"/>
                    </a:lnTo>
                    <a:lnTo>
                      <a:pt x="1279" y="952"/>
                    </a:lnTo>
                    <a:lnTo>
                      <a:pt x="1251" y="1004"/>
                    </a:lnTo>
                    <a:lnTo>
                      <a:pt x="1217" y="1053"/>
                    </a:lnTo>
                    <a:lnTo>
                      <a:pt x="1179" y="1100"/>
                    </a:lnTo>
                    <a:lnTo>
                      <a:pt x="1211" y="1132"/>
                    </a:lnTo>
                    <a:lnTo>
                      <a:pt x="1226" y="1132"/>
                    </a:lnTo>
                    <a:lnTo>
                      <a:pt x="1241" y="1135"/>
                    </a:lnTo>
                    <a:lnTo>
                      <a:pt x="1256" y="1142"/>
                    </a:lnTo>
                    <a:lnTo>
                      <a:pt x="1268" y="1151"/>
                    </a:lnTo>
                    <a:lnTo>
                      <a:pt x="1500" y="1381"/>
                    </a:lnTo>
                    <a:lnTo>
                      <a:pt x="1511" y="1395"/>
                    </a:lnTo>
                    <a:lnTo>
                      <a:pt x="1517" y="1411"/>
                    </a:lnTo>
                    <a:lnTo>
                      <a:pt x="1520" y="1428"/>
                    </a:lnTo>
                    <a:lnTo>
                      <a:pt x="1517" y="1445"/>
                    </a:lnTo>
                    <a:lnTo>
                      <a:pt x="1511" y="1462"/>
                    </a:lnTo>
                    <a:lnTo>
                      <a:pt x="1500" y="1476"/>
                    </a:lnTo>
                    <a:lnTo>
                      <a:pt x="1485" y="1487"/>
                    </a:lnTo>
                    <a:lnTo>
                      <a:pt x="1469" y="1493"/>
                    </a:lnTo>
                    <a:lnTo>
                      <a:pt x="1451" y="1495"/>
                    </a:lnTo>
                    <a:lnTo>
                      <a:pt x="1433" y="1493"/>
                    </a:lnTo>
                    <a:lnTo>
                      <a:pt x="1417" y="1487"/>
                    </a:lnTo>
                    <a:lnTo>
                      <a:pt x="1402" y="1476"/>
                    </a:lnTo>
                    <a:lnTo>
                      <a:pt x="1170" y="1248"/>
                    </a:lnTo>
                    <a:lnTo>
                      <a:pt x="1160" y="1235"/>
                    </a:lnTo>
                    <a:lnTo>
                      <a:pt x="1154" y="1222"/>
                    </a:lnTo>
                    <a:lnTo>
                      <a:pt x="1151" y="1208"/>
                    </a:lnTo>
                    <a:lnTo>
                      <a:pt x="1151" y="1192"/>
                    </a:lnTo>
                    <a:lnTo>
                      <a:pt x="1118" y="1161"/>
                    </a:lnTo>
                    <a:lnTo>
                      <a:pt x="1070" y="1198"/>
                    </a:lnTo>
                    <a:lnTo>
                      <a:pt x="1020" y="1231"/>
                    </a:lnTo>
                    <a:lnTo>
                      <a:pt x="967" y="1260"/>
                    </a:lnTo>
                    <a:lnTo>
                      <a:pt x="911" y="1283"/>
                    </a:lnTo>
                    <a:lnTo>
                      <a:pt x="854" y="1302"/>
                    </a:lnTo>
                    <a:lnTo>
                      <a:pt x="796" y="1315"/>
                    </a:lnTo>
                    <a:lnTo>
                      <a:pt x="735" y="1323"/>
                    </a:lnTo>
                    <a:lnTo>
                      <a:pt x="673" y="1326"/>
                    </a:lnTo>
                    <a:lnTo>
                      <a:pt x="614" y="1323"/>
                    </a:lnTo>
                    <a:lnTo>
                      <a:pt x="556" y="1316"/>
                    </a:lnTo>
                    <a:lnTo>
                      <a:pt x="499" y="1304"/>
                    </a:lnTo>
                    <a:lnTo>
                      <a:pt x="443" y="1287"/>
                    </a:lnTo>
                    <a:lnTo>
                      <a:pt x="390" y="1264"/>
                    </a:lnTo>
                    <a:lnTo>
                      <a:pt x="338" y="1238"/>
                    </a:lnTo>
                    <a:lnTo>
                      <a:pt x="288" y="1207"/>
                    </a:lnTo>
                    <a:lnTo>
                      <a:pt x="242" y="1172"/>
                    </a:lnTo>
                    <a:lnTo>
                      <a:pt x="197" y="1132"/>
                    </a:lnTo>
                    <a:lnTo>
                      <a:pt x="157" y="1089"/>
                    </a:lnTo>
                    <a:lnTo>
                      <a:pt x="122" y="1043"/>
                    </a:lnTo>
                    <a:lnTo>
                      <a:pt x="90" y="994"/>
                    </a:lnTo>
                    <a:lnTo>
                      <a:pt x="63" y="943"/>
                    </a:lnTo>
                    <a:lnTo>
                      <a:pt x="40" y="890"/>
                    </a:lnTo>
                    <a:lnTo>
                      <a:pt x="23" y="835"/>
                    </a:lnTo>
                    <a:lnTo>
                      <a:pt x="10" y="779"/>
                    </a:lnTo>
                    <a:lnTo>
                      <a:pt x="3" y="722"/>
                    </a:lnTo>
                    <a:lnTo>
                      <a:pt x="0" y="663"/>
                    </a:lnTo>
                    <a:lnTo>
                      <a:pt x="3" y="604"/>
                    </a:lnTo>
                    <a:lnTo>
                      <a:pt x="10" y="547"/>
                    </a:lnTo>
                    <a:lnTo>
                      <a:pt x="23" y="490"/>
                    </a:lnTo>
                    <a:lnTo>
                      <a:pt x="40" y="436"/>
                    </a:lnTo>
                    <a:lnTo>
                      <a:pt x="63" y="383"/>
                    </a:lnTo>
                    <a:lnTo>
                      <a:pt x="90" y="332"/>
                    </a:lnTo>
                    <a:lnTo>
                      <a:pt x="122" y="284"/>
                    </a:lnTo>
                    <a:lnTo>
                      <a:pt x="157" y="238"/>
                    </a:lnTo>
                    <a:lnTo>
                      <a:pt x="197" y="195"/>
                    </a:lnTo>
                    <a:lnTo>
                      <a:pt x="242" y="155"/>
                    </a:lnTo>
                    <a:lnTo>
                      <a:pt x="288" y="119"/>
                    </a:lnTo>
                    <a:lnTo>
                      <a:pt x="338" y="88"/>
                    </a:lnTo>
                    <a:lnTo>
                      <a:pt x="390" y="61"/>
                    </a:lnTo>
                    <a:lnTo>
                      <a:pt x="443" y="40"/>
                    </a:lnTo>
                    <a:lnTo>
                      <a:pt x="499" y="23"/>
                    </a:lnTo>
                    <a:lnTo>
                      <a:pt x="556" y="10"/>
                    </a:lnTo>
                    <a:lnTo>
                      <a:pt x="614" y="2"/>
                    </a:lnTo>
                    <a:lnTo>
                      <a:pt x="6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</p:grpSp>
      </p:grpSp>
      <p:grpSp>
        <p:nvGrpSpPr>
          <p:cNvPr id="6" name="Group 5"/>
          <p:cNvGrpSpPr/>
          <p:nvPr/>
        </p:nvGrpSpPr>
        <p:grpSpPr>
          <a:xfrm>
            <a:off x="147994" y="4676865"/>
            <a:ext cx="727877" cy="541322"/>
            <a:chOff x="147993" y="4292543"/>
            <a:chExt cx="727877" cy="541322"/>
          </a:xfrm>
        </p:grpSpPr>
        <p:sp>
          <p:nvSpPr>
            <p:cNvPr id="36" name="Rectangle 17"/>
            <p:cNvSpPr>
              <a:spLocks/>
            </p:cNvSpPr>
            <p:nvPr/>
          </p:nvSpPr>
          <p:spPr bwMode="auto">
            <a:xfrm>
              <a:off x="147993" y="4556866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rgbClr val="FFFFFF"/>
                  </a:solidFill>
                  <a:latin typeface="+mj-lt"/>
                  <a:sym typeface="Helvetica Neue" charset="0"/>
                </a:rPr>
                <a:t>Внешние данные</a:t>
              </a:r>
            </a:p>
          </p:txBody>
        </p:sp>
        <p:grpSp>
          <p:nvGrpSpPr>
            <p:cNvPr id="116" name="Group 201"/>
            <p:cNvGrpSpPr>
              <a:grpSpLocks noChangeAspect="1"/>
            </p:cNvGrpSpPr>
            <p:nvPr/>
          </p:nvGrpSpPr>
          <p:grpSpPr bwMode="auto">
            <a:xfrm>
              <a:off x="405000" y="4292543"/>
              <a:ext cx="202275" cy="226804"/>
              <a:chOff x="4176" y="3243"/>
              <a:chExt cx="602" cy="675"/>
            </a:xfrm>
            <a:solidFill>
              <a:schemeClr val="bg1"/>
            </a:solidFill>
          </p:grpSpPr>
          <p:sp>
            <p:nvSpPr>
              <p:cNvPr id="117" name="Freeform 203"/>
              <p:cNvSpPr>
                <a:spLocks/>
              </p:cNvSpPr>
              <p:nvPr/>
            </p:nvSpPr>
            <p:spPr bwMode="auto">
              <a:xfrm>
                <a:off x="4184" y="3243"/>
                <a:ext cx="594" cy="675"/>
              </a:xfrm>
              <a:custGeom>
                <a:avLst/>
                <a:gdLst>
                  <a:gd name="T0" fmla="*/ 2818 w 2971"/>
                  <a:gd name="T1" fmla="*/ 0 h 3374"/>
                  <a:gd name="T2" fmla="*/ 2877 w 2971"/>
                  <a:gd name="T3" fmla="*/ 12 h 3374"/>
                  <a:gd name="T4" fmla="*/ 2926 w 2971"/>
                  <a:gd name="T5" fmla="*/ 45 h 3374"/>
                  <a:gd name="T6" fmla="*/ 2958 w 2971"/>
                  <a:gd name="T7" fmla="*/ 93 h 3374"/>
                  <a:gd name="T8" fmla="*/ 2971 w 2971"/>
                  <a:gd name="T9" fmla="*/ 154 h 3374"/>
                  <a:gd name="T10" fmla="*/ 2960 w 2971"/>
                  <a:gd name="T11" fmla="*/ 207 h 3374"/>
                  <a:gd name="T12" fmla="*/ 2934 w 2971"/>
                  <a:gd name="T13" fmla="*/ 252 h 3374"/>
                  <a:gd name="T14" fmla="*/ 2894 w 2971"/>
                  <a:gd name="T15" fmla="*/ 285 h 3374"/>
                  <a:gd name="T16" fmla="*/ 2892 w 2971"/>
                  <a:gd name="T17" fmla="*/ 2091 h 3374"/>
                  <a:gd name="T18" fmla="*/ 2872 w 2971"/>
                  <a:gd name="T19" fmla="*/ 2124 h 3374"/>
                  <a:gd name="T20" fmla="*/ 2838 w 2971"/>
                  <a:gd name="T21" fmla="*/ 2145 h 3374"/>
                  <a:gd name="T22" fmla="*/ 2197 w 2971"/>
                  <a:gd name="T23" fmla="*/ 2147 h 3374"/>
                  <a:gd name="T24" fmla="*/ 2475 w 2971"/>
                  <a:gd name="T25" fmla="*/ 3208 h 3374"/>
                  <a:gd name="T26" fmla="*/ 2469 w 2971"/>
                  <a:gd name="T27" fmla="*/ 3261 h 3374"/>
                  <a:gd name="T28" fmla="*/ 2448 w 2971"/>
                  <a:gd name="T29" fmla="*/ 3309 h 3374"/>
                  <a:gd name="T30" fmla="*/ 2411 w 2971"/>
                  <a:gd name="T31" fmla="*/ 3346 h 3374"/>
                  <a:gd name="T32" fmla="*/ 2362 w 2971"/>
                  <a:gd name="T33" fmla="*/ 3370 h 3374"/>
                  <a:gd name="T34" fmla="*/ 2323 w 2971"/>
                  <a:gd name="T35" fmla="*/ 3374 h 3374"/>
                  <a:gd name="T36" fmla="*/ 2267 w 2971"/>
                  <a:gd name="T37" fmla="*/ 3363 h 3374"/>
                  <a:gd name="T38" fmla="*/ 2220 w 2971"/>
                  <a:gd name="T39" fmla="*/ 3334 h 3374"/>
                  <a:gd name="T40" fmla="*/ 2186 w 2971"/>
                  <a:gd name="T41" fmla="*/ 3288 h 3374"/>
                  <a:gd name="T42" fmla="*/ 1902 w 2971"/>
                  <a:gd name="T43" fmla="*/ 2224 h 3374"/>
                  <a:gd name="T44" fmla="*/ 794 w 2971"/>
                  <a:gd name="T45" fmla="*/ 3260 h 3374"/>
                  <a:gd name="T46" fmla="*/ 771 w 2971"/>
                  <a:gd name="T47" fmla="*/ 3309 h 3374"/>
                  <a:gd name="T48" fmla="*/ 734 w 2971"/>
                  <a:gd name="T49" fmla="*/ 3346 h 3374"/>
                  <a:gd name="T50" fmla="*/ 687 w 2971"/>
                  <a:gd name="T51" fmla="*/ 3369 h 3374"/>
                  <a:gd name="T52" fmla="*/ 635 w 2971"/>
                  <a:gd name="T53" fmla="*/ 3374 h 3374"/>
                  <a:gd name="T54" fmla="*/ 581 w 2971"/>
                  <a:gd name="T55" fmla="*/ 3360 h 3374"/>
                  <a:gd name="T56" fmla="*/ 538 w 2971"/>
                  <a:gd name="T57" fmla="*/ 3329 h 3374"/>
                  <a:gd name="T58" fmla="*/ 509 w 2971"/>
                  <a:gd name="T59" fmla="*/ 3286 h 3374"/>
                  <a:gd name="T60" fmla="*/ 495 w 2971"/>
                  <a:gd name="T61" fmla="*/ 3236 h 3374"/>
                  <a:gd name="T62" fmla="*/ 500 w 2971"/>
                  <a:gd name="T63" fmla="*/ 3181 h 3374"/>
                  <a:gd name="T64" fmla="*/ 639 w 2971"/>
                  <a:gd name="T65" fmla="*/ 2147 h 3374"/>
                  <a:gd name="T66" fmla="*/ 729 w 2971"/>
                  <a:gd name="T67" fmla="*/ 2048 h 3374"/>
                  <a:gd name="T68" fmla="*/ 2742 w 2971"/>
                  <a:gd name="T69" fmla="*/ 1994 h 3374"/>
                  <a:gd name="T70" fmla="*/ 227 w 2971"/>
                  <a:gd name="T71" fmla="*/ 307 h 3374"/>
                  <a:gd name="T72" fmla="*/ 184 w 2971"/>
                  <a:gd name="T73" fmla="*/ 1953 h 3374"/>
                  <a:gd name="T74" fmla="*/ 108 w 2971"/>
                  <a:gd name="T75" fmla="*/ 2023 h 3374"/>
                  <a:gd name="T76" fmla="*/ 76 w 2971"/>
                  <a:gd name="T77" fmla="*/ 285 h 3374"/>
                  <a:gd name="T78" fmla="*/ 36 w 2971"/>
                  <a:gd name="T79" fmla="*/ 252 h 3374"/>
                  <a:gd name="T80" fmla="*/ 9 w 2971"/>
                  <a:gd name="T81" fmla="*/ 207 h 3374"/>
                  <a:gd name="T82" fmla="*/ 0 w 2971"/>
                  <a:gd name="T83" fmla="*/ 154 h 3374"/>
                  <a:gd name="T84" fmla="*/ 12 w 2971"/>
                  <a:gd name="T85" fmla="*/ 93 h 3374"/>
                  <a:gd name="T86" fmla="*/ 44 w 2971"/>
                  <a:gd name="T87" fmla="*/ 45 h 3374"/>
                  <a:gd name="T88" fmla="*/ 93 w 2971"/>
                  <a:gd name="T89" fmla="*/ 12 h 3374"/>
                  <a:gd name="T90" fmla="*/ 152 w 2971"/>
                  <a:gd name="T91" fmla="*/ 0 h 3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1" h="3374">
                    <a:moveTo>
                      <a:pt x="152" y="0"/>
                    </a:moveTo>
                    <a:lnTo>
                      <a:pt x="2818" y="0"/>
                    </a:lnTo>
                    <a:lnTo>
                      <a:pt x="2849" y="3"/>
                    </a:lnTo>
                    <a:lnTo>
                      <a:pt x="2877" y="12"/>
                    </a:lnTo>
                    <a:lnTo>
                      <a:pt x="2904" y="27"/>
                    </a:lnTo>
                    <a:lnTo>
                      <a:pt x="2926" y="45"/>
                    </a:lnTo>
                    <a:lnTo>
                      <a:pt x="2945" y="68"/>
                    </a:lnTo>
                    <a:lnTo>
                      <a:pt x="2958" y="93"/>
                    </a:lnTo>
                    <a:lnTo>
                      <a:pt x="2968" y="123"/>
                    </a:lnTo>
                    <a:lnTo>
                      <a:pt x="2971" y="154"/>
                    </a:lnTo>
                    <a:lnTo>
                      <a:pt x="2968" y="181"/>
                    </a:lnTo>
                    <a:lnTo>
                      <a:pt x="2960" y="207"/>
                    </a:lnTo>
                    <a:lnTo>
                      <a:pt x="2950" y="231"/>
                    </a:lnTo>
                    <a:lnTo>
                      <a:pt x="2934" y="252"/>
                    </a:lnTo>
                    <a:lnTo>
                      <a:pt x="2916" y="271"/>
                    </a:lnTo>
                    <a:lnTo>
                      <a:pt x="2894" y="285"/>
                    </a:lnTo>
                    <a:lnTo>
                      <a:pt x="2894" y="2070"/>
                    </a:lnTo>
                    <a:lnTo>
                      <a:pt x="2892" y="2091"/>
                    </a:lnTo>
                    <a:lnTo>
                      <a:pt x="2883" y="2110"/>
                    </a:lnTo>
                    <a:lnTo>
                      <a:pt x="2872" y="2124"/>
                    </a:lnTo>
                    <a:lnTo>
                      <a:pt x="2856" y="2137"/>
                    </a:lnTo>
                    <a:lnTo>
                      <a:pt x="2838" y="2145"/>
                    </a:lnTo>
                    <a:lnTo>
                      <a:pt x="2818" y="2147"/>
                    </a:lnTo>
                    <a:lnTo>
                      <a:pt x="2197" y="2147"/>
                    </a:lnTo>
                    <a:lnTo>
                      <a:pt x="2470" y="3181"/>
                    </a:lnTo>
                    <a:lnTo>
                      <a:pt x="2475" y="3208"/>
                    </a:lnTo>
                    <a:lnTo>
                      <a:pt x="2475" y="3235"/>
                    </a:lnTo>
                    <a:lnTo>
                      <a:pt x="2469" y="3261"/>
                    </a:lnTo>
                    <a:lnTo>
                      <a:pt x="2461" y="3286"/>
                    </a:lnTo>
                    <a:lnTo>
                      <a:pt x="2448" y="3309"/>
                    </a:lnTo>
                    <a:lnTo>
                      <a:pt x="2432" y="3329"/>
                    </a:lnTo>
                    <a:lnTo>
                      <a:pt x="2411" y="3346"/>
                    </a:lnTo>
                    <a:lnTo>
                      <a:pt x="2388" y="3360"/>
                    </a:lnTo>
                    <a:lnTo>
                      <a:pt x="2362" y="3370"/>
                    </a:lnTo>
                    <a:lnTo>
                      <a:pt x="2343" y="3373"/>
                    </a:lnTo>
                    <a:lnTo>
                      <a:pt x="2323" y="3374"/>
                    </a:lnTo>
                    <a:lnTo>
                      <a:pt x="2295" y="3372"/>
                    </a:lnTo>
                    <a:lnTo>
                      <a:pt x="2267" y="3363"/>
                    </a:lnTo>
                    <a:lnTo>
                      <a:pt x="2243" y="3351"/>
                    </a:lnTo>
                    <a:lnTo>
                      <a:pt x="2220" y="3334"/>
                    </a:lnTo>
                    <a:lnTo>
                      <a:pt x="2201" y="3313"/>
                    </a:lnTo>
                    <a:lnTo>
                      <a:pt x="2186" y="3288"/>
                    </a:lnTo>
                    <a:lnTo>
                      <a:pt x="2176" y="3260"/>
                    </a:lnTo>
                    <a:lnTo>
                      <a:pt x="1902" y="2224"/>
                    </a:lnTo>
                    <a:lnTo>
                      <a:pt x="1069" y="2224"/>
                    </a:lnTo>
                    <a:lnTo>
                      <a:pt x="794" y="3260"/>
                    </a:lnTo>
                    <a:lnTo>
                      <a:pt x="785" y="3287"/>
                    </a:lnTo>
                    <a:lnTo>
                      <a:pt x="771" y="3309"/>
                    </a:lnTo>
                    <a:lnTo>
                      <a:pt x="754" y="3329"/>
                    </a:lnTo>
                    <a:lnTo>
                      <a:pt x="734" y="3346"/>
                    </a:lnTo>
                    <a:lnTo>
                      <a:pt x="712" y="3360"/>
                    </a:lnTo>
                    <a:lnTo>
                      <a:pt x="687" y="3369"/>
                    </a:lnTo>
                    <a:lnTo>
                      <a:pt x="662" y="3374"/>
                    </a:lnTo>
                    <a:lnTo>
                      <a:pt x="635" y="3374"/>
                    </a:lnTo>
                    <a:lnTo>
                      <a:pt x="608" y="3370"/>
                    </a:lnTo>
                    <a:lnTo>
                      <a:pt x="581" y="3360"/>
                    </a:lnTo>
                    <a:lnTo>
                      <a:pt x="558" y="3346"/>
                    </a:lnTo>
                    <a:lnTo>
                      <a:pt x="538" y="3329"/>
                    </a:lnTo>
                    <a:lnTo>
                      <a:pt x="522" y="3309"/>
                    </a:lnTo>
                    <a:lnTo>
                      <a:pt x="509" y="3286"/>
                    </a:lnTo>
                    <a:lnTo>
                      <a:pt x="500" y="3261"/>
                    </a:lnTo>
                    <a:lnTo>
                      <a:pt x="495" y="3236"/>
                    </a:lnTo>
                    <a:lnTo>
                      <a:pt x="495" y="3208"/>
                    </a:lnTo>
                    <a:lnTo>
                      <a:pt x="500" y="3181"/>
                    </a:lnTo>
                    <a:lnTo>
                      <a:pt x="773" y="2147"/>
                    </a:lnTo>
                    <a:lnTo>
                      <a:pt x="639" y="2147"/>
                    </a:lnTo>
                    <a:lnTo>
                      <a:pt x="683" y="2099"/>
                    </a:lnTo>
                    <a:lnTo>
                      <a:pt x="729" y="2048"/>
                    </a:lnTo>
                    <a:lnTo>
                      <a:pt x="778" y="1994"/>
                    </a:lnTo>
                    <a:lnTo>
                      <a:pt x="2742" y="1994"/>
                    </a:lnTo>
                    <a:lnTo>
                      <a:pt x="2742" y="307"/>
                    </a:lnTo>
                    <a:lnTo>
                      <a:pt x="227" y="307"/>
                    </a:lnTo>
                    <a:lnTo>
                      <a:pt x="227" y="1912"/>
                    </a:lnTo>
                    <a:lnTo>
                      <a:pt x="184" y="1953"/>
                    </a:lnTo>
                    <a:lnTo>
                      <a:pt x="144" y="1989"/>
                    </a:lnTo>
                    <a:lnTo>
                      <a:pt x="108" y="2023"/>
                    </a:lnTo>
                    <a:lnTo>
                      <a:pt x="76" y="2052"/>
                    </a:lnTo>
                    <a:lnTo>
                      <a:pt x="76" y="285"/>
                    </a:lnTo>
                    <a:lnTo>
                      <a:pt x="55" y="271"/>
                    </a:lnTo>
                    <a:lnTo>
                      <a:pt x="36" y="252"/>
                    </a:lnTo>
                    <a:lnTo>
                      <a:pt x="21" y="231"/>
                    </a:lnTo>
                    <a:lnTo>
                      <a:pt x="9" y="207"/>
                    </a:lnTo>
                    <a:lnTo>
                      <a:pt x="2" y="181"/>
                    </a:lnTo>
                    <a:lnTo>
                      <a:pt x="0" y="154"/>
                    </a:lnTo>
                    <a:lnTo>
                      <a:pt x="3" y="123"/>
                    </a:lnTo>
                    <a:lnTo>
                      <a:pt x="12" y="93"/>
                    </a:lnTo>
                    <a:lnTo>
                      <a:pt x="25" y="68"/>
                    </a:lnTo>
                    <a:lnTo>
                      <a:pt x="44" y="45"/>
                    </a:lnTo>
                    <a:lnTo>
                      <a:pt x="66" y="27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18" name="Freeform 204"/>
              <p:cNvSpPr>
                <a:spLocks/>
              </p:cNvSpPr>
              <p:nvPr/>
            </p:nvSpPr>
            <p:spPr bwMode="auto">
              <a:xfrm>
                <a:off x="4443" y="3439"/>
                <a:ext cx="60" cy="176"/>
              </a:xfrm>
              <a:custGeom>
                <a:avLst/>
                <a:gdLst>
                  <a:gd name="T0" fmla="*/ 153 w 304"/>
                  <a:gd name="T1" fmla="*/ 0 h 881"/>
                  <a:gd name="T2" fmla="*/ 183 w 304"/>
                  <a:gd name="T3" fmla="*/ 3 h 881"/>
                  <a:gd name="T4" fmla="*/ 211 w 304"/>
                  <a:gd name="T5" fmla="*/ 12 h 881"/>
                  <a:gd name="T6" fmla="*/ 237 w 304"/>
                  <a:gd name="T7" fmla="*/ 25 h 881"/>
                  <a:gd name="T8" fmla="*/ 260 w 304"/>
                  <a:gd name="T9" fmla="*/ 44 h 881"/>
                  <a:gd name="T10" fmla="*/ 278 w 304"/>
                  <a:gd name="T11" fmla="*/ 68 h 881"/>
                  <a:gd name="T12" fmla="*/ 293 w 304"/>
                  <a:gd name="T13" fmla="*/ 93 h 881"/>
                  <a:gd name="T14" fmla="*/ 301 w 304"/>
                  <a:gd name="T15" fmla="*/ 122 h 881"/>
                  <a:gd name="T16" fmla="*/ 304 w 304"/>
                  <a:gd name="T17" fmla="*/ 154 h 881"/>
                  <a:gd name="T18" fmla="*/ 304 w 304"/>
                  <a:gd name="T19" fmla="*/ 729 h 881"/>
                  <a:gd name="T20" fmla="*/ 301 w 304"/>
                  <a:gd name="T21" fmla="*/ 759 h 881"/>
                  <a:gd name="T22" fmla="*/ 293 w 304"/>
                  <a:gd name="T23" fmla="*/ 788 h 881"/>
                  <a:gd name="T24" fmla="*/ 278 w 304"/>
                  <a:gd name="T25" fmla="*/ 814 h 881"/>
                  <a:gd name="T26" fmla="*/ 260 w 304"/>
                  <a:gd name="T27" fmla="*/ 837 h 881"/>
                  <a:gd name="T28" fmla="*/ 237 w 304"/>
                  <a:gd name="T29" fmla="*/ 856 h 881"/>
                  <a:gd name="T30" fmla="*/ 211 w 304"/>
                  <a:gd name="T31" fmla="*/ 870 h 881"/>
                  <a:gd name="T32" fmla="*/ 183 w 304"/>
                  <a:gd name="T33" fmla="*/ 878 h 881"/>
                  <a:gd name="T34" fmla="*/ 153 w 304"/>
                  <a:gd name="T35" fmla="*/ 881 h 881"/>
                  <a:gd name="T36" fmla="*/ 121 w 304"/>
                  <a:gd name="T37" fmla="*/ 878 h 881"/>
                  <a:gd name="T38" fmla="*/ 92 w 304"/>
                  <a:gd name="T39" fmla="*/ 870 h 881"/>
                  <a:gd name="T40" fmla="*/ 67 w 304"/>
                  <a:gd name="T41" fmla="*/ 856 h 881"/>
                  <a:gd name="T42" fmla="*/ 44 w 304"/>
                  <a:gd name="T43" fmla="*/ 837 h 881"/>
                  <a:gd name="T44" fmla="*/ 26 w 304"/>
                  <a:gd name="T45" fmla="*/ 814 h 881"/>
                  <a:gd name="T46" fmla="*/ 11 w 304"/>
                  <a:gd name="T47" fmla="*/ 788 h 881"/>
                  <a:gd name="T48" fmla="*/ 3 w 304"/>
                  <a:gd name="T49" fmla="*/ 759 h 881"/>
                  <a:gd name="T50" fmla="*/ 0 w 304"/>
                  <a:gd name="T51" fmla="*/ 729 h 881"/>
                  <a:gd name="T52" fmla="*/ 0 w 304"/>
                  <a:gd name="T53" fmla="*/ 154 h 881"/>
                  <a:gd name="T54" fmla="*/ 3 w 304"/>
                  <a:gd name="T55" fmla="*/ 122 h 881"/>
                  <a:gd name="T56" fmla="*/ 11 w 304"/>
                  <a:gd name="T57" fmla="*/ 93 h 881"/>
                  <a:gd name="T58" fmla="*/ 26 w 304"/>
                  <a:gd name="T59" fmla="*/ 68 h 881"/>
                  <a:gd name="T60" fmla="*/ 44 w 304"/>
                  <a:gd name="T61" fmla="*/ 44 h 881"/>
                  <a:gd name="T62" fmla="*/ 67 w 304"/>
                  <a:gd name="T63" fmla="*/ 25 h 881"/>
                  <a:gd name="T64" fmla="*/ 92 w 304"/>
                  <a:gd name="T65" fmla="*/ 12 h 881"/>
                  <a:gd name="T66" fmla="*/ 121 w 304"/>
                  <a:gd name="T67" fmla="*/ 3 h 881"/>
                  <a:gd name="T68" fmla="*/ 153 w 304"/>
                  <a:gd name="T69" fmla="*/ 0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881">
                    <a:moveTo>
                      <a:pt x="153" y="0"/>
                    </a:moveTo>
                    <a:lnTo>
                      <a:pt x="183" y="3"/>
                    </a:lnTo>
                    <a:lnTo>
                      <a:pt x="211" y="12"/>
                    </a:lnTo>
                    <a:lnTo>
                      <a:pt x="237" y="25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4" y="154"/>
                    </a:lnTo>
                    <a:lnTo>
                      <a:pt x="304" y="729"/>
                    </a:lnTo>
                    <a:lnTo>
                      <a:pt x="301" y="759"/>
                    </a:lnTo>
                    <a:lnTo>
                      <a:pt x="293" y="788"/>
                    </a:lnTo>
                    <a:lnTo>
                      <a:pt x="278" y="814"/>
                    </a:lnTo>
                    <a:lnTo>
                      <a:pt x="260" y="837"/>
                    </a:lnTo>
                    <a:lnTo>
                      <a:pt x="237" y="856"/>
                    </a:lnTo>
                    <a:lnTo>
                      <a:pt x="211" y="870"/>
                    </a:lnTo>
                    <a:lnTo>
                      <a:pt x="183" y="878"/>
                    </a:lnTo>
                    <a:lnTo>
                      <a:pt x="153" y="881"/>
                    </a:lnTo>
                    <a:lnTo>
                      <a:pt x="121" y="878"/>
                    </a:lnTo>
                    <a:lnTo>
                      <a:pt x="92" y="870"/>
                    </a:lnTo>
                    <a:lnTo>
                      <a:pt x="67" y="856"/>
                    </a:lnTo>
                    <a:lnTo>
                      <a:pt x="44" y="837"/>
                    </a:lnTo>
                    <a:lnTo>
                      <a:pt x="26" y="814"/>
                    </a:lnTo>
                    <a:lnTo>
                      <a:pt x="11" y="788"/>
                    </a:lnTo>
                    <a:lnTo>
                      <a:pt x="3" y="759"/>
                    </a:lnTo>
                    <a:lnTo>
                      <a:pt x="0" y="729"/>
                    </a:lnTo>
                    <a:lnTo>
                      <a:pt x="0" y="154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5"/>
                    </a:lnTo>
                    <a:lnTo>
                      <a:pt x="92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19" name="Freeform 205"/>
              <p:cNvSpPr>
                <a:spLocks/>
              </p:cNvSpPr>
              <p:nvPr/>
            </p:nvSpPr>
            <p:spPr bwMode="auto">
              <a:xfrm>
                <a:off x="4542" y="3331"/>
                <a:ext cx="60" cy="284"/>
              </a:xfrm>
              <a:custGeom>
                <a:avLst/>
                <a:gdLst>
                  <a:gd name="T0" fmla="*/ 153 w 304"/>
                  <a:gd name="T1" fmla="*/ 0 h 1418"/>
                  <a:gd name="T2" fmla="*/ 183 w 304"/>
                  <a:gd name="T3" fmla="*/ 3 h 1418"/>
                  <a:gd name="T4" fmla="*/ 212 w 304"/>
                  <a:gd name="T5" fmla="*/ 12 h 1418"/>
                  <a:gd name="T6" fmla="*/ 237 w 304"/>
                  <a:gd name="T7" fmla="*/ 26 h 1418"/>
                  <a:gd name="T8" fmla="*/ 260 w 304"/>
                  <a:gd name="T9" fmla="*/ 45 h 1418"/>
                  <a:gd name="T10" fmla="*/ 278 w 304"/>
                  <a:gd name="T11" fmla="*/ 67 h 1418"/>
                  <a:gd name="T12" fmla="*/ 293 w 304"/>
                  <a:gd name="T13" fmla="*/ 94 h 1418"/>
                  <a:gd name="T14" fmla="*/ 301 w 304"/>
                  <a:gd name="T15" fmla="*/ 122 h 1418"/>
                  <a:gd name="T16" fmla="*/ 304 w 304"/>
                  <a:gd name="T17" fmla="*/ 153 h 1418"/>
                  <a:gd name="T18" fmla="*/ 304 w 304"/>
                  <a:gd name="T19" fmla="*/ 1266 h 1418"/>
                  <a:gd name="T20" fmla="*/ 301 w 304"/>
                  <a:gd name="T21" fmla="*/ 1296 h 1418"/>
                  <a:gd name="T22" fmla="*/ 293 w 304"/>
                  <a:gd name="T23" fmla="*/ 1325 h 1418"/>
                  <a:gd name="T24" fmla="*/ 278 w 304"/>
                  <a:gd name="T25" fmla="*/ 1351 h 1418"/>
                  <a:gd name="T26" fmla="*/ 260 w 304"/>
                  <a:gd name="T27" fmla="*/ 1374 h 1418"/>
                  <a:gd name="T28" fmla="*/ 237 w 304"/>
                  <a:gd name="T29" fmla="*/ 1393 h 1418"/>
                  <a:gd name="T30" fmla="*/ 212 w 304"/>
                  <a:gd name="T31" fmla="*/ 1407 h 1418"/>
                  <a:gd name="T32" fmla="*/ 183 w 304"/>
                  <a:gd name="T33" fmla="*/ 1415 h 1418"/>
                  <a:gd name="T34" fmla="*/ 153 w 304"/>
                  <a:gd name="T35" fmla="*/ 1418 h 1418"/>
                  <a:gd name="T36" fmla="*/ 121 w 304"/>
                  <a:gd name="T37" fmla="*/ 1415 h 1418"/>
                  <a:gd name="T38" fmla="*/ 93 w 304"/>
                  <a:gd name="T39" fmla="*/ 1407 h 1418"/>
                  <a:gd name="T40" fmla="*/ 67 w 304"/>
                  <a:gd name="T41" fmla="*/ 1393 h 1418"/>
                  <a:gd name="T42" fmla="*/ 44 w 304"/>
                  <a:gd name="T43" fmla="*/ 1374 h 1418"/>
                  <a:gd name="T44" fmla="*/ 26 w 304"/>
                  <a:gd name="T45" fmla="*/ 1351 h 1418"/>
                  <a:gd name="T46" fmla="*/ 11 w 304"/>
                  <a:gd name="T47" fmla="*/ 1325 h 1418"/>
                  <a:gd name="T48" fmla="*/ 3 w 304"/>
                  <a:gd name="T49" fmla="*/ 1296 h 1418"/>
                  <a:gd name="T50" fmla="*/ 0 w 304"/>
                  <a:gd name="T51" fmla="*/ 1266 h 1418"/>
                  <a:gd name="T52" fmla="*/ 0 w 304"/>
                  <a:gd name="T53" fmla="*/ 153 h 1418"/>
                  <a:gd name="T54" fmla="*/ 3 w 304"/>
                  <a:gd name="T55" fmla="*/ 122 h 1418"/>
                  <a:gd name="T56" fmla="*/ 11 w 304"/>
                  <a:gd name="T57" fmla="*/ 94 h 1418"/>
                  <a:gd name="T58" fmla="*/ 26 w 304"/>
                  <a:gd name="T59" fmla="*/ 67 h 1418"/>
                  <a:gd name="T60" fmla="*/ 44 w 304"/>
                  <a:gd name="T61" fmla="*/ 45 h 1418"/>
                  <a:gd name="T62" fmla="*/ 67 w 304"/>
                  <a:gd name="T63" fmla="*/ 26 h 1418"/>
                  <a:gd name="T64" fmla="*/ 93 w 304"/>
                  <a:gd name="T65" fmla="*/ 12 h 1418"/>
                  <a:gd name="T66" fmla="*/ 121 w 304"/>
                  <a:gd name="T67" fmla="*/ 3 h 1418"/>
                  <a:gd name="T68" fmla="*/ 153 w 304"/>
                  <a:gd name="T69" fmla="*/ 0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1418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2"/>
                    </a:lnTo>
                    <a:lnTo>
                      <a:pt x="237" y="26"/>
                    </a:lnTo>
                    <a:lnTo>
                      <a:pt x="260" y="45"/>
                    </a:lnTo>
                    <a:lnTo>
                      <a:pt x="278" y="67"/>
                    </a:lnTo>
                    <a:lnTo>
                      <a:pt x="293" y="94"/>
                    </a:lnTo>
                    <a:lnTo>
                      <a:pt x="301" y="122"/>
                    </a:lnTo>
                    <a:lnTo>
                      <a:pt x="304" y="153"/>
                    </a:lnTo>
                    <a:lnTo>
                      <a:pt x="304" y="1266"/>
                    </a:lnTo>
                    <a:lnTo>
                      <a:pt x="301" y="1296"/>
                    </a:lnTo>
                    <a:lnTo>
                      <a:pt x="293" y="1325"/>
                    </a:lnTo>
                    <a:lnTo>
                      <a:pt x="278" y="1351"/>
                    </a:lnTo>
                    <a:lnTo>
                      <a:pt x="260" y="1374"/>
                    </a:lnTo>
                    <a:lnTo>
                      <a:pt x="237" y="1393"/>
                    </a:lnTo>
                    <a:lnTo>
                      <a:pt x="212" y="1407"/>
                    </a:lnTo>
                    <a:lnTo>
                      <a:pt x="183" y="1415"/>
                    </a:lnTo>
                    <a:lnTo>
                      <a:pt x="153" y="1418"/>
                    </a:lnTo>
                    <a:lnTo>
                      <a:pt x="121" y="1415"/>
                    </a:lnTo>
                    <a:lnTo>
                      <a:pt x="93" y="1407"/>
                    </a:lnTo>
                    <a:lnTo>
                      <a:pt x="67" y="1393"/>
                    </a:lnTo>
                    <a:lnTo>
                      <a:pt x="44" y="1374"/>
                    </a:lnTo>
                    <a:lnTo>
                      <a:pt x="26" y="1351"/>
                    </a:lnTo>
                    <a:lnTo>
                      <a:pt x="11" y="1325"/>
                    </a:lnTo>
                    <a:lnTo>
                      <a:pt x="3" y="1296"/>
                    </a:lnTo>
                    <a:lnTo>
                      <a:pt x="0" y="1266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4"/>
                    </a:lnTo>
                    <a:lnTo>
                      <a:pt x="26" y="67"/>
                    </a:lnTo>
                    <a:lnTo>
                      <a:pt x="44" y="45"/>
                    </a:lnTo>
                    <a:lnTo>
                      <a:pt x="67" y="26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20" name="Freeform 206"/>
              <p:cNvSpPr>
                <a:spLocks/>
              </p:cNvSpPr>
              <p:nvPr/>
            </p:nvSpPr>
            <p:spPr bwMode="auto">
              <a:xfrm>
                <a:off x="4641" y="3393"/>
                <a:ext cx="61" cy="222"/>
              </a:xfrm>
              <a:custGeom>
                <a:avLst/>
                <a:gdLst>
                  <a:gd name="T0" fmla="*/ 153 w 305"/>
                  <a:gd name="T1" fmla="*/ 0 h 1111"/>
                  <a:gd name="T2" fmla="*/ 183 w 305"/>
                  <a:gd name="T3" fmla="*/ 3 h 1111"/>
                  <a:gd name="T4" fmla="*/ 212 w 305"/>
                  <a:gd name="T5" fmla="*/ 11 h 1111"/>
                  <a:gd name="T6" fmla="*/ 237 w 305"/>
                  <a:gd name="T7" fmla="*/ 26 h 1111"/>
                  <a:gd name="T8" fmla="*/ 260 w 305"/>
                  <a:gd name="T9" fmla="*/ 44 h 1111"/>
                  <a:gd name="T10" fmla="*/ 278 w 305"/>
                  <a:gd name="T11" fmla="*/ 68 h 1111"/>
                  <a:gd name="T12" fmla="*/ 293 w 305"/>
                  <a:gd name="T13" fmla="*/ 93 h 1111"/>
                  <a:gd name="T14" fmla="*/ 301 w 305"/>
                  <a:gd name="T15" fmla="*/ 122 h 1111"/>
                  <a:gd name="T16" fmla="*/ 305 w 305"/>
                  <a:gd name="T17" fmla="*/ 153 h 1111"/>
                  <a:gd name="T18" fmla="*/ 305 w 305"/>
                  <a:gd name="T19" fmla="*/ 959 h 1111"/>
                  <a:gd name="T20" fmla="*/ 301 w 305"/>
                  <a:gd name="T21" fmla="*/ 989 h 1111"/>
                  <a:gd name="T22" fmla="*/ 293 w 305"/>
                  <a:gd name="T23" fmla="*/ 1018 h 1111"/>
                  <a:gd name="T24" fmla="*/ 278 w 305"/>
                  <a:gd name="T25" fmla="*/ 1044 h 1111"/>
                  <a:gd name="T26" fmla="*/ 260 w 305"/>
                  <a:gd name="T27" fmla="*/ 1067 h 1111"/>
                  <a:gd name="T28" fmla="*/ 237 w 305"/>
                  <a:gd name="T29" fmla="*/ 1086 h 1111"/>
                  <a:gd name="T30" fmla="*/ 212 w 305"/>
                  <a:gd name="T31" fmla="*/ 1100 h 1111"/>
                  <a:gd name="T32" fmla="*/ 183 w 305"/>
                  <a:gd name="T33" fmla="*/ 1108 h 1111"/>
                  <a:gd name="T34" fmla="*/ 153 w 305"/>
                  <a:gd name="T35" fmla="*/ 1111 h 1111"/>
                  <a:gd name="T36" fmla="*/ 121 w 305"/>
                  <a:gd name="T37" fmla="*/ 1108 h 1111"/>
                  <a:gd name="T38" fmla="*/ 93 w 305"/>
                  <a:gd name="T39" fmla="*/ 1100 h 1111"/>
                  <a:gd name="T40" fmla="*/ 67 w 305"/>
                  <a:gd name="T41" fmla="*/ 1086 h 1111"/>
                  <a:gd name="T42" fmla="*/ 44 w 305"/>
                  <a:gd name="T43" fmla="*/ 1067 h 1111"/>
                  <a:gd name="T44" fmla="*/ 26 w 305"/>
                  <a:gd name="T45" fmla="*/ 1044 h 1111"/>
                  <a:gd name="T46" fmla="*/ 12 w 305"/>
                  <a:gd name="T47" fmla="*/ 1018 h 1111"/>
                  <a:gd name="T48" fmla="*/ 3 w 305"/>
                  <a:gd name="T49" fmla="*/ 989 h 1111"/>
                  <a:gd name="T50" fmla="*/ 0 w 305"/>
                  <a:gd name="T51" fmla="*/ 959 h 1111"/>
                  <a:gd name="T52" fmla="*/ 0 w 305"/>
                  <a:gd name="T53" fmla="*/ 153 h 1111"/>
                  <a:gd name="T54" fmla="*/ 3 w 305"/>
                  <a:gd name="T55" fmla="*/ 122 h 1111"/>
                  <a:gd name="T56" fmla="*/ 12 w 305"/>
                  <a:gd name="T57" fmla="*/ 93 h 1111"/>
                  <a:gd name="T58" fmla="*/ 26 w 305"/>
                  <a:gd name="T59" fmla="*/ 68 h 1111"/>
                  <a:gd name="T60" fmla="*/ 44 w 305"/>
                  <a:gd name="T61" fmla="*/ 44 h 1111"/>
                  <a:gd name="T62" fmla="*/ 67 w 305"/>
                  <a:gd name="T63" fmla="*/ 26 h 1111"/>
                  <a:gd name="T64" fmla="*/ 93 w 305"/>
                  <a:gd name="T65" fmla="*/ 11 h 1111"/>
                  <a:gd name="T66" fmla="*/ 121 w 305"/>
                  <a:gd name="T67" fmla="*/ 3 h 1111"/>
                  <a:gd name="T68" fmla="*/ 153 w 305"/>
                  <a:gd name="T69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5" h="1111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1"/>
                    </a:lnTo>
                    <a:lnTo>
                      <a:pt x="237" y="26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5" y="153"/>
                    </a:lnTo>
                    <a:lnTo>
                      <a:pt x="305" y="959"/>
                    </a:lnTo>
                    <a:lnTo>
                      <a:pt x="301" y="989"/>
                    </a:lnTo>
                    <a:lnTo>
                      <a:pt x="293" y="1018"/>
                    </a:lnTo>
                    <a:lnTo>
                      <a:pt x="278" y="1044"/>
                    </a:lnTo>
                    <a:lnTo>
                      <a:pt x="260" y="1067"/>
                    </a:lnTo>
                    <a:lnTo>
                      <a:pt x="237" y="1086"/>
                    </a:lnTo>
                    <a:lnTo>
                      <a:pt x="212" y="1100"/>
                    </a:lnTo>
                    <a:lnTo>
                      <a:pt x="183" y="1108"/>
                    </a:lnTo>
                    <a:lnTo>
                      <a:pt x="153" y="1111"/>
                    </a:lnTo>
                    <a:lnTo>
                      <a:pt x="121" y="1108"/>
                    </a:lnTo>
                    <a:lnTo>
                      <a:pt x="93" y="1100"/>
                    </a:lnTo>
                    <a:lnTo>
                      <a:pt x="67" y="1086"/>
                    </a:lnTo>
                    <a:lnTo>
                      <a:pt x="44" y="1067"/>
                    </a:lnTo>
                    <a:lnTo>
                      <a:pt x="26" y="1044"/>
                    </a:lnTo>
                    <a:lnTo>
                      <a:pt x="12" y="1018"/>
                    </a:lnTo>
                    <a:lnTo>
                      <a:pt x="3" y="989"/>
                    </a:lnTo>
                    <a:lnTo>
                      <a:pt x="0" y="959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2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6"/>
                    </a:lnTo>
                    <a:lnTo>
                      <a:pt x="93" y="11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  <p:sp>
            <p:nvSpPr>
              <p:cNvPr id="121" name="Freeform 207"/>
              <p:cNvSpPr>
                <a:spLocks/>
              </p:cNvSpPr>
              <p:nvPr/>
            </p:nvSpPr>
            <p:spPr bwMode="auto">
              <a:xfrm>
                <a:off x="4176" y="3520"/>
                <a:ext cx="223" cy="225"/>
              </a:xfrm>
              <a:custGeom>
                <a:avLst/>
                <a:gdLst>
                  <a:gd name="T0" fmla="*/ 1085 w 1117"/>
                  <a:gd name="T1" fmla="*/ 0 h 1123"/>
                  <a:gd name="T2" fmla="*/ 1106 w 1117"/>
                  <a:gd name="T3" fmla="*/ 10 h 1123"/>
                  <a:gd name="T4" fmla="*/ 1117 w 1117"/>
                  <a:gd name="T5" fmla="*/ 31 h 1123"/>
                  <a:gd name="T6" fmla="*/ 1113 w 1117"/>
                  <a:gd name="T7" fmla="*/ 53 h 1123"/>
                  <a:gd name="T8" fmla="*/ 1104 w 1117"/>
                  <a:gd name="T9" fmla="*/ 66 h 1123"/>
                  <a:gd name="T10" fmla="*/ 1089 w 1117"/>
                  <a:gd name="T11" fmla="*/ 82 h 1123"/>
                  <a:gd name="T12" fmla="*/ 1062 w 1117"/>
                  <a:gd name="T13" fmla="*/ 112 h 1123"/>
                  <a:gd name="T14" fmla="*/ 1023 w 1117"/>
                  <a:gd name="T15" fmla="*/ 155 h 1123"/>
                  <a:gd name="T16" fmla="*/ 973 w 1117"/>
                  <a:gd name="T17" fmla="*/ 209 h 1123"/>
                  <a:gd name="T18" fmla="*/ 917 w 1117"/>
                  <a:gd name="T19" fmla="*/ 272 h 1123"/>
                  <a:gd name="T20" fmla="*/ 853 w 1117"/>
                  <a:gd name="T21" fmla="*/ 342 h 1123"/>
                  <a:gd name="T22" fmla="*/ 785 w 1117"/>
                  <a:gd name="T23" fmla="*/ 417 h 1123"/>
                  <a:gd name="T24" fmla="*/ 712 w 1117"/>
                  <a:gd name="T25" fmla="*/ 497 h 1123"/>
                  <a:gd name="T26" fmla="*/ 640 w 1117"/>
                  <a:gd name="T27" fmla="*/ 577 h 1123"/>
                  <a:gd name="T28" fmla="*/ 566 w 1117"/>
                  <a:gd name="T29" fmla="*/ 658 h 1123"/>
                  <a:gd name="T30" fmla="*/ 494 w 1117"/>
                  <a:gd name="T31" fmla="*/ 737 h 1123"/>
                  <a:gd name="T32" fmla="*/ 425 w 1117"/>
                  <a:gd name="T33" fmla="*/ 813 h 1123"/>
                  <a:gd name="T34" fmla="*/ 361 w 1117"/>
                  <a:gd name="T35" fmla="*/ 884 h 1123"/>
                  <a:gd name="T36" fmla="*/ 303 w 1117"/>
                  <a:gd name="T37" fmla="*/ 946 h 1123"/>
                  <a:gd name="T38" fmla="*/ 254 w 1117"/>
                  <a:gd name="T39" fmla="*/ 1001 h 1123"/>
                  <a:gd name="T40" fmla="*/ 215 w 1117"/>
                  <a:gd name="T41" fmla="*/ 1045 h 1123"/>
                  <a:gd name="T42" fmla="*/ 186 w 1117"/>
                  <a:gd name="T43" fmla="*/ 1076 h 1123"/>
                  <a:gd name="T44" fmla="*/ 171 w 1117"/>
                  <a:gd name="T45" fmla="*/ 1093 h 1123"/>
                  <a:gd name="T46" fmla="*/ 151 w 1117"/>
                  <a:gd name="T47" fmla="*/ 1110 h 1123"/>
                  <a:gd name="T48" fmla="*/ 110 w 1117"/>
                  <a:gd name="T49" fmla="*/ 1123 h 1123"/>
                  <a:gd name="T50" fmla="*/ 66 w 1117"/>
                  <a:gd name="T51" fmla="*/ 1119 h 1123"/>
                  <a:gd name="T52" fmla="*/ 28 w 1117"/>
                  <a:gd name="T53" fmla="*/ 1095 h 1123"/>
                  <a:gd name="T54" fmla="*/ 5 w 1117"/>
                  <a:gd name="T55" fmla="*/ 1057 h 1123"/>
                  <a:gd name="T56" fmla="*/ 0 w 1117"/>
                  <a:gd name="T57" fmla="*/ 1013 h 1123"/>
                  <a:gd name="T58" fmla="*/ 14 w 1117"/>
                  <a:gd name="T59" fmla="*/ 972 h 1123"/>
                  <a:gd name="T60" fmla="*/ 31 w 1117"/>
                  <a:gd name="T61" fmla="*/ 952 h 1123"/>
                  <a:gd name="T62" fmla="*/ 47 w 1117"/>
                  <a:gd name="T63" fmla="*/ 936 h 1123"/>
                  <a:gd name="T64" fmla="*/ 78 w 1117"/>
                  <a:gd name="T65" fmla="*/ 908 h 1123"/>
                  <a:gd name="T66" fmla="*/ 122 w 1117"/>
                  <a:gd name="T67" fmla="*/ 868 h 1123"/>
                  <a:gd name="T68" fmla="*/ 176 w 1117"/>
                  <a:gd name="T69" fmla="*/ 818 h 1123"/>
                  <a:gd name="T70" fmla="*/ 238 w 1117"/>
                  <a:gd name="T71" fmla="*/ 761 h 1123"/>
                  <a:gd name="T72" fmla="*/ 309 w 1117"/>
                  <a:gd name="T73" fmla="*/ 696 h 1123"/>
                  <a:gd name="T74" fmla="*/ 383 w 1117"/>
                  <a:gd name="T75" fmla="*/ 627 h 1123"/>
                  <a:gd name="T76" fmla="*/ 463 w 1117"/>
                  <a:gd name="T77" fmla="*/ 554 h 1123"/>
                  <a:gd name="T78" fmla="*/ 543 w 1117"/>
                  <a:gd name="T79" fmla="*/ 481 h 1123"/>
                  <a:gd name="T80" fmla="*/ 623 w 1117"/>
                  <a:gd name="T81" fmla="*/ 406 h 1123"/>
                  <a:gd name="T82" fmla="*/ 702 w 1117"/>
                  <a:gd name="T83" fmla="*/ 334 h 1123"/>
                  <a:gd name="T84" fmla="*/ 776 w 1117"/>
                  <a:gd name="T85" fmla="*/ 265 h 1123"/>
                  <a:gd name="T86" fmla="*/ 846 w 1117"/>
                  <a:gd name="T87" fmla="*/ 201 h 1123"/>
                  <a:gd name="T88" fmla="*/ 908 w 1117"/>
                  <a:gd name="T89" fmla="*/ 143 h 1123"/>
                  <a:gd name="T90" fmla="*/ 962 w 1117"/>
                  <a:gd name="T91" fmla="*/ 95 h 1123"/>
                  <a:gd name="T92" fmla="*/ 1005 w 1117"/>
                  <a:gd name="T93" fmla="*/ 54 h 1123"/>
                  <a:gd name="T94" fmla="*/ 1036 w 1117"/>
                  <a:gd name="T95" fmla="*/ 27 h 1123"/>
                  <a:gd name="T96" fmla="*/ 1051 w 1117"/>
                  <a:gd name="T97" fmla="*/ 12 h 1123"/>
                  <a:gd name="T98" fmla="*/ 1063 w 1117"/>
                  <a:gd name="T99" fmla="*/ 3 h 1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17" h="1123">
                    <a:moveTo>
                      <a:pt x="1074" y="0"/>
                    </a:moveTo>
                    <a:lnTo>
                      <a:pt x="1085" y="0"/>
                    </a:lnTo>
                    <a:lnTo>
                      <a:pt x="1096" y="3"/>
                    </a:lnTo>
                    <a:lnTo>
                      <a:pt x="1106" y="10"/>
                    </a:lnTo>
                    <a:lnTo>
                      <a:pt x="1113" y="20"/>
                    </a:lnTo>
                    <a:lnTo>
                      <a:pt x="1117" y="31"/>
                    </a:lnTo>
                    <a:lnTo>
                      <a:pt x="1117" y="43"/>
                    </a:lnTo>
                    <a:lnTo>
                      <a:pt x="1113" y="53"/>
                    </a:lnTo>
                    <a:lnTo>
                      <a:pt x="1106" y="64"/>
                    </a:lnTo>
                    <a:lnTo>
                      <a:pt x="1104" y="66"/>
                    </a:lnTo>
                    <a:lnTo>
                      <a:pt x="1099" y="71"/>
                    </a:lnTo>
                    <a:lnTo>
                      <a:pt x="1089" y="82"/>
                    </a:lnTo>
                    <a:lnTo>
                      <a:pt x="1077" y="96"/>
                    </a:lnTo>
                    <a:lnTo>
                      <a:pt x="1062" y="112"/>
                    </a:lnTo>
                    <a:lnTo>
                      <a:pt x="1043" y="132"/>
                    </a:lnTo>
                    <a:lnTo>
                      <a:pt x="1023" y="155"/>
                    </a:lnTo>
                    <a:lnTo>
                      <a:pt x="999" y="181"/>
                    </a:lnTo>
                    <a:lnTo>
                      <a:pt x="973" y="209"/>
                    </a:lnTo>
                    <a:lnTo>
                      <a:pt x="946" y="240"/>
                    </a:lnTo>
                    <a:lnTo>
                      <a:pt x="917" y="272"/>
                    </a:lnTo>
                    <a:lnTo>
                      <a:pt x="885" y="306"/>
                    </a:lnTo>
                    <a:lnTo>
                      <a:pt x="853" y="342"/>
                    </a:lnTo>
                    <a:lnTo>
                      <a:pt x="820" y="379"/>
                    </a:lnTo>
                    <a:lnTo>
                      <a:pt x="785" y="417"/>
                    </a:lnTo>
                    <a:lnTo>
                      <a:pt x="749" y="456"/>
                    </a:lnTo>
                    <a:lnTo>
                      <a:pt x="712" y="497"/>
                    </a:lnTo>
                    <a:lnTo>
                      <a:pt x="676" y="537"/>
                    </a:lnTo>
                    <a:lnTo>
                      <a:pt x="640" y="577"/>
                    </a:lnTo>
                    <a:lnTo>
                      <a:pt x="603" y="617"/>
                    </a:lnTo>
                    <a:lnTo>
                      <a:pt x="566" y="658"/>
                    </a:lnTo>
                    <a:lnTo>
                      <a:pt x="529" y="698"/>
                    </a:lnTo>
                    <a:lnTo>
                      <a:pt x="494" y="737"/>
                    </a:lnTo>
                    <a:lnTo>
                      <a:pt x="458" y="776"/>
                    </a:lnTo>
                    <a:lnTo>
                      <a:pt x="425" y="813"/>
                    </a:lnTo>
                    <a:lnTo>
                      <a:pt x="392" y="849"/>
                    </a:lnTo>
                    <a:lnTo>
                      <a:pt x="361" y="884"/>
                    </a:lnTo>
                    <a:lnTo>
                      <a:pt x="332" y="917"/>
                    </a:lnTo>
                    <a:lnTo>
                      <a:pt x="303" y="946"/>
                    </a:lnTo>
                    <a:lnTo>
                      <a:pt x="278" y="975"/>
                    </a:lnTo>
                    <a:lnTo>
                      <a:pt x="254" y="1001"/>
                    </a:lnTo>
                    <a:lnTo>
                      <a:pt x="233" y="1024"/>
                    </a:lnTo>
                    <a:lnTo>
                      <a:pt x="215" y="1045"/>
                    </a:lnTo>
                    <a:lnTo>
                      <a:pt x="199" y="1062"/>
                    </a:lnTo>
                    <a:lnTo>
                      <a:pt x="186" y="1076"/>
                    </a:lnTo>
                    <a:lnTo>
                      <a:pt x="177" y="1086"/>
                    </a:lnTo>
                    <a:lnTo>
                      <a:pt x="171" y="1093"/>
                    </a:lnTo>
                    <a:lnTo>
                      <a:pt x="169" y="1095"/>
                    </a:lnTo>
                    <a:lnTo>
                      <a:pt x="151" y="1110"/>
                    </a:lnTo>
                    <a:lnTo>
                      <a:pt x="131" y="1119"/>
                    </a:lnTo>
                    <a:lnTo>
                      <a:pt x="110" y="1123"/>
                    </a:lnTo>
                    <a:lnTo>
                      <a:pt x="87" y="1123"/>
                    </a:lnTo>
                    <a:lnTo>
                      <a:pt x="66" y="1119"/>
                    </a:lnTo>
                    <a:lnTo>
                      <a:pt x="46" y="1110"/>
                    </a:lnTo>
                    <a:lnTo>
                      <a:pt x="28" y="1095"/>
                    </a:lnTo>
                    <a:lnTo>
                      <a:pt x="14" y="1077"/>
                    </a:lnTo>
                    <a:lnTo>
                      <a:pt x="5" y="1057"/>
                    </a:lnTo>
                    <a:lnTo>
                      <a:pt x="0" y="1035"/>
                    </a:lnTo>
                    <a:lnTo>
                      <a:pt x="0" y="1013"/>
                    </a:lnTo>
                    <a:lnTo>
                      <a:pt x="5" y="992"/>
                    </a:lnTo>
                    <a:lnTo>
                      <a:pt x="14" y="972"/>
                    </a:lnTo>
                    <a:lnTo>
                      <a:pt x="28" y="954"/>
                    </a:lnTo>
                    <a:lnTo>
                      <a:pt x="31" y="952"/>
                    </a:lnTo>
                    <a:lnTo>
                      <a:pt x="37" y="945"/>
                    </a:lnTo>
                    <a:lnTo>
                      <a:pt x="47" y="936"/>
                    </a:lnTo>
                    <a:lnTo>
                      <a:pt x="61" y="924"/>
                    </a:lnTo>
                    <a:lnTo>
                      <a:pt x="78" y="908"/>
                    </a:lnTo>
                    <a:lnTo>
                      <a:pt x="99" y="889"/>
                    </a:lnTo>
                    <a:lnTo>
                      <a:pt x="122" y="868"/>
                    </a:lnTo>
                    <a:lnTo>
                      <a:pt x="147" y="844"/>
                    </a:lnTo>
                    <a:lnTo>
                      <a:pt x="176" y="818"/>
                    </a:lnTo>
                    <a:lnTo>
                      <a:pt x="206" y="790"/>
                    </a:lnTo>
                    <a:lnTo>
                      <a:pt x="238" y="761"/>
                    </a:lnTo>
                    <a:lnTo>
                      <a:pt x="273" y="729"/>
                    </a:lnTo>
                    <a:lnTo>
                      <a:pt x="309" y="696"/>
                    </a:lnTo>
                    <a:lnTo>
                      <a:pt x="346" y="662"/>
                    </a:lnTo>
                    <a:lnTo>
                      <a:pt x="383" y="627"/>
                    </a:lnTo>
                    <a:lnTo>
                      <a:pt x="422" y="591"/>
                    </a:lnTo>
                    <a:lnTo>
                      <a:pt x="463" y="554"/>
                    </a:lnTo>
                    <a:lnTo>
                      <a:pt x="503" y="518"/>
                    </a:lnTo>
                    <a:lnTo>
                      <a:pt x="543" y="481"/>
                    </a:lnTo>
                    <a:lnTo>
                      <a:pt x="583" y="444"/>
                    </a:lnTo>
                    <a:lnTo>
                      <a:pt x="623" y="406"/>
                    </a:lnTo>
                    <a:lnTo>
                      <a:pt x="663" y="369"/>
                    </a:lnTo>
                    <a:lnTo>
                      <a:pt x="702" y="334"/>
                    </a:lnTo>
                    <a:lnTo>
                      <a:pt x="740" y="299"/>
                    </a:lnTo>
                    <a:lnTo>
                      <a:pt x="776" y="265"/>
                    </a:lnTo>
                    <a:lnTo>
                      <a:pt x="812" y="232"/>
                    </a:lnTo>
                    <a:lnTo>
                      <a:pt x="846" y="201"/>
                    </a:lnTo>
                    <a:lnTo>
                      <a:pt x="879" y="171"/>
                    </a:lnTo>
                    <a:lnTo>
                      <a:pt x="908" y="143"/>
                    </a:lnTo>
                    <a:lnTo>
                      <a:pt x="937" y="118"/>
                    </a:lnTo>
                    <a:lnTo>
                      <a:pt x="962" y="95"/>
                    </a:lnTo>
                    <a:lnTo>
                      <a:pt x="985" y="73"/>
                    </a:lnTo>
                    <a:lnTo>
                      <a:pt x="1005" y="54"/>
                    </a:lnTo>
                    <a:lnTo>
                      <a:pt x="1022" y="39"/>
                    </a:lnTo>
                    <a:lnTo>
                      <a:pt x="1036" y="27"/>
                    </a:lnTo>
                    <a:lnTo>
                      <a:pt x="1045" y="18"/>
                    </a:lnTo>
                    <a:lnTo>
                      <a:pt x="1051" y="12"/>
                    </a:lnTo>
                    <a:lnTo>
                      <a:pt x="1054" y="10"/>
                    </a:lnTo>
                    <a:lnTo>
                      <a:pt x="1063" y="3"/>
                    </a:lnTo>
                    <a:lnTo>
                      <a:pt x="107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i="1" dirty="0">
                  <a:latin typeface="+mj-lt"/>
                </a:endParaRPr>
              </a:p>
            </p:txBody>
          </p:sp>
        </p:grpSp>
      </p:grpSp>
      <p:sp>
        <p:nvSpPr>
          <p:cNvPr id="135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rgbClr val="FFFFFF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rgbClr val="FFFFFF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171" name="Rectangle 17"/>
          <p:cNvSpPr>
            <a:spLocks/>
          </p:cNvSpPr>
          <p:nvPr/>
        </p:nvSpPr>
        <p:spPr bwMode="auto">
          <a:xfrm>
            <a:off x="176959" y="3253435"/>
            <a:ext cx="655980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rgbClr val="FFFFFF"/>
                </a:solidFill>
                <a:latin typeface="+mj-lt"/>
                <a:sym typeface="Helvetica Neue" charset="0"/>
              </a:rPr>
              <a:t>Данные</a:t>
            </a:r>
            <a:endParaRPr lang="ru-RU" sz="1050" b="1" i="1" dirty="0">
              <a:solidFill>
                <a:srgbClr val="FFFFFF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122" name="Rectangle 121"/>
          <p:cNvSpPr/>
          <p:nvPr/>
        </p:nvSpPr>
        <p:spPr bwMode="ltGray">
          <a:xfrm>
            <a:off x="6174395" y="-2"/>
            <a:ext cx="2969606" cy="37651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900" b="1" i="1" dirty="0" smtClean="0">
                <a:solidFill>
                  <a:schemeClr val="bg1"/>
                </a:solidFill>
                <a:latin typeface="+mj-lt"/>
              </a:rPr>
              <a:t>Банковские услуги, телекоммуникации, розница, энергетика</a:t>
            </a:r>
            <a:endParaRPr lang="ru-RU" sz="900" b="1" i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6649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2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658364"/>
            <a:ext cx="738960" cy="2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Машинное обучение</a:t>
            </a: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20827" y="341654"/>
            <a:ext cx="5826158" cy="673397"/>
          </a:xfrm>
        </p:spPr>
        <p:txBody>
          <a:bodyPr/>
          <a:lstStyle/>
          <a:p>
            <a:r>
              <a:rPr lang="ru-RU" dirty="0" smtClean="0"/>
              <a:t>Расчет ценности клиента (</a:t>
            </a:r>
            <a:r>
              <a:rPr lang="en-US" dirty="0" smtClean="0"/>
              <a:t>CLV</a:t>
            </a:r>
            <a:r>
              <a:rPr lang="ru-RU" dirty="0" smtClean="0"/>
              <a:t>) и оптимизация</a:t>
            </a:r>
            <a:r>
              <a:rPr lang="en-US" dirty="0" smtClean="0"/>
              <a:t> </a:t>
            </a:r>
            <a:r>
              <a:rPr lang="ru-RU" dirty="0" smtClean="0"/>
              <a:t>расходов</a:t>
            </a:r>
            <a:r>
              <a:rPr lang="en-US" dirty="0" smtClean="0"/>
              <a:t> </a:t>
            </a:r>
            <a:r>
              <a:rPr lang="ru-RU" dirty="0" smtClean="0"/>
              <a:t>на маркетинг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230501" y="1241859"/>
            <a:ext cx="5804165" cy="539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ru-RU" sz="1600" i="1" dirty="0" smtClean="0">
                <a:solidFill>
                  <a:schemeClr val="bg1"/>
                </a:solidFill>
                <a:latin typeface="+mj-lt"/>
              </a:rPr>
              <a:t>Ожидания и приоритеты клиентов постоянно меняются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663427" y="4649059"/>
            <a:ext cx="746280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i="1" dirty="0">
                <a:solidFill>
                  <a:schemeClr val="bg1"/>
                </a:solidFill>
                <a:latin typeface="+mj-lt"/>
              </a:rPr>
              <a:t>Оптимизация маркетинговых расходов и предоставление возможности миграции клиентов между каналами в соответствии с </a:t>
            </a:r>
            <a:r>
              <a:rPr lang="ru-RU" sz="1500" i="1" dirty="0" smtClean="0">
                <a:solidFill>
                  <a:schemeClr val="bg1"/>
                </a:solidFill>
                <a:latin typeface="+mj-lt"/>
              </a:rPr>
              <a:t>их ценностью</a:t>
            </a:r>
            <a:endParaRPr lang="ru-RU" sz="15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201688" y="2317778"/>
            <a:ext cx="292962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Маркетинговые мероприятия, в основе которых лежит расчет ожидаемой выручки от клиентов в течение всего периода сотрудничества клиента с компанией, способствуют усилению связи (ассоциации) с компанией</a:t>
            </a:r>
            <a:endParaRPr lang="ru-RU" sz="1400" i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350512" y="5440086"/>
            <a:ext cx="5317724" cy="1023936"/>
            <a:chOff x="1866847" y="5006631"/>
            <a:chExt cx="5818466" cy="1184091"/>
          </a:xfrm>
        </p:grpSpPr>
        <p:grpSp>
          <p:nvGrpSpPr>
            <p:cNvPr id="93" name="Group 17"/>
            <p:cNvGrpSpPr>
              <a:grpSpLocks noChangeAspect="1"/>
            </p:cNvGrpSpPr>
            <p:nvPr/>
          </p:nvGrpSpPr>
          <p:grpSpPr bwMode="auto">
            <a:xfrm>
              <a:off x="1866847" y="5035978"/>
              <a:ext cx="1182592" cy="1106188"/>
              <a:chOff x="6544" y="3608"/>
              <a:chExt cx="712" cy="666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97" name="Freeform 19"/>
              <p:cNvSpPr>
                <a:spLocks noEditPoints="1"/>
              </p:cNvSpPr>
              <p:nvPr/>
            </p:nvSpPr>
            <p:spPr bwMode="auto">
              <a:xfrm>
                <a:off x="6544" y="3608"/>
                <a:ext cx="712" cy="518"/>
              </a:xfrm>
              <a:custGeom>
                <a:avLst/>
                <a:gdLst>
                  <a:gd name="T0" fmla="*/ 2452 w 3561"/>
                  <a:gd name="T1" fmla="*/ 1665 h 2590"/>
                  <a:gd name="T2" fmla="*/ 3084 w 3561"/>
                  <a:gd name="T3" fmla="*/ 1295 h 2590"/>
                  <a:gd name="T4" fmla="*/ 1711 w 3561"/>
                  <a:gd name="T5" fmla="*/ 1295 h 2590"/>
                  <a:gd name="T6" fmla="*/ 2266 w 3561"/>
                  <a:gd name="T7" fmla="*/ 1665 h 2590"/>
                  <a:gd name="T8" fmla="*/ 1711 w 3561"/>
                  <a:gd name="T9" fmla="*/ 1295 h 2590"/>
                  <a:gd name="T10" fmla="*/ 1035 w 3561"/>
                  <a:gd name="T11" fmla="*/ 1665 h 2590"/>
                  <a:gd name="T12" fmla="*/ 1527 w 3561"/>
                  <a:gd name="T13" fmla="*/ 1295 h 2590"/>
                  <a:gd name="T14" fmla="*/ 2452 w 3561"/>
                  <a:gd name="T15" fmla="*/ 740 h 2590"/>
                  <a:gd name="T16" fmla="*/ 3110 w 3561"/>
                  <a:gd name="T17" fmla="*/ 1110 h 2590"/>
                  <a:gd name="T18" fmla="*/ 2452 w 3561"/>
                  <a:gd name="T19" fmla="*/ 740 h 2590"/>
                  <a:gd name="T20" fmla="*/ 1711 w 3561"/>
                  <a:gd name="T21" fmla="*/ 1110 h 2590"/>
                  <a:gd name="T22" fmla="*/ 2266 w 3561"/>
                  <a:gd name="T23" fmla="*/ 740 h 2590"/>
                  <a:gd name="T24" fmla="*/ 881 w 3561"/>
                  <a:gd name="T25" fmla="*/ 740 h 2590"/>
                  <a:gd name="T26" fmla="*/ 958 w 3561"/>
                  <a:gd name="T27" fmla="*/ 1111 h 2590"/>
                  <a:gd name="T28" fmla="*/ 1527 w 3561"/>
                  <a:gd name="T29" fmla="*/ 1110 h 2590"/>
                  <a:gd name="T30" fmla="*/ 881 w 3561"/>
                  <a:gd name="T31" fmla="*/ 740 h 2590"/>
                  <a:gd name="T32" fmla="*/ 602 w 3561"/>
                  <a:gd name="T33" fmla="*/ 0 h 2590"/>
                  <a:gd name="T34" fmla="*/ 666 w 3561"/>
                  <a:gd name="T35" fmla="*/ 11 h 2590"/>
                  <a:gd name="T36" fmla="*/ 721 w 3561"/>
                  <a:gd name="T37" fmla="*/ 44 h 2590"/>
                  <a:gd name="T38" fmla="*/ 761 w 3561"/>
                  <a:gd name="T39" fmla="*/ 92 h 2590"/>
                  <a:gd name="T40" fmla="*/ 784 w 3561"/>
                  <a:gd name="T41" fmla="*/ 155 h 2590"/>
                  <a:gd name="T42" fmla="*/ 3377 w 3561"/>
                  <a:gd name="T43" fmla="*/ 370 h 2590"/>
                  <a:gd name="T44" fmla="*/ 3439 w 3561"/>
                  <a:gd name="T45" fmla="*/ 381 h 2590"/>
                  <a:gd name="T46" fmla="*/ 3493 w 3561"/>
                  <a:gd name="T47" fmla="*/ 412 h 2590"/>
                  <a:gd name="T48" fmla="*/ 3534 w 3561"/>
                  <a:gd name="T49" fmla="*/ 459 h 2590"/>
                  <a:gd name="T50" fmla="*/ 3558 w 3561"/>
                  <a:gd name="T51" fmla="*/ 517 h 2590"/>
                  <a:gd name="T52" fmla="*/ 3559 w 3561"/>
                  <a:gd name="T53" fmla="*/ 581 h 2590"/>
                  <a:gd name="T54" fmla="*/ 3367 w 3561"/>
                  <a:gd name="T55" fmla="*/ 1909 h 2590"/>
                  <a:gd name="T56" fmla="*/ 3336 w 3561"/>
                  <a:gd name="T57" fmla="*/ 1967 h 2590"/>
                  <a:gd name="T58" fmla="*/ 3286 w 3561"/>
                  <a:gd name="T59" fmla="*/ 2009 h 2590"/>
                  <a:gd name="T60" fmla="*/ 3226 w 3561"/>
                  <a:gd name="T61" fmla="*/ 2032 h 2590"/>
                  <a:gd name="T62" fmla="*/ 1098 w 3561"/>
                  <a:gd name="T63" fmla="*/ 2035 h 2590"/>
                  <a:gd name="T64" fmla="*/ 3006 w 3561"/>
                  <a:gd name="T65" fmla="*/ 2220 h 2590"/>
                  <a:gd name="T66" fmla="*/ 3071 w 3561"/>
                  <a:gd name="T67" fmla="*/ 2231 h 2590"/>
                  <a:gd name="T68" fmla="*/ 3126 w 3561"/>
                  <a:gd name="T69" fmla="*/ 2264 h 2590"/>
                  <a:gd name="T70" fmla="*/ 3166 w 3561"/>
                  <a:gd name="T71" fmla="*/ 2311 h 2590"/>
                  <a:gd name="T72" fmla="*/ 3189 w 3561"/>
                  <a:gd name="T73" fmla="*/ 2371 h 2590"/>
                  <a:gd name="T74" fmla="*/ 3189 w 3561"/>
                  <a:gd name="T75" fmla="*/ 2438 h 2590"/>
                  <a:gd name="T76" fmla="*/ 3166 w 3561"/>
                  <a:gd name="T77" fmla="*/ 2498 h 2590"/>
                  <a:gd name="T78" fmla="*/ 3126 w 3561"/>
                  <a:gd name="T79" fmla="*/ 2546 h 2590"/>
                  <a:gd name="T80" fmla="*/ 3071 w 3561"/>
                  <a:gd name="T81" fmla="*/ 2578 h 2590"/>
                  <a:gd name="T82" fmla="*/ 3006 w 3561"/>
                  <a:gd name="T83" fmla="*/ 2590 h 2590"/>
                  <a:gd name="T84" fmla="*/ 947 w 3561"/>
                  <a:gd name="T85" fmla="*/ 2588 h 2590"/>
                  <a:gd name="T86" fmla="*/ 904 w 3561"/>
                  <a:gd name="T87" fmla="*/ 2577 h 2590"/>
                  <a:gd name="T88" fmla="*/ 882 w 3561"/>
                  <a:gd name="T89" fmla="*/ 2564 h 2590"/>
                  <a:gd name="T90" fmla="*/ 847 w 3561"/>
                  <a:gd name="T91" fmla="*/ 2540 h 2590"/>
                  <a:gd name="T92" fmla="*/ 830 w 3561"/>
                  <a:gd name="T93" fmla="*/ 2519 h 2590"/>
                  <a:gd name="T94" fmla="*/ 806 w 3561"/>
                  <a:gd name="T95" fmla="*/ 2486 h 2590"/>
                  <a:gd name="T96" fmla="*/ 797 w 3561"/>
                  <a:gd name="T97" fmla="*/ 2458 h 2590"/>
                  <a:gd name="T98" fmla="*/ 788 w 3561"/>
                  <a:gd name="T99" fmla="*/ 2435 h 2590"/>
                  <a:gd name="T100" fmla="*/ 185 w 3561"/>
                  <a:gd name="T101" fmla="*/ 370 h 2590"/>
                  <a:gd name="T102" fmla="*/ 121 w 3561"/>
                  <a:gd name="T103" fmla="*/ 359 h 2590"/>
                  <a:gd name="T104" fmla="*/ 66 w 3561"/>
                  <a:gd name="T105" fmla="*/ 326 h 2590"/>
                  <a:gd name="T106" fmla="*/ 26 w 3561"/>
                  <a:gd name="T107" fmla="*/ 278 h 2590"/>
                  <a:gd name="T108" fmla="*/ 3 w 3561"/>
                  <a:gd name="T109" fmla="*/ 219 h 2590"/>
                  <a:gd name="T110" fmla="*/ 3 w 3561"/>
                  <a:gd name="T111" fmla="*/ 151 h 2590"/>
                  <a:gd name="T112" fmla="*/ 26 w 3561"/>
                  <a:gd name="T113" fmla="*/ 92 h 2590"/>
                  <a:gd name="T114" fmla="*/ 66 w 3561"/>
                  <a:gd name="T115" fmla="*/ 44 h 2590"/>
                  <a:gd name="T116" fmla="*/ 121 w 3561"/>
                  <a:gd name="T117" fmla="*/ 11 h 2590"/>
                  <a:gd name="T118" fmla="*/ 185 w 3561"/>
                  <a:gd name="T119" fmla="*/ 0 h 2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561" h="2590">
                    <a:moveTo>
                      <a:pt x="2452" y="1295"/>
                    </a:moveTo>
                    <a:lnTo>
                      <a:pt x="2452" y="1665"/>
                    </a:lnTo>
                    <a:lnTo>
                      <a:pt x="3031" y="1665"/>
                    </a:lnTo>
                    <a:lnTo>
                      <a:pt x="3084" y="1295"/>
                    </a:lnTo>
                    <a:lnTo>
                      <a:pt x="2452" y="1295"/>
                    </a:lnTo>
                    <a:close/>
                    <a:moveTo>
                      <a:pt x="1711" y="1295"/>
                    </a:moveTo>
                    <a:lnTo>
                      <a:pt x="1711" y="1665"/>
                    </a:lnTo>
                    <a:lnTo>
                      <a:pt x="2266" y="1665"/>
                    </a:lnTo>
                    <a:lnTo>
                      <a:pt x="2266" y="1295"/>
                    </a:lnTo>
                    <a:lnTo>
                      <a:pt x="1711" y="1295"/>
                    </a:lnTo>
                    <a:close/>
                    <a:moveTo>
                      <a:pt x="974" y="1295"/>
                    </a:moveTo>
                    <a:lnTo>
                      <a:pt x="1035" y="1665"/>
                    </a:lnTo>
                    <a:lnTo>
                      <a:pt x="1527" y="1665"/>
                    </a:lnTo>
                    <a:lnTo>
                      <a:pt x="1527" y="1295"/>
                    </a:lnTo>
                    <a:lnTo>
                      <a:pt x="974" y="1295"/>
                    </a:lnTo>
                    <a:close/>
                    <a:moveTo>
                      <a:pt x="2452" y="740"/>
                    </a:moveTo>
                    <a:lnTo>
                      <a:pt x="2452" y="1110"/>
                    </a:lnTo>
                    <a:lnTo>
                      <a:pt x="3110" y="1110"/>
                    </a:lnTo>
                    <a:lnTo>
                      <a:pt x="3163" y="740"/>
                    </a:lnTo>
                    <a:lnTo>
                      <a:pt x="2452" y="740"/>
                    </a:lnTo>
                    <a:close/>
                    <a:moveTo>
                      <a:pt x="1711" y="740"/>
                    </a:moveTo>
                    <a:lnTo>
                      <a:pt x="1711" y="1110"/>
                    </a:lnTo>
                    <a:lnTo>
                      <a:pt x="2266" y="1110"/>
                    </a:lnTo>
                    <a:lnTo>
                      <a:pt x="2266" y="740"/>
                    </a:lnTo>
                    <a:lnTo>
                      <a:pt x="1711" y="740"/>
                    </a:lnTo>
                    <a:close/>
                    <a:moveTo>
                      <a:pt x="881" y="740"/>
                    </a:moveTo>
                    <a:lnTo>
                      <a:pt x="944" y="1116"/>
                    </a:lnTo>
                    <a:lnTo>
                      <a:pt x="958" y="1111"/>
                    </a:lnTo>
                    <a:lnTo>
                      <a:pt x="971" y="1110"/>
                    </a:lnTo>
                    <a:lnTo>
                      <a:pt x="1527" y="1110"/>
                    </a:lnTo>
                    <a:lnTo>
                      <a:pt x="1527" y="740"/>
                    </a:lnTo>
                    <a:lnTo>
                      <a:pt x="881" y="740"/>
                    </a:lnTo>
                    <a:close/>
                    <a:moveTo>
                      <a:pt x="185" y="0"/>
                    </a:moveTo>
                    <a:lnTo>
                      <a:pt x="602" y="0"/>
                    </a:lnTo>
                    <a:lnTo>
                      <a:pt x="635" y="2"/>
                    </a:lnTo>
                    <a:lnTo>
                      <a:pt x="666" y="11"/>
                    </a:lnTo>
                    <a:lnTo>
                      <a:pt x="695" y="25"/>
                    </a:lnTo>
                    <a:lnTo>
                      <a:pt x="721" y="44"/>
                    </a:lnTo>
                    <a:lnTo>
                      <a:pt x="743" y="66"/>
                    </a:lnTo>
                    <a:lnTo>
                      <a:pt x="761" y="92"/>
                    </a:lnTo>
                    <a:lnTo>
                      <a:pt x="776" y="122"/>
                    </a:lnTo>
                    <a:lnTo>
                      <a:pt x="784" y="155"/>
                    </a:lnTo>
                    <a:lnTo>
                      <a:pt x="820" y="370"/>
                    </a:lnTo>
                    <a:lnTo>
                      <a:pt x="3377" y="370"/>
                    </a:lnTo>
                    <a:lnTo>
                      <a:pt x="3408" y="373"/>
                    </a:lnTo>
                    <a:lnTo>
                      <a:pt x="3439" y="381"/>
                    </a:lnTo>
                    <a:lnTo>
                      <a:pt x="3467" y="394"/>
                    </a:lnTo>
                    <a:lnTo>
                      <a:pt x="3493" y="412"/>
                    </a:lnTo>
                    <a:lnTo>
                      <a:pt x="3516" y="433"/>
                    </a:lnTo>
                    <a:lnTo>
                      <a:pt x="3534" y="459"/>
                    </a:lnTo>
                    <a:lnTo>
                      <a:pt x="3549" y="488"/>
                    </a:lnTo>
                    <a:lnTo>
                      <a:pt x="3558" y="517"/>
                    </a:lnTo>
                    <a:lnTo>
                      <a:pt x="3561" y="548"/>
                    </a:lnTo>
                    <a:lnTo>
                      <a:pt x="3559" y="581"/>
                    </a:lnTo>
                    <a:lnTo>
                      <a:pt x="3375" y="1876"/>
                    </a:lnTo>
                    <a:lnTo>
                      <a:pt x="3367" y="1909"/>
                    </a:lnTo>
                    <a:lnTo>
                      <a:pt x="3354" y="1940"/>
                    </a:lnTo>
                    <a:lnTo>
                      <a:pt x="3336" y="1967"/>
                    </a:lnTo>
                    <a:lnTo>
                      <a:pt x="3312" y="1990"/>
                    </a:lnTo>
                    <a:lnTo>
                      <a:pt x="3286" y="2009"/>
                    </a:lnTo>
                    <a:lnTo>
                      <a:pt x="3257" y="2023"/>
                    </a:lnTo>
                    <a:lnTo>
                      <a:pt x="3226" y="2032"/>
                    </a:lnTo>
                    <a:lnTo>
                      <a:pt x="3191" y="2035"/>
                    </a:lnTo>
                    <a:lnTo>
                      <a:pt x="1098" y="2035"/>
                    </a:lnTo>
                    <a:lnTo>
                      <a:pt x="1128" y="2220"/>
                    </a:lnTo>
                    <a:lnTo>
                      <a:pt x="3006" y="2220"/>
                    </a:lnTo>
                    <a:lnTo>
                      <a:pt x="3040" y="2223"/>
                    </a:lnTo>
                    <a:lnTo>
                      <a:pt x="3071" y="2231"/>
                    </a:lnTo>
                    <a:lnTo>
                      <a:pt x="3100" y="2246"/>
                    </a:lnTo>
                    <a:lnTo>
                      <a:pt x="3126" y="2264"/>
                    </a:lnTo>
                    <a:lnTo>
                      <a:pt x="3148" y="2285"/>
                    </a:lnTo>
                    <a:lnTo>
                      <a:pt x="3166" y="2311"/>
                    </a:lnTo>
                    <a:lnTo>
                      <a:pt x="3180" y="2340"/>
                    </a:lnTo>
                    <a:lnTo>
                      <a:pt x="3189" y="2371"/>
                    </a:lnTo>
                    <a:lnTo>
                      <a:pt x="3191" y="2404"/>
                    </a:lnTo>
                    <a:lnTo>
                      <a:pt x="3189" y="2438"/>
                    </a:lnTo>
                    <a:lnTo>
                      <a:pt x="3180" y="2469"/>
                    </a:lnTo>
                    <a:lnTo>
                      <a:pt x="3166" y="2498"/>
                    </a:lnTo>
                    <a:lnTo>
                      <a:pt x="3148" y="2524"/>
                    </a:lnTo>
                    <a:lnTo>
                      <a:pt x="3126" y="2546"/>
                    </a:lnTo>
                    <a:lnTo>
                      <a:pt x="3100" y="2564"/>
                    </a:lnTo>
                    <a:lnTo>
                      <a:pt x="3071" y="2578"/>
                    </a:lnTo>
                    <a:lnTo>
                      <a:pt x="3040" y="2587"/>
                    </a:lnTo>
                    <a:lnTo>
                      <a:pt x="3006" y="2590"/>
                    </a:lnTo>
                    <a:lnTo>
                      <a:pt x="971" y="2590"/>
                    </a:lnTo>
                    <a:lnTo>
                      <a:pt x="947" y="2588"/>
                    </a:lnTo>
                    <a:lnTo>
                      <a:pt x="925" y="2583"/>
                    </a:lnTo>
                    <a:lnTo>
                      <a:pt x="904" y="2577"/>
                    </a:lnTo>
                    <a:lnTo>
                      <a:pt x="892" y="2571"/>
                    </a:lnTo>
                    <a:lnTo>
                      <a:pt x="882" y="2564"/>
                    </a:lnTo>
                    <a:lnTo>
                      <a:pt x="863" y="2553"/>
                    </a:lnTo>
                    <a:lnTo>
                      <a:pt x="847" y="2540"/>
                    </a:lnTo>
                    <a:lnTo>
                      <a:pt x="838" y="2529"/>
                    </a:lnTo>
                    <a:lnTo>
                      <a:pt x="830" y="2519"/>
                    </a:lnTo>
                    <a:lnTo>
                      <a:pt x="817" y="2504"/>
                    </a:lnTo>
                    <a:lnTo>
                      <a:pt x="806" y="2486"/>
                    </a:lnTo>
                    <a:lnTo>
                      <a:pt x="802" y="2472"/>
                    </a:lnTo>
                    <a:lnTo>
                      <a:pt x="797" y="2458"/>
                    </a:lnTo>
                    <a:lnTo>
                      <a:pt x="793" y="2447"/>
                    </a:lnTo>
                    <a:lnTo>
                      <a:pt x="788" y="2435"/>
                    </a:lnTo>
                    <a:lnTo>
                      <a:pt x="444" y="370"/>
                    </a:lnTo>
                    <a:lnTo>
                      <a:pt x="185" y="370"/>
                    </a:lnTo>
                    <a:lnTo>
                      <a:pt x="152" y="367"/>
                    </a:lnTo>
                    <a:lnTo>
                      <a:pt x="121" y="359"/>
                    </a:lnTo>
                    <a:lnTo>
                      <a:pt x="92" y="345"/>
                    </a:lnTo>
                    <a:lnTo>
                      <a:pt x="66" y="326"/>
                    </a:lnTo>
                    <a:lnTo>
                      <a:pt x="44" y="304"/>
                    </a:lnTo>
                    <a:lnTo>
                      <a:pt x="26" y="278"/>
                    </a:lnTo>
                    <a:lnTo>
                      <a:pt x="11" y="249"/>
                    </a:lnTo>
                    <a:lnTo>
                      <a:pt x="3" y="219"/>
                    </a:lnTo>
                    <a:lnTo>
                      <a:pt x="0" y="185"/>
                    </a:lnTo>
                    <a:lnTo>
                      <a:pt x="3" y="151"/>
                    </a:lnTo>
                    <a:lnTo>
                      <a:pt x="11" y="120"/>
                    </a:lnTo>
                    <a:lnTo>
                      <a:pt x="26" y="92"/>
                    </a:lnTo>
                    <a:lnTo>
                      <a:pt x="44" y="66"/>
                    </a:lnTo>
                    <a:lnTo>
                      <a:pt x="66" y="44"/>
                    </a:lnTo>
                    <a:lnTo>
                      <a:pt x="92" y="25"/>
                    </a:lnTo>
                    <a:lnTo>
                      <a:pt x="121" y="11"/>
                    </a:lnTo>
                    <a:lnTo>
                      <a:pt x="152" y="2"/>
                    </a:lnTo>
                    <a:lnTo>
                      <a:pt x="185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8" name="Freeform 20"/>
              <p:cNvSpPr>
                <a:spLocks/>
              </p:cNvSpPr>
              <p:nvPr/>
            </p:nvSpPr>
            <p:spPr bwMode="auto">
              <a:xfrm>
                <a:off x="6738" y="4163"/>
                <a:ext cx="111" cy="111"/>
              </a:xfrm>
              <a:custGeom>
                <a:avLst/>
                <a:gdLst>
                  <a:gd name="T0" fmla="*/ 277 w 556"/>
                  <a:gd name="T1" fmla="*/ 0 h 554"/>
                  <a:gd name="T2" fmla="*/ 318 w 556"/>
                  <a:gd name="T3" fmla="*/ 2 h 554"/>
                  <a:gd name="T4" fmla="*/ 358 w 556"/>
                  <a:gd name="T5" fmla="*/ 11 h 554"/>
                  <a:gd name="T6" fmla="*/ 395 w 556"/>
                  <a:gd name="T7" fmla="*/ 26 h 554"/>
                  <a:gd name="T8" fmla="*/ 428 w 556"/>
                  <a:gd name="T9" fmla="*/ 45 h 554"/>
                  <a:gd name="T10" fmla="*/ 460 w 556"/>
                  <a:gd name="T11" fmla="*/ 68 h 554"/>
                  <a:gd name="T12" fmla="*/ 488 w 556"/>
                  <a:gd name="T13" fmla="*/ 95 h 554"/>
                  <a:gd name="T14" fmla="*/ 511 w 556"/>
                  <a:gd name="T15" fmla="*/ 127 h 554"/>
                  <a:gd name="T16" fmla="*/ 530 w 556"/>
                  <a:gd name="T17" fmla="*/ 160 h 554"/>
                  <a:gd name="T18" fmla="*/ 544 w 556"/>
                  <a:gd name="T19" fmla="*/ 197 h 554"/>
                  <a:gd name="T20" fmla="*/ 553 w 556"/>
                  <a:gd name="T21" fmla="*/ 237 h 554"/>
                  <a:gd name="T22" fmla="*/ 556 w 556"/>
                  <a:gd name="T23" fmla="*/ 277 h 554"/>
                  <a:gd name="T24" fmla="*/ 553 w 556"/>
                  <a:gd name="T25" fmla="*/ 318 h 554"/>
                  <a:gd name="T26" fmla="*/ 544 w 556"/>
                  <a:gd name="T27" fmla="*/ 358 h 554"/>
                  <a:gd name="T28" fmla="*/ 530 w 556"/>
                  <a:gd name="T29" fmla="*/ 394 h 554"/>
                  <a:gd name="T30" fmla="*/ 511 w 556"/>
                  <a:gd name="T31" fmla="*/ 428 h 554"/>
                  <a:gd name="T32" fmla="*/ 488 w 556"/>
                  <a:gd name="T33" fmla="*/ 459 h 554"/>
                  <a:gd name="T34" fmla="*/ 460 w 556"/>
                  <a:gd name="T35" fmla="*/ 487 h 554"/>
                  <a:gd name="T36" fmla="*/ 428 w 556"/>
                  <a:gd name="T37" fmla="*/ 510 h 554"/>
                  <a:gd name="T38" fmla="*/ 395 w 556"/>
                  <a:gd name="T39" fmla="*/ 528 h 554"/>
                  <a:gd name="T40" fmla="*/ 358 w 556"/>
                  <a:gd name="T41" fmla="*/ 543 h 554"/>
                  <a:gd name="T42" fmla="*/ 318 w 556"/>
                  <a:gd name="T43" fmla="*/ 552 h 554"/>
                  <a:gd name="T44" fmla="*/ 277 w 556"/>
                  <a:gd name="T45" fmla="*/ 554 h 554"/>
                  <a:gd name="T46" fmla="*/ 237 w 556"/>
                  <a:gd name="T47" fmla="*/ 552 h 554"/>
                  <a:gd name="T48" fmla="*/ 197 w 556"/>
                  <a:gd name="T49" fmla="*/ 543 h 554"/>
                  <a:gd name="T50" fmla="*/ 160 w 556"/>
                  <a:gd name="T51" fmla="*/ 528 h 554"/>
                  <a:gd name="T52" fmla="*/ 127 w 556"/>
                  <a:gd name="T53" fmla="*/ 510 h 554"/>
                  <a:gd name="T54" fmla="*/ 95 w 556"/>
                  <a:gd name="T55" fmla="*/ 487 h 554"/>
                  <a:gd name="T56" fmla="*/ 68 w 556"/>
                  <a:gd name="T57" fmla="*/ 459 h 554"/>
                  <a:gd name="T58" fmla="*/ 45 w 556"/>
                  <a:gd name="T59" fmla="*/ 428 h 554"/>
                  <a:gd name="T60" fmla="*/ 26 w 556"/>
                  <a:gd name="T61" fmla="*/ 394 h 554"/>
                  <a:gd name="T62" fmla="*/ 12 w 556"/>
                  <a:gd name="T63" fmla="*/ 358 h 554"/>
                  <a:gd name="T64" fmla="*/ 3 w 556"/>
                  <a:gd name="T65" fmla="*/ 318 h 554"/>
                  <a:gd name="T66" fmla="*/ 0 w 556"/>
                  <a:gd name="T67" fmla="*/ 277 h 554"/>
                  <a:gd name="T68" fmla="*/ 3 w 556"/>
                  <a:gd name="T69" fmla="*/ 237 h 554"/>
                  <a:gd name="T70" fmla="*/ 12 w 556"/>
                  <a:gd name="T71" fmla="*/ 197 h 554"/>
                  <a:gd name="T72" fmla="*/ 26 w 556"/>
                  <a:gd name="T73" fmla="*/ 160 h 554"/>
                  <a:gd name="T74" fmla="*/ 45 w 556"/>
                  <a:gd name="T75" fmla="*/ 127 h 554"/>
                  <a:gd name="T76" fmla="*/ 68 w 556"/>
                  <a:gd name="T77" fmla="*/ 95 h 554"/>
                  <a:gd name="T78" fmla="*/ 95 w 556"/>
                  <a:gd name="T79" fmla="*/ 68 h 554"/>
                  <a:gd name="T80" fmla="*/ 127 w 556"/>
                  <a:gd name="T81" fmla="*/ 45 h 554"/>
                  <a:gd name="T82" fmla="*/ 160 w 556"/>
                  <a:gd name="T83" fmla="*/ 26 h 554"/>
                  <a:gd name="T84" fmla="*/ 197 w 556"/>
                  <a:gd name="T85" fmla="*/ 11 h 554"/>
                  <a:gd name="T86" fmla="*/ 237 w 556"/>
                  <a:gd name="T87" fmla="*/ 2 h 554"/>
                  <a:gd name="T88" fmla="*/ 277 w 556"/>
                  <a:gd name="T89" fmla="*/ 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56" h="554">
                    <a:moveTo>
                      <a:pt x="277" y="0"/>
                    </a:moveTo>
                    <a:lnTo>
                      <a:pt x="318" y="2"/>
                    </a:lnTo>
                    <a:lnTo>
                      <a:pt x="358" y="11"/>
                    </a:lnTo>
                    <a:lnTo>
                      <a:pt x="395" y="26"/>
                    </a:lnTo>
                    <a:lnTo>
                      <a:pt x="428" y="45"/>
                    </a:lnTo>
                    <a:lnTo>
                      <a:pt x="460" y="68"/>
                    </a:lnTo>
                    <a:lnTo>
                      <a:pt x="488" y="95"/>
                    </a:lnTo>
                    <a:lnTo>
                      <a:pt x="511" y="127"/>
                    </a:lnTo>
                    <a:lnTo>
                      <a:pt x="530" y="160"/>
                    </a:lnTo>
                    <a:lnTo>
                      <a:pt x="544" y="197"/>
                    </a:lnTo>
                    <a:lnTo>
                      <a:pt x="553" y="237"/>
                    </a:lnTo>
                    <a:lnTo>
                      <a:pt x="556" y="277"/>
                    </a:lnTo>
                    <a:lnTo>
                      <a:pt x="553" y="318"/>
                    </a:lnTo>
                    <a:lnTo>
                      <a:pt x="544" y="358"/>
                    </a:lnTo>
                    <a:lnTo>
                      <a:pt x="530" y="394"/>
                    </a:lnTo>
                    <a:lnTo>
                      <a:pt x="511" y="428"/>
                    </a:lnTo>
                    <a:lnTo>
                      <a:pt x="488" y="459"/>
                    </a:lnTo>
                    <a:lnTo>
                      <a:pt x="460" y="487"/>
                    </a:lnTo>
                    <a:lnTo>
                      <a:pt x="428" y="510"/>
                    </a:lnTo>
                    <a:lnTo>
                      <a:pt x="395" y="528"/>
                    </a:lnTo>
                    <a:lnTo>
                      <a:pt x="358" y="543"/>
                    </a:lnTo>
                    <a:lnTo>
                      <a:pt x="318" y="552"/>
                    </a:lnTo>
                    <a:lnTo>
                      <a:pt x="277" y="554"/>
                    </a:lnTo>
                    <a:lnTo>
                      <a:pt x="237" y="552"/>
                    </a:lnTo>
                    <a:lnTo>
                      <a:pt x="197" y="543"/>
                    </a:lnTo>
                    <a:lnTo>
                      <a:pt x="160" y="528"/>
                    </a:lnTo>
                    <a:lnTo>
                      <a:pt x="127" y="510"/>
                    </a:lnTo>
                    <a:lnTo>
                      <a:pt x="95" y="487"/>
                    </a:lnTo>
                    <a:lnTo>
                      <a:pt x="68" y="459"/>
                    </a:lnTo>
                    <a:lnTo>
                      <a:pt x="45" y="428"/>
                    </a:lnTo>
                    <a:lnTo>
                      <a:pt x="26" y="394"/>
                    </a:lnTo>
                    <a:lnTo>
                      <a:pt x="12" y="358"/>
                    </a:lnTo>
                    <a:lnTo>
                      <a:pt x="3" y="318"/>
                    </a:lnTo>
                    <a:lnTo>
                      <a:pt x="0" y="277"/>
                    </a:lnTo>
                    <a:lnTo>
                      <a:pt x="3" y="237"/>
                    </a:lnTo>
                    <a:lnTo>
                      <a:pt x="12" y="197"/>
                    </a:lnTo>
                    <a:lnTo>
                      <a:pt x="26" y="160"/>
                    </a:lnTo>
                    <a:lnTo>
                      <a:pt x="45" y="127"/>
                    </a:lnTo>
                    <a:lnTo>
                      <a:pt x="68" y="95"/>
                    </a:lnTo>
                    <a:lnTo>
                      <a:pt x="95" y="68"/>
                    </a:lnTo>
                    <a:lnTo>
                      <a:pt x="127" y="45"/>
                    </a:lnTo>
                    <a:lnTo>
                      <a:pt x="160" y="26"/>
                    </a:lnTo>
                    <a:lnTo>
                      <a:pt x="197" y="11"/>
                    </a:lnTo>
                    <a:lnTo>
                      <a:pt x="237" y="2"/>
                    </a:lnTo>
                    <a:lnTo>
                      <a:pt x="277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9" name="Freeform 21"/>
              <p:cNvSpPr>
                <a:spLocks/>
              </p:cNvSpPr>
              <p:nvPr/>
            </p:nvSpPr>
            <p:spPr bwMode="auto">
              <a:xfrm>
                <a:off x="7071" y="4163"/>
                <a:ext cx="111" cy="111"/>
              </a:xfrm>
              <a:custGeom>
                <a:avLst/>
                <a:gdLst>
                  <a:gd name="T0" fmla="*/ 278 w 555"/>
                  <a:gd name="T1" fmla="*/ 0 h 554"/>
                  <a:gd name="T2" fmla="*/ 320 w 555"/>
                  <a:gd name="T3" fmla="*/ 2 h 554"/>
                  <a:gd name="T4" fmla="*/ 358 w 555"/>
                  <a:gd name="T5" fmla="*/ 11 h 554"/>
                  <a:gd name="T6" fmla="*/ 395 w 555"/>
                  <a:gd name="T7" fmla="*/ 26 h 554"/>
                  <a:gd name="T8" fmla="*/ 429 w 555"/>
                  <a:gd name="T9" fmla="*/ 45 h 554"/>
                  <a:gd name="T10" fmla="*/ 460 w 555"/>
                  <a:gd name="T11" fmla="*/ 68 h 554"/>
                  <a:gd name="T12" fmla="*/ 488 w 555"/>
                  <a:gd name="T13" fmla="*/ 95 h 554"/>
                  <a:gd name="T14" fmla="*/ 511 w 555"/>
                  <a:gd name="T15" fmla="*/ 127 h 554"/>
                  <a:gd name="T16" fmla="*/ 529 w 555"/>
                  <a:gd name="T17" fmla="*/ 160 h 554"/>
                  <a:gd name="T18" fmla="*/ 544 w 555"/>
                  <a:gd name="T19" fmla="*/ 197 h 554"/>
                  <a:gd name="T20" fmla="*/ 553 w 555"/>
                  <a:gd name="T21" fmla="*/ 237 h 554"/>
                  <a:gd name="T22" fmla="*/ 555 w 555"/>
                  <a:gd name="T23" fmla="*/ 277 h 554"/>
                  <a:gd name="T24" fmla="*/ 553 w 555"/>
                  <a:gd name="T25" fmla="*/ 318 h 554"/>
                  <a:gd name="T26" fmla="*/ 544 w 555"/>
                  <a:gd name="T27" fmla="*/ 358 h 554"/>
                  <a:gd name="T28" fmla="*/ 529 w 555"/>
                  <a:gd name="T29" fmla="*/ 394 h 554"/>
                  <a:gd name="T30" fmla="*/ 511 w 555"/>
                  <a:gd name="T31" fmla="*/ 428 h 554"/>
                  <a:gd name="T32" fmla="*/ 488 w 555"/>
                  <a:gd name="T33" fmla="*/ 459 h 554"/>
                  <a:gd name="T34" fmla="*/ 460 w 555"/>
                  <a:gd name="T35" fmla="*/ 487 h 554"/>
                  <a:gd name="T36" fmla="*/ 429 w 555"/>
                  <a:gd name="T37" fmla="*/ 510 h 554"/>
                  <a:gd name="T38" fmla="*/ 395 w 555"/>
                  <a:gd name="T39" fmla="*/ 528 h 554"/>
                  <a:gd name="T40" fmla="*/ 358 w 555"/>
                  <a:gd name="T41" fmla="*/ 543 h 554"/>
                  <a:gd name="T42" fmla="*/ 320 w 555"/>
                  <a:gd name="T43" fmla="*/ 552 h 554"/>
                  <a:gd name="T44" fmla="*/ 278 w 555"/>
                  <a:gd name="T45" fmla="*/ 554 h 554"/>
                  <a:gd name="T46" fmla="*/ 238 w 555"/>
                  <a:gd name="T47" fmla="*/ 552 h 554"/>
                  <a:gd name="T48" fmla="*/ 198 w 555"/>
                  <a:gd name="T49" fmla="*/ 543 h 554"/>
                  <a:gd name="T50" fmla="*/ 161 w 555"/>
                  <a:gd name="T51" fmla="*/ 528 h 554"/>
                  <a:gd name="T52" fmla="*/ 127 w 555"/>
                  <a:gd name="T53" fmla="*/ 510 h 554"/>
                  <a:gd name="T54" fmla="*/ 95 w 555"/>
                  <a:gd name="T55" fmla="*/ 487 h 554"/>
                  <a:gd name="T56" fmla="*/ 68 w 555"/>
                  <a:gd name="T57" fmla="*/ 459 h 554"/>
                  <a:gd name="T58" fmla="*/ 45 w 555"/>
                  <a:gd name="T59" fmla="*/ 428 h 554"/>
                  <a:gd name="T60" fmla="*/ 26 w 555"/>
                  <a:gd name="T61" fmla="*/ 394 h 554"/>
                  <a:gd name="T62" fmla="*/ 11 w 555"/>
                  <a:gd name="T63" fmla="*/ 358 h 554"/>
                  <a:gd name="T64" fmla="*/ 3 w 555"/>
                  <a:gd name="T65" fmla="*/ 318 h 554"/>
                  <a:gd name="T66" fmla="*/ 0 w 555"/>
                  <a:gd name="T67" fmla="*/ 277 h 554"/>
                  <a:gd name="T68" fmla="*/ 3 w 555"/>
                  <a:gd name="T69" fmla="*/ 237 h 554"/>
                  <a:gd name="T70" fmla="*/ 11 w 555"/>
                  <a:gd name="T71" fmla="*/ 197 h 554"/>
                  <a:gd name="T72" fmla="*/ 26 w 555"/>
                  <a:gd name="T73" fmla="*/ 160 h 554"/>
                  <a:gd name="T74" fmla="*/ 45 w 555"/>
                  <a:gd name="T75" fmla="*/ 127 h 554"/>
                  <a:gd name="T76" fmla="*/ 68 w 555"/>
                  <a:gd name="T77" fmla="*/ 95 h 554"/>
                  <a:gd name="T78" fmla="*/ 95 w 555"/>
                  <a:gd name="T79" fmla="*/ 68 h 554"/>
                  <a:gd name="T80" fmla="*/ 127 w 555"/>
                  <a:gd name="T81" fmla="*/ 45 h 554"/>
                  <a:gd name="T82" fmla="*/ 161 w 555"/>
                  <a:gd name="T83" fmla="*/ 26 h 554"/>
                  <a:gd name="T84" fmla="*/ 198 w 555"/>
                  <a:gd name="T85" fmla="*/ 11 h 554"/>
                  <a:gd name="T86" fmla="*/ 238 w 555"/>
                  <a:gd name="T87" fmla="*/ 2 h 554"/>
                  <a:gd name="T88" fmla="*/ 278 w 555"/>
                  <a:gd name="T89" fmla="*/ 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55" h="554">
                    <a:moveTo>
                      <a:pt x="278" y="0"/>
                    </a:moveTo>
                    <a:lnTo>
                      <a:pt x="320" y="2"/>
                    </a:lnTo>
                    <a:lnTo>
                      <a:pt x="358" y="11"/>
                    </a:lnTo>
                    <a:lnTo>
                      <a:pt x="395" y="26"/>
                    </a:lnTo>
                    <a:lnTo>
                      <a:pt x="429" y="45"/>
                    </a:lnTo>
                    <a:lnTo>
                      <a:pt x="460" y="68"/>
                    </a:lnTo>
                    <a:lnTo>
                      <a:pt x="488" y="95"/>
                    </a:lnTo>
                    <a:lnTo>
                      <a:pt x="511" y="127"/>
                    </a:lnTo>
                    <a:lnTo>
                      <a:pt x="529" y="160"/>
                    </a:lnTo>
                    <a:lnTo>
                      <a:pt x="544" y="197"/>
                    </a:lnTo>
                    <a:lnTo>
                      <a:pt x="553" y="237"/>
                    </a:lnTo>
                    <a:lnTo>
                      <a:pt x="555" y="277"/>
                    </a:lnTo>
                    <a:lnTo>
                      <a:pt x="553" y="318"/>
                    </a:lnTo>
                    <a:lnTo>
                      <a:pt x="544" y="358"/>
                    </a:lnTo>
                    <a:lnTo>
                      <a:pt x="529" y="394"/>
                    </a:lnTo>
                    <a:lnTo>
                      <a:pt x="511" y="428"/>
                    </a:lnTo>
                    <a:lnTo>
                      <a:pt x="488" y="459"/>
                    </a:lnTo>
                    <a:lnTo>
                      <a:pt x="460" y="487"/>
                    </a:lnTo>
                    <a:lnTo>
                      <a:pt x="429" y="510"/>
                    </a:lnTo>
                    <a:lnTo>
                      <a:pt x="395" y="528"/>
                    </a:lnTo>
                    <a:lnTo>
                      <a:pt x="358" y="543"/>
                    </a:lnTo>
                    <a:lnTo>
                      <a:pt x="320" y="552"/>
                    </a:lnTo>
                    <a:lnTo>
                      <a:pt x="278" y="554"/>
                    </a:lnTo>
                    <a:lnTo>
                      <a:pt x="238" y="552"/>
                    </a:lnTo>
                    <a:lnTo>
                      <a:pt x="198" y="543"/>
                    </a:lnTo>
                    <a:lnTo>
                      <a:pt x="161" y="528"/>
                    </a:lnTo>
                    <a:lnTo>
                      <a:pt x="127" y="510"/>
                    </a:lnTo>
                    <a:lnTo>
                      <a:pt x="95" y="487"/>
                    </a:lnTo>
                    <a:lnTo>
                      <a:pt x="68" y="459"/>
                    </a:lnTo>
                    <a:lnTo>
                      <a:pt x="45" y="428"/>
                    </a:lnTo>
                    <a:lnTo>
                      <a:pt x="26" y="394"/>
                    </a:lnTo>
                    <a:lnTo>
                      <a:pt x="11" y="358"/>
                    </a:lnTo>
                    <a:lnTo>
                      <a:pt x="3" y="318"/>
                    </a:lnTo>
                    <a:lnTo>
                      <a:pt x="0" y="277"/>
                    </a:lnTo>
                    <a:lnTo>
                      <a:pt x="3" y="237"/>
                    </a:lnTo>
                    <a:lnTo>
                      <a:pt x="11" y="197"/>
                    </a:lnTo>
                    <a:lnTo>
                      <a:pt x="26" y="160"/>
                    </a:lnTo>
                    <a:lnTo>
                      <a:pt x="45" y="127"/>
                    </a:lnTo>
                    <a:lnTo>
                      <a:pt x="68" y="95"/>
                    </a:lnTo>
                    <a:lnTo>
                      <a:pt x="95" y="68"/>
                    </a:lnTo>
                    <a:lnTo>
                      <a:pt x="127" y="45"/>
                    </a:lnTo>
                    <a:lnTo>
                      <a:pt x="161" y="26"/>
                    </a:lnTo>
                    <a:lnTo>
                      <a:pt x="198" y="11"/>
                    </a:lnTo>
                    <a:lnTo>
                      <a:pt x="238" y="2"/>
                    </a:lnTo>
                    <a:lnTo>
                      <a:pt x="278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sp>
          <p:nvSpPr>
            <p:cNvPr id="100" name="Freeform 5004"/>
            <p:cNvSpPr>
              <a:spLocks noEditPoints="1"/>
            </p:cNvSpPr>
            <p:nvPr/>
          </p:nvSpPr>
          <p:spPr bwMode="auto">
            <a:xfrm>
              <a:off x="6987320" y="5006631"/>
              <a:ext cx="697993" cy="1184091"/>
            </a:xfrm>
            <a:custGeom>
              <a:avLst/>
              <a:gdLst>
                <a:gd name="T0" fmla="*/ 146 w 224"/>
                <a:gd name="T1" fmla="*/ 78 h 380"/>
                <a:gd name="T2" fmla="*/ 176 w 224"/>
                <a:gd name="T3" fmla="*/ 76 h 380"/>
                <a:gd name="T4" fmla="*/ 180 w 224"/>
                <a:gd name="T5" fmla="*/ 104 h 380"/>
                <a:gd name="T6" fmla="*/ 152 w 224"/>
                <a:gd name="T7" fmla="*/ 112 h 380"/>
                <a:gd name="T8" fmla="*/ 144 w 224"/>
                <a:gd name="T9" fmla="*/ 104 h 380"/>
                <a:gd name="T10" fmla="*/ 176 w 224"/>
                <a:gd name="T11" fmla="*/ 162 h 380"/>
                <a:gd name="T12" fmla="*/ 180 w 224"/>
                <a:gd name="T13" fmla="*/ 134 h 380"/>
                <a:gd name="T14" fmla="*/ 152 w 224"/>
                <a:gd name="T15" fmla="*/ 126 h 380"/>
                <a:gd name="T16" fmla="*/ 144 w 224"/>
                <a:gd name="T17" fmla="*/ 134 h 380"/>
                <a:gd name="T18" fmla="*/ 148 w 224"/>
                <a:gd name="T19" fmla="*/ 162 h 380"/>
                <a:gd name="T20" fmla="*/ 224 w 224"/>
                <a:gd name="T21" fmla="*/ 352 h 380"/>
                <a:gd name="T22" fmla="*/ 28 w 224"/>
                <a:gd name="T23" fmla="*/ 380 h 380"/>
                <a:gd name="T24" fmla="*/ 0 w 224"/>
                <a:gd name="T25" fmla="*/ 352 h 380"/>
                <a:gd name="T26" fmla="*/ 16 w 224"/>
                <a:gd name="T27" fmla="*/ 2 h 380"/>
                <a:gd name="T28" fmla="*/ 216 w 224"/>
                <a:gd name="T29" fmla="*/ 8 h 380"/>
                <a:gd name="T30" fmla="*/ 86 w 224"/>
                <a:gd name="T31" fmla="*/ 34 h 380"/>
                <a:gd name="T32" fmla="*/ 130 w 224"/>
                <a:gd name="T33" fmla="*/ 42 h 380"/>
                <a:gd name="T34" fmla="*/ 138 w 224"/>
                <a:gd name="T35" fmla="*/ 34 h 380"/>
                <a:gd name="T36" fmla="*/ 130 w 224"/>
                <a:gd name="T37" fmla="*/ 26 h 380"/>
                <a:gd name="T38" fmla="*/ 86 w 224"/>
                <a:gd name="T39" fmla="*/ 32 h 380"/>
                <a:gd name="T40" fmla="*/ 130 w 224"/>
                <a:gd name="T41" fmla="*/ 336 h 380"/>
                <a:gd name="T42" fmla="*/ 104 w 224"/>
                <a:gd name="T43" fmla="*/ 326 h 380"/>
                <a:gd name="T44" fmla="*/ 94 w 224"/>
                <a:gd name="T45" fmla="*/ 350 h 380"/>
                <a:gd name="T46" fmla="*/ 120 w 224"/>
                <a:gd name="T47" fmla="*/ 360 h 380"/>
                <a:gd name="T48" fmla="*/ 196 w 224"/>
                <a:gd name="T49" fmla="*/ 60 h 380"/>
                <a:gd name="T50" fmla="*/ 102 w 224"/>
                <a:gd name="T51" fmla="*/ 112 h 380"/>
                <a:gd name="T52" fmla="*/ 130 w 224"/>
                <a:gd name="T53" fmla="*/ 108 h 380"/>
                <a:gd name="T54" fmla="*/ 128 w 224"/>
                <a:gd name="T55" fmla="*/ 78 h 380"/>
                <a:gd name="T56" fmla="*/ 98 w 224"/>
                <a:gd name="T57" fmla="*/ 76 h 380"/>
                <a:gd name="T58" fmla="*/ 94 w 224"/>
                <a:gd name="T59" fmla="*/ 104 h 380"/>
                <a:gd name="T60" fmla="*/ 102 w 224"/>
                <a:gd name="T61" fmla="*/ 112 h 380"/>
                <a:gd name="T62" fmla="*/ 136 w 224"/>
                <a:gd name="T63" fmla="*/ 226 h 380"/>
                <a:gd name="T64" fmla="*/ 136 w 224"/>
                <a:gd name="T65" fmla="*/ 216 h 380"/>
                <a:gd name="T66" fmla="*/ 48 w 224"/>
                <a:gd name="T67" fmla="*/ 214 h 380"/>
                <a:gd name="T68" fmla="*/ 44 w 224"/>
                <a:gd name="T69" fmla="*/ 224 h 380"/>
                <a:gd name="T70" fmla="*/ 52 w 224"/>
                <a:gd name="T71" fmla="*/ 258 h 380"/>
                <a:gd name="T72" fmla="*/ 180 w 224"/>
                <a:gd name="T73" fmla="*/ 254 h 380"/>
                <a:gd name="T74" fmla="*/ 176 w 224"/>
                <a:gd name="T75" fmla="*/ 244 h 380"/>
                <a:gd name="T76" fmla="*/ 46 w 224"/>
                <a:gd name="T77" fmla="*/ 246 h 380"/>
                <a:gd name="T78" fmla="*/ 46 w 224"/>
                <a:gd name="T79" fmla="*/ 256 h 380"/>
                <a:gd name="T80" fmla="*/ 152 w 224"/>
                <a:gd name="T81" fmla="*/ 288 h 380"/>
                <a:gd name="T82" fmla="*/ 160 w 224"/>
                <a:gd name="T83" fmla="*/ 280 h 380"/>
                <a:gd name="T84" fmla="*/ 152 w 224"/>
                <a:gd name="T85" fmla="*/ 272 h 380"/>
                <a:gd name="T86" fmla="*/ 44 w 224"/>
                <a:gd name="T87" fmla="*/ 276 h 380"/>
                <a:gd name="T88" fmla="*/ 48 w 224"/>
                <a:gd name="T89" fmla="*/ 286 h 380"/>
                <a:gd name="T90" fmla="*/ 72 w 224"/>
                <a:gd name="T91" fmla="*/ 164 h 380"/>
                <a:gd name="T92" fmla="*/ 80 w 224"/>
                <a:gd name="T93" fmla="*/ 134 h 380"/>
                <a:gd name="T94" fmla="*/ 72 w 224"/>
                <a:gd name="T95" fmla="*/ 126 h 380"/>
                <a:gd name="T96" fmla="*/ 44 w 224"/>
                <a:gd name="T97" fmla="*/ 130 h 380"/>
                <a:gd name="T98" fmla="*/ 46 w 224"/>
                <a:gd name="T99" fmla="*/ 162 h 380"/>
                <a:gd name="T100" fmla="*/ 122 w 224"/>
                <a:gd name="T101" fmla="*/ 164 h 380"/>
                <a:gd name="T102" fmla="*/ 130 w 224"/>
                <a:gd name="T103" fmla="*/ 156 h 380"/>
                <a:gd name="T104" fmla="*/ 126 w 224"/>
                <a:gd name="T105" fmla="*/ 126 h 380"/>
                <a:gd name="T106" fmla="*/ 96 w 224"/>
                <a:gd name="T107" fmla="*/ 128 h 380"/>
                <a:gd name="T108" fmla="*/ 94 w 224"/>
                <a:gd name="T109" fmla="*/ 158 h 380"/>
                <a:gd name="T110" fmla="*/ 52 w 224"/>
                <a:gd name="T111" fmla="*/ 112 h 380"/>
                <a:gd name="T112" fmla="*/ 80 w 224"/>
                <a:gd name="T113" fmla="*/ 108 h 380"/>
                <a:gd name="T114" fmla="*/ 78 w 224"/>
                <a:gd name="T115" fmla="*/ 78 h 380"/>
                <a:gd name="T116" fmla="*/ 48 w 224"/>
                <a:gd name="T117" fmla="*/ 76 h 380"/>
                <a:gd name="T118" fmla="*/ 44 w 224"/>
                <a:gd name="T119" fmla="*/ 104 h 380"/>
                <a:gd name="T120" fmla="*/ 52 w 224"/>
                <a:gd name="T121" fmla="*/ 11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4" h="380">
                  <a:moveTo>
                    <a:pt x="144" y="104"/>
                  </a:moveTo>
                  <a:lnTo>
                    <a:pt x="144" y="82"/>
                  </a:lnTo>
                  <a:lnTo>
                    <a:pt x="144" y="82"/>
                  </a:lnTo>
                  <a:lnTo>
                    <a:pt x="144" y="80"/>
                  </a:lnTo>
                  <a:lnTo>
                    <a:pt x="146" y="78"/>
                  </a:lnTo>
                  <a:lnTo>
                    <a:pt x="148" y="76"/>
                  </a:lnTo>
                  <a:lnTo>
                    <a:pt x="152" y="74"/>
                  </a:lnTo>
                  <a:lnTo>
                    <a:pt x="172" y="74"/>
                  </a:lnTo>
                  <a:lnTo>
                    <a:pt x="172" y="74"/>
                  </a:lnTo>
                  <a:lnTo>
                    <a:pt x="176" y="76"/>
                  </a:lnTo>
                  <a:lnTo>
                    <a:pt x="178" y="78"/>
                  </a:lnTo>
                  <a:lnTo>
                    <a:pt x="180" y="80"/>
                  </a:lnTo>
                  <a:lnTo>
                    <a:pt x="180" y="82"/>
                  </a:lnTo>
                  <a:lnTo>
                    <a:pt x="180" y="104"/>
                  </a:lnTo>
                  <a:lnTo>
                    <a:pt x="180" y="104"/>
                  </a:lnTo>
                  <a:lnTo>
                    <a:pt x="180" y="108"/>
                  </a:lnTo>
                  <a:lnTo>
                    <a:pt x="178" y="110"/>
                  </a:lnTo>
                  <a:lnTo>
                    <a:pt x="176" y="112"/>
                  </a:lnTo>
                  <a:lnTo>
                    <a:pt x="172" y="112"/>
                  </a:lnTo>
                  <a:lnTo>
                    <a:pt x="152" y="112"/>
                  </a:lnTo>
                  <a:lnTo>
                    <a:pt x="152" y="112"/>
                  </a:lnTo>
                  <a:lnTo>
                    <a:pt x="148" y="112"/>
                  </a:lnTo>
                  <a:lnTo>
                    <a:pt x="146" y="110"/>
                  </a:lnTo>
                  <a:lnTo>
                    <a:pt x="144" y="108"/>
                  </a:lnTo>
                  <a:lnTo>
                    <a:pt x="144" y="104"/>
                  </a:lnTo>
                  <a:lnTo>
                    <a:pt x="144" y="104"/>
                  </a:lnTo>
                  <a:close/>
                  <a:moveTo>
                    <a:pt x="152" y="164"/>
                  </a:moveTo>
                  <a:lnTo>
                    <a:pt x="172" y="164"/>
                  </a:lnTo>
                  <a:lnTo>
                    <a:pt x="172" y="164"/>
                  </a:lnTo>
                  <a:lnTo>
                    <a:pt x="176" y="162"/>
                  </a:lnTo>
                  <a:lnTo>
                    <a:pt x="178" y="162"/>
                  </a:lnTo>
                  <a:lnTo>
                    <a:pt x="180" y="158"/>
                  </a:lnTo>
                  <a:lnTo>
                    <a:pt x="180" y="156"/>
                  </a:lnTo>
                  <a:lnTo>
                    <a:pt x="180" y="134"/>
                  </a:lnTo>
                  <a:lnTo>
                    <a:pt x="180" y="134"/>
                  </a:lnTo>
                  <a:lnTo>
                    <a:pt x="180" y="130"/>
                  </a:lnTo>
                  <a:lnTo>
                    <a:pt x="178" y="128"/>
                  </a:lnTo>
                  <a:lnTo>
                    <a:pt x="176" y="126"/>
                  </a:lnTo>
                  <a:lnTo>
                    <a:pt x="172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48" y="126"/>
                  </a:lnTo>
                  <a:lnTo>
                    <a:pt x="146" y="128"/>
                  </a:lnTo>
                  <a:lnTo>
                    <a:pt x="144" y="130"/>
                  </a:lnTo>
                  <a:lnTo>
                    <a:pt x="144" y="134"/>
                  </a:lnTo>
                  <a:lnTo>
                    <a:pt x="144" y="156"/>
                  </a:lnTo>
                  <a:lnTo>
                    <a:pt x="144" y="156"/>
                  </a:lnTo>
                  <a:lnTo>
                    <a:pt x="144" y="158"/>
                  </a:lnTo>
                  <a:lnTo>
                    <a:pt x="146" y="162"/>
                  </a:lnTo>
                  <a:lnTo>
                    <a:pt x="148" y="162"/>
                  </a:lnTo>
                  <a:lnTo>
                    <a:pt x="152" y="164"/>
                  </a:lnTo>
                  <a:lnTo>
                    <a:pt x="152" y="164"/>
                  </a:lnTo>
                  <a:close/>
                  <a:moveTo>
                    <a:pt x="224" y="28"/>
                  </a:moveTo>
                  <a:lnTo>
                    <a:pt x="224" y="352"/>
                  </a:lnTo>
                  <a:lnTo>
                    <a:pt x="224" y="352"/>
                  </a:lnTo>
                  <a:lnTo>
                    <a:pt x="222" y="364"/>
                  </a:lnTo>
                  <a:lnTo>
                    <a:pt x="216" y="372"/>
                  </a:lnTo>
                  <a:lnTo>
                    <a:pt x="208" y="378"/>
                  </a:lnTo>
                  <a:lnTo>
                    <a:pt x="196" y="380"/>
                  </a:lnTo>
                  <a:lnTo>
                    <a:pt x="28" y="380"/>
                  </a:lnTo>
                  <a:lnTo>
                    <a:pt x="28" y="380"/>
                  </a:lnTo>
                  <a:lnTo>
                    <a:pt x="16" y="378"/>
                  </a:lnTo>
                  <a:lnTo>
                    <a:pt x="8" y="372"/>
                  </a:lnTo>
                  <a:lnTo>
                    <a:pt x="2" y="364"/>
                  </a:lnTo>
                  <a:lnTo>
                    <a:pt x="0" y="35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6" y="2"/>
                  </a:lnTo>
                  <a:lnTo>
                    <a:pt x="28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208" y="2"/>
                  </a:lnTo>
                  <a:lnTo>
                    <a:pt x="216" y="8"/>
                  </a:lnTo>
                  <a:lnTo>
                    <a:pt x="222" y="16"/>
                  </a:lnTo>
                  <a:lnTo>
                    <a:pt x="224" y="28"/>
                  </a:lnTo>
                  <a:lnTo>
                    <a:pt x="224" y="28"/>
                  </a:lnTo>
                  <a:close/>
                  <a:moveTo>
                    <a:pt x="86" y="34"/>
                  </a:moveTo>
                  <a:lnTo>
                    <a:pt x="86" y="34"/>
                  </a:lnTo>
                  <a:lnTo>
                    <a:pt x="86" y="38"/>
                  </a:lnTo>
                  <a:lnTo>
                    <a:pt x="88" y="40"/>
                  </a:lnTo>
                  <a:lnTo>
                    <a:pt x="90" y="42"/>
                  </a:lnTo>
                  <a:lnTo>
                    <a:pt x="94" y="42"/>
                  </a:lnTo>
                  <a:lnTo>
                    <a:pt x="130" y="42"/>
                  </a:lnTo>
                  <a:lnTo>
                    <a:pt x="130" y="42"/>
                  </a:lnTo>
                  <a:lnTo>
                    <a:pt x="134" y="42"/>
                  </a:lnTo>
                  <a:lnTo>
                    <a:pt x="136" y="40"/>
                  </a:lnTo>
                  <a:lnTo>
                    <a:pt x="138" y="38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38" y="32"/>
                  </a:lnTo>
                  <a:lnTo>
                    <a:pt x="136" y="28"/>
                  </a:lnTo>
                  <a:lnTo>
                    <a:pt x="134" y="28"/>
                  </a:lnTo>
                  <a:lnTo>
                    <a:pt x="130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0" y="28"/>
                  </a:lnTo>
                  <a:lnTo>
                    <a:pt x="88" y="28"/>
                  </a:lnTo>
                  <a:lnTo>
                    <a:pt x="86" y="32"/>
                  </a:lnTo>
                  <a:lnTo>
                    <a:pt x="86" y="34"/>
                  </a:lnTo>
                  <a:lnTo>
                    <a:pt x="86" y="34"/>
                  </a:lnTo>
                  <a:close/>
                  <a:moveTo>
                    <a:pt x="130" y="344"/>
                  </a:moveTo>
                  <a:lnTo>
                    <a:pt x="130" y="344"/>
                  </a:lnTo>
                  <a:lnTo>
                    <a:pt x="130" y="336"/>
                  </a:lnTo>
                  <a:lnTo>
                    <a:pt x="126" y="330"/>
                  </a:lnTo>
                  <a:lnTo>
                    <a:pt x="120" y="326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04" y="326"/>
                  </a:lnTo>
                  <a:lnTo>
                    <a:pt x="98" y="330"/>
                  </a:lnTo>
                  <a:lnTo>
                    <a:pt x="94" y="336"/>
                  </a:lnTo>
                  <a:lnTo>
                    <a:pt x="94" y="344"/>
                  </a:lnTo>
                  <a:lnTo>
                    <a:pt x="94" y="344"/>
                  </a:lnTo>
                  <a:lnTo>
                    <a:pt x="94" y="350"/>
                  </a:lnTo>
                  <a:lnTo>
                    <a:pt x="98" y="356"/>
                  </a:lnTo>
                  <a:lnTo>
                    <a:pt x="104" y="360"/>
                  </a:lnTo>
                  <a:lnTo>
                    <a:pt x="112" y="362"/>
                  </a:lnTo>
                  <a:lnTo>
                    <a:pt x="112" y="362"/>
                  </a:lnTo>
                  <a:lnTo>
                    <a:pt x="120" y="360"/>
                  </a:lnTo>
                  <a:lnTo>
                    <a:pt x="126" y="356"/>
                  </a:lnTo>
                  <a:lnTo>
                    <a:pt x="130" y="350"/>
                  </a:lnTo>
                  <a:lnTo>
                    <a:pt x="130" y="344"/>
                  </a:lnTo>
                  <a:lnTo>
                    <a:pt x="130" y="344"/>
                  </a:lnTo>
                  <a:close/>
                  <a:moveTo>
                    <a:pt x="196" y="60"/>
                  </a:moveTo>
                  <a:lnTo>
                    <a:pt x="28" y="60"/>
                  </a:lnTo>
                  <a:lnTo>
                    <a:pt x="28" y="308"/>
                  </a:lnTo>
                  <a:lnTo>
                    <a:pt x="196" y="308"/>
                  </a:lnTo>
                  <a:lnTo>
                    <a:pt x="196" y="60"/>
                  </a:lnTo>
                  <a:close/>
                  <a:moveTo>
                    <a:pt x="102" y="112"/>
                  </a:moveTo>
                  <a:lnTo>
                    <a:pt x="122" y="112"/>
                  </a:lnTo>
                  <a:lnTo>
                    <a:pt x="122" y="112"/>
                  </a:lnTo>
                  <a:lnTo>
                    <a:pt x="126" y="112"/>
                  </a:lnTo>
                  <a:lnTo>
                    <a:pt x="128" y="110"/>
                  </a:lnTo>
                  <a:lnTo>
                    <a:pt x="130" y="108"/>
                  </a:lnTo>
                  <a:lnTo>
                    <a:pt x="130" y="104"/>
                  </a:lnTo>
                  <a:lnTo>
                    <a:pt x="130" y="82"/>
                  </a:lnTo>
                  <a:lnTo>
                    <a:pt x="130" y="82"/>
                  </a:lnTo>
                  <a:lnTo>
                    <a:pt x="130" y="80"/>
                  </a:lnTo>
                  <a:lnTo>
                    <a:pt x="128" y="78"/>
                  </a:lnTo>
                  <a:lnTo>
                    <a:pt x="126" y="76"/>
                  </a:lnTo>
                  <a:lnTo>
                    <a:pt x="122" y="74"/>
                  </a:lnTo>
                  <a:lnTo>
                    <a:pt x="102" y="74"/>
                  </a:lnTo>
                  <a:lnTo>
                    <a:pt x="102" y="74"/>
                  </a:lnTo>
                  <a:lnTo>
                    <a:pt x="98" y="76"/>
                  </a:lnTo>
                  <a:lnTo>
                    <a:pt x="96" y="78"/>
                  </a:lnTo>
                  <a:lnTo>
                    <a:pt x="94" y="80"/>
                  </a:lnTo>
                  <a:lnTo>
                    <a:pt x="94" y="82"/>
                  </a:lnTo>
                  <a:lnTo>
                    <a:pt x="94" y="104"/>
                  </a:lnTo>
                  <a:lnTo>
                    <a:pt x="94" y="104"/>
                  </a:lnTo>
                  <a:lnTo>
                    <a:pt x="94" y="108"/>
                  </a:lnTo>
                  <a:lnTo>
                    <a:pt x="96" y="110"/>
                  </a:lnTo>
                  <a:lnTo>
                    <a:pt x="98" y="112"/>
                  </a:lnTo>
                  <a:lnTo>
                    <a:pt x="102" y="112"/>
                  </a:lnTo>
                  <a:lnTo>
                    <a:pt x="102" y="112"/>
                  </a:lnTo>
                  <a:close/>
                  <a:moveTo>
                    <a:pt x="52" y="228"/>
                  </a:moveTo>
                  <a:lnTo>
                    <a:pt x="130" y="228"/>
                  </a:lnTo>
                  <a:lnTo>
                    <a:pt x="130" y="228"/>
                  </a:lnTo>
                  <a:lnTo>
                    <a:pt x="134" y="228"/>
                  </a:lnTo>
                  <a:lnTo>
                    <a:pt x="136" y="226"/>
                  </a:lnTo>
                  <a:lnTo>
                    <a:pt x="138" y="224"/>
                  </a:lnTo>
                  <a:lnTo>
                    <a:pt x="138" y="220"/>
                  </a:lnTo>
                  <a:lnTo>
                    <a:pt x="138" y="220"/>
                  </a:lnTo>
                  <a:lnTo>
                    <a:pt x="138" y="218"/>
                  </a:lnTo>
                  <a:lnTo>
                    <a:pt x="136" y="216"/>
                  </a:lnTo>
                  <a:lnTo>
                    <a:pt x="134" y="214"/>
                  </a:lnTo>
                  <a:lnTo>
                    <a:pt x="130" y="212"/>
                  </a:lnTo>
                  <a:lnTo>
                    <a:pt x="52" y="212"/>
                  </a:lnTo>
                  <a:lnTo>
                    <a:pt x="52" y="212"/>
                  </a:lnTo>
                  <a:lnTo>
                    <a:pt x="48" y="214"/>
                  </a:lnTo>
                  <a:lnTo>
                    <a:pt x="46" y="216"/>
                  </a:lnTo>
                  <a:lnTo>
                    <a:pt x="44" y="218"/>
                  </a:lnTo>
                  <a:lnTo>
                    <a:pt x="44" y="220"/>
                  </a:lnTo>
                  <a:lnTo>
                    <a:pt x="44" y="220"/>
                  </a:lnTo>
                  <a:lnTo>
                    <a:pt x="44" y="224"/>
                  </a:lnTo>
                  <a:lnTo>
                    <a:pt x="46" y="226"/>
                  </a:lnTo>
                  <a:lnTo>
                    <a:pt x="48" y="228"/>
                  </a:lnTo>
                  <a:lnTo>
                    <a:pt x="52" y="228"/>
                  </a:lnTo>
                  <a:lnTo>
                    <a:pt x="52" y="228"/>
                  </a:lnTo>
                  <a:close/>
                  <a:moveTo>
                    <a:pt x="52" y="258"/>
                  </a:moveTo>
                  <a:lnTo>
                    <a:pt x="172" y="258"/>
                  </a:lnTo>
                  <a:lnTo>
                    <a:pt x="172" y="258"/>
                  </a:lnTo>
                  <a:lnTo>
                    <a:pt x="176" y="258"/>
                  </a:lnTo>
                  <a:lnTo>
                    <a:pt x="178" y="256"/>
                  </a:lnTo>
                  <a:lnTo>
                    <a:pt x="180" y="254"/>
                  </a:lnTo>
                  <a:lnTo>
                    <a:pt x="180" y="250"/>
                  </a:lnTo>
                  <a:lnTo>
                    <a:pt x="180" y="250"/>
                  </a:lnTo>
                  <a:lnTo>
                    <a:pt x="180" y="248"/>
                  </a:lnTo>
                  <a:lnTo>
                    <a:pt x="178" y="246"/>
                  </a:lnTo>
                  <a:lnTo>
                    <a:pt x="176" y="244"/>
                  </a:lnTo>
                  <a:lnTo>
                    <a:pt x="172" y="242"/>
                  </a:lnTo>
                  <a:lnTo>
                    <a:pt x="52" y="242"/>
                  </a:lnTo>
                  <a:lnTo>
                    <a:pt x="52" y="242"/>
                  </a:lnTo>
                  <a:lnTo>
                    <a:pt x="48" y="244"/>
                  </a:lnTo>
                  <a:lnTo>
                    <a:pt x="46" y="246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4" y="254"/>
                  </a:lnTo>
                  <a:lnTo>
                    <a:pt x="46" y="256"/>
                  </a:lnTo>
                  <a:lnTo>
                    <a:pt x="48" y="258"/>
                  </a:lnTo>
                  <a:lnTo>
                    <a:pt x="52" y="258"/>
                  </a:lnTo>
                  <a:lnTo>
                    <a:pt x="52" y="258"/>
                  </a:lnTo>
                  <a:close/>
                  <a:moveTo>
                    <a:pt x="52" y="288"/>
                  </a:moveTo>
                  <a:lnTo>
                    <a:pt x="152" y="288"/>
                  </a:lnTo>
                  <a:lnTo>
                    <a:pt x="152" y="288"/>
                  </a:lnTo>
                  <a:lnTo>
                    <a:pt x="154" y="286"/>
                  </a:lnTo>
                  <a:lnTo>
                    <a:pt x="156" y="286"/>
                  </a:lnTo>
                  <a:lnTo>
                    <a:pt x="158" y="282"/>
                  </a:lnTo>
                  <a:lnTo>
                    <a:pt x="160" y="280"/>
                  </a:lnTo>
                  <a:lnTo>
                    <a:pt x="160" y="280"/>
                  </a:lnTo>
                  <a:lnTo>
                    <a:pt x="158" y="276"/>
                  </a:lnTo>
                  <a:lnTo>
                    <a:pt x="156" y="274"/>
                  </a:lnTo>
                  <a:lnTo>
                    <a:pt x="154" y="272"/>
                  </a:lnTo>
                  <a:lnTo>
                    <a:pt x="152" y="272"/>
                  </a:lnTo>
                  <a:lnTo>
                    <a:pt x="52" y="272"/>
                  </a:lnTo>
                  <a:lnTo>
                    <a:pt x="52" y="272"/>
                  </a:lnTo>
                  <a:lnTo>
                    <a:pt x="48" y="272"/>
                  </a:lnTo>
                  <a:lnTo>
                    <a:pt x="46" y="274"/>
                  </a:lnTo>
                  <a:lnTo>
                    <a:pt x="44" y="276"/>
                  </a:lnTo>
                  <a:lnTo>
                    <a:pt x="44" y="280"/>
                  </a:lnTo>
                  <a:lnTo>
                    <a:pt x="44" y="280"/>
                  </a:lnTo>
                  <a:lnTo>
                    <a:pt x="44" y="282"/>
                  </a:lnTo>
                  <a:lnTo>
                    <a:pt x="46" y="286"/>
                  </a:lnTo>
                  <a:lnTo>
                    <a:pt x="48" y="286"/>
                  </a:lnTo>
                  <a:lnTo>
                    <a:pt x="52" y="288"/>
                  </a:lnTo>
                  <a:lnTo>
                    <a:pt x="52" y="288"/>
                  </a:lnTo>
                  <a:close/>
                  <a:moveTo>
                    <a:pt x="52" y="164"/>
                  </a:moveTo>
                  <a:lnTo>
                    <a:pt x="72" y="164"/>
                  </a:lnTo>
                  <a:lnTo>
                    <a:pt x="72" y="164"/>
                  </a:lnTo>
                  <a:lnTo>
                    <a:pt x="76" y="162"/>
                  </a:lnTo>
                  <a:lnTo>
                    <a:pt x="78" y="162"/>
                  </a:lnTo>
                  <a:lnTo>
                    <a:pt x="80" y="158"/>
                  </a:lnTo>
                  <a:lnTo>
                    <a:pt x="80" y="156"/>
                  </a:lnTo>
                  <a:lnTo>
                    <a:pt x="80" y="134"/>
                  </a:lnTo>
                  <a:lnTo>
                    <a:pt x="80" y="134"/>
                  </a:lnTo>
                  <a:lnTo>
                    <a:pt x="80" y="130"/>
                  </a:lnTo>
                  <a:lnTo>
                    <a:pt x="78" y="128"/>
                  </a:lnTo>
                  <a:lnTo>
                    <a:pt x="76" y="126"/>
                  </a:lnTo>
                  <a:lnTo>
                    <a:pt x="72" y="126"/>
                  </a:lnTo>
                  <a:lnTo>
                    <a:pt x="52" y="126"/>
                  </a:lnTo>
                  <a:lnTo>
                    <a:pt x="52" y="126"/>
                  </a:lnTo>
                  <a:lnTo>
                    <a:pt x="48" y="126"/>
                  </a:lnTo>
                  <a:lnTo>
                    <a:pt x="46" y="128"/>
                  </a:lnTo>
                  <a:lnTo>
                    <a:pt x="44" y="130"/>
                  </a:lnTo>
                  <a:lnTo>
                    <a:pt x="44" y="134"/>
                  </a:lnTo>
                  <a:lnTo>
                    <a:pt x="44" y="156"/>
                  </a:lnTo>
                  <a:lnTo>
                    <a:pt x="44" y="156"/>
                  </a:lnTo>
                  <a:lnTo>
                    <a:pt x="44" y="158"/>
                  </a:lnTo>
                  <a:lnTo>
                    <a:pt x="46" y="162"/>
                  </a:lnTo>
                  <a:lnTo>
                    <a:pt x="48" y="162"/>
                  </a:lnTo>
                  <a:lnTo>
                    <a:pt x="52" y="164"/>
                  </a:lnTo>
                  <a:lnTo>
                    <a:pt x="52" y="164"/>
                  </a:lnTo>
                  <a:close/>
                  <a:moveTo>
                    <a:pt x="102" y="164"/>
                  </a:moveTo>
                  <a:lnTo>
                    <a:pt x="122" y="164"/>
                  </a:lnTo>
                  <a:lnTo>
                    <a:pt x="122" y="164"/>
                  </a:lnTo>
                  <a:lnTo>
                    <a:pt x="126" y="162"/>
                  </a:lnTo>
                  <a:lnTo>
                    <a:pt x="128" y="162"/>
                  </a:lnTo>
                  <a:lnTo>
                    <a:pt x="130" y="158"/>
                  </a:lnTo>
                  <a:lnTo>
                    <a:pt x="130" y="156"/>
                  </a:lnTo>
                  <a:lnTo>
                    <a:pt x="130" y="134"/>
                  </a:lnTo>
                  <a:lnTo>
                    <a:pt x="130" y="134"/>
                  </a:lnTo>
                  <a:lnTo>
                    <a:pt x="130" y="130"/>
                  </a:lnTo>
                  <a:lnTo>
                    <a:pt x="128" y="128"/>
                  </a:lnTo>
                  <a:lnTo>
                    <a:pt x="126" y="126"/>
                  </a:lnTo>
                  <a:lnTo>
                    <a:pt x="122" y="126"/>
                  </a:lnTo>
                  <a:lnTo>
                    <a:pt x="102" y="126"/>
                  </a:lnTo>
                  <a:lnTo>
                    <a:pt x="102" y="126"/>
                  </a:lnTo>
                  <a:lnTo>
                    <a:pt x="98" y="126"/>
                  </a:lnTo>
                  <a:lnTo>
                    <a:pt x="96" y="128"/>
                  </a:lnTo>
                  <a:lnTo>
                    <a:pt x="94" y="130"/>
                  </a:lnTo>
                  <a:lnTo>
                    <a:pt x="94" y="134"/>
                  </a:lnTo>
                  <a:lnTo>
                    <a:pt x="94" y="156"/>
                  </a:lnTo>
                  <a:lnTo>
                    <a:pt x="94" y="156"/>
                  </a:lnTo>
                  <a:lnTo>
                    <a:pt x="94" y="158"/>
                  </a:lnTo>
                  <a:lnTo>
                    <a:pt x="96" y="162"/>
                  </a:lnTo>
                  <a:lnTo>
                    <a:pt x="98" y="162"/>
                  </a:lnTo>
                  <a:lnTo>
                    <a:pt x="102" y="164"/>
                  </a:lnTo>
                  <a:lnTo>
                    <a:pt x="102" y="164"/>
                  </a:lnTo>
                  <a:close/>
                  <a:moveTo>
                    <a:pt x="52" y="112"/>
                  </a:moveTo>
                  <a:lnTo>
                    <a:pt x="72" y="112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8" y="110"/>
                  </a:lnTo>
                  <a:lnTo>
                    <a:pt x="80" y="108"/>
                  </a:lnTo>
                  <a:lnTo>
                    <a:pt x="80" y="104"/>
                  </a:lnTo>
                  <a:lnTo>
                    <a:pt x="80" y="82"/>
                  </a:lnTo>
                  <a:lnTo>
                    <a:pt x="80" y="82"/>
                  </a:lnTo>
                  <a:lnTo>
                    <a:pt x="80" y="80"/>
                  </a:lnTo>
                  <a:lnTo>
                    <a:pt x="78" y="78"/>
                  </a:lnTo>
                  <a:lnTo>
                    <a:pt x="76" y="76"/>
                  </a:lnTo>
                  <a:lnTo>
                    <a:pt x="72" y="74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48" y="76"/>
                  </a:lnTo>
                  <a:lnTo>
                    <a:pt x="46" y="78"/>
                  </a:lnTo>
                  <a:lnTo>
                    <a:pt x="44" y="80"/>
                  </a:lnTo>
                  <a:lnTo>
                    <a:pt x="44" y="82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8"/>
                  </a:lnTo>
                  <a:lnTo>
                    <a:pt x="46" y="110"/>
                  </a:lnTo>
                  <a:lnTo>
                    <a:pt x="48" y="112"/>
                  </a:lnTo>
                  <a:lnTo>
                    <a:pt x="52" y="112"/>
                  </a:lnTo>
                  <a:lnTo>
                    <a:pt x="52" y="112"/>
                  </a:lnTo>
                  <a:close/>
                </a:path>
              </a:pathLst>
            </a:custGeom>
            <a:solidFill>
              <a:schemeClr val="bg1"/>
            </a:solidFill>
            <a:ln w="3175"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7" name="Freeform 5014"/>
            <p:cNvSpPr>
              <a:spLocks noEditPoints="1"/>
            </p:cNvSpPr>
            <p:nvPr/>
          </p:nvSpPr>
          <p:spPr bwMode="auto">
            <a:xfrm>
              <a:off x="4284834" y="5110809"/>
              <a:ext cx="1308881" cy="1010746"/>
            </a:xfrm>
            <a:custGeom>
              <a:avLst/>
              <a:gdLst>
                <a:gd name="T0" fmla="*/ 360 w 360"/>
                <a:gd name="T1" fmla="*/ 256 h 278"/>
                <a:gd name="T2" fmla="*/ 360 w 360"/>
                <a:gd name="T3" fmla="*/ 252 h 278"/>
                <a:gd name="T4" fmla="*/ 358 w 360"/>
                <a:gd name="T5" fmla="*/ 252 h 278"/>
                <a:gd name="T6" fmla="*/ 318 w 360"/>
                <a:gd name="T7" fmla="*/ 200 h 278"/>
                <a:gd name="T8" fmla="*/ 314 w 360"/>
                <a:gd name="T9" fmla="*/ 198 h 278"/>
                <a:gd name="T10" fmla="*/ 50 w 360"/>
                <a:gd name="T11" fmla="*/ 196 h 278"/>
                <a:gd name="T12" fmla="*/ 46 w 360"/>
                <a:gd name="T13" fmla="*/ 198 h 278"/>
                <a:gd name="T14" fmla="*/ 2 w 360"/>
                <a:gd name="T15" fmla="*/ 250 h 278"/>
                <a:gd name="T16" fmla="*/ 2 w 360"/>
                <a:gd name="T17" fmla="*/ 252 h 278"/>
                <a:gd name="T18" fmla="*/ 0 w 360"/>
                <a:gd name="T19" fmla="*/ 252 h 278"/>
                <a:gd name="T20" fmla="*/ 0 w 360"/>
                <a:gd name="T21" fmla="*/ 256 h 278"/>
                <a:gd name="T22" fmla="*/ 0 w 360"/>
                <a:gd name="T23" fmla="*/ 256 h 278"/>
                <a:gd name="T24" fmla="*/ 0 w 360"/>
                <a:gd name="T25" fmla="*/ 268 h 278"/>
                <a:gd name="T26" fmla="*/ 4 w 360"/>
                <a:gd name="T27" fmla="*/ 276 h 278"/>
                <a:gd name="T28" fmla="*/ 10 w 360"/>
                <a:gd name="T29" fmla="*/ 278 h 278"/>
                <a:gd name="T30" fmla="*/ 350 w 360"/>
                <a:gd name="T31" fmla="*/ 278 h 278"/>
                <a:gd name="T32" fmla="*/ 356 w 360"/>
                <a:gd name="T33" fmla="*/ 276 h 278"/>
                <a:gd name="T34" fmla="*/ 360 w 360"/>
                <a:gd name="T35" fmla="*/ 268 h 278"/>
                <a:gd name="T36" fmla="*/ 360 w 360"/>
                <a:gd name="T37" fmla="*/ 256 h 278"/>
                <a:gd name="T38" fmla="*/ 360 w 360"/>
                <a:gd name="T39" fmla="*/ 256 h 278"/>
                <a:gd name="T40" fmla="*/ 146 w 360"/>
                <a:gd name="T41" fmla="*/ 234 h 278"/>
                <a:gd name="T42" fmla="*/ 226 w 360"/>
                <a:gd name="T43" fmla="*/ 254 h 278"/>
                <a:gd name="T44" fmla="*/ 338 w 360"/>
                <a:gd name="T45" fmla="*/ 268 h 278"/>
                <a:gd name="T46" fmla="*/ 334 w 360"/>
                <a:gd name="T47" fmla="*/ 270 h 278"/>
                <a:gd name="T48" fmla="*/ 332 w 360"/>
                <a:gd name="T49" fmla="*/ 270 h 278"/>
                <a:gd name="T50" fmla="*/ 326 w 360"/>
                <a:gd name="T51" fmla="*/ 268 h 278"/>
                <a:gd name="T52" fmla="*/ 324 w 360"/>
                <a:gd name="T53" fmla="*/ 262 h 278"/>
                <a:gd name="T54" fmla="*/ 326 w 360"/>
                <a:gd name="T55" fmla="*/ 256 h 278"/>
                <a:gd name="T56" fmla="*/ 328 w 360"/>
                <a:gd name="T57" fmla="*/ 256 h 278"/>
                <a:gd name="T58" fmla="*/ 334 w 360"/>
                <a:gd name="T59" fmla="*/ 256 h 278"/>
                <a:gd name="T60" fmla="*/ 338 w 360"/>
                <a:gd name="T61" fmla="*/ 256 h 278"/>
                <a:gd name="T62" fmla="*/ 340 w 360"/>
                <a:gd name="T63" fmla="*/ 262 h 278"/>
                <a:gd name="T64" fmla="*/ 340 w 360"/>
                <a:gd name="T65" fmla="*/ 266 h 278"/>
                <a:gd name="T66" fmla="*/ 338 w 360"/>
                <a:gd name="T67" fmla="*/ 268 h 278"/>
                <a:gd name="T68" fmla="*/ 306 w 360"/>
                <a:gd name="T69" fmla="*/ 184 h 278"/>
                <a:gd name="T70" fmla="*/ 310 w 360"/>
                <a:gd name="T71" fmla="*/ 184 h 278"/>
                <a:gd name="T72" fmla="*/ 318 w 360"/>
                <a:gd name="T73" fmla="*/ 178 h 278"/>
                <a:gd name="T74" fmla="*/ 318 w 360"/>
                <a:gd name="T75" fmla="*/ 12 h 278"/>
                <a:gd name="T76" fmla="*/ 318 w 360"/>
                <a:gd name="T77" fmla="*/ 6 h 278"/>
                <a:gd name="T78" fmla="*/ 310 w 360"/>
                <a:gd name="T79" fmla="*/ 0 h 278"/>
                <a:gd name="T80" fmla="*/ 54 w 360"/>
                <a:gd name="T81" fmla="*/ 0 h 278"/>
                <a:gd name="T82" fmla="*/ 50 w 360"/>
                <a:gd name="T83" fmla="*/ 0 h 278"/>
                <a:gd name="T84" fmla="*/ 42 w 360"/>
                <a:gd name="T85" fmla="*/ 6 h 278"/>
                <a:gd name="T86" fmla="*/ 42 w 360"/>
                <a:gd name="T87" fmla="*/ 172 h 278"/>
                <a:gd name="T88" fmla="*/ 42 w 360"/>
                <a:gd name="T89" fmla="*/ 178 h 278"/>
                <a:gd name="T90" fmla="*/ 50 w 360"/>
                <a:gd name="T91" fmla="*/ 184 h 278"/>
                <a:gd name="T92" fmla="*/ 54 w 360"/>
                <a:gd name="T93" fmla="*/ 184 h 278"/>
                <a:gd name="T94" fmla="*/ 294 w 360"/>
                <a:gd name="T95" fmla="*/ 24 h 278"/>
                <a:gd name="T96" fmla="*/ 66 w 360"/>
                <a:gd name="T97" fmla="*/ 16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0" h="278">
                  <a:moveTo>
                    <a:pt x="360" y="256"/>
                  </a:moveTo>
                  <a:lnTo>
                    <a:pt x="360" y="256"/>
                  </a:lnTo>
                  <a:lnTo>
                    <a:pt x="360" y="252"/>
                  </a:lnTo>
                  <a:lnTo>
                    <a:pt x="360" y="252"/>
                  </a:lnTo>
                  <a:lnTo>
                    <a:pt x="358" y="252"/>
                  </a:lnTo>
                  <a:lnTo>
                    <a:pt x="358" y="252"/>
                  </a:lnTo>
                  <a:lnTo>
                    <a:pt x="358" y="250"/>
                  </a:lnTo>
                  <a:lnTo>
                    <a:pt x="318" y="200"/>
                  </a:lnTo>
                  <a:lnTo>
                    <a:pt x="318" y="200"/>
                  </a:lnTo>
                  <a:lnTo>
                    <a:pt x="314" y="198"/>
                  </a:lnTo>
                  <a:lnTo>
                    <a:pt x="310" y="196"/>
                  </a:lnTo>
                  <a:lnTo>
                    <a:pt x="50" y="196"/>
                  </a:lnTo>
                  <a:lnTo>
                    <a:pt x="50" y="196"/>
                  </a:lnTo>
                  <a:lnTo>
                    <a:pt x="46" y="198"/>
                  </a:lnTo>
                  <a:lnTo>
                    <a:pt x="42" y="20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72"/>
                  </a:lnTo>
                  <a:lnTo>
                    <a:pt x="4" y="276"/>
                  </a:lnTo>
                  <a:lnTo>
                    <a:pt x="6" y="278"/>
                  </a:lnTo>
                  <a:lnTo>
                    <a:pt x="10" y="278"/>
                  </a:lnTo>
                  <a:lnTo>
                    <a:pt x="350" y="278"/>
                  </a:lnTo>
                  <a:lnTo>
                    <a:pt x="350" y="278"/>
                  </a:lnTo>
                  <a:lnTo>
                    <a:pt x="354" y="278"/>
                  </a:lnTo>
                  <a:lnTo>
                    <a:pt x="356" y="276"/>
                  </a:lnTo>
                  <a:lnTo>
                    <a:pt x="360" y="272"/>
                  </a:lnTo>
                  <a:lnTo>
                    <a:pt x="360" y="268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close/>
                  <a:moveTo>
                    <a:pt x="134" y="254"/>
                  </a:moveTo>
                  <a:lnTo>
                    <a:pt x="146" y="234"/>
                  </a:lnTo>
                  <a:lnTo>
                    <a:pt x="214" y="234"/>
                  </a:lnTo>
                  <a:lnTo>
                    <a:pt x="226" y="254"/>
                  </a:lnTo>
                  <a:lnTo>
                    <a:pt x="134" y="254"/>
                  </a:lnTo>
                  <a:close/>
                  <a:moveTo>
                    <a:pt x="338" y="268"/>
                  </a:moveTo>
                  <a:lnTo>
                    <a:pt x="338" y="268"/>
                  </a:lnTo>
                  <a:lnTo>
                    <a:pt x="334" y="270"/>
                  </a:lnTo>
                  <a:lnTo>
                    <a:pt x="332" y="270"/>
                  </a:lnTo>
                  <a:lnTo>
                    <a:pt x="332" y="270"/>
                  </a:lnTo>
                  <a:lnTo>
                    <a:pt x="326" y="268"/>
                  </a:lnTo>
                  <a:lnTo>
                    <a:pt x="326" y="268"/>
                  </a:lnTo>
                  <a:lnTo>
                    <a:pt x="324" y="262"/>
                  </a:lnTo>
                  <a:lnTo>
                    <a:pt x="324" y="262"/>
                  </a:lnTo>
                  <a:lnTo>
                    <a:pt x="324" y="260"/>
                  </a:lnTo>
                  <a:lnTo>
                    <a:pt x="326" y="256"/>
                  </a:lnTo>
                  <a:lnTo>
                    <a:pt x="326" y="256"/>
                  </a:lnTo>
                  <a:lnTo>
                    <a:pt x="328" y="256"/>
                  </a:lnTo>
                  <a:lnTo>
                    <a:pt x="332" y="254"/>
                  </a:lnTo>
                  <a:lnTo>
                    <a:pt x="334" y="256"/>
                  </a:lnTo>
                  <a:lnTo>
                    <a:pt x="338" y="256"/>
                  </a:lnTo>
                  <a:lnTo>
                    <a:pt x="338" y="256"/>
                  </a:lnTo>
                  <a:lnTo>
                    <a:pt x="340" y="260"/>
                  </a:lnTo>
                  <a:lnTo>
                    <a:pt x="340" y="262"/>
                  </a:lnTo>
                  <a:lnTo>
                    <a:pt x="340" y="262"/>
                  </a:lnTo>
                  <a:lnTo>
                    <a:pt x="340" y="266"/>
                  </a:lnTo>
                  <a:lnTo>
                    <a:pt x="338" y="268"/>
                  </a:lnTo>
                  <a:lnTo>
                    <a:pt x="338" y="268"/>
                  </a:lnTo>
                  <a:close/>
                  <a:moveTo>
                    <a:pt x="54" y="184"/>
                  </a:moveTo>
                  <a:lnTo>
                    <a:pt x="306" y="184"/>
                  </a:lnTo>
                  <a:lnTo>
                    <a:pt x="306" y="184"/>
                  </a:lnTo>
                  <a:lnTo>
                    <a:pt x="310" y="184"/>
                  </a:lnTo>
                  <a:lnTo>
                    <a:pt x="314" y="182"/>
                  </a:lnTo>
                  <a:lnTo>
                    <a:pt x="318" y="178"/>
                  </a:lnTo>
                  <a:lnTo>
                    <a:pt x="318" y="172"/>
                  </a:lnTo>
                  <a:lnTo>
                    <a:pt x="318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4" y="2"/>
                  </a:lnTo>
                  <a:lnTo>
                    <a:pt x="310" y="0"/>
                  </a:lnTo>
                  <a:lnTo>
                    <a:pt x="306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2"/>
                  </a:lnTo>
                  <a:lnTo>
                    <a:pt x="42" y="6"/>
                  </a:lnTo>
                  <a:lnTo>
                    <a:pt x="42" y="12"/>
                  </a:lnTo>
                  <a:lnTo>
                    <a:pt x="42" y="172"/>
                  </a:lnTo>
                  <a:lnTo>
                    <a:pt x="42" y="172"/>
                  </a:lnTo>
                  <a:lnTo>
                    <a:pt x="42" y="178"/>
                  </a:lnTo>
                  <a:lnTo>
                    <a:pt x="46" y="182"/>
                  </a:lnTo>
                  <a:lnTo>
                    <a:pt x="50" y="184"/>
                  </a:lnTo>
                  <a:lnTo>
                    <a:pt x="54" y="184"/>
                  </a:lnTo>
                  <a:lnTo>
                    <a:pt x="54" y="184"/>
                  </a:lnTo>
                  <a:close/>
                  <a:moveTo>
                    <a:pt x="66" y="24"/>
                  </a:moveTo>
                  <a:lnTo>
                    <a:pt x="294" y="24"/>
                  </a:lnTo>
                  <a:lnTo>
                    <a:pt x="294" y="160"/>
                  </a:lnTo>
                  <a:lnTo>
                    <a:pt x="66" y="160"/>
                  </a:lnTo>
                  <a:lnTo>
                    <a:pt x="66" y="24"/>
                  </a:lnTo>
                  <a:close/>
                </a:path>
              </a:pathLst>
            </a:custGeom>
            <a:solidFill>
              <a:schemeClr val="bg1"/>
            </a:solidFill>
            <a:ln w="3175"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0" name="Down Arrow 109"/>
            <p:cNvSpPr/>
            <p:nvPr/>
          </p:nvSpPr>
          <p:spPr bwMode="ltGray">
            <a:xfrm rot="16200000">
              <a:off x="3467922" y="5066548"/>
              <a:ext cx="669451" cy="964373"/>
            </a:xfrm>
            <a:prstGeom prst="downArrow">
              <a:avLst/>
            </a:prstGeom>
            <a:gradFill>
              <a:gsLst>
                <a:gs pos="0">
                  <a:srgbClr val="A7A49B">
                    <a:alpha val="0"/>
                  </a:srgbClr>
                </a:gs>
                <a:gs pos="100000">
                  <a:srgbClr val="A7A49B">
                    <a:alpha val="50000"/>
                  </a:srgbClr>
                </a:gs>
              </a:gsLst>
              <a:lin ang="540000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1" name="Down Arrow 110"/>
            <p:cNvSpPr/>
            <p:nvPr/>
          </p:nvSpPr>
          <p:spPr bwMode="ltGray">
            <a:xfrm rot="16200000">
              <a:off x="5955792" y="5052612"/>
              <a:ext cx="669451" cy="964373"/>
            </a:xfrm>
            <a:prstGeom prst="downArrow">
              <a:avLst/>
            </a:prstGeom>
            <a:gradFill>
              <a:gsLst>
                <a:gs pos="0">
                  <a:srgbClr val="A7A49B">
                    <a:alpha val="0"/>
                  </a:srgbClr>
                </a:gs>
                <a:gs pos="100000">
                  <a:srgbClr val="A7A49B">
                    <a:alpha val="50000"/>
                  </a:srgbClr>
                </a:gs>
              </a:gsLst>
              <a:lin ang="5400000" scaled="1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46" name="Rectangle 17"/>
          <p:cNvSpPr>
            <a:spLocks/>
          </p:cNvSpPr>
          <p:nvPr/>
        </p:nvSpPr>
        <p:spPr bwMode="auto">
          <a:xfrm>
            <a:off x="142450" y="1119393"/>
            <a:ext cx="797307" cy="2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Имитационное моделирование</a:t>
            </a:r>
          </a:p>
        </p:txBody>
      </p:sp>
      <p:sp>
        <p:nvSpPr>
          <p:cNvPr id="47" name="Rectangle 17"/>
          <p:cNvSpPr>
            <a:spLocks/>
          </p:cNvSpPr>
          <p:nvPr/>
        </p:nvSpPr>
        <p:spPr bwMode="auto">
          <a:xfrm>
            <a:off x="142451" y="1580422"/>
            <a:ext cx="738960" cy="2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Text mining</a:t>
            </a:r>
            <a:endParaRPr lang="ru-RU" sz="800" i="1" dirty="0">
              <a:solidFill>
                <a:schemeClr val="bg1"/>
              </a:solidFill>
              <a:latin typeface="+mj-lt"/>
              <a:sym typeface="Helvetica Neue" charset="0"/>
            </a:endParaRPr>
          </a:p>
        </p:txBody>
      </p:sp>
      <p:sp>
        <p:nvSpPr>
          <p:cNvPr id="48" name="Rectangle 17"/>
          <p:cNvSpPr>
            <a:spLocks/>
          </p:cNvSpPr>
          <p:nvPr/>
        </p:nvSpPr>
        <p:spPr bwMode="auto">
          <a:xfrm>
            <a:off x="142450" y="2229098"/>
            <a:ext cx="738960" cy="2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Анализ социального графа клиентов</a:t>
            </a:r>
            <a:endParaRPr lang="ru-RU" sz="800" i="1" dirty="0">
              <a:solidFill>
                <a:schemeClr val="bg1"/>
              </a:solidFill>
              <a:latin typeface="+mj-lt"/>
              <a:sym typeface="Helvetica Neue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48422" y="3665248"/>
            <a:ext cx="727019" cy="533587"/>
            <a:chOff x="148422" y="3578812"/>
            <a:chExt cx="727019" cy="533587"/>
          </a:xfrm>
        </p:grpSpPr>
        <p:sp>
          <p:nvSpPr>
            <p:cNvPr id="50" name="Rectangle 17"/>
            <p:cNvSpPr>
              <a:spLocks/>
            </p:cNvSpPr>
            <p:nvPr/>
          </p:nvSpPr>
          <p:spPr bwMode="auto">
            <a:xfrm>
              <a:off x="148422" y="3835400"/>
              <a:ext cx="7270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Социальные сети</a:t>
              </a:r>
            </a:p>
          </p:txBody>
        </p:sp>
        <p:grpSp>
          <p:nvGrpSpPr>
            <p:cNvPr id="52" name="Group 16"/>
            <p:cNvGrpSpPr>
              <a:grpSpLocks noChangeAspect="1"/>
            </p:cNvGrpSpPr>
            <p:nvPr/>
          </p:nvGrpSpPr>
          <p:grpSpPr bwMode="auto">
            <a:xfrm>
              <a:off x="389395" y="3578812"/>
              <a:ext cx="259829" cy="259829"/>
              <a:chOff x="-783" y="2303"/>
              <a:chExt cx="491" cy="491"/>
            </a:xfrm>
            <a:solidFill>
              <a:schemeClr val="bg1"/>
            </a:solidFill>
          </p:grpSpPr>
          <p:sp>
            <p:nvSpPr>
              <p:cNvPr id="53" name="Freeform 18"/>
              <p:cNvSpPr>
                <a:spLocks/>
              </p:cNvSpPr>
              <p:nvPr/>
            </p:nvSpPr>
            <p:spPr bwMode="auto">
              <a:xfrm>
                <a:off x="-415" y="2395"/>
                <a:ext cx="36" cy="29"/>
              </a:xfrm>
              <a:custGeom>
                <a:avLst/>
                <a:gdLst>
                  <a:gd name="T0" fmla="*/ 131 w 252"/>
                  <a:gd name="T1" fmla="*/ 0 h 201"/>
                  <a:gd name="T2" fmla="*/ 146 w 252"/>
                  <a:gd name="T3" fmla="*/ 2 h 201"/>
                  <a:gd name="T4" fmla="*/ 160 w 252"/>
                  <a:gd name="T5" fmla="*/ 5 h 201"/>
                  <a:gd name="T6" fmla="*/ 173 w 252"/>
                  <a:gd name="T7" fmla="*/ 9 h 201"/>
                  <a:gd name="T8" fmla="*/ 181 w 252"/>
                  <a:gd name="T9" fmla="*/ 10 h 201"/>
                  <a:gd name="T10" fmla="*/ 199 w 252"/>
                  <a:gd name="T11" fmla="*/ 22 h 201"/>
                  <a:gd name="T12" fmla="*/ 217 w 252"/>
                  <a:gd name="T13" fmla="*/ 35 h 201"/>
                  <a:gd name="T14" fmla="*/ 232 w 252"/>
                  <a:gd name="T15" fmla="*/ 48 h 201"/>
                  <a:gd name="T16" fmla="*/ 244 w 252"/>
                  <a:gd name="T17" fmla="*/ 63 h 201"/>
                  <a:gd name="T18" fmla="*/ 252 w 252"/>
                  <a:gd name="T19" fmla="*/ 80 h 201"/>
                  <a:gd name="T20" fmla="*/ 252 w 252"/>
                  <a:gd name="T21" fmla="*/ 101 h 201"/>
                  <a:gd name="T22" fmla="*/ 251 w 252"/>
                  <a:gd name="T23" fmla="*/ 120 h 201"/>
                  <a:gd name="T24" fmla="*/ 247 w 252"/>
                  <a:gd name="T25" fmla="*/ 137 h 201"/>
                  <a:gd name="T26" fmla="*/ 240 w 252"/>
                  <a:gd name="T27" fmla="*/ 153 h 201"/>
                  <a:gd name="T28" fmla="*/ 231 w 252"/>
                  <a:gd name="T29" fmla="*/ 167 h 201"/>
                  <a:gd name="T30" fmla="*/ 217 w 252"/>
                  <a:gd name="T31" fmla="*/ 179 h 201"/>
                  <a:gd name="T32" fmla="*/ 199 w 252"/>
                  <a:gd name="T33" fmla="*/ 188 h 201"/>
                  <a:gd name="T34" fmla="*/ 178 w 252"/>
                  <a:gd name="T35" fmla="*/ 195 h 201"/>
                  <a:gd name="T36" fmla="*/ 152 w 252"/>
                  <a:gd name="T37" fmla="*/ 199 h 201"/>
                  <a:gd name="T38" fmla="*/ 121 w 252"/>
                  <a:gd name="T39" fmla="*/ 201 h 201"/>
                  <a:gd name="T40" fmla="*/ 95 w 252"/>
                  <a:gd name="T41" fmla="*/ 199 h 201"/>
                  <a:gd name="T42" fmla="*/ 73 w 252"/>
                  <a:gd name="T43" fmla="*/ 192 h 201"/>
                  <a:gd name="T44" fmla="*/ 51 w 252"/>
                  <a:gd name="T45" fmla="*/ 182 h 201"/>
                  <a:gd name="T46" fmla="*/ 34 w 252"/>
                  <a:gd name="T47" fmla="*/ 169 h 201"/>
                  <a:gd name="T48" fmla="*/ 19 w 252"/>
                  <a:gd name="T49" fmla="*/ 154 h 201"/>
                  <a:gd name="T50" fmla="*/ 9 w 252"/>
                  <a:gd name="T51" fmla="*/ 137 h 201"/>
                  <a:gd name="T52" fmla="*/ 2 w 252"/>
                  <a:gd name="T53" fmla="*/ 119 h 201"/>
                  <a:gd name="T54" fmla="*/ 0 w 252"/>
                  <a:gd name="T55" fmla="*/ 101 h 201"/>
                  <a:gd name="T56" fmla="*/ 3 w 252"/>
                  <a:gd name="T57" fmla="*/ 79 h 201"/>
                  <a:gd name="T58" fmla="*/ 11 w 252"/>
                  <a:gd name="T59" fmla="*/ 60 h 201"/>
                  <a:gd name="T60" fmla="*/ 22 w 252"/>
                  <a:gd name="T61" fmla="*/ 43 h 201"/>
                  <a:gd name="T62" fmla="*/ 40 w 252"/>
                  <a:gd name="T63" fmla="*/ 28 h 201"/>
                  <a:gd name="T64" fmla="*/ 59 w 252"/>
                  <a:gd name="T65" fmla="*/ 16 h 201"/>
                  <a:gd name="T66" fmla="*/ 80 w 252"/>
                  <a:gd name="T67" fmla="*/ 7 h 201"/>
                  <a:gd name="T68" fmla="*/ 105 w 252"/>
                  <a:gd name="T69" fmla="*/ 2 h 201"/>
                  <a:gd name="T70" fmla="*/ 131 w 252"/>
                  <a:gd name="T71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52" h="201">
                    <a:moveTo>
                      <a:pt x="131" y="0"/>
                    </a:moveTo>
                    <a:lnTo>
                      <a:pt x="146" y="2"/>
                    </a:lnTo>
                    <a:lnTo>
                      <a:pt x="160" y="5"/>
                    </a:lnTo>
                    <a:lnTo>
                      <a:pt x="173" y="9"/>
                    </a:lnTo>
                    <a:lnTo>
                      <a:pt x="181" y="10"/>
                    </a:lnTo>
                    <a:lnTo>
                      <a:pt x="199" y="22"/>
                    </a:lnTo>
                    <a:lnTo>
                      <a:pt x="217" y="35"/>
                    </a:lnTo>
                    <a:lnTo>
                      <a:pt x="232" y="48"/>
                    </a:lnTo>
                    <a:lnTo>
                      <a:pt x="244" y="63"/>
                    </a:lnTo>
                    <a:lnTo>
                      <a:pt x="252" y="80"/>
                    </a:lnTo>
                    <a:lnTo>
                      <a:pt x="252" y="101"/>
                    </a:lnTo>
                    <a:lnTo>
                      <a:pt x="251" y="120"/>
                    </a:lnTo>
                    <a:lnTo>
                      <a:pt x="247" y="137"/>
                    </a:lnTo>
                    <a:lnTo>
                      <a:pt x="240" y="153"/>
                    </a:lnTo>
                    <a:lnTo>
                      <a:pt x="231" y="167"/>
                    </a:lnTo>
                    <a:lnTo>
                      <a:pt x="217" y="179"/>
                    </a:lnTo>
                    <a:lnTo>
                      <a:pt x="199" y="188"/>
                    </a:lnTo>
                    <a:lnTo>
                      <a:pt x="178" y="195"/>
                    </a:lnTo>
                    <a:lnTo>
                      <a:pt x="152" y="199"/>
                    </a:lnTo>
                    <a:lnTo>
                      <a:pt x="121" y="201"/>
                    </a:lnTo>
                    <a:lnTo>
                      <a:pt x="95" y="199"/>
                    </a:lnTo>
                    <a:lnTo>
                      <a:pt x="73" y="192"/>
                    </a:lnTo>
                    <a:lnTo>
                      <a:pt x="51" y="182"/>
                    </a:lnTo>
                    <a:lnTo>
                      <a:pt x="34" y="169"/>
                    </a:lnTo>
                    <a:lnTo>
                      <a:pt x="19" y="154"/>
                    </a:lnTo>
                    <a:lnTo>
                      <a:pt x="9" y="137"/>
                    </a:lnTo>
                    <a:lnTo>
                      <a:pt x="2" y="119"/>
                    </a:lnTo>
                    <a:lnTo>
                      <a:pt x="0" y="101"/>
                    </a:lnTo>
                    <a:lnTo>
                      <a:pt x="3" y="79"/>
                    </a:lnTo>
                    <a:lnTo>
                      <a:pt x="11" y="60"/>
                    </a:lnTo>
                    <a:lnTo>
                      <a:pt x="22" y="43"/>
                    </a:lnTo>
                    <a:lnTo>
                      <a:pt x="40" y="28"/>
                    </a:lnTo>
                    <a:lnTo>
                      <a:pt x="59" y="16"/>
                    </a:lnTo>
                    <a:lnTo>
                      <a:pt x="80" y="7"/>
                    </a:lnTo>
                    <a:lnTo>
                      <a:pt x="105" y="2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4" name="Freeform 19"/>
              <p:cNvSpPr>
                <a:spLocks/>
              </p:cNvSpPr>
              <p:nvPr/>
            </p:nvSpPr>
            <p:spPr bwMode="auto">
              <a:xfrm>
                <a:off x="-409" y="2347"/>
                <a:ext cx="25" cy="31"/>
              </a:xfrm>
              <a:custGeom>
                <a:avLst/>
                <a:gdLst>
                  <a:gd name="T0" fmla="*/ 73 w 175"/>
                  <a:gd name="T1" fmla="*/ 0 h 220"/>
                  <a:gd name="T2" fmla="*/ 94 w 175"/>
                  <a:gd name="T3" fmla="*/ 3 h 220"/>
                  <a:gd name="T4" fmla="*/ 113 w 175"/>
                  <a:gd name="T5" fmla="*/ 11 h 220"/>
                  <a:gd name="T6" fmla="*/ 130 w 175"/>
                  <a:gd name="T7" fmla="*/ 25 h 220"/>
                  <a:gd name="T8" fmla="*/ 145 w 175"/>
                  <a:gd name="T9" fmla="*/ 42 h 220"/>
                  <a:gd name="T10" fmla="*/ 158 w 175"/>
                  <a:gd name="T11" fmla="*/ 62 h 220"/>
                  <a:gd name="T12" fmla="*/ 168 w 175"/>
                  <a:gd name="T13" fmla="*/ 85 h 220"/>
                  <a:gd name="T14" fmla="*/ 173 w 175"/>
                  <a:gd name="T15" fmla="*/ 110 h 220"/>
                  <a:gd name="T16" fmla="*/ 175 w 175"/>
                  <a:gd name="T17" fmla="*/ 136 h 220"/>
                  <a:gd name="T18" fmla="*/ 171 w 175"/>
                  <a:gd name="T19" fmla="*/ 158 h 220"/>
                  <a:gd name="T20" fmla="*/ 163 w 175"/>
                  <a:gd name="T21" fmla="*/ 179 h 220"/>
                  <a:gd name="T22" fmla="*/ 151 w 175"/>
                  <a:gd name="T23" fmla="*/ 196 h 220"/>
                  <a:gd name="T24" fmla="*/ 137 w 175"/>
                  <a:gd name="T25" fmla="*/ 210 h 220"/>
                  <a:gd name="T26" fmla="*/ 121 w 175"/>
                  <a:gd name="T27" fmla="*/ 218 h 220"/>
                  <a:gd name="T28" fmla="*/ 104 w 175"/>
                  <a:gd name="T29" fmla="*/ 220 h 220"/>
                  <a:gd name="T30" fmla="*/ 82 w 175"/>
                  <a:gd name="T31" fmla="*/ 218 h 220"/>
                  <a:gd name="T32" fmla="*/ 63 w 175"/>
                  <a:gd name="T33" fmla="*/ 210 h 220"/>
                  <a:gd name="T34" fmla="*/ 46 w 175"/>
                  <a:gd name="T35" fmla="*/ 196 h 220"/>
                  <a:gd name="T36" fmla="*/ 31 w 175"/>
                  <a:gd name="T37" fmla="*/ 179 h 220"/>
                  <a:gd name="T38" fmla="*/ 18 w 175"/>
                  <a:gd name="T39" fmla="*/ 158 h 220"/>
                  <a:gd name="T40" fmla="*/ 9 w 175"/>
                  <a:gd name="T41" fmla="*/ 136 h 220"/>
                  <a:gd name="T42" fmla="*/ 3 w 175"/>
                  <a:gd name="T43" fmla="*/ 110 h 220"/>
                  <a:gd name="T44" fmla="*/ 0 w 175"/>
                  <a:gd name="T45" fmla="*/ 89 h 220"/>
                  <a:gd name="T46" fmla="*/ 2 w 175"/>
                  <a:gd name="T47" fmla="*/ 67 h 220"/>
                  <a:gd name="T48" fmla="*/ 7 w 175"/>
                  <a:gd name="T49" fmla="*/ 49 h 220"/>
                  <a:gd name="T50" fmla="*/ 14 w 175"/>
                  <a:gd name="T51" fmla="*/ 32 h 220"/>
                  <a:gd name="T52" fmla="*/ 26 w 175"/>
                  <a:gd name="T53" fmla="*/ 19 h 220"/>
                  <a:gd name="T54" fmla="*/ 39 w 175"/>
                  <a:gd name="T55" fmla="*/ 9 h 220"/>
                  <a:gd name="T56" fmla="*/ 55 w 175"/>
                  <a:gd name="T57" fmla="*/ 2 h 220"/>
                  <a:gd name="T58" fmla="*/ 73 w 175"/>
                  <a:gd name="T59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75" h="220">
                    <a:moveTo>
                      <a:pt x="73" y="0"/>
                    </a:moveTo>
                    <a:lnTo>
                      <a:pt x="94" y="3"/>
                    </a:lnTo>
                    <a:lnTo>
                      <a:pt x="113" y="11"/>
                    </a:lnTo>
                    <a:lnTo>
                      <a:pt x="130" y="25"/>
                    </a:lnTo>
                    <a:lnTo>
                      <a:pt x="145" y="42"/>
                    </a:lnTo>
                    <a:lnTo>
                      <a:pt x="158" y="62"/>
                    </a:lnTo>
                    <a:lnTo>
                      <a:pt x="168" y="85"/>
                    </a:lnTo>
                    <a:lnTo>
                      <a:pt x="173" y="110"/>
                    </a:lnTo>
                    <a:lnTo>
                      <a:pt x="175" y="136"/>
                    </a:lnTo>
                    <a:lnTo>
                      <a:pt x="171" y="158"/>
                    </a:lnTo>
                    <a:lnTo>
                      <a:pt x="163" y="179"/>
                    </a:lnTo>
                    <a:lnTo>
                      <a:pt x="151" y="196"/>
                    </a:lnTo>
                    <a:lnTo>
                      <a:pt x="137" y="210"/>
                    </a:lnTo>
                    <a:lnTo>
                      <a:pt x="121" y="218"/>
                    </a:lnTo>
                    <a:lnTo>
                      <a:pt x="104" y="220"/>
                    </a:lnTo>
                    <a:lnTo>
                      <a:pt x="82" y="218"/>
                    </a:lnTo>
                    <a:lnTo>
                      <a:pt x="63" y="210"/>
                    </a:lnTo>
                    <a:lnTo>
                      <a:pt x="46" y="196"/>
                    </a:lnTo>
                    <a:lnTo>
                      <a:pt x="31" y="179"/>
                    </a:lnTo>
                    <a:lnTo>
                      <a:pt x="18" y="158"/>
                    </a:lnTo>
                    <a:lnTo>
                      <a:pt x="9" y="136"/>
                    </a:lnTo>
                    <a:lnTo>
                      <a:pt x="3" y="110"/>
                    </a:lnTo>
                    <a:lnTo>
                      <a:pt x="0" y="89"/>
                    </a:lnTo>
                    <a:lnTo>
                      <a:pt x="2" y="67"/>
                    </a:lnTo>
                    <a:lnTo>
                      <a:pt x="7" y="49"/>
                    </a:lnTo>
                    <a:lnTo>
                      <a:pt x="14" y="32"/>
                    </a:lnTo>
                    <a:lnTo>
                      <a:pt x="26" y="19"/>
                    </a:lnTo>
                    <a:lnTo>
                      <a:pt x="39" y="9"/>
                    </a:lnTo>
                    <a:lnTo>
                      <a:pt x="55" y="2"/>
                    </a:lnTo>
                    <a:lnTo>
                      <a:pt x="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6" name="Freeform 20"/>
              <p:cNvSpPr>
                <a:spLocks noEditPoints="1"/>
              </p:cNvSpPr>
              <p:nvPr/>
            </p:nvSpPr>
            <p:spPr bwMode="auto">
              <a:xfrm>
                <a:off x="-461" y="2303"/>
                <a:ext cx="167" cy="167"/>
              </a:xfrm>
              <a:custGeom>
                <a:avLst/>
                <a:gdLst>
                  <a:gd name="T0" fmla="*/ 394 w 1169"/>
                  <a:gd name="T1" fmla="*/ 292 h 1165"/>
                  <a:gd name="T2" fmla="*/ 322 w 1169"/>
                  <a:gd name="T3" fmla="*/ 340 h 1165"/>
                  <a:gd name="T4" fmla="*/ 292 w 1169"/>
                  <a:gd name="T5" fmla="*/ 412 h 1165"/>
                  <a:gd name="T6" fmla="*/ 315 w 1169"/>
                  <a:gd name="T7" fmla="*/ 485 h 1165"/>
                  <a:gd name="T8" fmla="*/ 377 w 1169"/>
                  <a:gd name="T9" fmla="*/ 532 h 1165"/>
                  <a:gd name="T10" fmla="*/ 453 w 1169"/>
                  <a:gd name="T11" fmla="*/ 543 h 1165"/>
                  <a:gd name="T12" fmla="*/ 443 w 1169"/>
                  <a:gd name="T13" fmla="*/ 572 h 1165"/>
                  <a:gd name="T14" fmla="*/ 452 w 1169"/>
                  <a:gd name="T15" fmla="*/ 623 h 1165"/>
                  <a:gd name="T16" fmla="*/ 386 w 1169"/>
                  <a:gd name="T17" fmla="*/ 646 h 1165"/>
                  <a:gd name="T18" fmla="*/ 294 w 1169"/>
                  <a:gd name="T19" fmla="*/ 681 h 1165"/>
                  <a:gd name="T20" fmla="*/ 245 w 1169"/>
                  <a:gd name="T21" fmla="*/ 748 h 1165"/>
                  <a:gd name="T22" fmla="*/ 252 w 1169"/>
                  <a:gd name="T23" fmla="*/ 812 h 1165"/>
                  <a:gd name="T24" fmla="*/ 299 w 1169"/>
                  <a:gd name="T25" fmla="*/ 855 h 1165"/>
                  <a:gd name="T26" fmla="*/ 374 w 1169"/>
                  <a:gd name="T27" fmla="*/ 879 h 1165"/>
                  <a:gd name="T28" fmla="*/ 468 w 1169"/>
                  <a:gd name="T29" fmla="*/ 882 h 1165"/>
                  <a:gd name="T30" fmla="*/ 549 w 1169"/>
                  <a:gd name="T31" fmla="*/ 858 h 1165"/>
                  <a:gd name="T32" fmla="*/ 598 w 1169"/>
                  <a:gd name="T33" fmla="*/ 813 h 1165"/>
                  <a:gd name="T34" fmla="*/ 614 w 1169"/>
                  <a:gd name="T35" fmla="*/ 753 h 1165"/>
                  <a:gd name="T36" fmla="*/ 603 w 1169"/>
                  <a:gd name="T37" fmla="*/ 686 h 1165"/>
                  <a:gd name="T38" fmla="*/ 554 w 1169"/>
                  <a:gd name="T39" fmla="*/ 633 h 1165"/>
                  <a:gd name="T40" fmla="*/ 521 w 1169"/>
                  <a:gd name="T41" fmla="*/ 607 h 1165"/>
                  <a:gd name="T42" fmla="*/ 503 w 1169"/>
                  <a:gd name="T43" fmla="*/ 572 h 1165"/>
                  <a:gd name="T44" fmla="*/ 516 w 1169"/>
                  <a:gd name="T45" fmla="*/ 544 h 1165"/>
                  <a:gd name="T46" fmla="*/ 560 w 1169"/>
                  <a:gd name="T47" fmla="*/ 504 h 1165"/>
                  <a:gd name="T48" fmla="*/ 592 w 1169"/>
                  <a:gd name="T49" fmla="*/ 445 h 1165"/>
                  <a:gd name="T50" fmla="*/ 589 w 1169"/>
                  <a:gd name="T51" fmla="*/ 380 h 1165"/>
                  <a:gd name="T52" fmla="*/ 563 w 1169"/>
                  <a:gd name="T53" fmla="*/ 330 h 1165"/>
                  <a:gd name="T54" fmla="*/ 594 w 1169"/>
                  <a:gd name="T55" fmla="*/ 312 h 1165"/>
                  <a:gd name="T56" fmla="*/ 806 w 1169"/>
                  <a:gd name="T57" fmla="*/ 272 h 1165"/>
                  <a:gd name="T58" fmla="*/ 694 w 1169"/>
                  <a:gd name="T59" fmla="*/ 423 h 1165"/>
                  <a:gd name="T60" fmla="*/ 846 w 1169"/>
                  <a:gd name="T61" fmla="*/ 533 h 1165"/>
                  <a:gd name="T62" fmla="*/ 956 w 1169"/>
                  <a:gd name="T63" fmla="*/ 382 h 1165"/>
                  <a:gd name="T64" fmla="*/ 806 w 1169"/>
                  <a:gd name="T65" fmla="*/ 272 h 1165"/>
                  <a:gd name="T66" fmla="*/ 725 w 1169"/>
                  <a:gd name="T67" fmla="*/ 13 h 1165"/>
                  <a:gd name="T68" fmla="*/ 890 w 1169"/>
                  <a:gd name="T69" fmla="*/ 77 h 1165"/>
                  <a:gd name="T70" fmla="*/ 1024 w 1169"/>
                  <a:gd name="T71" fmla="*/ 185 h 1165"/>
                  <a:gd name="T72" fmla="*/ 1118 w 1169"/>
                  <a:gd name="T73" fmla="*/ 331 h 1165"/>
                  <a:gd name="T74" fmla="*/ 1166 w 1169"/>
                  <a:gd name="T75" fmla="*/ 502 h 1165"/>
                  <a:gd name="T76" fmla="*/ 1156 w 1169"/>
                  <a:gd name="T77" fmla="*/ 684 h 1165"/>
                  <a:gd name="T78" fmla="*/ 1092 w 1169"/>
                  <a:gd name="T79" fmla="*/ 847 h 1165"/>
                  <a:gd name="T80" fmla="*/ 983 w 1169"/>
                  <a:gd name="T81" fmla="*/ 980 h 1165"/>
                  <a:gd name="T82" fmla="*/ 837 w 1169"/>
                  <a:gd name="T83" fmla="*/ 1075 h 1165"/>
                  <a:gd name="T84" fmla="*/ 666 w 1169"/>
                  <a:gd name="T85" fmla="*/ 1122 h 1165"/>
                  <a:gd name="T86" fmla="*/ 495 w 1169"/>
                  <a:gd name="T87" fmla="*/ 1113 h 1165"/>
                  <a:gd name="T88" fmla="*/ 342 w 1169"/>
                  <a:gd name="T89" fmla="*/ 1055 h 1165"/>
                  <a:gd name="T90" fmla="*/ 80 w 1169"/>
                  <a:gd name="T91" fmla="*/ 1165 h 1165"/>
                  <a:gd name="T92" fmla="*/ 22 w 1169"/>
                  <a:gd name="T93" fmla="*/ 1107 h 1165"/>
                  <a:gd name="T94" fmla="*/ 143 w 1169"/>
                  <a:gd name="T95" fmla="*/ 879 h 1165"/>
                  <a:gd name="T96" fmla="*/ 75 w 1169"/>
                  <a:gd name="T97" fmla="*/ 757 h 1165"/>
                  <a:gd name="T98" fmla="*/ 43 w 1169"/>
                  <a:gd name="T99" fmla="*/ 614 h 1165"/>
                  <a:gd name="T100" fmla="*/ 53 w 1169"/>
                  <a:gd name="T101" fmla="*/ 442 h 1165"/>
                  <a:gd name="T102" fmla="*/ 117 w 1169"/>
                  <a:gd name="T103" fmla="*/ 278 h 1165"/>
                  <a:gd name="T104" fmla="*/ 226 w 1169"/>
                  <a:gd name="T105" fmla="*/ 145 h 1165"/>
                  <a:gd name="T106" fmla="*/ 371 w 1169"/>
                  <a:gd name="T107" fmla="*/ 51 h 1165"/>
                  <a:gd name="T108" fmla="*/ 543 w 1169"/>
                  <a:gd name="T109" fmla="*/ 4 h 1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69" h="1165">
                    <a:moveTo>
                      <a:pt x="453" y="282"/>
                    </a:moveTo>
                    <a:lnTo>
                      <a:pt x="423" y="285"/>
                    </a:lnTo>
                    <a:lnTo>
                      <a:pt x="394" y="292"/>
                    </a:lnTo>
                    <a:lnTo>
                      <a:pt x="367" y="304"/>
                    </a:lnTo>
                    <a:lnTo>
                      <a:pt x="342" y="320"/>
                    </a:lnTo>
                    <a:lnTo>
                      <a:pt x="322" y="340"/>
                    </a:lnTo>
                    <a:lnTo>
                      <a:pt x="306" y="362"/>
                    </a:lnTo>
                    <a:lnTo>
                      <a:pt x="296" y="386"/>
                    </a:lnTo>
                    <a:lnTo>
                      <a:pt x="292" y="412"/>
                    </a:lnTo>
                    <a:lnTo>
                      <a:pt x="295" y="438"/>
                    </a:lnTo>
                    <a:lnTo>
                      <a:pt x="302" y="462"/>
                    </a:lnTo>
                    <a:lnTo>
                      <a:pt x="315" y="485"/>
                    </a:lnTo>
                    <a:lnTo>
                      <a:pt x="333" y="504"/>
                    </a:lnTo>
                    <a:lnTo>
                      <a:pt x="353" y="520"/>
                    </a:lnTo>
                    <a:lnTo>
                      <a:pt x="377" y="532"/>
                    </a:lnTo>
                    <a:lnTo>
                      <a:pt x="403" y="540"/>
                    </a:lnTo>
                    <a:lnTo>
                      <a:pt x="433" y="543"/>
                    </a:lnTo>
                    <a:lnTo>
                      <a:pt x="453" y="543"/>
                    </a:lnTo>
                    <a:lnTo>
                      <a:pt x="446" y="553"/>
                    </a:lnTo>
                    <a:lnTo>
                      <a:pt x="443" y="563"/>
                    </a:lnTo>
                    <a:lnTo>
                      <a:pt x="443" y="572"/>
                    </a:lnTo>
                    <a:lnTo>
                      <a:pt x="444" y="588"/>
                    </a:lnTo>
                    <a:lnTo>
                      <a:pt x="448" y="605"/>
                    </a:lnTo>
                    <a:lnTo>
                      <a:pt x="452" y="623"/>
                    </a:lnTo>
                    <a:lnTo>
                      <a:pt x="453" y="643"/>
                    </a:lnTo>
                    <a:lnTo>
                      <a:pt x="423" y="643"/>
                    </a:lnTo>
                    <a:lnTo>
                      <a:pt x="386" y="646"/>
                    </a:lnTo>
                    <a:lnTo>
                      <a:pt x="352" y="654"/>
                    </a:lnTo>
                    <a:lnTo>
                      <a:pt x="321" y="665"/>
                    </a:lnTo>
                    <a:lnTo>
                      <a:pt x="294" y="681"/>
                    </a:lnTo>
                    <a:lnTo>
                      <a:pt x="272" y="702"/>
                    </a:lnTo>
                    <a:lnTo>
                      <a:pt x="255" y="723"/>
                    </a:lnTo>
                    <a:lnTo>
                      <a:pt x="245" y="748"/>
                    </a:lnTo>
                    <a:lnTo>
                      <a:pt x="241" y="773"/>
                    </a:lnTo>
                    <a:lnTo>
                      <a:pt x="245" y="794"/>
                    </a:lnTo>
                    <a:lnTo>
                      <a:pt x="252" y="812"/>
                    </a:lnTo>
                    <a:lnTo>
                      <a:pt x="264" y="828"/>
                    </a:lnTo>
                    <a:lnTo>
                      <a:pt x="280" y="843"/>
                    </a:lnTo>
                    <a:lnTo>
                      <a:pt x="299" y="855"/>
                    </a:lnTo>
                    <a:lnTo>
                      <a:pt x="322" y="865"/>
                    </a:lnTo>
                    <a:lnTo>
                      <a:pt x="348" y="873"/>
                    </a:lnTo>
                    <a:lnTo>
                      <a:pt x="374" y="879"/>
                    </a:lnTo>
                    <a:lnTo>
                      <a:pt x="403" y="882"/>
                    </a:lnTo>
                    <a:lnTo>
                      <a:pt x="433" y="884"/>
                    </a:lnTo>
                    <a:lnTo>
                      <a:pt x="468" y="882"/>
                    </a:lnTo>
                    <a:lnTo>
                      <a:pt x="498" y="877"/>
                    </a:lnTo>
                    <a:lnTo>
                      <a:pt x="526" y="869"/>
                    </a:lnTo>
                    <a:lnTo>
                      <a:pt x="549" y="858"/>
                    </a:lnTo>
                    <a:lnTo>
                      <a:pt x="569" y="845"/>
                    </a:lnTo>
                    <a:lnTo>
                      <a:pt x="585" y="830"/>
                    </a:lnTo>
                    <a:lnTo>
                      <a:pt x="598" y="813"/>
                    </a:lnTo>
                    <a:lnTo>
                      <a:pt x="607" y="794"/>
                    </a:lnTo>
                    <a:lnTo>
                      <a:pt x="613" y="775"/>
                    </a:lnTo>
                    <a:lnTo>
                      <a:pt x="614" y="753"/>
                    </a:lnTo>
                    <a:lnTo>
                      <a:pt x="613" y="730"/>
                    </a:lnTo>
                    <a:lnTo>
                      <a:pt x="610" y="706"/>
                    </a:lnTo>
                    <a:lnTo>
                      <a:pt x="603" y="686"/>
                    </a:lnTo>
                    <a:lnTo>
                      <a:pt x="591" y="667"/>
                    </a:lnTo>
                    <a:lnTo>
                      <a:pt x="575" y="649"/>
                    </a:lnTo>
                    <a:lnTo>
                      <a:pt x="554" y="633"/>
                    </a:lnTo>
                    <a:lnTo>
                      <a:pt x="543" y="626"/>
                    </a:lnTo>
                    <a:lnTo>
                      <a:pt x="532" y="617"/>
                    </a:lnTo>
                    <a:lnTo>
                      <a:pt x="521" y="607"/>
                    </a:lnTo>
                    <a:lnTo>
                      <a:pt x="512" y="595"/>
                    </a:lnTo>
                    <a:lnTo>
                      <a:pt x="505" y="583"/>
                    </a:lnTo>
                    <a:lnTo>
                      <a:pt x="503" y="572"/>
                    </a:lnTo>
                    <a:lnTo>
                      <a:pt x="504" y="562"/>
                    </a:lnTo>
                    <a:lnTo>
                      <a:pt x="509" y="552"/>
                    </a:lnTo>
                    <a:lnTo>
                      <a:pt x="516" y="544"/>
                    </a:lnTo>
                    <a:lnTo>
                      <a:pt x="528" y="534"/>
                    </a:lnTo>
                    <a:lnTo>
                      <a:pt x="544" y="522"/>
                    </a:lnTo>
                    <a:lnTo>
                      <a:pt x="560" y="504"/>
                    </a:lnTo>
                    <a:lnTo>
                      <a:pt x="574" y="486"/>
                    </a:lnTo>
                    <a:lnTo>
                      <a:pt x="585" y="467"/>
                    </a:lnTo>
                    <a:lnTo>
                      <a:pt x="592" y="445"/>
                    </a:lnTo>
                    <a:lnTo>
                      <a:pt x="594" y="423"/>
                    </a:lnTo>
                    <a:lnTo>
                      <a:pt x="593" y="401"/>
                    </a:lnTo>
                    <a:lnTo>
                      <a:pt x="589" y="380"/>
                    </a:lnTo>
                    <a:lnTo>
                      <a:pt x="583" y="361"/>
                    </a:lnTo>
                    <a:lnTo>
                      <a:pt x="574" y="344"/>
                    </a:lnTo>
                    <a:lnTo>
                      <a:pt x="563" y="330"/>
                    </a:lnTo>
                    <a:lnTo>
                      <a:pt x="549" y="318"/>
                    </a:lnTo>
                    <a:lnTo>
                      <a:pt x="533" y="312"/>
                    </a:lnTo>
                    <a:lnTo>
                      <a:pt x="594" y="312"/>
                    </a:lnTo>
                    <a:lnTo>
                      <a:pt x="634" y="282"/>
                    </a:lnTo>
                    <a:lnTo>
                      <a:pt x="453" y="282"/>
                    </a:lnTo>
                    <a:close/>
                    <a:moveTo>
                      <a:pt x="806" y="272"/>
                    </a:moveTo>
                    <a:lnTo>
                      <a:pt x="806" y="382"/>
                    </a:lnTo>
                    <a:lnTo>
                      <a:pt x="694" y="382"/>
                    </a:lnTo>
                    <a:lnTo>
                      <a:pt x="694" y="423"/>
                    </a:lnTo>
                    <a:lnTo>
                      <a:pt x="806" y="423"/>
                    </a:lnTo>
                    <a:lnTo>
                      <a:pt x="806" y="533"/>
                    </a:lnTo>
                    <a:lnTo>
                      <a:pt x="846" y="533"/>
                    </a:lnTo>
                    <a:lnTo>
                      <a:pt x="846" y="423"/>
                    </a:lnTo>
                    <a:lnTo>
                      <a:pt x="956" y="423"/>
                    </a:lnTo>
                    <a:lnTo>
                      <a:pt x="956" y="382"/>
                    </a:lnTo>
                    <a:lnTo>
                      <a:pt x="846" y="382"/>
                    </a:lnTo>
                    <a:lnTo>
                      <a:pt x="846" y="272"/>
                    </a:lnTo>
                    <a:lnTo>
                      <a:pt x="806" y="272"/>
                    </a:lnTo>
                    <a:close/>
                    <a:moveTo>
                      <a:pt x="604" y="0"/>
                    </a:moveTo>
                    <a:lnTo>
                      <a:pt x="666" y="4"/>
                    </a:lnTo>
                    <a:lnTo>
                      <a:pt x="725" y="13"/>
                    </a:lnTo>
                    <a:lnTo>
                      <a:pt x="783" y="29"/>
                    </a:lnTo>
                    <a:lnTo>
                      <a:pt x="837" y="51"/>
                    </a:lnTo>
                    <a:lnTo>
                      <a:pt x="890" y="77"/>
                    </a:lnTo>
                    <a:lnTo>
                      <a:pt x="938" y="110"/>
                    </a:lnTo>
                    <a:lnTo>
                      <a:pt x="983" y="145"/>
                    </a:lnTo>
                    <a:lnTo>
                      <a:pt x="1024" y="185"/>
                    </a:lnTo>
                    <a:lnTo>
                      <a:pt x="1060" y="230"/>
                    </a:lnTo>
                    <a:lnTo>
                      <a:pt x="1092" y="278"/>
                    </a:lnTo>
                    <a:lnTo>
                      <a:pt x="1118" y="331"/>
                    </a:lnTo>
                    <a:lnTo>
                      <a:pt x="1140" y="385"/>
                    </a:lnTo>
                    <a:lnTo>
                      <a:pt x="1156" y="442"/>
                    </a:lnTo>
                    <a:lnTo>
                      <a:pt x="1166" y="502"/>
                    </a:lnTo>
                    <a:lnTo>
                      <a:pt x="1169" y="563"/>
                    </a:lnTo>
                    <a:lnTo>
                      <a:pt x="1166" y="624"/>
                    </a:lnTo>
                    <a:lnTo>
                      <a:pt x="1156" y="684"/>
                    </a:lnTo>
                    <a:lnTo>
                      <a:pt x="1140" y="740"/>
                    </a:lnTo>
                    <a:lnTo>
                      <a:pt x="1118" y="795"/>
                    </a:lnTo>
                    <a:lnTo>
                      <a:pt x="1092" y="847"/>
                    </a:lnTo>
                    <a:lnTo>
                      <a:pt x="1060" y="895"/>
                    </a:lnTo>
                    <a:lnTo>
                      <a:pt x="1024" y="939"/>
                    </a:lnTo>
                    <a:lnTo>
                      <a:pt x="983" y="980"/>
                    </a:lnTo>
                    <a:lnTo>
                      <a:pt x="938" y="1016"/>
                    </a:lnTo>
                    <a:lnTo>
                      <a:pt x="890" y="1048"/>
                    </a:lnTo>
                    <a:lnTo>
                      <a:pt x="837" y="1075"/>
                    </a:lnTo>
                    <a:lnTo>
                      <a:pt x="783" y="1096"/>
                    </a:lnTo>
                    <a:lnTo>
                      <a:pt x="725" y="1111"/>
                    </a:lnTo>
                    <a:lnTo>
                      <a:pt x="666" y="1122"/>
                    </a:lnTo>
                    <a:lnTo>
                      <a:pt x="604" y="1125"/>
                    </a:lnTo>
                    <a:lnTo>
                      <a:pt x="548" y="1122"/>
                    </a:lnTo>
                    <a:lnTo>
                      <a:pt x="495" y="1113"/>
                    </a:lnTo>
                    <a:lnTo>
                      <a:pt x="442" y="1098"/>
                    </a:lnTo>
                    <a:lnTo>
                      <a:pt x="392" y="1079"/>
                    </a:lnTo>
                    <a:lnTo>
                      <a:pt x="342" y="1055"/>
                    </a:lnTo>
                    <a:lnTo>
                      <a:pt x="296" y="1027"/>
                    </a:lnTo>
                    <a:lnTo>
                      <a:pt x="251" y="994"/>
                    </a:lnTo>
                    <a:lnTo>
                      <a:pt x="80" y="1165"/>
                    </a:lnTo>
                    <a:lnTo>
                      <a:pt x="63" y="1148"/>
                    </a:lnTo>
                    <a:lnTo>
                      <a:pt x="44" y="1128"/>
                    </a:lnTo>
                    <a:lnTo>
                      <a:pt x="22" y="1107"/>
                    </a:lnTo>
                    <a:lnTo>
                      <a:pt x="0" y="1085"/>
                    </a:lnTo>
                    <a:lnTo>
                      <a:pt x="170" y="915"/>
                    </a:lnTo>
                    <a:lnTo>
                      <a:pt x="143" y="879"/>
                    </a:lnTo>
                    <a:lnTo>
                      <a:pt x="117" y="841"/>
                    </a:lnTo>
                    <a:lnTo>
                      <a:pt x="94" y="800"/>
                    </a:lnTo>
                    <a:lnTo>
                      <a:pt x="75" y="757"/>
                    </a:lnTo>
                    <a:lnTo>
                      <a:pt x="60" y="711"/>
                    </a:lnTo>
                    <a:lnTo>
                      <a:pt x="49" y="664"/>
                    </a:lnTo>
                    <a:lnTo>
                      <a:pt x="43" y="614"/>
                    </a:lnTo>
                    <a:lnTo>
                      <a:pt x="39" y="563"/>
                    </a:lnTo>
                    <a:lnTo>
                      <a:pt x="44" y="502"/>
                    </a:lnTo>
                    <a:lnTo>
                      <a:pt x="53" y="442"/>
                    </a:lnTo>
                    <a:lnTo>
                      <a:pt x="68" y="385"/>
                    </a:lnTo>
                    <a:lnTo>
                      <a:pt x="90" y="331"/>
                    </a:lnTo>
                    <a:lnTo>
                      <a:pt x="117" y="278"/>
                    </a:lnTo>
                    <a:lnTo>
                      <a:pt x="149" y="230"/>
                    </a:lnTo>
                    <a:lnTo>
                      <a:pt x="185" y="185"/>
                    </a:lnTo>
                    <a:lnTo>
                      <a:pt x="226" y="145"/>
                    </a:lnTo>
                    <a:lnTo>
                      <a:pt x="270" y="110"/>
                    </a:lnTo>
                    <a:lnTo>
                      <a:pt x="320" y="77"/>
                    </a:lnTo>
                    <a:lnTo>
                      <a:pt x="371" y="51"/>
                    </a:lnTo>
                    <a:lnTo>
                      <a:pt x="426" y="29"/>
                    </a:lnTo>
                    <a:lnTo>
                      <a:pt x="483" y="13"/>
                    </a:lnTo>
                    <a:lnTo>
                      <a:pt x="543" y="4"/>
                    </a:lnTo>
                    <a:lnTo>
                      <a:pt x="60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8" name="Freeform 21"/>
              <p:cNvSpPr>
                <a:spLocks noEditPoints="1"/>
              </p:cNvSpPr>
              <p:nvPr/>
            </p:nvSpPr>
            <p:spPr bwMode="auto">
              <a:xfrm>
                <a:off x="-459" y="2628"/>
                <a:ext cx="167" cy="164"/>
              </a:xfrm>
              <a:custGeom>
                <a:avLst/>
                <a:gdLst>
                  <a:gd name="T0" fmla="*/ 434 w 1170"/>
                  <a:gd name="T1" fmla="*/ 852 h 1154"/>
                  <a:gd name="T2" fmla="*/ 747 w 1170"/>
                  <a:gd name="T3" fmla="*/ 492 h 1154"/>
                  <a:gd name="T4" fmla="*/ 680 w 1170"/>
                  <a:gd name="T5" fmla="*/ 509 h 1154"/>
                  <a:gd name="T6" fmla="*/ 641 w 1170"/>
                  <a:gd name="T7" fmla="*/ 542 h 1154"/>
                  <a:gd name="T8" fmla="*/ 515 w 1170"/>
                  <a:gd name="T9" fmla="*/ 502 h 1154"/>
                  <a:gd name="T10" fmla="*/ 636 w 1170"/>
                  <a:gd name="T11" fmla="*/ 632 h 1154"/>
                  <a:gd name="T12" fmla="*/ 665 w 1170"/>
                  <a:gd name="T13" fmla="*/ 600 h 1154"/>
                  <a:gd name="T14" fmla="*/ 714 w 1170"/>
                  <a:gd name="T15" fmla="*/ 595 h 1154"/>
                  <a:gd name="T16" fmla="*/ 750 w 1170"/>
                  <a:gd name="T17" fmla="*/ 629 h 1154"/>
                  <a:gd name="T18" fmla="*/ 756 w 1170"/>
                  <a:gd name="T19" fmla="*/ 852 h 1154"/>
                  <a:gd name="T20" fmla="*/ 886 w 1170"/>
                  <a:gd name="T21" fmla="*/ 621 h 1154"/>
                  <a:gd name="T22" fmla="*/ 861 w 1170"/>
                  <a:gd name="T23" fmla="*/ 547 h 1154"/>
                  <a:gd name="T24" fmla="*/ 812 w 1170"/>
                  <a:gd name="T25" fmla="*/ 506 h 1154"/>
                  <a:gd name="T26" fmla="*/ 747 w 1170"/>
                  <a:gd name="T27" fmla="*/ 492 h 1154"/>
                  <a:gd name="T28" fmla="*/ 347 w 1170"/>
                  <a:gd name="T29" fmla="*/ 340 h 1154"/>
                  <a:gd name="T30" fmla="*/ 315 w 1170"/>
                  <a:gd name="T31" fmla="*/ 376 h 1154"/>
                  <a:gd name="T32" fmla="*/ 322 w 1170"/>
                  <a:gd name="T33" fmla="*/ 420 h 1154"/>
                  <a:gd name="T34" fmla="*/ 364 w 1170"/>
                  <a:gd name="T35" fmla="*/ 449 h 1154"/>
                  <a:gd name="T36" fmla="*/ 418 w 1170"/>
                  <a:gd name="T37" fmla="*/ 445 h 1154"/>
                  <a:gd name="T38" fmla="*/ 448 w 1170"/>
                  <a:gd name="T39" fmla="*/ 410 h 1154"/>
                  <a:gd name="T40" fmla="*/ 445 w 1170"/>
                  <a:gd name="T41" fmla="*/ 363 h 1154"/>
                  <a:gd name="T42" fmla="*/ 403 w 1170"/>
                  <a:gd name="T43" fmla="*/ 334 h 1154"/>
                  <a:gd name="T44" fmla="*/ 242 w 1170"/>
                  <a:gd name="T45" fmla="*/ 170 h 1154"/>
                  <a:gd name="T46" fmla="*/ 359 w 1170"/>
                  <a:gd name="T47" fmla="*/ 94 h 1154"/>
                  <a:gd name="T48" fmla="*/ 497 w 1170"/>
                  <a:gd name="T49" fmla="*/ 49 h 1154"/>
                  <a:gd name="T50" fmla="*/ 657 w 1170"/>
                  <a:gd name="T51" fmla="*/ 43 h 1154"/>
                  <a:gd name="T52" fmla="*/ 829 w 1170"/>
                  <a:gd name="T53" fmla="*/ 88 h 1154"/>
                  <a:gd name="T54" fmla="*/ 975 w 1170"/>
                  <a:gd name="T55" fmla="*/ 180 h 1154"/>
                  <a:gd name="T56" fmla="*/ 1086 w 1170"/>
                  <a:gd name="T57" fmla="*/ 310 h 1154"/>
                  <a:gd name="T58" fmla="*/ 1153 w 1170"/>
                  <a:gd name="T59" fmla="*/ 472 h 1154"/>
                  <a:gd name="T60" fmla="*/ 1166 w 1170"/>
                  <a:gd name="T61" fmla="*/ 653 h 1154"/>
                  <a:gd name="T62" fmla="*/ 1119 w 1170"/>
                  <a:gd name="T63" fmla="*/ 824 h 1154"/>
                  <a:gd name="T64" fmla="*/ 1025 w 1170"/>
                  <a:gd name="T65" fmla="*/ 969 h 1154"/>
                  <a:gd name="T66" fmla="*/ 890 w 1170"/>
                  <a:gd name="T67" fmla="*/ 1077 h 1154"/>
                  <a:gd name="T68" fmla="*/ 726 w 1170"/>
                  <a:gd name="T69" fmla="*/ 1141 h 1154"/>
                  <a:gd name="T70" fmla="*/ 544 w 1170"/>
                  <a:gd name="T71" fmla="*/ 1150 h 1154"/>
                  <a:gd name="T72" fmla="*/ 372 w 1170"/>
                  <a:gd name="T73" fmla="*/ 1103 h 1154"/>
                  <a:gd name="T74" fmla="*/ 227 w 1170"/>
                  <a:gd name="T75" fmla="*/ 1009 h 1154"/>
                  <a:gd name="T76" fmla="*/ 117 w 1170"/>
                  <a:gd name="T77" fmla="*/ 876 h 1154"/>
                  <a:gd name="T78" fmla="*/ 54 w 1170"/>
                  <a:gd name="T79" fmla="*/ 712 h 1154"/>
                  <a:gd name="T80" fmla="*/ 44 w 1170"/>
                  <a:gd name="T81" fmla="*/ 537 h 1154"/>
                  <a:gd name="T82" fmla="*/ 86 w 1170"/>
                  <a:gd name="T83" fmla="*/ 380 h 1154"/>
                  <a:gd name="T84" fmla="*/ 172 w 1170"/>
                  <a:gd name="T85" fmla="*/ 241 h 1154"/>
                  <a:gd name="T86" fmla="*/ 36 w 1170"/>
                  <a:gd name="T87" fmla="*/ 39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70" h="1154">
                    <a:moveTo>
                      <a:pt x="324" y="502"/>
                    </a:moveTo>
                    <a:lnTo>
                      <a:pt x="324" y="852"/>
                    </a:lnTo>
                    <a:lnTo>
                      <a:pt x="434" y="852"/>
                    </a:lnTo>
                    <a:lnTo>
                      <a:pt x="434" y="502"/>
                    </a:lnTo>
                    <a:lnTo>
                      <a:pt x="324" y="502"/>
                    </a:lnTo>
                    <a:close/>
                    <a:moveTo>
                      <a:pt x="747" y="492"/>
                    </a:moveTo>
                    <a:lnTo>
                      <a:pt x="722" y="494"/>
                    </a:lnTo>
                    <a:lnTo>
                      <a:pt x="699" y="500"/>
                    </a:lnTo>
                    <a:lnTo>
                      <a:pt x="680" y="509"/>
                    </a:lnTo>
                    <a:lnTo>
                      <a:pt x="664" y="520"/>
                    </a:lnTo>
                    <a:lnTo>
                      <a:pt x="651" y="531"/>
                    </a:lnTo>
                    <a:lnTo>
                      <a:pt x="641" y="542"/>
                    </a:lnTo>
                    <a:lnTo>
                      <a:pt x="636" y="552"/>
                    </a:lnTo>
                    <a:lnTo>
                      <a:pt x="636" y="502"/>
                    </a:lnTo>
                    <a:lnTo>
                      <a:pt x="515" y="502"/>
                    </a:lnTo>
                    <a:lnTo>
                      <a:pt x="515" y="853"/>
                    </a:lnTo>
                    <a:lnTo>
                      <a:pt x="636" y="853"/>
                    </a:lnTo>
                    <a:lnTo>
                      <a:pt x="636" y="632"/>
                    </a:lnTo>
                    <a:lnTo>
                      <a:pt x="642" y="620"/>
                    </a:lnTo>
                    <a:lnTo>
                      <a:pt x="652" y="609"/>
                    </a:lnTo>
                    <a:lnTo>
                      <a:pt x="665" y="600"/>
                    </a:lnTo>
                    <a:lnTo>
                      <a:pt x="679" y="595"/>
                    </a:lnTo>
                    <a:lnTo>
                      <a:pt x="696" y="592"/>
                    </a:lnTo>
                    <a:lnTo>
                      <a:pt x="714" y="595"/>
                    </a:lnTo>
                    <a:lnTo>
                      <a:pt x="729" y="602"/>
                    </a:lnTo>
                    <a:lnTo>
                      <a:pt x="741" y="613"/>
                    </a:lnTo>
                    <a:lnTo>
                      <a:pt x="750" y="629"/>
                    </a:lnTo>
                    <a:lnTo>
                      <a:pt x="755" y="649"/>
                    </a:lnTo>
                    <a:lnTo>
                      <a:pt x="756" y="673"/>
                    </a:lnTo>
                    <a:lnTo>
                      <a:pt x="756" y="852"/>
                    </a:lnTo>
                    <a:lnTo>
                      <a:pt x="887" y="852"/>
                    </a:lnTo>
                    <a:lnTo>
                      <a:pt x="887" y="652"/>
                    </a:lnTo>
                    <a:lnTo>
                      <a:pt x="886" y="621"/>
                    </a:lnTo>
                    <a:lnTo>
                      <a:pt x="881" y="593"/>
                    </a:lnTo>
                    <a:lnTo>
                      <a:pt x="872" y="569"/>
                    </a:lnTo>
                    <a:lnTo>
                      <a:pt x="861" y="547"/>
                    </a:lnTo>
                    <a:lnTo>
                      <a:pt x="847" y="530"/>
                    </a:lnTo>
                    <a:lnTo>
                      <a:pt x="830" y="516"/>
                    </a:lnTo>
                    <a:lnTo>
                      <a:pt x="812" y="506"/>
                    </a:lnTo>
                    <a:lnTo>
                      <a:pt x="792" y="497"/>
                    </a:lnTo>
                    <a:lnTo>
                      <a:pt x="770" y="493"/>
                    </a:lnTo>
                    <a:lnTo>
                      <a:pt x="747" y="492"/>
                    </a:lnTo>
                    <a:close/>
                    <a:moveTo>
                      <a:pt x="384" y="330"/>
                    </a:moveTo>
                    <a:lnTo>
                      <a:pt x="364" y="334"/>
                    </a:lnTo>
                    <a:lnTo>
                      <a:pt x="347" y="340"/>
                    </a:lnTo>
                    <a:lnTo>
                      <a:pt x="333" y="350"/>
                    </a:lnTo>
                    <a:lnTo>
                      <a:pt x="322" y="363"/>
                    </a:lnTo>
                    <a:lnTo>
                      <a:pt x="315" y="376"/>
                    </a:lnTo>
                    <a:lnTo>
                      <a:pt x="313" y="391"/>
                    </a:lnTo>
                    <a:lnTo>
                      <a:pt x="315" y="406"/>
                    </a:lnTo>
                    <a:lnTo>
                      <a:pt x="322" y="420"/>
                    </a:lnTo>
                    <a:lnTo>
                      <a:pt x="333" y="432"/>
                    </a:lnTo>
                    <a:lnTo>
                      <a:pt x="347" y="443"/>
                    </a:lnTo>
                    <a:lnTo>
                      <a:pt x="364" y="449"/>
                    </a:lnTo>
                    <a:lnTo>
                      <a:pt x="384" y="451"/>
                    </a:lnTo>
                    <a:lnTo>
                      <a:pt x="402" y="449"/>
                    </a:lnTo>
                    <a:lnTo>
                      <a:pt x="418" y="445"/>
                    </a:lnTo>
                    <a:lnTo>
                      <a:pt x="430" y="436"/>
                    </a:lnTo>
                    <a:lnTo>
                      <a:pt x="441" y="425"/>
                    </a:lnTo>
                    <a:lnTo>
                      <a:pt x="448" y="410"/>
                    </a:lnTo>
                    <a:lnTo>
                      <a:pt x="455" y="391"/>
                    </a:lnTo>
                    <a:lnTo>
                      <a:pt x="451" y="376"/>
                    </a:lnTo>
                    <a:lnTo>
                      <a:pt x="445" y="363"/>
                    </a:lnTo>
                    <a:lnTo>
                      <a:pt x="434" y="350"/>
                    </a:lnTo>
                    <a:lnTo>
                      <a:pt x="420" y="340"/>
                    </a:lnTo>
                    <a:lnTo>
                      <a:pt x="403" y="334"/>
                    </a:lnTo>
                    <a:lnTo>
                      <a:pt x="384" y="330"/>
                    </a:lnTo>
                    <a:close/>
                    <a:moveTo>
                      <a:pt x="71" y="0"/>
                    </a:moveTo>
                    <a:lnTo>
                      <a:pt x="242" y="170"/>
                    </a:lnTo>
                    <a:lnTo>
                      <a:pt x="278" y="141"/>
                    </a:lnTo>
                    <a:lnTo>
                      <a:pt x="317" y="116"/>
                    </a:lnTo>
                    <a:lnTo>
                      <a:pt x="359" y="94"/>
                    </a:lnTo>
                    <a:lnTo>
                      <a:pt x="404" y="75"/>
                    </a:lnTo>
                    <a:lnTo>
                      <a:pt x="450" y="60"/>
                    </a:lnTo>
                    <a:lnTo>
                      <a:pt x="497" y="49"/>
                    </a:lnTo>
                    <a:lnTo>
                      <a:pt x="546" y="42"/>
                    </a:lnTo>
                    <a:lnTo>
                      <a:pt x="595" y="40"/>
                    </a:lnTo>
                    <a:lnTo>
                      <a:pt x="657" y="43"/>
                    </a:lnTo>
                    <a:lnTo>
                      <a:pt x="716" y="52"/>
                    </a:lnTo>
                    <a:lnTo>
                      <a:pt x="774" y="67"/>
                    </a:lnTo>
                    <a:lnTo>
                      <a:pt x="829" y="88"/>
                    </a:lnTo>
                    <a:lnTo>
                      <a:pt x="881" y="113"/>
                    </a:lnTo>
                    <a:lnTo>
                      <a:pt x="929" y="144"/>
                    </a:lnTo>
                    <a:lnTo>
                      <a:pt x="975" y="180"/>
                    </a:lnTo>
                    <a:lnTo>
                      <a:pt x="1016" y="219"/>
                    </a:lnTo>
                    <a:lnTo>
                      <a:pt x="1054" y="263"/>
                    </a:lnTo>
                    <a:lnTo>
                      <a:pt x="1086" y="310"/>
                    </a:lnTo>
                    <a:lnTo>
                      <a:pt x="1114" y="361"/>
                    </a:lnTo>
                    <a:lnTo>
                      <a:pt x="1136" y="415"/>
                    </a:lnTo>
                    <a:lnTo>
                      <a:pt x="1153" y="472"/>
                    </a:lnTo>
                    <a:lnTo>
                      <a:pt x="1164" y="530"/>
                    </a:lnTo>
                    <a:lnTo>
                      <a:pt x="1170" y="591"/>
                    </a:lnTo>
                    <a:lnTo>
                      <a:pt x="1166" y="653"/>
                    </a:lnTo>
                    <a:lnTo>
                      <a:pt x="1157" y="712"/>
                    </a:lnTo>
                    <a:lnTo>
                      <a:pt x="1141" y="770"/>
                    </a:lnTo>
                    <a:lnTo>
                      <a:pt x="1119" y="824"/>
                    </a:lnTo>
                    <a:lnTo>
                      <a:pt x="1093" y="876"/>
                    </a:lnTo>
                    <a:lnTo>
                      <a:pt x="1061" y="924"/>
                    </a:lnTo>
                    <a:lnTo>
                      <a:pt x="1025" y="969"/>
                    </a:lnTo>
                    <a:lnTo>
                      <a:pt x="984" y="1009"/>
                    </a:lnTo>
                    <a:lnTo>
                      <a:pt x="939" y="1046"/>
                    </a:lnTo>
                    <a:lnTo>
                      <a:pt x="890" y="1077"/>
                    </a:lnTo>
                    <a:lnTo>
                      <a:pt x="839" y="1103"/>
                    </a:lnTo>
                    <a:lnTo>
                      <a:pt x="784" y="1125"/>
                    </a:lnTo>
                    <a:lnTo>
                      <a:pt x="726" y="1141"/>
                    </a:lnTo>
                    <a:lnTo>
                      <a:pt x="667" y="1150"/>
                    </a:lnTo>
                    <a:lnTo>
                      <a:pt x="605" y="1154"/>
                    </a:lnTo>
                    <a:lnTo>
                      <a:pt x="544" y="1150"/>
                    </a:lnTo>
                    <a:lnTo>
                      <a:pt x="485" y="1141"/>
                    </a:lnTo>
                    <a:lnTo>
                      <a:pt x="427" y="1125"/>
                    </a:lnTo>
                    <a:lnTo>
                      <a:pt x="372" y="1103"/>
                    </a:lnTo>
                    <a:lnTo>
                      <a:pt x="320" y="1077"/>
                    </a:lnTo>
                    <a:lnTo>
                      <a:pt x="272" y="1046"/>
                    </a:lnTo>
                    <a:lnTo>
                      <a:pt x="227" y="1009"/>
                    </a:lnTo>
                    <a:lnTo>
                      <a:pt x="186" y="969"/>
                    </a:lnTo>
                    <a:lnTo>
                      <a:pt x="150" y="924"/>
                    </a:lnTo>
                    <a:lnTo>
                      <a:pt x="117" y="876"/>
                    </a:lnTo>
                    <a:lnTo>
                      <a:pt x="92" y="824"/>
                    </a:lnTo>
                    <a:lnTo>
                      <a:pt x="70" y="770"/>
                    </a:lnTo>
                    <a:lnTo>
                      <a:pt x="54" y="712"/>
                    </a:lnTo>
                    <a:lnTo>
                      <a:pt x="44" y="653"/>
                    </a:lnTo>
                    <a:lnTo>
                      <a:pt x="41" y="591"/>
                    </a:lnTo>
                    <a:lnTo>
                      <a:pt x="44" y="537"/>
                    </a:lnTo>
                    <a:lnTo>
                      <a:pt x="53" y="482"/>
                    </a:lnTo>
                    <a:lnTo>
                      <a:pt x="67" y="430"/>
                    </a:lnTo>
                    <a:lnTo>
                      <a:pt x="86" y="380"/>
                    </a:lnTo>
                    <a:lnTo>
                      <a:pt x="111" y="332"/>
                    </a:lnTo>
                    <a:lnTo>
                      <a:pt x="139" y="284"/>
                    </a:lnTo>
                    <a:lnTo>
                      <a:pt x="172" y="241"/>
                    </a:lnTo>
                    <a:lnTo>
                      <a:pt x="0" y="70"/>
                    </a:lnTo>
                    <a:lnTo>
                      <a:pt x="18" y="55"/>
                    </a:lnTo>
                    <a:lnTo>
                      <a:pt x="36" y="39"/>
                    </a:lnTo>
                    <a:lnTo>
                      <a:pt x="54" y="20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9" name="Freeform 22"/>
              <p:cNvSpPr>
                <a:spLocks noEditPoints="1"/>
              </p:cNvSpPr>
              <p:nvPr/>
            </p:nvSpPr>
            <p:spPr bwMode="auto">
              <a:xfrm>
                <a:off x="-783" y="2628"/>
                <a:ext cx="167" cy="166"/>
              </a:xfrm>
              <a:custGeom>
                <a:avLst/>
                <a:gdLst>
                  <a:gd name="T0" fmla="*/ 636 w 1169"/>
                  <a:gd name="T1" fmla="*/ 391 h 1164"/>
                  <a:gd name="T2" fmla="*/ 578 w 1169"/>
                  <a:gd name="T3" fmla="*/ 439 h 1164"/>
                  <a:gd name="T4" fmla="*/ 554 w 1169"/>
                  <a:gd name="T5" fmla="*/ 511 h 1164"/>
                  <a:gd name="T6" fmla="*/ 476 w 1169"/>
                  <a:gd name="T7" fmla="*/ 533 h 1164"/>
                  <a:gd name="T8" fmla="*/ 372 w 1169"/>
                  <a:gd name="T9" fmla="*/ 488 h 1164"/>
                  <a:gd name="T10" fmla="*/ 293 w 1169"/>
                  <a:gd name="T11" fmla="*/ 411 h 1164"/>
                  <a:gd name="T12" fmla="*/ 273 w 1169"/>
                  <a:gd name="T13" fmla="*/ 472 h 1164"/>
                  <a:gd name="T14" fmla="*/ 298 w 1169"/>
                  <a:gd name="T15" fmla="*/ 539 h 1164"/>
                  <a:gd name="T16" fmla="*/ 312 w 1169"/>
                  <a:gd name="T17" fmla="*/ 569 h 1164"/>
                  <a:gd name="T18" fmla="*/ 275 w 1169"/>
                  <a:gd name="T19" fmla="*/ 576 h 1164"/>
                  <a:gd name="T20" fmla="*/ 308 w 1169"/>
                  <a:gd name="T21" fmla="*/ 639 h 1164"/>
                  <a:gd name="T22" fmla="*/ 374 w 1169"/>
                  <a:gd name="T23" fmla="*/ 673 h 1164"/>
                  <a:gd name="T24" fmla="*/ 352 w 1169"/>
                  <a:gd name="T25" fmla="*/ 717 h 1164"/>
                  <a:gd name="T26" fmla="*/ 419 w 1169"/>
                  <a:gd name="T27" fmla="*/ 759 h 1164"/>
                  <a:gd name="T28" fmla="*/ 382 w 1169"/>
                  <a:gd name="T29" fmla="*/ 793 h 1164"/>
                  <a:gd name="T30" fmla="*/ 282 w 1169"/>
                  <a:gd name="T31" fmla="*/ 813 h 1164"/>
                  <a:gd name="T32" fmla="*/ 308 w 1169"/>
                  <a:gd name="T33" fmla="*/ 846 h 1164"/>
                  <a:gd name="T34" fmla="*/ 409 w 1169"/>
                  <a:gd name="T35" fmla="*/ 871 h 1164"/>
                  <a:gd name="T36" fmla="*/ 531 w 1169"/>
                  <a:gd name="T37" fmla="*/ 863 h 1164"/>
                  <a:gd name="T38" fmla="*/ 641 w 1169"/>
                  <a:gd name="T39" fmla="*/ 817 h 1164"/>
                  <a:gd name="T40" fmla="*/ 724 w 1169"/>
                  <a:gd name="T41" fmla="*/ 742 h 1164"/>
                  <a:gd name="T42" fmla="*/ 779 w 1169"/>
                  <a:gd name="T43" fmla="*/ 648 h 1164"/>
                  <a:gd name="T44" fmla="*/ 805 w 1169"/>
                  <a:gd name="T45" fmla="*/ 545 h 1164"/>
                  <a:gd name="T46" fmla="*/ 806 w 1169"/>
                  <a:gd name="T47" fmla="*/ 502 h 1164"/>
                  <a:gd name="T48" fmla="*/ 827 w 1169"/>
                  <a:gd name="T49" fmla="*/ 488 h 1164"/>
                  <a:gd name="T50" fmla="*/ 851 w 1169"/>
                  <a:gd name="T51" fmla="*/ 448 h 1164"/>
                  <a:gd name="T52" fmla="*/ 797 w 1169"/>
                  <a:gd name="T53" fmla="*/ 461 h 1164"/>
                  <a:gd name="T54" fmla="*/ 847 w 1169"/>
                  <a:gd name="T55" fmla="*/ 412 h 1164"/>
                  <a:gd name="T56" fmla="*/ 806 w 1169"/>
                  <a:gd name="T57" fmla="*/ 411 h 1164"/>
                  <a:gd name="T58" fmla="*/ 747 w 1169"/>
                  <a:gd name="T59" fmla="*/ 398 h 1164"/>
                  <a:gd name="T60" fmla="*/ 686 w 1169"/>
                  <a:gd name="T61" fmla="*/ 381 h 1164"/>
                  <a:gd name="T62" fmla="*/ 1125 w 1169"/>
                  <a:gd name="T63" fmla="*/ 36 h 1164"/>
                  <a:gd name="T64" fmla="*/ 998 w 1169"/>
                  <a:gd name="T65" fmla="*/ 250 h 1164"/>
                  <a:gd name="T66" fmla="*/ 1075 w 1169"/>
                  <a:gd name="T67" fmla="*/ 367 h 1164"/>
                  <a:gd name="T68" fmla="*/ 1120 w 1169"/>
                  <a:gd name="T69" fmla="*/ 505 h 1164"/>
                  <a:gd name="T70" fmla="*/ 1125 w 1169"/>
                  <a:gd name="T71" fmla="*/ 663 h 1164"/>
                  <a:gd name="T72" fmla="*/ 1079 w 1169"/>
                  <a:gd name="T73" fmla="*/ 834 h 1164"/>
                  <a:gd name="T74" fmla="*/ 983 w 1169"/>
                  <a:gd name="T75" fmla="*/ 978 h 1164"/>
                  <a:gd name="T76" fmla="*/ 849 w 1169"/>
                  <a:gd name="T77" fmla="*/ 1087 h 1164"/>
                  <a:gd name="T78" fmla="*/ 686 w 1169"/>
                  <a:gd name="T79" fmla="*/ 1152 h 1164"/>
                  <a:gd name="T80" fmla="*/ 502 w 1169"/>
                  <a:gd name="T81" fmla="*/ 1161 h 1164"/>
                  <a:gd name="T82" fmla="*/ 331 w 1169"/>
                  <a:gd name="T83" fmla="*/ 1114 h 1164"/>
                  <a:gd name="T84" fmla="*/ 186 w 1169"/>
                  <a:gd name="T85" fmla="*/ 1019 h 1164"/>
                  <a:gd name="T86" fmla="*/ 77 w 1169"/>
                  <a:gd name="T87" fmla="*/ 886 h 1164"/>
                  <a:gd name="T88" fmla="*/ 13 w 1169"/>
                  <a:gd name="T89" fmla="*/ 723 h 1164"/>
                  <a:gd name="T90" fmla="*/ 3 w 1169"/>
                  <a:gd name="T91" fmla="*/ 541 h 1164"/>
                  <a:gd name="T92" fmla="*/ 50 w 1169"/>
                  <a:gd name="T93" fmla="*/ 370 h 1164"/>
                  <a:gd name="T94" fmla="*/ 145 w 1169"/>
                  <a:gd name="T95" fmla="*/ 226 h 1164"/>
                  <a:gd name="T96" fmla="*/ 279 w 1169"/>
                  <a:gd name="T97" fmla="*/ 117 h 1164"/>
                  <a:gd name="T98" fmla="*/ 443 w 1169"/>
                  <a:gd name="T99" fmla="*/ 52 h 1164"/>
                  <a:gd name="T100" fmla="*/ 620 w 1169"/>
                  <a:gd name="T101" fmla="*/ 43 h 1164"/>
                  <a:gd name="T102" fmla="*/ 777 w 1169"/>
                  <a:gd name="T103" fmla="*/ 86 h 1164"/>
                  <a:gd name="T104" fmla="*/ 917 w 1169"/>
                  <a:gd name="T105" fmla="*/ 170 h 1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69" h="1164">
                    <a:moveTo>
                      <a:pt x="686" y="381"/>
                    </a:moveTo>
                    <a:lnTo>
                      <a:pt x="659" y="384"/>
                    </a:lnTo>
                    <a:lnTo>
                      <a:pt x="636" y="391"/>
                    </a:lnTo>
                    <a:lnTo>
                      <a:pt x="613" y="404"/>
                    </a:lnTo>
                    <a:lnTo>
                      <a:pt x="594" y="420"/>
                    </a:lnTo>
                    <a:lnTo>
                      <a:pt x="578" y="439"/>
                    </a:lnTo>
                    <a:lnTo>
                      <a:pt x="565" y="462"/>
                    </a:lnTo>
                    <a:lnTo>
                      <a:pt x="557" y="485"/>
                    </a:lnTo>
                    <a:lnTo>
                      <a:pt x="554" y="511"/>
                    </a:lnTo>
                    <a:lnTo>
                      <a:pt x="554" y="541"/>
                    </a:lnTo>
                    <a:lnTo>
                      <a:pt x="514" y="539"/>
                    </a:lnTo>
                    <a:lnTo>
                      <a:pt x="476" y="533"/>
                    </a:lnTo>
                    <a:lnTo>
                      <a:pt x="439" y="522"/>
                    </a:lnTo>
                    <a:lnTo>
                      <a:pt x="405" y="507"/>
                    </a:lnTo>
                    <a:lnTo>
                      <a:pt x="372" y="488"/>
                    </a:lnTo>
                    <a:lnTo>
                      <a:pt x="343" y="465"/>
                    </a:lnTo>
                    <a:lnTo>
                      <a:pt x="317" y="439"/>
                    </a:lnTo>
                    <a:lnTo>
                      <a:pt x="293" y="411"/>
                    </a:lnTo>
                    <a:lnTo>
                      <a:pt x="282" y="431"/>
                    </a:lnTo>
                    <a:lnTo>
                      <a:pt x="276" y="451"/>
                    </a:lnTo>
                    <a:lnTo>
                      <a:pt x="273" y="472"/>
                    </a:lnTo>
                    <a:lnTo>
                      <a:pt x="276" y="495"/>
                    </a:lnTo>
                    <a:lnTo>
                      <a:pt x="284" y="519"/>
                    </a:lnTo>
                    <a:lnTo>
                      <a:pt x="298" y="539"/>
                    </a:lnTo>
                    <a:lnTo>
                      <a:pt x="314" y="557"/>
                    </a:lnTo>
                    <a:lnTo>
                      <a:pt x="333" y="572"/>
                    </a:lnTo>
                    <a:lnTo>
                      <a:pt x="312" y="569"/>
                    </a:lnTo>
                    <a:lnTo>
                      <a:pt x="292" y="561"/>
                    </a:lnTo>
                    <a:lnTo>
                      <a:pt x="273" y="552"/>
                    </a:lnTo>
                    <a:lnTo>
                      <a:pt x="275" y="576"/>
                    </a:lnTo>
                    <a:lnTo>
                      <a:pt x="281" y="600"/>
                    </a:lnTo>
                    <a:lnTo>
                      <a:pt x="293" y="621"/>
                    </a:lnTo>
                    <a:lnTo>
                      <a:pt x="308" y="639"/>
                    </a:lnTo>
                    <a:lnTo>
                      <a:pt x="326" y="654"/>
                    </a:lnTo>
                    <a:lnTo>
                      <a:pt x="349" y="665"/>
                    </a:lnTo>
                    <a:lnTo>
                      <a:pt x="374" y="673"/>
                    </a:lnTo>
                    <a:lnTo>
                      <a:pt x="323" y="673"/>
                    </a:lnTo>
                    <a:lnTo>
                      <a:pt x="335" y="696"/>
                    </a:lnTo>
                    <a:lnTo>
                      <a:pt x="352" y="717"/>
                    </a:lnTo>
                    <a:lnTo>
                      <a:pt x="371" y="736"/>
                    </a:lnTo>
                    <a:lnTo>
                      <a:pt x="394" y="750"/>
                    </a:lnTo>
                    <a:lnTo>
                      <a:pt x="419" y="759"/>
                    </a:lnTo>
                    <a:lnTo>
                      <a:pt x="443" y="762"/>
                    </a:lnTo>
                    <a:lnTo>
                      <a:pt x="413" y="779"/>
                    </a:lnTo>
                    <a:lnTo>
                      <a:pt x="382" y="793"/>
                    </a:lnTo>
                    <a:lnTo>
                      <a:pt x="351" y="804"/>
                    </a:lnTo>
                    <a:lnTo>
                      <a:pt x="318" y="810"/>
                    </a:lnTo>
                    <a:lnTo>
                      <a:pt x="282" y="813"/>
                    </a:lnTo>
                    <a:lnTo>
                      <a:pt x="252" y="813"/>
                    </a:lnTo>
                    <a:lnTo>
                      <a:pt x="279" y="831"/>
                    </a:lnTo>
                    <a:lnTo>
                      <a:pt x="308" y="846"/>
                    </a:lnTo>
                    <a:lnTo>
                      <a:pt x="340" y="858"/>
                    </a:lnTo>
                    <a:lnTo>
                      <a:pt x="374" y="866"/>
                    </a:lnTo>
                    <a:lnTo>
                      <a:pt x="409" y="871"/>
                    </a:lnTo>
                    <a:lnTo>
                      <a:pt x="443" y="872"/>
                    </a:lnTo>
                    <a:lnTo>
                      <a:pt x="488" y="870"/>
                    </a:lnTo>
                    <a:lnTo>
                      <a:pt x="531" y="863"/>
                    </a:lnTo>
                    <a:lnTo>
                      <a:pt x="570" y="852"/>
                    </a:lnTo>
                    <a:lnTo>
                      <a:pt x="607" y="836"/>
                    </a:lnTo>
                    <a:lnTo>
                      <a:pt x="641" y="817"/>
                    </a:lnTo>
                    <a:lnTo>
                      <a:pt x="671" y="794"/>
                    </a:lnTo>
                    <a:lnTo>
                      <a:pt x="699" y="770"/>
                    </a:lnTo>
                    <a:lnTo>
                      <a:pt x="724" y="742"/>
                    </a:lnTo>
                    <a:lnTo>
                      <a:pt x="745" y="712"/>
                    </a:lnTo>
                    <a:lnTo>
                      <a:pt x="764" y="681"/>
                    </a:lnTo>
                    <a:lnTo>
                      <a:pt x="779" y="648"/>
                    </a:lnTo>
                    <a:lnTo>
                      <a:pt x="791" y="615"/>
                    </a:lnTo>
                    <a:lnTo>
                      <a:pt x="800" y="581"/>
                    </a:lnTo>
                    <a:lnTo>
                      <a:pt x="805" y="545"/>
                    </a:lnTo>
                    <a:lnTo>
                      <a:pt x="806" y="511"/>
                    </a:lnTo>
                    <a:lnTo>
                      <a:pt x="806" y="503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27" y="488"/>
                    </a:lnTo>
                    <a:lnTo>
                      <a:pt x="847" y="468"/>
                    </a:lnTo>
                    <a:lnTo>
                      <a:pt x="866" y="441"/>
                    </a:lnTo>
                    <a:lnTo>
                      <a:pt x="851" y="448"/>
                    </a:lnTo>
                    <a:lnTo>
                      <a:pt x="835" y="454"/>
                    </a:lnTo>
                    <a:lnTo>
                      <a:pt x="817" y="460"/>
                    </a:lnTo>
                    <a:lnTo>
                      <a:pt x="797" y="461"/>
                    </a:lnTo>
                    <a:lnTo>
                      <a:pt x="817" y="446"/>
                    </a:lnTo>
                    <a:lnTo>
                      <a:pt x="834" y="430"/>
                    </a:lnTo>
                    <a:lnTo>
                      <a:pt x="847" y="412"/>
                    </a:lnTo>
                    <a:lnTo>
                      <a:pt x="857" y="391"/>
                    </a:lnTo>
                    <a:lnTo>
                      <a:pt x="834" y="401"/>
                    </a:lnTo>
                    <a:lnTo>
                      <a:pt x="806" y="411"/>
                    </a:lnTo>
                    <a:lnTo>
                      <a:pt x="776" y="421"/>
                    </a:lnTo>
                    <a:lnTo>
                      <a:pt x="763" y="410"/>
                    </a:lnTo>
                    <a:lnTo>
                      <a:pt x="747" y="398"/>
                    </a:lnTo>
                    <a:lnTo>
                      <a:pt x="729" y="389"/>
                    </a:lnTo>
                    <a:lnTo>
                      <a:pt x="709" y="383"/>
                    </a:lnTo>
                    <a:lnTo>
                      <a:pt x="686" y="381"/>
                    </a:lnTo>
                    <a:close/>
                    <a:moveTo>
                      <a:pt x="1089" y="0"/>
                    </a:moveTo>
                    <a:lnTo>
                      <a:pt x="1106" y="16"/>
                    </a:lnTo>
                    <a:lnTo>
                      <a:pt x="1125" y="36"/>
                    </a:lnTo>
                    <a:lnTo>
                      <a:pt x="1147" y="58"/>
                    </a:lnTo>
                    <a:lnTo>
                      <a:pt x="1169" y="80"/>
                    </a:lnTo>
                    <a:lnTo>
                      <a:pt x="998" y="250"/>
                    </a:lnTo>
                    <a:lnTo>
                      <a:pt x="1026" y="287"/>
                    </a:lnTo>
                    <a:lnTo>
                      <a:pt x="1052" y="325"/>
                    </a:lnTo>
                    <a:lnTo>
                      <a:pt x="1075" y="367"/>
                    </a:lnTo>
                    <a:lnTo>
                      <a:pt x="1094" y="412"/>
                    </a:lnTo>
                    <a:lnTo>
                      <a:pt x="1109" y="458"/>
                    </a:lnTo>
                    <a:lnTo>
                      <a:pt x="1120" y="505"/>
                    </a:lnTo>
                    <a:lnTo>
                      <a:pt x="1126" y="553"/>
                    </a:lnTo>
                    <a:lnTo>
                      <a:pt x="1128" y="602"/>
                    </a:lnTo>
                    <a:lnTo>
                      <a:pt x="1125" y="663"/>
                    </a:lnTo>
                    <a:lnTo>
                      <a:pt x="1115" y="723"/>
                    </a:lnTo>
                    <a:lnTo>
                      <a:pt x="1100" y="779"/>
                    </a:lnTo>
                    <a:lnTo>
                      <a:pt x="1079" y="834"/>
                    </a:lnTo>
                    <a:lnTo>
                      <a:pt x="1052" y="886"/>
                    </a:lnTo>
                    <a:lnTo>
                      <a:pt x="1020" y="934"/>
                    </a:lnTo>
                    <a:lnTo>
                      <a:pt x="983" y="978"/>
                    </a:lnTo>
                    <a:lnTo>
                      <a:pt x="943" y="1019"/>
                    </a:lnTo>
                    <a:lnTo>
                      <a:pt x="899" y="1055"/>
                    </a:lnTo>
                    <a:lnTo>
                      <a:pt x="849" y="1087"/>
                    </a:lnTo>
                    <a:lnTo>
                      <a:pt x="798" y="1114"/>
                    </a:lnTo>
                    <a:lnTo>
                      <a:pt x="743" y="1135"/>
                    </a:lnTo>
                    <a:lnTo>
                      <a:pt x="686" y="1152"/>
                    </a:lnTo>
                    <a:lnTo>
                      <a:pt x="626" y="1161"/>
                    </a:lnTo>
                    <a:lnTo>
                      <a:pt x="565" y="1164"/>
                    </a:lnTo>
                    <a:lnTo>
                      <a:pt x="502" y="1161"/>
                    </a:lnTo>
                    <a:lnTo>
                      <a:pt x="443" y="1152"/>
                    </a:lnTo>
                    <a:lnTo>
                      <a:pt x="385" y="1135"/>
                    </a:lnTo>
                    <a:lnTo>
                      <a:pt x="331" y="1114"/>
                    </a:lnTo>
                    <a:lnTo>
                      <a:pt x="279" y="1087"/>
                    </a:lnTo>
                    <a:lnTo>
                      <a:pt x="231" y="1055"/>
                    </a:lnTo>
                    <a:lnTo>
                      <a:pt x="186" y="1019"/>
                    </a:lnTo>
                    <a:lnTo>
                      <a:pt x="145" y="978"/>
                    </a:lnTo>
                    <a:lnTo>
                      <a:pt x="108" y="934"/>
                    </a:lnTo>
                    <a:lnTo>
                      <a:pt x="77" y="886"/>
                    </a:lnTo>
                    <a:lnTo>
                      <a:pt x="50" y="834"/>
                    </a:lnTo>
                    <a:lnTo>
                      <a:pt x="29" y="779"/>
                    </a:lnTo>
                    <a:lnTo>
                      <a:pt x="13" y="723"/>
                    </a:lnTo>
                    <a:lnTo>
                      <a:pt x="3" y="663"/>
                    </a:lnTo>
                    <a:lnTo>
                      <a:pt x="0" y="602"/>
                    </a:lnTo>
                    <a:lnTo>
                      <a:pt x="3" y="541"/>
                    </a:lnTo>
                    <a:lnTo>
                      <a:pt x="13" y="481"/>
                    </a:lnTo>
                    <a:lnTo>
                      <a:pt x="29" y="425"/>
                    </a:lnTo>
                    <a:lnTo>
                      <a:pt x="50" y="370"/>
                    </a:lnTo>
                    <a:lnTo>
                      <a:pt x="77" y="318"/>
                    </a:lnTo>
                    <a:lnTo>
                      <a:pt x="108" y="270"/>
                    </a:lnTo>
                    <a:lnTo>
                      <a:pt x="145" y="226"/>
                    </a:lnTo>
                    <a:lnTo>
                      <a:pt x="186" y="185"/>
                    </a:lnTo>
                    <a:lnTo>
                      <a:pt x="231" y="149"/>
                    </a:lnTo>
                    <a:lnTo>
                      <a:pt x="279" y="117"/>
                    </a:lnTo>
                    <a:lnTo>
                      <a:pt x="331" y="90"/>
                    </a:lnTo>
                    <a:lnTo>
                      <a:pt x="385" y="69"/>
                    </a:lnTo>
                    <a:lnTo>
                      <a:pt x="443" y="52"/>
                    </a:lnTo>
                    <a:lnTo>
                      <a:pt x="502" y="43"/>
                    </a:lnTo>
                    <a:lnTo>
                      <a:pt x="565" y="40"/>
                    </a:lnTo>
                    <a:lnTo>
                      <a:pt x="620" y="43"/>
                    </a:lnTo>
                    <a:lnTo>
                      <a:pt x="674" y="51"/>
                    </a:lnTo>
                    <a:lnTo>
                      <a:pt x="727" y="66"/>
                    </a:lnTo>
                    <a:lnTo>
                      <a:pt x="777" y="86"/>
                    </a:lnTo>
                    <a:lnTo>
                      <a:pt x="827" y="109"/>
                    </a:lnTo>
                    <a:lnTo>
                      <a:pt x="873" y="138"/>
                    </a:lnTo>
                    <a:lnTo>
                      <a:pt x="917" y="170"/>
                    </a:lnTo>
                    <a:lnTo>
                      <a:pt x="108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60" name="Freeform 23"/>
              <p:cNvSpPr>
                <a:spLocks noEditPoints="1"/>
              </p:cNvSpPr>
              <p:nvPr/>
            </p:nvSpPr>
            <p:spPr bwMode="auto">
              <a:xfrm>
                <a:off x="-783" y="2305"/>
                <a:ext cx="165" cy="165"/>
              </a:xfrm>
              <a:custGeom>
                <a:avLst/>
                <a:gdLst>
                  <a:gd name="T0" fmla="*/ 597 w 1159"/>
                  <a:gd name="T1" fmla="*/ 272 h 1154"/>
                  <a:gd name="T2" fmla="*/ 552 w 1159"/>
                  <a:gd name="T3" fmla="*/ 283 h 1154"/>
                  <a:gd name="T4" fmla="*/ 522 w 1159"/>
                  <a:gd name="T5" fmla="*/ 306 h 1154"/>
                  <a:gd name="T6" fmla="*/ 503 w 1159"/>
                  <a:gd name="T7" fmla="*/ 338 h 1154"/>
                  <a:gd name="T8" fmla="*/ 495 w 1159"/>
                  <a:gd name="T9" fmla="*/ 379 h 1154"/>
                  <a:gd name="T10" fmla="*/ 494 w 1159"/>
                  <a:gd name="T11" fmla="*/ 461 h 1154"/>
                  <a:gd name="T12" fmla="*/ 423 w 1159"/>
                  <a:gd name="T13" fmla="*/ 561 h 1154"/>
                  <a:gd name="T14" fmla="*/ 484 w 1159"/>
                  <a:gd name="T15" fmla="*/ 843 h 1154"/>
                  <a:gd name="T16" fmla="*/ 604 w 1159"/>
                  <a:gd name="T17" fmla="*/ 561 h 1154"/>
                  <a:gd name="T18" fmla="*/ 705 w 1159"/>
                  <a:gd name="T19" fmla="*/ 461 h 1154"/>
                  <a:gd name="T20" fmla="*/ 615 w 1159"/>
                  <a:gd name="T21" fmla="*/ 412 h 1154"/>
                  <a:gd name="T22" fmla="*/ 616 w 1159"/>
                  <a:gd name="T23" fmla="*/ 387 h 1154"/>
                  <a:gd name="T24" fmla="*/ 627 w 1159"/>
                  <a:gd name="T25" fmla="*/ 374 h 1154"/>
                  <a:gd name="T26" fmla="*/ 655 w 1159"/>
                  <a:gd name="T27" fmla="*/ 371 h 1154"/>
                  <a:gd name="T28" fmla="*/ 705 w 1159"/>
                  <a:gd name="T29" fmla="*/ 271 h 1154"/>
                  <a:gd name="T30" fmla="*/ 554 w 1159"/>
                  <a:gd name="T31" fmla="*/ 0 h 1154"/>
                  <a:gd name="T32" fmla="*/ 675 w 1159"/>
                  <a:gd name="T33" fmla="*/ 13 h 1154"/>
                  <a:gd name="T34" fmla="*/ 788 w 1159"/>
                  <a:gd name="T35" fmla="*/ 49 h 1154"/>
                  <a:gd name="T36" fmla="*/ 888 w 1159"/>
                  <a:gd name="T37" fmla="*/ 108 h 1154"/>
                  <a:gd name="T38" fmla="*/ 974 w 1159"/>
                  <a:gd name="T39" fmla="*/ 185 h 1154"/>
                  <a:gd name="T40" fmla="*/ 1041 w 1159"/>
                  <a:gd name="T41" fmla="*/ 278 h 1154"/>
                  <a:gd name="T42" fmla="*/ 1090 w 1159"/>
                  <a:gd name="T43" fmla="*/ 384 h 1154"/>
                  <a:gd name="T44" fmla="*/ 1115 w 1159"/>
                  <a:gd name="T45" fmla="*/ 501 h 1154"/>
                  <a:gd name="T46" fmla="*/ 1115 w 1159"/>
                  <a:gd name="T47" fmla="*/ 617 h 1154"/>
                  <a:gd name="T48" fmla="*/ 1093 w 1159"/>
                  <a:gd name="T49" fmla="*/ 723 h 1154"/>
                  <a:gd name="T50" fmla="*/ 1049 w 1159"/>
                  <a:gd name="T51" fmla="*/ 822 h 1154"/>
                  <a:gd name="T52" fmla="*/ 988 w 1159"/>
                  <a:gd name="T53" fmla="*/ 913 h 1154"/>
                  <a:gd name="T54" fmla="*/ 1142 w 1159"/>
                  <a:gd name="T55" fmla="*/ 1099 h 1154"/>
                  <a:gd name="T56" fmla="*/ 1106 w 1159"/>
                  <a:gd name="T57" fmla="*/ 1133 h 1154"/>
                  <a:gd name="T58" fmla="*/ 917 w 1159"/>
                  <a:gd name="T59" fmla="*/ 984 h 1154"/>
                  <a:gd name="T60" fmla="*/ 843 w 1159"/>
                  <a:gd name="T61" fmla="*/ 1037 h 1154"/>
                  <a:gd name="T62" fmla="*/ 756 w 1159"/>
                  <a:gd name="T63" fmla="*/ 1079 h 1154"/>
                  <a:gd name="T64" fmla="*/ 662 w 1159"/>
                  <a:gd name="T65" fmla="*/ 1105 h 1154"/>
                  <a:gd name="T66" fmla="*/ 565 w 1159"/>
                  <a:gd name="T67" fmla="*/ 1114 h 1154"/>
                  <a:gd name="T68" fmla="*/ 443 w 1159"/>
                  <a:gd name="T69" fmla="*/ 1101 h 1154"/>
                  <a:gd name="T70" fmla="*/ 331 w 1159"/>
                  <a:gd name="T71" fmla="*/ 1064 h 1154"/>
                  <a:gd name="T72" fmla="*/ 231 w 1159"/>
                  <a:gd name="T73" fmla="*/ 1006 h 1154"/>
                  <a:gd name="T74" fmla="*/ 145 w 1159"/>
                  <a:gd name="T75" fmla="*/ 930 h 1154"/>
                  <a:gd name="T76" fmla="*/ 77 w 1159"/>
                  <a:gd name="T77" fmla="*/ 838 h 1154"/>
                  <a:gd name="T78" fmla="*/ 29 w 1159"/>
                  <a:gd name="T79" fmla="*/ 735 h 1154"/>
                  <a:gd name="T80" fmla="*/ 3 w 1159"/>
                  <a:gd name="T81" fmla="*/ 621 h 1154"/>
                  <a:gd name="T82" fmla="*/ 3 w 1159"/>
                  <a:gd name="T83" fmla="*/ 505 h 1154"/>
                  <a:gd name="T84" fmla="*/ 25 w 1159"/>
                  <a:gd name="T85" fmla="*/ 395 h 1154"/>
                  <a:gd name="T86" fmla="*/ 65 w 1159"/>
                  <a:gd name="T87" fmla="*/ 294 h 1154"/>
                  <a:gd name="T88" fmla="*/ 124 w 1159"/>
                  <a:gd name="T89" fmla="*/ 204 h 1154"/>
                  <a:gd name="T90" fmla="*/ 200 w 1159"/>
                  <a:gd name="T91" fmla="*/ 128 h 1154"/>
                  <a:gd name="T92" fmla="*/ 288 w 1159"/>
                  <a:gd name="T93" fmla="*/ 68 h 1154"/>
                  <a:gd name="T94" fmla="*/ 387 w 1159"/>
                  <a:gd name="T95" fmla="*/ 25 h 1154"/>
                  <a:gd name="T96" fmla="*/ 497 w 1159"/>
                  <a:gd name="T97" fmla="*/ 2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59" h="1154">
                    <a:moveTo>
                      <a:pt x="625" y="271"/>
                    </a:moveTo>
                    <a:lnTo>
                      <a:pt x="597" y="272"/>
                    </a:lnTo>
                    <a:lnTo>
                      <a:pt x="572" y="277"/>
                    </a:lnTo>
                    <a:lnTo>
                      <a:pt x="552" y="283"/>
                    </a:lnTo>
                    <a:lnTo>
                      <a:pt x="536" y="293"/>
                    </a:lnTo>
                    <a:lnTo>
                      <a:pt x="522" y="306"/>
                    </a:lnTo>
                    <a:lnTo>
                      <a:pt x="511" y="321"/>
                    </a:lnTo>
                    <a:lnTo>
                      <a:pt x="503" y="338"/>
                    </a:lnTo>
                    <a:lnTo>
                      <a:pt x="498" y="357"/>
                    </a:lnTo>
                    <a:lnTo>
                      <a:pt x="495" y="379"/>
                    </a:lnTo>
                    <a:lnTo>
                      <a:pt x="494" y="401"/>
                    </a:lnTo>
                    <a:lnTo>
                      <a:pt x="494" y="461"/>
                    </a:lnTo>
                    <a:lnTo>
                      <a:pt x="423" y="461"/>
                    </a:lnTo>
                    <a:lnTo>
                      <a:pt x="423" y="561"/>
                    </a:lnTo>
                    <a:lnTo>
                      <a:pt x="484" y="561"/>
                    </a:lnTo>
                    <a:lnTo>
                      <a:pt x="484" y="843"/>
                    </a:lnTo>
                    <a:lnTo>
                      <a:pt x="604" y="843"/>
                    </a:lnTo>
                    <a:lnTo>
                      <a:pt x="604" y="561"/>
                    </a:lnTo>
                    <a:lnTo>
                      <a:pt x="696" y="561"/>
                    </a:lnTo>
                    <a:lnTo>
                      <a:pt x="705" y="461"/>
                    </a:lnTo>
                    <a:lnTo>
                      <a:pt x="615" y="461"/>
                    </a:lnTo>
                    <a:lnTo>
                      <a:pt x="615" y="412"/>
                    </a:lnTo>
                    <a:lnTo>
                      <a:pt x="615" y="398"/>
                    </a:lnTo>
                    <a:lnTo>
                      <a:pt x="616" y="387"/>
                    </a:lnTo>
                    <a:lnTo>
                      <a:pt x="619" y="380"/>
                    </a:lnTo>
                    <a:lnTo>
                      <a:pt x="627" y="374"/>
                    </a:lnTo>
                    <a:lnTo>
                      <a:pt x="638" y="372"/>
                    </a:lnTo>
                    <a:lnTo>
                      <a:pt x="655" y="371"/>
                    </a:lnTo>
                    <a:lnTo>
                      <a:pt x="705" y="371"/>
                    </a:lnTo>
                    <a:lnTo>
                      <a:pt x="705" y="271"/>
                    </a:lnTo>
                    <a:lnTo>
                      <a:pt x="625" y="271"/>
                    </a:lnTo>
                    <a:close/>
                    <a:moveTo>
                      <a:pt x="554" y="0"/>
                    </a:moveTo>
                    <a:lnTo>
                      <a:pt x="616" y="3"/>
                    </a:lnTo>
                    <a:lnTo>
                      <a:pt x="675" y="13"/>
                    </a:lnTo>
                    <a:lnTo>
                      <a:pt x="733" y="28"/>
                    </a:lnTo>
                    <a:lnTo>
                      <a:pt x="788" y="49"/>
                    </a:lnTo>
                    <a:lnTo>
                      <a:pt x="839" y="76"/>
                    </a:lnTo>
                    <a:lnTo>
                      <a:pt x="888" y="108"/>
                    </a:lnTo>
                    <a:lnTo>
                      <a:pt x="933" y="145"/>
                    </a:lnTo>
                    <a:lnTo>
                      <a:pt x="974" y="185"/>
                    </a:lnTo>
                    <a:lnTo>
                      <a:pt x="1010" y="230"/>
                    </a:lnTo>
                    <a:lnTo>
                      <a:pt x="1041" y="278"/>
                    </a:lnTo>
                    <a:lnTo>
                      <a:pt x="1068" y="329"/>
                    </a:lnTo>
                    <a:lnTo>
                      <a:pt x="1090" y="384"/>
                    </a:lnTo>
                    <a:lnTo>
                      <a:pt x="1106" y="441"/>
                    </a:lnTo>
                    <a:lnTo>
                      <a:pt x="1115" y="501"/>
                    </a:lnTo>
                    <a:lnTo>
                      <a:pt x="1119" y="561"/>
                    </a:lnTo>
                    <a:lnTo>
                      <a:pt x="1115" y="617"/>
                    </a:lnTo>
                    <a:lnTo>
                      <a:pt x="1107" y="670"/>
                    </a:lnTo>
                    <a:lnTo>
                      <a:pt x="1093" y="723"/>
                    </a:lnTo>
                    <a:lnTo>
                      <a:pt x="1074" y="774"/>
                    </a:lnTo>
                    <a:lnTo>
                      <a:pt x="1049" y="822"/>
                    </a:lnTo>
                    <a:lnTo>
                      <a:pt x="1021" y="869"/>
                    </a:lnTo>
                    <a:lnTo>
                      <a:pt x="988" y="913"/>
                    </a:lnTo>
                    <a:lnTo>
                      <a:pt x="1159" y="1084"/>
                    </a:lnTo>
                    <a:lnTo>
                      <a:pt x="1142" y="1099"/>
                    </a:lnTo>
                    <a:lnTo>
                      <a:pt x="1124" y="1115"/>
                    </a:lnTo>
                    <a:lnTo>
                      <a:pt x="1106" y="1133"/>
                    </a:lnTo>
                    <a:lnTo>
                      <a:pt x="1089" y="1154"/>
                    </a:lnTo>
                    <a:lnTo>
                      <a:pt x="917" y="984"/>
                    </a:lnTo>
                    <a:lnTo>
                      <a:pt x="881" y="1012"/>
                    </a:lnTo>
                    <a:lnTo>
                      <a:pt x="843" y="1037"/>
                    </a:lnTo>
                    <a:lnTo>
                      <a:pt x="801" y="1060"/>
                    </a:lnTo>
                    <a:lnTo>
                      <a:pt x="756" y="1079"/>
                    </a:lnTo>
                    <a:lnTo>
                      <a:pt x="710" y="1094"/>
                    </a:lnTo>
                    <a:lnTo>
                      <a:pt x="662" y="1105"/>
                    </a:lnTo>
                    <a:lnTo>
                      <a:pt x="614" y="1111"/>
                    </a:lnTo>
                    <a:lnTo>
                      <a:pt x="565" y="1114"/>
                    </a:lnTo>
                    <a:lnTo>
                      <a:pt x="502" y="1111"/>
                    </a:lnTo>
                    <a:lnTo>
                      <a:pt x="443" y="1101"/>
                    </a:lnTo>
                    <a:lnTo>
                      <a:pt x="385" y="1085"/>
                    </a:lnTo>
                    <a:lnTo>
                      <a:pt x="331" y="1064"/>
                    </a:lnTo>
                    <a:lnTo>
                      <a:pt x="279" y="1037"/>
                    </a:lnTo>
                    <a:lnTo>
                      <a:pt x="231" y="1006"/>
                    </a:lnTo>
                    <a:lnTo>
                      <a:pt x="186" y="970"/>
                    </a:lnTo>
                    <a:lnTo>
                      <a:pt x="145" y="930"/>
                    </a:lnTo>
                    <a:lnTo>
                      <a:pt x="108" y="886"/>
                    </a:lnTo>
                    <a:lnTo>
                      <a:pt x="77" y="838"/>
                    </a:lnTo>
                    <a:lnTo>
                      <a:pt x="50" y="788"/>
                    </a:lnTo>
                    <a:lnTo>
                      <a:pt x="29" y="735"/>
                    </a:lnTo>
                    <a:lnTo>
                      <a:pt x="13" y="679"/>
                    </a:lnTo>
                    <a:lnTo>
                      <a:pt x="3" y="621"/>
                    </a:lnTo>
                    <a:lnTo>
                      <a:pt x="0" y="561"/>
                    </a:lnTo>
                    <a:lnTo>
                      <a:pt x="3" y="505"/>
                    </a:lnTo>
                    <a:lnTo>
                      <a:pt x="11" y="448"/>
                    </a:lnTo>
                    <a:lnTo>
                      <a:pt x="25" y="395"/>
                    </a:lnTo>
                    <a:lnTo>
                      <a:pt x="43" y="342"/>
                    </a:lnTo>
                    <a:lnTo>
                      <a:pt x="65" y="294"/>
                    </a:lnTo>
                    <a:lnTo>
                      <a:pt x="93" y="247"/>
                    </a:lnTo>
                    <a:lnTo>
                      <a:pt x="124" y="204"/>
                    </a:lnTo>
                    <a:lnTo>
                      <a:pt x="160" y="164"/>
                    </a:lnTo>
                    <a:lnTo>
                      <a:pt x="200" y="128"/>
                    </a:lnTo>
                    <a:lnTo>
                      <a:pt x="241" y="95"/>
                    </a:lnTo>
                    <a:lnTo>
                      <a:pt x="288" y="68"/>
                    </a:lnTo>
                    <a:lnTo>
                      <a:pt x="336" y="44"/>
                    </a:lnTo>
                    <a:lnTo>
                      <a:pt x="387" y="25"/>
                    </a:lnTo>
                    <a:lnTo>
                      <a:pt x="441" y="11"/>
                    </a:lnTo>
                    <a:lnTo>
                      <a:pt x="497" y="2"/>
                    </a:lnTo>
                    <a:lnTo>
                      <a:pt x="5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61" name="Freeform 24"/>
              <p:cNvSpPr>
                <a:spLocks/>
              </p:cNvSpPr>
              <p:nvPr/>
            </p:nvSpPr>
            <p:spPr bwMode="auto">
              <a:xfrm>
                <a:off x="-618" y="2470"/>
                <a:ext cx="160" cy="159"/>
              </a:xfrm>
              <a:custGeom>
                <a:avLst/>
                <a:gdLst>
                  <a:gd name="T0" fmla="*/ 659 w 1119"/>
                  <a:gd name="T1" fmla="*/ 9 h 1114"/>
                  <a:gd name="T2" fmla="*/ 638 w 1119"/>
                  <a:gd name="T3" fmla="*/ 40 h 1114"/>
                  <a:gd name="T4" fmla="*/ 667 w 1119"/>
                  <a:gd name="T5" fmla="*/ 61 h 1114"/>
                  <a:gd name="T6" fmla="*/ 718 w 1119"/>
                  <a:gd name="T7" fmla="*/ 97 h 1114"/>
                  <a:gd name="T8" fmla="*/ 746 w 1119"/>
                  <a:gd name="T9" fmla="*/ 160 h 1114"/>
                  <a:gd name="T10" fmla="*/ 748 w 1119"/>
                  <a:gd name="T11" fmla="*/ 304 h 1114"/>
                  <a:gd name="T12" fmla="*/ 770 w 1119"/>
                  <a:gd name="T13" fmla="*/ 310 h 1114"/>
                  <a:gd name="T14" fmla="*/ 766 w 1119"/>
                  <a:gd name="T15" fmla="*/ 351 h 1114"/>
                  <a:gd name="T16" fmla="*/ 761 w 1119"/>
                  <a:gd name="T17" fmla="*/ 391 h 1114"/>
                  <a:gd name="T18" fmla="*/ 753 w 1119"/>
                  <a:gd name="T19" fmla="*/ 409 h 1114"/>
                  <a:gd name="T20" fmla="*/ 747 w 1119"/>
                  <a:gd name="T21" fmla="*/ 411 h 1114"/>
                  <a:gd name="T22" fmla="*/ 737 w 1119"/>
                  <a:gd name="T23" fmla="*/ 464 h 1114"/>
                  <a:gd name="T24" fmla="*/ 704 w 1119"/>
                  <a:gd name="T25" fmla="*/ 537 h 1114"/>
                  <a:gd name="T26" fmla="*/ 695 w 1119"/>
                  <a:gd name="T27" fmla="*/ 559 h 1114"/>
                  <a:gd name="T28" fmla="*/ 706 w 1119"/>
                  <a:gd name="T29" fmla="*/ 622 h 1114"/>
                  <a:gd name="T30" fmla="*/ 710 w 1119"/>
                  <a:gd name="T31" fmla="*/ 629 h 1114"/>
                  <a:gd name="T32" fmla="*/ 711 w 1119"/>
                  <a:gd name="T33" fmla="*/ 632 h 1114"/>
                  <a:gd name="T34" fmla="*/ 732 w 1119"/>
                  <a:gd name="T35" fmla="*/ 637 h 1114"/>
                  <a:gd name="T36" fmla="*/ 737 w 1119"/>
                  <a:gd name="T37" fmla="*/ 681 h 1114"/>
                  <a:gd name="T38" fmla="*/ 761 w 1119"/>
                  <a:gd name="T39" fmla="*/ 720 h 1114"/>
                  <a:gd name="T40" fmla="*/ 961 w 1119"/>
                  <a:gd name="T41" fmla="*/ 781 h 1114"/>
                  <a:gd name="T42" fmla="*/ 1059 w 1119"/>
                  <a:gd name="T43" fmla="*/ 820 h 1114"/>
                  <a:gd name="T44" fmla="*/ 1041 w 1119"/>
                  <a:gd name="T45" fmla="*/ 965 h 1114"/>
                  <a:gd name="T46" fmla="*/ 870 w 1119"/>
                  <a:gd name="T47" fmla="*/ 1032 h 1114"/>
                  <a:gd name="T48" fmla="*/ 671 w 1119"/>
                  <a:gd name="T49" fmla="*/ 1103 h 1114"/>
                  <a:gd name="T50" fmla="*/ 423 w 1119"/>
                  <a:gd name="T51" fmla="*/ 1090 h 1114"/>
                  <a:gd name="T52" fmla="*/ 271 w 1119"/>
                  <a:gd name="T53" fmla="*/ 1027 h 1114"/>
                  <a:gd name="T54" fmla="*/ 126 w 1119"/>
                  <a:gd name="T55" fmla="*/ 970 h 1114"/>
                  <a:gd name="T56" fmla="*/ 51 w 1119"/>
                  <a:gd name="T57" fmla="*/ 833 h 1114"/>
                  <a:gd name="T58" fmla="*/ 100 w 1119"/>
                  <a:gd name="T59" fmla="*/ 803 h 1114"/>
                  <a:gd name="T60" fmla="*/ 197 w 1119"/>
                  <a:gd name="T61" fmla="*/ 776 h 1114"/>
                  <a:gd name="T62" fmla="*/ 312 w 1119"/>
                  <a:gd name="T63" fmla="*/ 737 h 1114"/>
                  <a:gd name="T64" fmla="*/ 365 w 1119"/>
                  <a:gd name="T65" fmla="*/ 714 h 1114"/>
                  <a:gd name="T66" fmla="*/ 383 w 1119"/>
                  <a:gd name="T67" fmla="*/ 663 h 1114"/>
                  <a:gd name="T68" fmla="*/ 393 w 1119"/>
                  <a:gd name="T69" fmla="*/ 634 h 1114"/>
                  <a:gd name="T70" fmla="*/ 411 w 1119"/>
                  <a:gd name="T71" fmla="*/ 629 h 1114"/>
                  <a:gd name="T72" fmla="*/ 414 w 1119"/>
                  <a:gd name="T73" fmla="*/ 623 h 1114"/>
                  <a:gd name="T74" fmla="*/ 423 w 1119"/>
                  <a:gd name="T75" fmla="*/ 568 h 1114"/>
                  <a:gd name="T76" fmla="*/ 415 w 1119"/>
                  <a:gd name="T77" fmla="*/ 533 h 1114"/>
                  <a:gd name="T78" fmla="*/ 389 w 1119"/>
                  <a:gd name="T79" fmla="*/ 472 h 1114"/>
                  <a:gd name="T80" fmla="*/ 373 w 1119"/>
                  <a:gd name="T81" fmla="*/ 411 h 1114"/>
                  <a:gd name="T82" fmla="*/ 367 w 1119"/>
                  <a:gd name="T83" fmla="*/ 409 h 1114"/>
                  <a:gd name="T84" fmla="*/ 356 w 1119"/>
                  <a:gd name="T85" fmla="*/ 388 h 1114"/>
                  <a:gd name="T86" fmla="*/ 342 w 1119"/>
                  <a:gd name="T87" fmla="*/ 346 h 1114"/>
                  <a:gd name="T88" fmla="*/ 336 w 1119"/>
                  <a:gd name="T89" fmla="*/ 314 h 1114"/>
                  <a:gd name="T90" fmla="*/ 356 w 1119"/>
                  <a:gd name="T91" fmla="*/ 303 h 1114"/>
                  <a:gd name="T92" fmla="*/ 361 w 1119"/>
                  <a:gd name="T93" fmla="*/ 303 h 1114"/>
                  <a:gd name="T94" fmla="*/ 363 w 1119"/>
                  <a:gd name="T95" fmla="*/ 294 h 1114"/>
                  <a:gd name="T96" fmla="*/ 372 w 1119"/>
                  <a:gd name="T97" fmla="*/ 127 h 1114"/>
                  <a:gd name="T98" fmla="*/ 445 w 1119"/>
                  <a:gd name="T99" fmla="*/ 60 h 1114"/>
                  <a:gd name="T100" fmla="*/ 569 w 1119"/>
                  <a:gd name="T101" fmla="*/ 16 h 1114"/>
                  <a:gd name="T102" fmla="*/ 636 w 1119"/>
                  <a:gd name="T103" fmla="*/ 2 h 1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19" h="1114">
                    <a:moveTo>
                      <a:pt x="655" y="0"/>
                    </a:moveTo>
                    <a:lnTo>
                      <a:pt x="665" y="0"/>
                    </a:lnTo>
                    <a:lnTo>
                      <a:pt x="664" y="6"/>
                    </a:lnTo>
                    <a:lnTo>
                      <a:pt x="659" y="9"/>
                    </a:lnTo>
                    <a:lnTo>
                      <a:pt x="652" y="14"/>
                    </a:lnTo>
                    <a:lnTo>
                      <a:pt x="645" y="20"/>
                    </a:lnTo>
                    <a:lnTo>
                      <a:pt x="638" y="30"/>
                    </a:lnTo>
                    <a:lnTo>
                      <a:pt x="638" y="40"/>
                    </a:lnTo>
                    <a:lnTo>
                      <a:pt x="645" y="50"/>
                    </a:lnTo>
                    <a:lnTo>
                      <a:pt x="651" y="51"/>
                    </a:lnTo>
                    <a:lnTo>
                      <a:pt x="659" y="55"/>
                    </a:lnTo>
                    <a:lnTo>
                      <a:pt x="667" y="61"/>
                    </a:lnTo>
                    <a:lnTo>
                      <a:pt x="680" y="69"/>
                    </a:lnTo>
                    <a:lnTo>
                      <a:pt x="695" y="80"/>
                    </a:lnTo>
                    <a:lnTo>
                      <a:pt x="706" y="86"/>
                    </a:lnTo>
                    <a:lnTo>
                      <a:pt x="718" y="97"/>
                    </a:lnTo>
                    <a:lnTo>
                      <a:pt x="728" y="109"/>
                    </a:lnTo>
                    <a:lnTo>
                      <a:pt x="737" y="124"/>
                    </a:lnTo>
                    <a:lnTo>
                      <a:pt x="743" y="141"/>
                    </a:lnTo>
                    <a:lnTo>
                      <a:pt x="746" y="160"/>
                    </a:lnTo>
                    <a:lnTo>
                      <a:pt x="746" y="281"/>
                    </a:lnTo>
                    <a:lnTo>
                      <a:pt x="746" y="292"/>
                    </a:lnTo>
                    <a:lnTo>
                      <a:pt x="747" y="299"/>
                    </a:lnTo>
                    <a:lnTo>
                      <a:pt x="748" y="304"/>
                    </a:lnTo>
                    <a:lnTo>
                      <a:pt x="751" y="304"/>
                    </a:lnTo>
                    <a:lnTo>
                      <a:pt x="756" y="301"/>
                    </a:lnTo>
                    <a:lnTo>
                      <a:pt x="765" y="303"/>
                    </a:lnTo>
                    <a:lnTo>
                      <a:pt x="770" y="310"/>
                    </a:lnTo>
                    <a:lnTo>
                      <a:pt x="772" y="318"/>
                    </a:lnTo>
                    <a:lnTo>
                      <a:pt x="772" y="329"/>
                    </a:lnTo>
                    <a:lnTo>
                      <a:pt x="770" y="341"/>
                    </a:lnTo>
                    <a:lnTo>
                      <a:pt x="766" y="351"/>
                    </a:lnTo>
                    <a:lnTo>
                      <a:pt x="766" y="365"/>
                    </a:lnTo>
                    <a:lnTo>
                      <a:pt x="766" y="376"/>
                    </a:lnTo>
                    <a:lnTo>
                      <a:pt x="764" y="384"/>
                    </a:lnTo>
                    <a:lnTo>
                      <a:pt x="761" y="391"/>
                    </a:lnTo>
                    <a:lnTo>
                      <a:pt x="756" y="402"/>
                    </a:lnTo>
                    <a:lnTo>
                      <a:pt x="755" y="405"/>
                    </a:lnTo>
                    <a:lnTo>
                      <a:pt x="754" y="407"/>
                    </a:lnTo>
                    <a:lnTo>
                      <a:pt x="753" y="409"/>
                    </a:lnTo>
                    <a:lnTo>
                      <a:pt x="751" y="410"/>
                    </a:lnTo>
                    <a:lnTo>
                      <a:pt x="749" y="410"/>
                    </a:lnTo>
                    <a:lnTo>
                      <a:pt x="748" y="411"/>
                    </a:lnTo>
                    <a:lnTo>
                      <a:pt x="747" y="411"/>
                    </a:lnTo>
                    <a:lnTo>
                      <a:pt x="746" y="411"/>
                    </a:lnTo>
                    <a:lnTo>
                      <a:pt x="746" y="424"/>
                    </a:lnTo>
                    <a:lnTo>
                      <a:pt x="742" y="442"/>
                    </a:lnTo>
                    <a:lnTo>
                      <a:pt x="737" y="464"/>
                    </a:lnTo>
                    <a:lnTo>
                      <a:pt x="729" y="487"/>
                    </a:lnTo>
                    <a:lnTo>
                      <a:pt x="719" y="511"/>
                    </a:lnTo>
                    <a:lnTo>
                      <a:pt x="706" y="532"/>
                    </a:lnTo>
                    <a:lnTo>
                      <a:pt x="704" y="537"/>
                    </a:lnTo>
                    <a:lnTo>
                      <a:pt x="700" y="542"/>
                    </a:lnTo>
                    <a:lnTo>
                      <a:pt x="697" y="546"/>
                    </a:lnTo>
                    <a:lnTo>
                      <a:pt x="695" y="551"/>
                    </a:lnTo>
                    <a:lnTo>
                      <a:pt x="695" y="559"/>
                    </a:lnTo>
                    <a:lnTo>
                      <a:pt x="696" y="570"/>
                    </a:lnTo>
                    <a:lnTo>
                      <a:pt x="697" y="582"/>
                    </a:lnTo>
                    <a:lnTo>
                      <a:pt x="700" y="601"/>
                    </a:lnTo>
                    <a:lnTo>
                      <a:pt x="706" y="622"/>
                    </a:lnTo>
                    <a:lnTo>
                      <a:pt x="708" y="625"/>
                    </a:lnTo>
                    <a:lnTo>
                      <a:pt x="709" y="627"/>
                    </a:lnTo>
                    <a:lnTo>
                      <a:pt x="710" y="628"/>
                    </a:lnTo>
                    <a:lnTo>
                      <a:pt x="710" y="629"/>
                    </a:lnTo>
                    <a:lnTo>
                      <a:pt x="710" y="630"/>
                    </a:lnTo>
                    <a:lnTo>
                      <a:pt x="710" y="632"/>
                    </a:lnTo>
                    <a:lnTo>
                      <a:pt x="711" y="632"/>
                    </a:lnTo>
                    <a:lnTo>
                      <a:pt x="711" y="632"/>
                    </a:lnTo>
                    <a:lnTo>
                      <a:pt x="713" y="632"/>
                    </a:lnTo>
                    <a:lnTo>
                      <a:pt x="715" y="632"/>
                    </a:lnTo>
                    <a:lnTo>
                      <a:pt x="725" y="633"/>
                    </a:lnTo>
                    <a:lnTo>
                      <a:pt x="732" y="637"/>
                    </a:lnTo>
                    <a:lnTo>
                      <a:pt x="735" y="643"/>
                    </a:lnTo>
                    <a:lnTo>
                      <a:pt x="736" y="651"/>
                    </a:lnTo>
                    <a:lnTo>
                      <a:pt x="736" y="663"/>
                    </a:lnTo>
                    <a:lnTo>
                      <a:pt x="737" y="681"/>
                    </a:lnTo>
                    <a:lnTo>
                      <a:pt x="741" y="696"/>
                    </a:lnTo>
                    <a:lnTo>
                      <a:pt x="748" y="707"/>
                    </a:lnTo>
                    <a:lnTo>
                      <a:pt x="754" y="716"/>
                    </a:lnTo>
                    <a:lnTo>
                      <a:pt x="761" y="720"/>
                    </a:lnTo>
                    <a:lnTo>
                      <a:pt x="766" y="722"/>
                    </a:lnTo>
                    <a:lnTo>
                      <a:pt x="832" y="744"/>
                    </a:lnTo>
                    <a:lnTo>
                      <a:pt x="897" y="763"/>
                    </a:lnTo>
                    <a:lnTo>
                      <a:pt x="961" y="781"/>
                    </a:lnTo>
                    <a:lnTo>
                      <a:pt x="1028" y="803"/>
                    </a:lnTo>
                    <a:lnTo>
                      <a:pt x="1038" y="805"/>
                    </a:lnTo>
                    <a:lnTo>
                      <a:pt x="1048" y="810"/>
                    </a:lnTo>
                    <a:lnTo>
                      <a:pt x="1059" y="820"/>
                    </a:lnTo>
                    <a:lnTo>
                      <a:pt x="1069" y="833"/>
                    </a:lnTo>
                    <a:lnTo>
                      <a:pt x="1119" y="953"/>
                    </a:lnTo>
                    <a:lnTo>
                      <a:pt x="1079" y="957"/>
                    </a:lnTo>
                    <a:lnTo>
                      <a:pt x="1041" y="965"/>
                    </a:lnTo>
                    <a:lnTo>
                      <a:pt x="1000" y="978"/>
                    </a:lnTo>
                    <a:lnTo>
                      <a:pt x="958" y="994"/>
                    </a:lnTo>
                    <a:lnTo>
                      <a:pt x="915" y="1012"/>
                    </a:lnTo>
                    <a:lnTo>
                      <a:pt x="870" y="1032"/>
                    </a:lnTo>
                    <a:lnTo>
                      <a:pt x="824" y="1053"/>
                    </a:lnTo>
                    <a:lnTo>
                      <a:pt x="776" y="1072"/>
                    </a:lnTo>
                    <a:lnTo>
                      <a:pt x="724" y="1089"/>
                    </a:lnTo>
                    <a:lnTo>
                      <a:pt x="671" y="1103"/>
                    </a:lnTo>
                    <a:lnTo>
                      <a:pt x="615" y="1114"/>
                    </a:lnTo>
                    <a:lnTo>
                      <a:pt x="514" y="1114"/>
                    </a:lnTo>
                    <a:lnTo>
                      <a:pt x="467" y="1103"/>
                    </a:lnTo>
                    <a:lnTo>
                      <a:pt x="423" y="1090"/>
                    </a:lnTo>
                    <a:lnTo>
                      <a:pt x="383" y="1076"/>
                    </a:lnTo>
                    <a:lnTo>
                      <a:pt x="344" y="1060"/>
                    </a:lnTo>
                    <a:lnTo>
                      <a:pt x="307" y="1043"/>
                    </a:lnTo>
                    <a:lnTo>
                      <a:pt x="271" y="1027"/>
                    </a:lnTo>
                    <a:lnTo>
                      <a:pt x="236" y="1011"/>
                    </a:lnTo>
                    <a:lnTo>
                      <a:pt x="200" y="995"/>
                    </a:lnTo>
                    <a:lnTo>
                      <a:pt x="164" y="981"/>
                    </a:lnTo>
                    <a:lnTo>
                      <a:pt x="126" y="970"/>
                    </a:lnTo>
                    <a:lnTo>
                      <a:pt x="86" y="961"/>
                    </a:lnTo>
                    <a:lnTo>
                      <a:pt x="44" y="955"/>
                    </a:lnTo>
                    <a:lnTo>
                      <a:pt x="0" y="953"/>
                    </a:lnTo>
                    <a:lnTo>
                      <a:pt x="51" y="833"/>
                    </a:lnTo>
                    <a:lnTo>
                      <a:pt x="58" y="825"/>
                    </a:lnTo>
                    <a:lnTo>
                      <a:pt x="68" y="818"/>
                    </a:lnTo>
                    <a:lnTo>
                      <a:pt x="82" y="810"/>
                    </a:lnTo>
                    <a:lnTo>
                      <a:pt x="100" y="803"/>
                    </a:lnTo>
                    <a:lnTo>
                      <a:pt x="119" y="798"/>
                    </a:lnTo>
                    <a:lnTo>
                      <a:pt x="141" y="793"/>
                    </a:lnTo>
                    <a:lnTo>
                      <a:pt x="168" y="784"/>
                    </a:lnTo>
                    <a:lnTo>
                      <a:pt x="197" y="776"/>
                    </a:lnTo>
                    <a:lnTo>
                      <a:pt x="227" y="766"/>
                    </a:lnTo>
                    <a:lnTo>
                      <a:pt x="257" y="757"/>
                    </a:lnTo>
                    <a:lnTo>
                      <a:pt x="286" y="747"/>
                    </a:lnTo>
                    <a:lnTo>
                      <a:pt x="312" y="737"/>
                    </a:lnTo>
                    <a:lnTo>
                      <a:pt x="334" y="729"/>
                    </a:lnTo>
                    <a:lnTo>
                      <a:pt x="353" y="722"/>
                    </a:lnTo>
                    <a:lnTo>
                      <a:pt x="359" y="720"/>
                    </a:lnTo>
                    <a:lnTo>
                      <a:pt x="365" y="714"/>
                    </a:lnTo>
                    <a:lnTo>
                      <a:pt x="372" y="704"/>
                    </a:lnTo>
                    <a:lnTo>
                      <a:pt x="377" y="691"/>
                    </a:lnTo>
                    <a:lnTo>
                      <a:pt x="382" y="678"/>
                    </a:lnTo>
                    <a:lnTo>
                      <a:pt x="383" y="663"/>
                    </a:lnTo>
                    <a:lnTo>
                      <a:pt x="384" y="652"/>
                    </a:lnTo>
                    <a:lnTo>
                      <a:pt x="385" y="643"/>
                    </a:lnTo>
                    <a:lnTo>
                      <a:pt x="387" y="637"/>
                    </a:lnTo>
                    <a:lnTo>
                      <a:pt x="393" y="634"/>
                    </a:lnTo>
                    <a:lnTo>
                      <a:pt x="403" y="633"/>
                    </a:lnTo>
                    <a:lnTo>
                      <a:pt x="406" y="632"/>
                    </a:lnTo>
                    <a:lnTo>
                      <a:pt x="409" y="630"/>
                    </a:lnTo>
                    <a:lnTo>
                      <a:pt x="411" y="629"/>
                    </a:lnTo>
                    <a:lnTo>
                      <a:pt x="412" y="627"/>
                    </a:lnTo>
                    <a:lnTo>
                      <a:pt x="413" y="625"/>
                    </a:lnTo>
                    <a:lnTo>
                      <a:pt x="413" y="624"/>
                    </a:lnTo>
                    <a:lnTo>
                      <a:pt x="414" y="623"/>
                    </a:lnTo>
                    <a:lnTo>
                      <a:pt x="414" y="622"/>
                    </a:lnTo>
                    <a:lnTo>
                      <a:pt x="419" y="606"/>
                    </a:lnTo>
                    <a:lnTo>
                      <a:pt x="422" y="587"/>
                    </a:lnTo>
                    <a:lnTo>
                      <a:pt x="423" y="568"/>
                    </a:lnTo>
                    <a:lnTo>
                      <a:pt x="423" y="552"/>
                    </a:lnTo>
                    <a:lnTo>
                      <a:pt x="422" y="545"/>
                    </a:lnTo>
                    <a:lnTo>
                      <a:pt x="418" y="539"/>
                    </a:lnTo>
                    <a:lnTo>
                      <a:pt x="415" y="533"/>
                    </a:lnTo>
                    <a:lnTo>
                      <a:pt x="414" y="532"/>
                    </a:lnTo>
                    <a:lnTo>
                      <a:pt x="404" y="515"/>
                    </a:lnTo>
                    <a:lnTo>
                      <a:pt x="397" y="494"/>
                    </a:lnTo>
                    <a:lnTo>
                      <a:pt x="389" y="472"/>
                    </a:lnTo>
                    <a:lnTo>
                      <a:pt x="384" y="450"/>
                    </a:lnTo>
                    <a:lnTo>
                      <a:pt x="378" y="428"/>
                    </a:lnTo>
                    <a:lnTo>
                      <a:pt x="373" y="411"/>
                    </a:lnTo>
                    <a:lnTo>
                      <a:pt x="373" y="411"/>
                    </a:lnTo>
                    <a:lnTo>
                      <a:pt x="371" y="411"/>
                    </a:lnTo>
                    <a:lnTo>
                      <a:pt x="370" y="411"/>
                    </a:lnTo>
                    <a:lnTo>
                      <a:pt x="368" y="410"/>
                    </a:lnTo>
                    <a:lnTo>
                      <a:pt x="367" y="409"/>
                    </a:lnTo>
                    <a:lnTo>
                      <a:pt x="364" y="407"/>
                    </a:lnTo>
                    <a:lnTo>
                      <a:pt x="363" y="405"/>
                    </a:lnTo>
                    <a:lnTo>
                      <a:pt x="363" y="402"/>
                    </a:lnTo>
                    <a:lnTo>
                      <a:pt x="356" y="388"/>
                    </a:lnTo>
                    <a:lnTo>
                      <a:pt x="349" y="376"/>
                    </a:lnTo>
                    <a:lnTo>
                      <a:pt x="344" y="364"/>
                    </a:lnTo>
                    <a:lnTo>
                      <a:pt x="343" y="351"/>
                    </a:lnTo>
                    <a:lnTo>
                      <a:pt x="342" y="346"/>
                    </a:lnTo>
                    <a:lnTo>
                      <a:pt x="340" y="339"/>
                    </a:lnTo>
                    <a:lnTo>
                      <a:pt x="338" y="331"/>
                    </a:lnTo>
                    <a:lnTo>
                      <a:pt x="336" y="323"/>
                    </a:lnTo>
                    <a:lnTo>
                      <a:pt x="336" y="314"/>
                    </a:lnTo>
                    <a:lnTo>
                      <a:pt x="339" y="308"/>
                    </a:lnTo>
                    <a:lnTo>
                      <a:pt x="344" y="302"/>
                    </a:lnTo>
                    <a:lnTo>
                      <a:pt x="353" y="301"/>
                    </a:lnTo>
                    <a:lnTo>
                      <a:pt x="356" y="303"/>
                    </a:lnTo>
                    <a:lnTo>
                      <a:pt x="358" y="304"/>
                    </a:lnTo>
                    <a:lnTo>
                      <a:pt x="359" y="305"/>
                    </a:lnTo>
                    <a:lnTo>
                      <a:pt x="361" y="304"/>
                    </a:lnTo>
                    <a:lnTo>
                      <a:pt x="361" y="303"/>
                    </a:lnTo>
                    <a:lnTo>
                      <a:pt x="362" y="301"/>
                    </a:lnTo>
                    <a:lnTo>
                      <a:pt x="362" y="299"/>
                    </a:lnTo>
                    <a:lnTo>
                      <a:pt x="362" y="297"/>
                    </a:lnTo>
                    <a:lnTo>
                      <a:pt x="363" y="294"/>
                    </a:lnTo>
                    <a:lnTo>
                      <a:pt x="363" y="291"/>
                    </a:lnTo>
                    <a:lnTo>
                      <a:pt x="363" y="171"/>
                    </a:lnTo>
                    <a:lnTo>
                      <a:pt x="365" y="147"/>
                    </a:lnTo>
                    <a:lnTo>
                      <a:pt x="372" y="127"/>
                    </a:lnTo>
                    <a:lnTo>
                      <a:pt x="383" y="109"/>
                    </a:lnTo>
                    <a:lnTo>
                      <a:pt x="397" y="94"/>
                    </a:lnTo>
                    <a:lnTo>
                      <a:pt x="414" y="80"/>
                    </a:lnTo>
                    <a:lnTo>
                      <a:pt x="445" y="60"/>
                    </a:lnTo>
                    <a:lnTo>
                      <a:pt x="480" y="42"/>
                    </a:lnTo>
                    <a:lnTo>
                      <a:pt x="517" y="30"/>
                    </a:lnTo>
                    <a:lnTo>
                      <a:pt x="554" y="20"/>
                    </a:lnTo>
                    <a:lnTo>
                      <a:pt x="569" y="16"/>
                    </a:lnTo>
                    <a:lnTo>
                      <a:pt x="586" y="11"/>
                    </a:lnTo>
                    <a:lnTo>
                      <a:pt x="604" y="8"/>
                    </a:lnTo>
                    <a:lnTo>
                      <a:pt x="621" y="5"/>
                    </a:lnTo>
                    <a:lnTo>
                      <a:pt x="636" y="2"/>
                    </a:lnTo>
                    <a:lnTo>
                      <a:pt x="648" y="1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8" name="Group 7"/>
          <p:cNvGrpSpPr/>
          <p:nvPr/>
        </p:nvGrpSpPr>
        <p:grpSpPr>
          <a:xfrm>
            <a:off x="147993" y="5867981"/>
            <a:ext cx="727877" cy="786718"/>
            <a:chOff x="147993" y="5867981"/>
            <a:chExt cx="727877" cy="786718"/>
          </a:xfrm>
        </p:grpSpPr>
        <p:sp>
          <p:nvSpPr>
            <p:cNvPr id="51" name="Rectangle 17"/>
            <p:cNvSpPr>
              <a:spLocks/>
            </p:cNvSpPr>
            <p:nvPr/>
          </p:nvSpPr>
          <p:spPr bwMode="auto">
            <a:xfrm>
              <a:off x="147993" y="6100701"/>
              <a:ext cx="727877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еб-ресурсы, продукт, датчики, приложения</a:t>
              </a:r>
            </a:p>
          </p:txBody>
        </p:sp>
        <p:grpSp>
          <p:nvGrpSpPr>
            <p:cNvPr id="62" name="Group 157"/>
            <p:cNvGrpSpPr>
              <a:grpSpLocks noChangeAspect="1"/>
            </p:cNvGrpSpPr>
            <p:nvPr/>
          </p:nvGrpSpPr>
          <p:grpSpPr bwMode="auto">
            <a:xfrm>
              <a:off x="384100" y="5867981"/>
              <a:ext cx="254721" cy="240654"/>
              <a:chOff x="3815" y="1810"/>
              <a:chExt cx="2354" cy="2224"/>
            </a:xfrm>
            <a:solidFill>
              <a:schemeClr val="bg1"/>
            </a:solidFill>
          </p:grpSpPr>
          <p:sp>
            <p:nvSpPr>
              <p:cNvPr id="63" name="Freeform 159"/>
              <p:cNvSpPr>
                <a:spLocks noEditPoints="1"/>
              </p:cNvSpPr>
              <p:nvPr/>
            </p:nvSpPr>
            <p:spPr bwMode="auto">
              <a:xfrm>
                <a:off x="3815" y="1810"/>
                <a:ext cx="2021" cy="1982"/>
              </a:xfrm>
              <a:custGeom>
                <a:avLst/>
                <a:gdLst>
                  <a:gd name="T0" fmla="*/ 3423 w 4043"/>
                  <a:gd name="T1" fmla="*/ 409 h 3965"/>
                  <a:gd name="T2" fmla="*/ 3363 w 4043"/>
                  <a:gd name="T3" fmla="*/ 435 h 3965"/>
                  <a:gd name="T4" fmla="*/ 3317 w 4043"/>
                  <a:gd name="T5" fmla="*/ 481 h 3965"/>
                  <a:gd name="T6" fmla="*/ 3291 w 4043"/>
                  <a:gd name="T7" fmla="*/ 542 h 3965"/>
                  <a:gd name="T8" fmla="*/ 3291 w 4043"/>
                  <a:gd name="T9" fmla="*/ 611 h 3965"/>
                  <a:gd name="T10" fmla="*/ 3317 w 4043"/>
                  <a:gd name="T11" fmla="*/ 671 h 3965"/>
                  <a:gd name="T12" fmla="*/ 3363 w 4043"/>
                  <a:gd name="T13" fmla="*/ 716 h 3965"/>
                  <a:gd name="T14" fmla="*/ 3423 w 4043"/>
                  <a:gd name="T15" fmla="*/ 742 h 3965"/>
                  <a:gd name="T16" fmla="*/ 3491 w 4043"/>
                  <a:gd name="T17" fmla="*/ 742 h 3965"/>
                  <a:gd name="T18" fmla="*/ 3553 w 4043"/>
                  <a:gd name="T19" fmla="*/ 716 h 3965"/>
                  <a:gd name="T20" fmla="*/ 3598 w 4043"/>
                  <a:gd name="T21" fmla="*/ 671 h 3965"/>
                  <a:gd name="T22" fmla="*/ 3624 w 4043"/>
                  <a:gd name="T23" fmla="*/ 611 h 3965"/>
                  <a:gd name="T24" fmla="*/ 3624 w 4043"/>
                  <a:gd name="T25" fmla="*/ 542 h 3965"/>
                  <a:gd name="T26" fmla="*/ 3598 w 4043"/>
                  <a:gd name="T27" fmla="*/ 481 h 3965"/>
                  <a:gd name="T28" fmla="*/ 3553 w 4043"/>
                  <a:gd name="T29" fmla="*/ 435 h 3965"/>
                  <a:gd name="T30" fmla="*/ 3491 w 4043"/>
                  <a:gd name="T31" fmla="*/ 409 h 3965"/>
                  <a:gd name="T32" fmla="*/ 2924 w 4043"/>
                  <a:gd name="T33" fmla="*/ 406 h 3965"/>
                  <a:gd name="T34" fmla="*/ 2858 w 4043"/>
                  <a:gd name="T35" fmla="*/ 419 h 3965"/>
                  <a:gd name="T36" fmla="*/ 2804 w 4043"/>
                  <a:gd name="T37" fmla="*/ 456 h 3965"/>
                  <a:gd name="T38" fmla="*/ 2768 w 4043"/>
                  <a:gd name="T39" fmla="*/ 511 h 3965"/>
                  <a:gd name="T40" fmla="*/ 2755 w 4043"/>
                  <a:gd name="T41" fmla="*/ 576 h 3965"/>
                  <a:gd name="T42" fmla="*/ 2768 w 4043"/>
                  <a:gd name="T43" fmla="*/ 642 h 3965"/>
                  <a:gd name="T44" fmla="*/ 2804 w 4043"/>
                  <a:gd name="T45" fmla="*/ 696 h 3965"/>
                  <a:gd name="T46" fmla="*/ 2858 w 4043"/>
                  <a:gd name="T47" fmla="*/ 732 h 3965"/>
                  <a:gd name="T48" fmla="*/ 2924 w 4043"/>
                  <a:gd name="T49" fmla="*/ 746 h 3965"/>
                  <a:gd name="T50" fmla="*/ 2991 w 4043"/>
                  <a:gd name="T51" fmla="*/ 732 h 3965"/>
                  <a:gd name="T52" fmla="*/ 3045 w 4043"/>
                  <a:gd name="T53" fmla="*/ 696 h 3965"/>
                  <a:gd name="T54" fmla="*/ 3081 w 4043"/>
                  <a:gd name="T55" fmla="*/ 642 h 3965"/>
                  <a:gd name="T56" fmla="*/ 3094 w 4043"/>
                  <a:gd name="T57" fmla="*/ 576 h 3965"/>
                  <a:gd name="T58" fmla="*/ 3081 w 4043"/>
                  <a:gd name="T59" fmla="*/ 511 h 3965"/>
                  <a:gd name="T60" fmla="*/ 3045 w 4043"/>
                  <a:gd name="T61" fmla="*/ 456 h 3965"/>
                  <a:gd name="T62" fmla="*/ 2991 w 4043"/>
                  <a:gd name="T63" fmla="*/ 419 h 3965"/>
                  <a:gd name="T64" fmla="*/ 2924 w 4043"/>
                  <a:gd name="T65" fmla="*/ 406 h 3965"/>
                  <a:gd name="T66" fmla="*/ 3924 w 4043"/>
                  <a:gd name="T67" fmla="*/ 0 h 3965"/>
                  <a:gd name="T68" fmla="*/ 3984 w 4043"/>
                  <a:gd name="T69" fmla="*/ 18 h 3965"/>
                  <a:gd name="T70" fmla="*/ 4027 w 4043"/>
                  <a:gd name="T71" fmla="*/ 60 h 3965"/>
                  <a:gd name="T72" fmla="*/ 4043 w 4043"/>
                  <a:gd name="T73" fmla="*/ 120 h 3965"/>
                  <a:gd name="T74" fmla="*/ 4026 w 4043"/>
                  <a:gd name="T75" fmla="*/ 1778 h 3965"/>
                  <a:gd name="T76" fmla="*/ 3943 w 4043"/>
                  <a:gd name="T77" fmla="*/ 1795 h 3965"/>
                  <a:gd name="T78" fmla="*/ 3874 w 4043"/>
                  <a:gd name="T79" fmla="*/ 1841 h 3965"/>
                  <a:gd name="T80" fmla="*/ 3809 w 4043"/>
                  <a:gd name="T81" fmla="*/ 1868 h 3965"/>
                  <a:gd name="T82" fmla="*/ 3744 w 4043"/>
                  <a:gd name="T83" fmla="*/ 1878 h 3965"/>
                  <a:gd name="T84" fmla="*/ 3686 w 4043"/>
                  <a:gd name="T85" fmla="*/ 1908 h 3965"/>
                  <a:gd name="T86" fmla="*/ 357 w 4043"/>
                  <a:gd name="T87" fmla="*/ 1095 h 3965"/>
                  <a:gd name="T88" fmla="*/ 2587 w 4043"/>
                  <a:gd name="T89" fmla="*/ 3608 h 3965"/>
                  <a:gd name="T90" fmla="*/ 2585 w 4043"/>
                  <a:gd name="T91" fmla="*/ 3839 h 3965"/>
                  <a:gd name="T92" fmla="*/ 2602 w 4043"/>
                  <a:gd name="T93" fmla="*/ 3926 h 3965"/>
                  <a:gd name="T94" fmla="*/ 119 w 4043"/>
                  <a:gd name="T95" fmla="*/ 3965 h 3965"/>
                  <a:gd name="T96" fmla="*/ 59 w 4043"/>
                  <a:gd name="T97" fmla="*/ 3949 h 3965"/>
                  <a:gd name="T98" fmla="*/ 16 w 4043"/>
                  <a:gd name="T99" fmla="*/ 3906 h 3965"/>
                  <a:gd name="T100" fmla="*/ 0 w 4043"/>
                  <a:gd name="T101" fmla="*/ 3846 h 3965"/>
                  <a:gd name="T102" fmla="*/ 4 w 4043"/>
                  <a:gd name="T103" fmla="*/ 88 h 3965"/>
                  <a:gd name="T104" fmla="*/ 34 w 4043"/>
                  <a:gd name="T105" fmla="*/ 36 h 3965"/>
                  <a:gd name="T106" fmla="*/ 87 w 4043"/>
                  <a:gd name="T107" fmla="*/ 5 h 3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43" h="3965">
                    <a:moveTo>
                      <a:pt x="3457" y="406"/>
                    </a:moveTo>
                    <a:lnTo>
                      <a:pt x="3423" y="409"/>
                    </a:lnTo>
                    <a:lnTo>
                      <a:pt x="3391" y="419"/>
                    </a:lnTo>
                    <a:lnTo>
                      <a:pt x="3363" y="435"/>
                    </a:lnTo>
                    <a:lnTo>
                      <a:pt x="3337" y="456"/>
                    </a:lnTo>
                    <a:lnTo>
                      <a:pt x="3317" y="481"/>
                    </a:lnTo>
                    <a:lnTo>
                      <a:pt x="3301" y="511"/>
                    </a:lnTo>
                    <a:lnTo>
                      <a:pt x="3291" y="542"/>
                    </a:lnTo>
                    <a:lnTo>
                      <a:pt x="3287" y="576"/>
                    </a:lnTo>
                    <a:lnTo>
                      <a:pt x="3291" y="611"/>
                    </a:lnTo>
                    <a:lnTo>
                      <a:pt x="3301" y="642"/>
                    </a:lnTo>
                    <a:lnTo>
                      <a:pt x="3317" y="671"/>
                    </a:lnTo>
                    <a:lnTo>
                      <a:pt x="3337" y="696"/>
                    </a:lnTo>
                    <a:lnTo>
                      <a:pt x="3363" y="716"/>
                    </a:lnTo>
                    <a:lnTo>
                      <a:pt x="3391" y="732"/>
                    </a:lnTo>
                    <a:lnTo>
                      <a:pt x="3423" y="742"/>
                    </a:lnTo>
                    <a:lnTo>
                      <a:pt x="3457" y="746"/>
                    </a:lnTo>
                    <a:lnTo>
                      <a:pt x="3491" y="742"/>
                    </a:lnTo>
                    <a:lnTo>
                      <a:pt x="3524" y="732"/>
                    </a:lnTo>
                    <a:lnTo>
                      <a:pt x="3553" y="716"/>
                    </a:lnTo>
                    <a:lnTo>
                      <a:pt x="3577" y="696"/>
                    </a:lnTo>
                    <a:lnTo>
                      <a:pt x="3598" y="671"/>
                    </a:lnTo>
                    <a:lnTo>
                      <a:pt x="3614" y="642"/>
                    </a:lnTo>
                    <a:lnTo>
                      <a:pt x="3624" y="611"/>
                    </a:lnTo>
                    <a:lnTo>
                      <a:pt x="3627" y="576"/>
                    </a:lnTo>
                    <a:lnTo>
                      <a:pt x="3624" y="542"/>
                    </a:lnTo>
                    <a:lnTo>
                      <a:pt x="3614" y="511"/>
                    </a:lnTo>
                    <a:lnTo>
                      <a:pt x="3598" y="481"/>
                    </a:lnTo>
                    <a:lnTo>
                      <a:pt x="3577" y="456"/>
                    </a:lnTo>
                    <a:lnTo>
                      <a:pt x="3553" y="435"/>
                    </a:lnTo>
                    <a:lnTo>
                      <a:pt x="3524" y="419"/>
                    </a:lnTo>
                    <a:lnTo>
                      <a:pt x="3491" y="409"/>
                    </a:lnTo>
                    <a:lnTo>
                      <a:pt x="3457" y="406"/>
                    </a:lnTo>
                    <a:close/>
                    <a:moveTo>
                      <a:pt x="2924" y="406"/>
                    </a:moveTo>
                    <a:lnTo>
                      <a:pt x="2890" y="409"/>
                    </a:lnTo>
                    <a:lnTo>
                      <a:pt x="2858" y="419"/>
                    </a:lnTo>
                    <a:lnTo>
                      <a:pt x="2830" y="435"/>
                    </a:lnTo>
                    <a:lnTo>
                      <a:pt x="2804" y="456"/>
                    </a:lnTo>
                    <a:lnTo>
                      <a:pt x="2784" y="481"/>
                    </a:lnTo>
                    <a:lnTo>
                      <a:pt x="2768" y="511"/>
                    </a:lnTo>
                    <a:lnTo>
                      <a:pt x="2758" y="542"/>
                    </a:lnTo>
                    <a:lnTo>
                      <a:pt x="2755" y="576"/>
                    </a:lnTo>
                    <a:lnTo>
                      <a:pt x="2758" y="611"/>
                    </a:lnTo>
                    <a:lnTo>
                      <a:pt x="2768" y="642"/>
                    </a:lnTo>
                    <a:lnTo>
                      <a:pt x="2784" y="671"/>
                    </a:lnTo>
                    <a:lnTo>
                      <a:pt x="2804" y="696"/>
                    </a:lnTo>
                    <a:lnTo>
                      <a:pt x="2830" y="716"/>
                    </a:lnTo>
                    <a:lnTo>
                      <a:pt x="2858" y="732"/>
                    </a:lnTo>
                    <a:lnTo>
                      <a:pt x="2890" y="742"/>
                    </a:lnTo>
                    <a:lnTo>
                      <a:pt x="2924" y="746"/>
                    </a:lnTo>
                    <a:lnTo>
                      <a:pt x="2958" y="742"/>
                    </a:lnTo>
                    <a:lnTo>
                      <a:pt x="2991" y="732"/>
                    </a:lnTo>
                    <a:lnTo>
                      <a:pt x="3020" y="716"/>
                    </a:lnTo>
                    <a:lnTo>
                      <a:pt x="3045" y="696"/>
                    </a:lnTo>
                    <a:lnTo>
                      <a:pt x="3065" y="671"/>
                    </a:lnTo>
                    <a:lnTo>
                      <a:pt x="3081" y="642"/>
                    </a:lnTo>
                    <a:lnTo>
                      <a:pt x="3091" y="611"/>
                    </a:lnTo>
                    <a:lnTo>
                      <a:pt x="3094" y="576"/>
                    </a:lnTo>
                    <a:lnTo>
                      <a:pt x="3091" y="542"/>
                    </a:lnTo>
                    <a:lnTo>
                      <a:pt x="3081" y="511"/>
                    </a:lnTo>
                    <a:lnTo>
                      <a:pt x="3065" y="481"/>
                    </a:lnTo>
                    <a:lnTo>
                      <a:pt x="3045" y="456"/>
                    </a:lnTo>
                    <a:lnTo>
                      <a:pt x="3020" y="435"/>
                    </a:lnTo>
                    <a:lnTo>
                      <a:pt x="2991" y="419"/>
                    </a:lnTo>
                    <a:lnTo>
                      <a:pt x="2958" y="409"/>
                    </a:lnTo>
                    <a:lnTo>
                      <a:pt x="2924" y="406"/>
                    </a:lnTo>
                    <a:close/>
                    <a:moveTo>
                      <a:pt x="119" y="0"/>
                    </a:moveTo>
                    <a:lnTo>
                      <a:pt x="3924" y="0"/>
                    </a:lnTo>
                    <a:lnTo>
                      <a:pt x="3956" y="5"/>
                    </a:lnTo>
                    <a:lnTo>
                      <a:pt x="3984" y="18"/>
                    </a:lnTo>
                    <a:lnTo>
                      <a:pt x="4009" y="36"/>
                    </a:lnTo>
                    <a:lnTo>
                      <a:pt x="4027" y="60"/>
                    </a:lnTo>
                    <a:lnTo>
                      <a:pt x="4039" y="88"/>
                    </a:lnTo>
                    <a:lnTo>
                      <a:pt x="4043" y="120"/>
                    </a:lnTo>
                    <a:lnTo>
                      <a:pt x="4043" y="1778"/>
                    </a:lnTo>
                    <a:lnTo>
                      <a:pt x="4026" y="1778"/>
                    </a:lnTo>
                    <a:lnTo>
                      <a:pt x="3983" y="1783"/>
                    </a:lnTo>
                    <a:lnTo>
                      <a:pt x="3943" y="1795"/>
                    </a:lnTo>
                    <a:lnTo>
                      <a:pt x="3907" y="1815"/>
                    </a:lnTo>
                    <a:lnTo>
                      <a:pt x="3874" y="1841"/>
                    </a:lnTo>
                    <a:lnTo>
                      <a:pt x="3849" y="1873"/>
                    </a:lnTo>
                    <a:lnTo>
                      <a:pt x="3809" y="1868"/>
                    </a:lnTo>
                    <a:lnTo>
                      <a:pt x="3776" y="1871"/>
                    </a:lnTo>
                    <a:lnTo>
                      <a:pt x="3744" y="1878"/>
                    </a:lnTo>
                    <a:lnTo>
                      <a:pt x="3713" y="1891"/>
                    </a:lnTo>
                    <a:lnTo>
                      <a:pt x="3686" y="1908"/>
                    </a:lnTo>
                    <a:lnTo>
                      <a:pt x="3686" y="1095"/>
                    </a:lnTo>
                    <a:lnTo>
                      <a:pt x="357" y="1095"/>
                    </a:lnTo>
                    <a:lnTo>
                      <a:pt x="357" y="3608"/>
                    </a:lnTo>
                    <a:lnTo>
                      <a:pt x="2587" y="3608"/>
                    </a:lnTo>
                    <a:lnTo>
                      <a:pt x="2585" y="3640"/>
                    </a:lnTo>
                    <a:lnTo>
                      <a:pt x="2585" y="3839"/>
                    </a:lnTo>
                    <a:lnTo>
                      <a:pt x="2590" y="3885"/>
                    </a:lnTo>
                    <a:lnTo>
                      <a:pt x="2602" y="3926"/>
                    </a:lnTo>
                    <a:lnTo>
                      <a:pt x="2622" y="3965"/>
                    </a:lnTo>
                    <a:lnTo>
                      <a:pt x="119" y="3965"/>
                    </a:lnTo>
                    <a:lnTo>
                      <a:pt x="87" y="3961"/>
                    </a:lnTo>
                    <a:lnTo>
                      <a:pt x="59" y="3949"/>
                    </a:lnTo>
                    <a:lnTo>
                      <a:pt x="34" y="3931"/>
                    </a:lnTo>
                    <a:lnTo>
                      <a:pt x="16" y="3906"/>
                    </a:lnTo>
                    <a:lnTo>
                      <a:pt x="4" y="3878"/>
                    </a:lnTo>
                    <a:lnTo>
                      <a:pt x="0" y="3846"/>
                    </a:lnTo>
                    <a:lnTo>
                      <a:pt x="0" y="120"/>
                    </a:lnTo>
                    <a:lnTo>
                      <a:pt x="4" y="88"/>
                    </a:lnTo>
                    <a:lnTo>
                      <a:pt x="16" y="60"/>
                    </a:lnTo>
                    <a:lnTo>
                      <a:pt x="34" y="36"/>
                    </a:lnTo>
                    <a:lnTo>
                      <a:pt x="59" y="18"/>
                    </a:lnTo>
                    <a:lnTo>
                      <a:pt x="87" y="5"/>
                    </a:lnTo>
                    <a:lnTo>
                      <a:pt x="1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64" name="Freeform 160"/>
              <p:cNvSpPr>
                <a:spLocks noEditPoints="1"/>
              </p:cNvSpPr>
              <p:nvPr/>
            </p:nvSpPr>
            <p:spPr bwMode="auto">
              <a:xfrm>
                <a:off x="4491" y="2507"/>
                <a:ext cx="895" cy="895"/>
              </a:xfrm>
              <a:custGeom>
                <a:avLst/>
                <a:gdLst>
                  <a:gd name="T0" fmla="*/ 727 w 1791"/>
                  <a:gd name="T1" fmla="*/ 498 h 1790"/>
                  <a:gd name="T2" fmla="*/ 554 w 1791"/>
                  <a:gd name="T3" fmla="*/ 632 h 1790"/>
                  <a:gd name="T4" fmla="*/ 469 w 1791"/>
                  <a:gd name="T5" fmla="*/ 836 h 1790"/>
                  <a:gd name="T6" fmla="*/ 499 w 1791"/>
                  <a:gd name="T7" fmla="*/ 1062 h 1790"/>
                  <a:gd name="T8" fmla="*/ 632 w 1791"/>
                  <a:gd name="T9" fmla="*/ 1236 h 1790"/>
                  <a:gd name="T10" fmla="*/ 837 w 1791"/>
                  <a:gd name="T11" fmla="*/ 1322 h 1790"/>
                  <a:gd name="T12" fmla="*/ 1063 w 1791"/>
                  <a:gd name="T13" fmla="*/ 1292 h 1790"/>
                  <a:gd name="T14" fmla="*/ 1236 w 1791"/>
                  <a:gd name="T15" fmla="*/ 1158 h 1790"/>
                  <a:gd name="T16" fmla="*/ 1323 w 1791"/>
                  <a:gd name="T17" fmla="*/ 953 h 1790"/>
                  <a:gd name="T18" fmla="*/ 1293 w 1791"/>
                  <a:gd name="T19" fmla="*/ 728 h 1790"/>
                  <a:gd name="T20" fmla="*/ 1159 w 1791"/>
                  <a:gd name="T21" fmla="*/ 553 h 1790"/>
                  <a:gd name="T22" fmla="*/ 955 w 1791"/>
                  <a:gd name="T23" fmla="*/ 468 h 1790"/>
                  <a:gd name="T24" fmla="*/ 1052 w 1791"/>
                  <a:gd name="T25" fmla="*/ 3 h 1790"/>
                  <a:gd name="T26" fmla="*/ 1139 w 1791"/>
                  <a:gd name="T27" fmla="*/ 73 h 1790"/>
                  <a:gd name="T28" fmla="*/ 1192 w 1791"/>
                  <a:gd name="T29" fmla="*/ 180 h 1790"/>
                  <a:gd name="T30" fmla="*/ 1303 w 1791"/>
                  <a:gd name="T31" fmla="*/ 142 h 1790"/>
                  <a:gd name="T32" fmla="*/ 1416 w 1791"/>
                  <a:gd name="T33" fmla="*/ 155 h 1790"/>
                  <a:gd name="T34" fmla="*/ 1649 w 1791"/>
                  <a:gd name="T35" fmla="*/ 402 h 1790"/>
                  <a:gd name="T36" fmla="*/ 1636 w 1791"/>
                  <a:gd name="T37" fmla="*/ 513 h 1790"/>
                  <a:gd name="T38" fmla="*/ 1625 w 1791"/>
                  <a:gd name="T39" fmla="*/ 638 h 1790"/>
                  <a:gd name="T40" fmla="*/ 1741 w 1791"/>
                  <a:gd name="T41" fmla="*/ 666 h 1790"/>
                  <a:gd name="T42" fmla="*/ 1791 w 1791"/>
                  <a:gd name="T43" fmla="*/ 769 h 1790"/>
                  <a:gd name="T44" fmla="*/ 1762 w 1791"/>
                  <a:gd name="T45" fmla="*/ 1104 h 1790"/>
                  <a:gd name="T46" fmla="*/ 1659 w 1791"/>
                  <a:gd name="T47" fmla="*/ 1152 h 1790"/>
                  <a:gd name="T48" fmla="*/ 1618 w 1791"/>
                  <a:gd name="T49" fmla="*/ 1252 h 1790"/>
                  <a:gd name="T50" fmla="*/ 1655 w 1791"/>
                  <a:gd name="T51" fmla="*/ 1361 h 1790"/>
                  <a:gd name="T52" fmla="*/ 1439 w 1791"/>
                  <a:gd name="T53" fmla="*/ 1617 h 1790"/>
                  <a:gd name="T54" fmla="*/ 1332 w 1791"/>
                  <a:gd name="T55" fmla="*/ 1655 h 1790"/>
                  <a:gd name="T56" fmla="*/ 1229 w 1791"/>
                  <a:gd name="T57" fmla="*/ 1592 h 1790"/>
                  <a:gd name="T58" fmla="*/ 1149 w 1791"/>
                  <a:gd name="T59" fmla="*/ 1688 h 1790"/>
                  <a:gd name="T60" fmla="*/ 1079 w 1791"/>
                  <a:gd name="T61" fmla="*/ 1777 h 1790"/>
                  <a:gd name="T62" fmla="*/ 740 w 1791"/>
                  <a:gd name="T63" fmla="*/ 1787 h 1790"/>
                  <a:gd name="T64" fmla="*/ 652 w 1791"/>
                  <a:gd name="T65" fmla="*/ 1717 h 1790"/>
                  <a:gd name="T66" fmla="*/ 600 w 1791"/>
                  <a:gd name="T67" fmla="*/ 1609 h 1790"/>
                  <a:gd name="T68" fmla="*/ 487 w 1791"/>
                  <a:gd name="T69" fmla="*/ 1648 h 1790"/>
                  <a:gd name="T70" fmla="*/ 374 w 1791"/>
                  <a:gd name="T71" fmla="*/ 1635 h 1790"/>
                  <a:gd name="T72" fmla="*/ 141 w 1791"/>
                  <a:gd name="T73" fmla="*/ 1389 h 1790"/>
                  <a:gd name="T74" fmla="*/ 154 w 1791"/>
                  <a:gd name="T75" fmla="*/ 1276 h 1790"/>
                  <a:gd name="T76" fmla="*/ 167 w 1791"/>
                  <a:gd name="T77" fmla="*/ 1152 h 1790"/>
                  <a:gd name="T78" fmla="*/ 50 w 1791"/>
                  <a:gd name="T79" fmla="*/ 1124 h 1790"/>
                  <a:gd name="T80" fmla="*/ 0 w 1791"/>
                  <a:gd name="T81" fmla="*/ 1021 h 1790"/>
                  <a:gd name="T82" fmla="*/ 29 w 1791"/>
                  <a:gd name="T83" fmla="*/ 686 h 1790"/>
                  <a:gd name="T84" fmla="*/ 133 w 1791"/>
                  <a:gd name="T85" fmla="*/ 638 h 1790"/>
                  <a:gd name="T86" fmla="*/ 174 w 1791"/>
                  <a:gd name="T87" fmla="*/ 538 h 1790"/>
                  <a:gd name="T88" fmla="*/ 136 w 1791"/>
                  <a:gd name="T89" fmla="*/ 429 h 1790"/>
                  <a:gd name="T90" fmla="*/ 351 w 1791"/>
                  <a:gd name="T91" fmla="*/ 173 h 1790"/>
                  <a:gd name="T92" fmla="*/ 459 w 1791"/>
                  <a:gd name="T93" fmla="*/ 135 h 1790"/>
                  <a:gd name="T94" fmla="*/ 562 w 1791"/>
                  <a:gd name="T95" fmla="*/ 197 h 1790"/>
                  <a:gd name="T96" fmla="*/ 642 w 1791"/>
                  <a:gd name="T97" fmla="*/ 102 h 1790"/>
                  <a:gd name="T98" fmla="*/ 712 w 1791"/>
                  <a:gd name="T99" fmla="*/ 13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91" h="1790">
                    <a:moveTo>
                      <a:pt x="896" y="463"/>
                    </a:moveTo>
                    <a:lnTo>
                      <a:pt x="837" y="468"/>
                    </a:lnTo>
                    <a:lnTo>
                      <a:pt x="780" y="479"/>
                    </a:lnTo>
                    <a:lnTo>
                      <a:pt x="727" y="498"/>
                    </a:lnTo>
                    <a:lnTo>
                      <a:pt x="677" y="523"/>
                    </a:lnTo>
                    <a:lnTo>
                      <a:pt x="632" y="553"/>
                    </a:lnTo>
                    <a:lnTo>
                      <a:pt x="590" y="590"/>
                    </a:lnTo>
                    <a:lnTo>
                      <a:pt x="554" y="632"/>
                    </a:lnTo>
                    <a:lnTo>
                      <a:pt x="523" y="678"/>
                    </a:lnTo>
                    <a:lnTo>
                      <a:pt x="499" y="728"/>
                    </a:lnTo>
                    <a:lnTo>
                      <a:pt x="480" y="781"/>
                    </a:lnTo>
                    <a:lnTo>
                      <a:pt x="469" y="836"/>
                    </a:lnTo>
                    <a:lnTo>
                      <a:pt x="464" y="895"/>
                    </a:lnTo>
                    <a:lnTo>
                      <a:pt x="469" y="953"/>
                    </a:lnTo>
                    <a:lnTo>
                      <a:pt x="480" y="1009"/>
                    </a:lnTo>
                    <a:lnTo>
                      <a:pt x="499" y="1062"/>
                    </a:lnTo>
                    <a:lnTo>
                      <a:pt x="523" y="1112"/>
                    </a:lnTo>
                    <a:lnTo>
                      <a:pt x="554" y="1158"/>
                    </a:lnTo>
                    <a:lnTo>
                      <a:pt x="590" y="1199"/>
                    </a:lnTo>
                    <a:lnTo>
                      <a:pt x="632" y="1236"/>
                    </a:lnTo>
                    <a:lnTo>
                      <a:pt x="677" y="1268"/>
                    </a:lnTo>
                    <a:lnTo>
                      <a:pt x="727" y="1292"/>
                    </a:lnTo>
                    <a:lnTo>
                      <a:pt x="780" y="1311"/>
                    </a:lnTo>
                    <a:lnTo>
                      <a:pt x="837" y="1322"/>
                    </a:lnTo>
                    <a:lnTo>
                      <a:pt x="896" y="1326"/>
                    </a:lnTo>
                    <a:lnTo>
                      <a:pt x="955" y="1322"/>
                    </a:lnTo>
                    <a:lnTo>
                      <a:pt x="1010" y="1311"/>
                    </a:lnTo>
                    <a:lnTo>
                      <a:pt x="1063" y="1292"/>
                    </a:lnTo>
                    <a:lnTo>
                      <a:pt x="1113" y="1268"/>
                    </a:lnTo>
                    <a:lnTo>
                      <a:pt x="1159" y="1236"/>
                    </a:lnTo>
                    <a:lnTo>
                      <a:pt x="1200" y="1199"/>
                    </a:lnTo>
                    <a:lnTo>
                      <a:pt x="1236" y="1158"/>
                    </a:lnTo>
                    <a:lnTo>
                      <a:pt x="1268" y="1112"/>
                    </a:lnTo>
                    <a:lnTo>
                      <a:pt x="1293" y="1062"/>
                    </a:lnTo>
                    <a:lnTo>
                      <a:pt x="1310" y="1009"/>
                    </a:lnTo>
                    <a:lnTo>
                      <a:pt x="1323" y="953"/>
                    </a:lnTo>
                    <a:lnTo>
                      <a:pt x="1326" y="895"/>
                    </a:lnTo>
                    <a:lnTo>
                      <a:pt x="1323" y="836"/>
                    </a:lnTo>
                    <a:lnTo>
                      <a:pt x="1310" y="781"/>
                    </a:lnTo>
                    <a:lnTo>
                      <a:pt x="1293" y="728"/>
                    </a:lnTo>
                    <a:lnTo>
                      <a:pt x="1268" y="678"/>
                    </a:lnTo>
                    <a:lnTo>
                      <a:pt x="1236" y="632"/>
                    </a:lnTo>
                    <a:lnTo>
                      <a:pt x="1200" y="590"/>
                    </a:lnTo>
                    <a:lnTo>
                      <a:pt x="1159" y="553"/>
                    </a:lnTo>
                    <a:lnTo>
                      <a:pt x="1113" y="523"/>
                    </a:lnTo>
                    <a:lnTo>
                      <a:pt x="1063" y="498"/>
                    </a:lnTo>
                    <a:lnTo>
                      <a:pt x="1010" y="479"/>
                    </a:lnTo>
                    <a:lnTo>
                      <a:pt x="955" y="468"/>
                    </a:lnTo>
                    <a:lnTo>
                      <a:pt x="896" y="463"/>
                    </a:lnTo>
                    <a:close/>
                    <a:moveTo>
                      <a:pt x="770" y="0"/>
                    </a:moveTo>
                    <a:lnTo>
                      <a:pt x="1020" y="0"/>
                    </a:lnTo>
                    <a:lnTo>
                      <a:pt x="1052" y="3"/>
                    </a:lnTo>
                    <a:lnTo>
                      <a:pt x="1079" y="13"/>
                    </a:lnTo>
                    <a:lnTo>
                      <a:pt x="1103" y="29"/>
                    </a:lnTo>
                    <a:lnTo>
                      <a:pt x="1125" y="49"/>
                    </a:lnTo>
                    <a:lnTo>
                      <a:pt x="1139" y="73"/>
                    </a:lnTo>
                    <a:lnTo>
                      <a:pt x="1149" y="102"/>
                    </a:lnTo>
                    <a:lnTo>
                      <a:pt x="1153" y="132"/>
                    </a:lnTo>
                    <a:lnTo>
                      <a:pt x="1153" y="166"/>
                    </a:lnTo>
                    <a:lnTo>
                      <a:pt x="1192" y="180"/>
                    </a:lnTo>
                    <a:lnTo>
                      <a:pt x="1229" y="197"/>
                    </a:lnTo>
                    <a:lnTo>
                      <a:pt x="1253" y="173"/>
                    </a:lnTo>
                    <a:lnTo>
                      <a:pt x="1276" y="155"/>
                    </a:lnTo>
                    <a:lnTo>
                      <a:pt x="1303" y="142"/>
                    </a:lnTo>
                    <a:lnTo>
                      <a:pt x="1332" y="135"/>
                    </a:lnTo>
                    <a:lnTo>
                      <a:pt x="1360" y="135"/>
                    </a:lnTo>
                    <a:lnTo>
                      <a:pt x="1389" y="142"/>
                    </a:lnTo>
                    <a:lnTo>
                      <a:pt x="1416" y="155"/>
                    </a:lnTo>
                    <a:lnTo>
                      <a:pt x="1439" y="173"/>
                    </a:lnTo>
                    <a:lnTo>
                      <a:pt x="1618" y="350"/>
                    </a:lnTo>
                    <a:lnTo>
                      <a:pt x="1636" y="375"/>
                    </a:lnTo>
                    <a:lnTo>
                      <a:pt x="1649" y="402"/>
                    </a:lnTo>
                    <a:lnTo>
                      <a:pt x="1655" y="429"/>
                    </a:lnTo>
                    <a:lnTo>
                      <a:pt x="1655" y="459"/>
                    </a:lnTo>
                    <a:lnTo>
                      <a:pt x="1649" y="488"/>
                    </a:lnTo>
                    <a:lnTo>
                      <a:pt x="1636" y="513"/>
                    </a:lnTo>
                    <a:lnTo>
                      <a:pt x="1618" y="538"/>
                    </a:lnTo>
                    <a:lnTo>
                      <a:pt x="1593" y="562"/>
                    </a:lnTo>
                    <a:lnTo>
                      <a:pt x="1609" y="599"/>
                    </a:lnTo>
                    <a:lnTo>
                      <a:pt x="1625" y="638"/>
                    </a:lnTo>
                    <a:lnTo>
                      <a:pt x="1659" y="638"/>
                    </a:lnTo>
                    <a:lnTo>
                      <a:pt x="1689" y="640"/>
                    </a:lnTo>
                    <a:lnTo>
                      <a:pt x="1716" y="651"/>
                    </a:lnTo>
                    <a:lnTo>
                      <a:pt x="1741" y="666"/>
                    </a:lnTo>
                    <a:lnTo>
                      <a:pt x="1762" y="686"/>
                    </a:lnTo>
                    <a:lnTo>
                      <a:pt x="1778" y="712"/>
                    </a:lnTo>
                    <a:lnTo>
                      <a:pt x="1788" y="739"/>
                    </a:lnTo>
                    <a:lnTo>
                      <a:pt x="1791" y="769"/>
                    </a:lnTo>
                    <a:lnTo>
                      <a:pt x="1791" y="1021"/>
                    </a:lnTo>
                    <a:lnTo>
                      <a:pt x="1788" y="1051"/>
                    </a:lnTo>
                    <a:lnTo>
                      <a:pt x="1778" y="1079"/>
                    </a:lnTo>
                    <a:lnTo>
                      <a:pt x="1762" y="1104"/>
                    </a:lnTo>
                    <a:lnTo>
                      <a:pt x="1741" y="1124"/>
                    </a:lnTo>
                    <a:lnTo>
                      <a:pt x="1716" y="1139"/>
                    </a:lnTo>
                    <a:lnTo>
                      <a:pt x="1689" y="1149"/>
                    </a:lnTo>
                    <a:lnTo>
                      <a:pt x="1659" y="1152"/>
                    </a:lnTo>
                    <a:lnTo>
                      <a:pt x="1625" y="1152"/>
                    </a:lnTo>
                    <a:lnTo>
                      <a:pt x="1609" y="1191"/>
                    </a:lnTo>
                    <a:lnTo>
                      <a:pt x="1593" y="1228"/>
                    </a:lnTo>
                    <a:lnTo>
                      <a:pt x="1618" y="1252"/>
                    </a:lnTo>
                    <a:lnTo>
                      <a:pt x="1636" y="1276"/>
                    </a:lnTo>
                    <a:lnTo>
                      <a:pt x="1649" y="1304"/>
                    </a:lnTo>
                    <a:lnTo>
                      <a:pt x="1655" y="1331"/>
                    </a:lnTo>
                    <a:lnTo>
                      <a:pt x="1655" y="1361"/>
                    </a:lnTo>
                    <a:lnTo>
                      <a:pt x="1649" y="1389"/>
                    </a:lnTo>
                    <a:lnTo>
                      <a:pt x="1636" y="1415"/>
                    </a:lnTo>
                    <a:lnTo>
                      <a:pt x="1618" y="1439"/>
                    </a:lnTo>
                    <a:lnTo>
                      <a:pt x="1439" y="1617"/>
                    </a:lnTo>
                    <a:lnTo>
                      <a:pt x="1416" y="1635"/>
                    </a:lnTo>
                    <a:lnTo>
                      <a:pt x="1389" y="1648"/>
                    </a:lnTo>
                    <a:lnTo>
                      <a:pt x="1360" y="1655"/>
                    </a:lnTo>
                    <a:lnTo>
                      <a:pt x="1332" y="1655"/>
                    </a:lnTo>
                    <a:lnTo>
                      <a:pt x="1303" y="1648"/>
                    </a:lnTo>
                    <a:lnTo>
                      <a:pt x="1276" y="1635"/>
                    </a:lnTo>
                    <a:lnTo>
                      <a:pt x="1253" y="1617"/>
                    </a:lnTo>
                    <a:lnTo>
                      <a:pt x="1229" y="1592"/>
                    </a:lnTo>
                    <a:lnTo>
                      <a:pt x="1192" y="1609"/>
                    </a:lnTo>
                    <a:lnTo>
                      <a:pt x="1153" y="1624"/>
                    </a:lnTo>
                    <a:lnTo>
                      <a:pt x="1153" y="1658"/>
                    </a:lnTo>
                    <a:lnTo>
                      <a:pt x="1149" y="1688"/>
                    </a:lnTo>
                    <a:lnTo>
                      <a:pt x="1139" y="1717"/>
                    </a:lnTo>
                    <a:lnTo>
                      <a:pt x="1125" y="1741"/>
                    </a:lnTo>
                    <a:lnTo>
                      <a:pt x="1103" y="1761"/>
                    </a:lnTo>
                    <a:lnTo>
                      <a:pt x="1079" y="1777"/>
                    </a:lnTo>
                    <a:lnTo>
                      <a:pt x="1052" y="1787"/>
                    </a:lnTo>
                    <a:lnTo>
                      <a:pt x="1020" y="1790"/>
                    </a:lnTo>
                    <a:lnTo>
                      <a:pt x="770" y="1790"/>
                    </a:lnTo>
                    <a:lnTo>
                      <a:pt x="740" y="1787"/>
                    </a:lnTo>
                    <a:lnTo>
                      <a:pt x="712" y="1777"/>
                    </a:lnTo>
                    <a:lnTo>
                      <a:pt x="687" y="1761"/>
                    </a:lnTo>
                    <a:lnTo>
                      <a:pt x="667" y="1741"/>
                    </a:lnTo>
                    <a:lnTo>
                      <a:pt x="652" y="1717"/>
                    </a:lnTo>
                    <a:lnTo>
                      <a:pt x="642" y="1688"/>
                    </a:lnTo>
                    <a:lnTo>
                      <a:pt x="637" y="1658"/>
                    </a:lnTo>
                    <a:lnTo>
                      <a:pt x="637" y="1624"/>
                    </a:lnTo>
                    <a:lnTo>
                      <a:pt x="600" y="1609"/>
                    </a:lnTo>
                    <a:lnTo>
                      <a:pt x="562" y="1592"/>
                    </a:lnTo>
                    <a:lnTo>
                      <a:pt x="537" y="1617"/>
                    </a:lnTo>
                    <a:lnTo>
                      <a:pt x="514" y="1635"/>
                    </a:lnTo>
                    <a:lnTo>
                      <a:pt x="487" y="1648"/>
                    </a:lnTo>
                    <a:lnTo>
                      <a:pt x="459" y="1655"/>
                    </a:lnTo>
                    <a:lnTo>
                      <a:pt x="430" y="1655"/>
                    </a:lnTo>
                    <a:lnTo>
                      <a:pt x="401" y="1648"/>
                    </a:lnTo>
                    <a:lnTo>
                      <a:pt x="374" y="1635"/>
                    </a:lnTo>
                    <a:lnTo>
                      <a:pt x="351" y="1617"/>
                    </a:lnTo>
                    <a:lnTo>
                      <a:pt x="174" y="1439"/>
                    </a:lnTo>
                    <a:lnTo>
                      <a:pt x="154" y="1415"/>
                    </a:lnTo>
                    <a:lnTo>
                      <a:pt x="141" y="1389"/>
                    </a:lnTo>
                    <a:lnTo>
                      <a:pt x="136" y="1361"/>
                    </a:lnTo>
                    <a:lnTo>
                      <a:pt x="136" y="1331"/>
                    </a:lnTo>
                    <a:lnTo>
                      <a:pt x="141" y="1304"/>
                    </a:lnTo>
                    <a:lnTo>
                      <a:pt x="154" y="1276"/>
                    </a:lnTo>
                    <a:lnTo>
                      <a:pt x="174" y="1252"/>
                    </a:lnTo>
                    <a:lnTo>
                      <a:pt x="199" y="1228"/>
                    </a:lnTo>
                    <a:lnTo>
                      <a:pt x="181" y="1191"/>
                    </a:lnTo>
                    <a:lnTo>
                      <a:pt x="167" y="1152"/>
                    </a:lnTo>
                    <a:lnTo>
                      <a:pt x="133" y="1152"/>
                    </a:lnTo>
                    <a:lnTo>
                      <a:pt x="101" y="1149"/>
                    </a:lnTo>
                    <a:lnTo>
                      <a:pt x="74" y="1139"/>
                    </a:lnTo>
                    <a:lnTo>
                      <a:pt x="50" y="1124"/>
                    </a:lnTo>
                    <a:lnTo>
                      <a:pt x="29" y="1104"/>
                    </a:lnTo>
                    <a:lnTo>
                      <a:pt x="14" y="1079"/>
                    </a:lnTo>
                    <a:lnTo>
                      <a:pt x="4" y="1051"/>
                    </a:lnTo>
                    <a:lnTo>
                      <a:pt x="0" y="1021"/>
                    </a:lnTo>
                    <a:lnTo>
                      <a:pt x="0" y="769"/>
                    </a:lnTo>
                    <a:lnTo>
                      <a:pt x="4" y="739"/>
                    </a:lnTo>
                    <a:lnTo>
                      <a:pt x="14" y="712"/>
                    </a:lnTo>
                    <a:lnTo>
                      <a:pt x="29" y="686"/>
                    </a:lnTo>
                    <a:lnTo>
                      <a:pt x="50" y="666"/>
                    </a:lnTo>
                    <a:lnTo>
                      <a:pt x="74" y="651"/>
                    </a:lnTo>
                    <a:lnTo>
                      <a:pt x="101" y="640"/>
                    </a:lnTo>
                    <a:lnTo>
                      <a:pt x="133" y="638"/>
                    </a:lnTo>
                    <a:lnTo>
                      <a:pt x="167" y="638"/>
                    </a:lnTo>
                    <a:lnTo>
                      <a:pt x="181" y="599"/>
                    </a:lnTo>
                    <a:lnTo>
                      <a:pt x="199" y="562"/>
                    </a:lnTo>
                    <a:lnTo>
                      <a:pt x="174" y="538"/>
                    </a:lnTo>
                    <a:lnTo>
                      <a:pt x="154" y="513"/>
                    </a:lnTo>
                    <a:lnTo>
                      <a:pt x="141" y="488"/>
                    </a:lnTo>
                    <a:lnTo>
                      <a:pt x="136" y="459"/>
                    </a:lnTo>
                    <a:lnTo>
                      <a:pt x="136" y="429"/>
                    </a:lnTo>
                    <a:lnTo>
                      <a:pt x="141" y="402"/>
                    </a:lnTo>
                    <a:lnTo>
                      <a:pt x="154" y="375"/>
                    </a:lnTo>
                    <a:lnTo>
                      <a:pt x="174" y="350"/>
                    </a:lnTo>
                    <a:lnTo>
                      <a:pt x="351" y="173"/>
                    </a:lnTo>
                    <a:lnTo>
                      <a:pt x="376" y="155"/>
                    </a:lnTo>
                    <a:lnTo>
                      <a:pt x="401" y="142"/>
                    </a:lnTo>
                    <a:lnTo>
                      <a:pt x="430" y="135"/>
                    </a:lnTo>
                    <a:lnTo>
                      <a:pt x="459" y="135"/>
                    </a:lnTo>
                    <a:lnTo>
                      <a:pt x="487" y="142"/>
                    </a:lnTo>
                    <a:lnTo>
                      <a:pt x="514" y="155"/>
                    </a:lnTo>
                    <a:lnTo>
                      <a:pt x="537" y="173"/>
                    </a:lnTo>
                    <a:lnTo>
                      <a:pt x="562" y="197"/>
                    </a:lnTo>
                    <a:lnTo>
                      <a:pt x="600" y="180"/>
                    </a:lnTo>
                    <a:lnTo>
                      <a:pt x="637" y="166"/>
                    </a:lnTo>
                    <a:lnTo>
                      <a:pt x="637" y="132"/>
                    </a:lnTo>
                    <a:lnTo>
                      <a:pt x="642" y="102"/>
                    </a:lnTo>
                    <a:lnTo>
                      <a:pt x="652" y="73"/>
                    </a:lnTo>
                    <a:lnTo>
                      <a:pt x="667" y="49"/>
                    </a:lnTo>
                    <a:lnTo>
                      <a:pt x="687" y="29"/>
                    </a:lnTo>
                    <a:lnTo>
                      <a:pt x="712" y="13"/>
                    </a:lnTo>
                    <a:lnTo>
                      <a:pt x="740" y="3"/>
                    </a:lnTo>
                    <a:lnTo>
                      <a:pt x="7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65" name="Freeform 161"/>
              <p:cNvSpPr>
                <a:spLocks noEditPoints="1"/>
              </p:cNvSpPr>
              <p:nvPr/>
            </p:nvSpPr>
            <p:spPr bwMode="auto">
              <a:xfrm>
                <a:off x="5171" y="3325"/>
                <a:ext cx="710" cy="709"/>
              </a:xfrm>
              <a:custGeom>
                <a:avLst/>
                <a:gdLst>
                  <a:gd name="T0" fmla="*/ 602 w 1421"/>
                  <a:gd name="T1" fmla="*/ 385 h 1419"/>
                  <a:gd name="T2" fmla="*/ 469 w 1421"/>
                  <a:gd name="T3" fmla="*/ 467 h 1419"/>
                  <a:gd name="T4" fmla="*/ 386 w 1421"/>
                  <a:gd name="T5" fmla="*/ 602 h 1419"/>
                  <a:gd name="T6" fmla="*/ 373 w 1421"/>
                  <a:gd name="T7" fmla="*/ 765 h 1419"/>
                  <a:gd name="T8" fmla="*/ 435 w 1421"/>
                  <a:gd name="T9" fmla="*/ 912 h 1419"/>
                  <a:gd name="T10" fmla="*/ 553 w 1421"/>
                  <a:gd name="T11" fmla="*/ 1013 h 1419"/>
                  <a:gd name="T12" fmla="*/ 711 w 1421"/>
                  <a:gd name="T13" fmla="*/ 1051 h 1419"/>
                  <a:gd name="T14" fmla="*/ 868 w 1421"/>
                  <a:gd name="T15" fmla="*/ 1013 h 1419"/>
                  <a:gd name="T16" fmla="*/ 986 w 1421"/>
                  <a:gd name="T17" fmla="*/ 912 h 1419"/>
                  <a:gd name="T18" fmla="*/ 1048 w 1421"/>
                  <a:gd name="T19" fmla="*/ 765 h 1419"/>
                  <a:gd name="T20" fmla="*/ 1035 w 1421"/>
                  <a:gd name="T21" fmla="*/ 602 h 1419"/>
                  <a:gd name="T22" fmla="*/ 952 w 1421"/>
                  <a:gd name="T23" fmla="*/ 467 h 1419"/>
                  <a:gd name="T24" fmla="*/ 819 w 1421"/>
                  <a:gd name="T25" fmla="*/ 385 h 1419"/>
                  <a:gd name="T26" fmla="*/ 611 w 1421"/>
                  <a:gd name="T27" fmla="*/ 0 h 1419"/>
                  <a:gd name="T28" fmla="*/ 864 w 1421"/>
                  <a:gd name="T29" fmla="*/ 14 h 1419"/>
                  <a:gd name="T30" fmla="*/ 911 w 1421"/>
                  <a:gd name="T31" fmla="*/ 76 h 1419"/>
                  <a:gd name="T32" fmla="*/ 975 w 1421"/>
                  <a:gd name="T33" fmla="*/ 156 h 1419"/>
                  <a:gd name="T34" fmla="*/ 1032 w 1421"/>
                  <a:gd name="T35" fmla="*/ 113 h 1419"/>
                  <a:gd name="T36" fmla="*/ 1085 w 1421"/>
                  <a:gd name="T37" fmla="*/ 107 h 1419"/>
                  <a:gd name="T38" fmla="*/ 1142 w 1421"/>
                  <a:gd name="T39" fmla="*/ 137 h 1419"/>
                  <a:gd name="T40" fmla="*/ 1311 w 1421"/>
                  <a:gd name="T41" fmla="*/ 326 h 1419"/>
                  <a:gd name="T42" fmla="*/ 1299 w 1421"/>
                  <a:gd name="T43" fmla="*/ 403 h 1419"/>
                  <a:gd name="T44" fmla="*/ 1288 w 1421"/>
                  <a:gd name="T45" fmla="*/ 505 h 1419"/>
                  <a:gd name="T46" fmla="*/ 1368 w 1421"/>
                  <a:gd name="T47" fmla="*/ 519 h 1419"/>
                  <a:gd name="T48" fmla="*/ 1417 w 1421"/>
                  <a:gd name="T49" fmla="*/ 582 h 1419"/>
                  <a:gd name="T50" fmla="*/ 1417 w 1421"/>
                  <a:gd name="T51" fmla="*/ 836 h 1419"/>
                  <a:gd name="T52" fmla="*/ 1368 w 1421"/>
                  <a:gd name="T53" fmla="*/ 899 h 1419"/>
                  <a:gd name="T54" fmla="*/ 1288 w 1421"/>
                  <a:gd name="T55" fmla="*/ 913 h 1419"/>
                  <a:gd name="T56" fmla="*/ 1299 w 1421"/>
                  <a:gd name="T57" fmla="*/ 1015 h 1419"/>
                  <a:gd name="T58" fmla="*/ 1311 w 1421"/>
                  <a:gd name="T59" fmla="*/ 1093 h 1419"/>
                  <a:gd name="T60" fmla="*/ 1142 w 1421"/>
                  <a:gd name="T61" fmla="*/ 1282 h 1419"/>
                  <a:gd name="T62" fmla="*/ 1068 w 1421"/>
                  <a:gd name="T63" fmla="*/ 1312 h 1419"/>
                  <a:gd name="T64" fmla="*/ 994 w 1421"/>
                  <a:gd name="T65" fmla="*/ 1282 h 1419"/>
                  <a:gd name="T66" fmla="*/ 915 w 1421"/>
                  <a:gd name="T67" fmla="*/ 1315 h 1419"/>
                  <a:gd name="T68" fmla="*/ 884 w 1421"/>
                  <a:gd name="T69" fmla="*/ 1388 h 1419"/>
                  <a:gd name="T70" fmla="*/ 811 w 1421"/>
                  <a:gd name="T71" fmla="*/ 1419 h 1419"/>
                  <a:gd name="T72" fmla="*/ 558 w 1421"/>
                  <a:gd name="T73" fmla="*/ 1405 h 1419"/>
                  <a:gd name="T74" fmla="*/ 511 w 1421"/>
                  <a:gd name="T75" fmla="*/ 1342 h 1419"/>
                  <a:gd name="T76" fmla="*/ 446 w 1421"/>
                  <a:gd name="T77" fmla="*/ 1262 h 1419"/>
                  <a:gd name="T78" fmla="*/ 379 w 1421"/>
                  <a:gd name="T79" fmla="*/ 1309 h 1419"/>
                  <a:gd name="T80" fmla="*/ 302 w 1421"/>
                  <a:gd name="T81" fmla="*/ 1299 h 1419"/>
                  <a:gd name="T82" fmla="*/ 122 w 1421"/>
                  <a:gd name="T83" fmla="*/ 1119 h 1419"/>
                  <a:gd name="T84" fmla="*/ 110 w 1421"/>
                  <a:gd name="T85" fmla="*/ 1041 h 1419"/>
                  <a:gd name="T86" fmla="*/ 158 w 1421"/>
                  <a:gd name="T87" fmla="*/ 973 h 1419"/>
                  <a:gd name="T88" fmla="*/ 78 w 1421"/>
                  <a:gd name="T89" fmla="*/ 911 h 1419"/>
                  <a:gd name="T90" fmla="*/ 15 w 1421"/>
                  <a:gd name="T91" fmla="*/ 862 h 1419"/>
                  <a:gd name="T92" fmla="*/ 0 w 1421"/>
                  <a:gd name="T93" fmla="*/ 610 h 1419"/>
                  <a:gd name="T94" fmla="*/ 32 w 1421"/>
                  <a:gd name="T95" fmla="*/ 536 h 1419"/>
                  <a:gd name="T96" fmla="*/ 106 w 1421"/>
                  <a:gd name="T97" fmla="*/ 505 h 1419"/>
                  <a:gd name="T98" fmla="*/ 139 w 1421"/>
                  <a:gd name="T99" fmla="*/ 426 h 1419"/>
                  <a:gd name="T100" fmla="*/ 108 w 1421"/>
                  <a:gd name="T101" fmla="*/ 352 h 1419"/>
                  <a:gd name="T102" fmla="*/ 139 w 1421"/>
                  <a:gd name="T103" fmla="*/ 277 h 1419"/>
                  <a:gd name="T104" fmla="*/ 326 w 1421"/>
                  <a:gd name="T105" fmla="*/ 110 h 1419"/>
                  <a:gd name="T106" fmla="*/ 405 w 1421"/>
                  <a:gd name="T107" fmla="*/ 120 h 1419"/>
                  <a:gd name="T108" fmla="*/ 506 w 1421"/>
                  <a:gd name="T109" fmla="*/ 132 h 1419"/>
                  <a:gd name="T110" fmla="*/ 521 w 1421"/>
                  <a:gd name="T111" fmla="*/ 52 h 1419"/>
                  <a:gd name="T112" fmla="*/ 583 w 1421"/>
                  <a:gd name="T113" fmla="*/ 3 h 1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21" h="1419">
                    <a:moveTo>
                      <a:pt x="711" y="367"/>
                    </a:moveTo>
                    <a:lnTo>
                      <a:pt x="655" y="372"/>
                    </a:lnTo>
                    <a:lnTo>
                      <a:pt x="602" y="385"/>
                    </a:lnTo>
                    <a:lnTo>
                      <a:pt x="553" y="406"/>
                    </a:lnTo>
                    <a:lnTo>
                      <a:pt x="509" y="433"/>
                    </a:lnTo>
                    <a:lnTo>
                      <a:pt x="469" y="467"/>
                    </a:lnTo>
                    <a:lnTo>
                      <a:pt x="435" y="508"/>
                    </a:lnTo>
                    <a:lnTo>
                      <a:pt x="406" y="552"/>
                    </a:lnTo>
                    <a:lnTo>
                      <a:pt x="386" y="602"/>
                    </a:lnTo>
                    <a:lnTo>
                      <a:pt x="373" y="653"/>
                    </a:lnTo>
                    <a:lnTo>
                      <a:pt x="369" y="709"/>
                    </a:lnTo>
                    <a:lnTo>
                      <a:pt x="373" y="765"/>
                    </a:lnTo>
                    <a:lnTo>
                      <a:pt x="386" y="818"/>
                    </a:lnTo>
                    <a:lnTo>
                      <a:pt x="406" y="866"/>
                    </a:lnTo>
                    <a:lnTo>
                      <a:pt x="435" y="912"/>
                    </a:lnTo>
                    <a:lnTo>
                      <a:pt x="469" y="951"/>
                    </a:lnTo>
                    <a:lnTo>
                      <a:pt x="509" y="985"/>
                    </a:lnTo>
                    <a:lnTo>
                      <a:pt x="553" y="1013"/>
                    </a:lnTo>
                    <a:lnTo>
                      <a:pt x="602" y="1033"/>
                    </a:lnTo>
                    <a:lnTo>
                      <a:pt x="655" y="1046"/>
                    </a:lnTo>
                    <a:lnTo>
                      <a:pt x="711" y="1051"/>
                    </a:lnTo>
                    <a:lnTo>
                      <a:pt x="766" y="1046"/>
                    </a:lnTo>
                    <a:lnTo>
                      <a:pt x="819" y="1033"/>
                    </a:lnTo>
                    <a:lnTo>
                      <a:pt x="868" y="1013"/>
                    </a:lnTo>
                    <a:lnTo>
                      <a:pt x="912" y="985"/>
                    </a:lnTo>
                    <a:lnTo>
                      <a:pt x="952" y="951"/>
                    </a:lnTo>
                    <a:lnTo>
                      <a:pt x="986" y="912"/>
                    </a:lnTo>
                    <a:lnTo>
                      <a:pt x="1014" y="866"/>
                    </a:lnTo>
                    <a:lnTo>
                      <a:pt x="1035" y="818"/>
                    </a:lnTo>
                    <a:lnTo>
                      <a:pt x="1048" y="765"/>
                    </a:lnTo>
                    <a:lnTo>
                      <a:pt x="1052" y="709"/>
                    </a:lnTo>
                    <a:lnTo>
                      <a:pt x="1048" y="653"/>
                    </a:lnTo>
                    <a:lnTo>
                      <a:pt x="1035" y="602"/>
                    </a:lnTo>
                    <a:lnTo>
                      <a:pt x="1014" y="552"/>
                    </a:lnTo>
                    <a:lnTo>
                      <a:pt x="986" y="508"/>
                    </a:lnTo>
                    <a:lnTo>
                      <a:pt x="952" y="467"/>
                    </a:lnTo>
                    <a:lnTo>
                      <a:pt x="912" y="433"/>
                    </a:lnTo>
                    <a:lnTo>
                      <a:pt x="868" y="406"/>
                    </a:lnTo>
                    <a:lnTo>
                      <a:pt x="819" y="385"/>
                    </a:lnTo>
                    <a:lnTo>
                      <a:pt x="766" y="372"/>
                    </a:lnTo>
                    <a:lnTo>
                      <a:pt x="711" y="367"/>
                    </a:lnTo>
                    <a:close/>
                    <a:moveTo>
                      <a:pt x="611" y="0"/>
                    </a:moveTo>
                    <a:lnTo>
                      <a:pt x="811" y="0"/>
                    </a:lnTo>
                    <a:lnTo>
                      <a:pt x="838" y="3"/>
                    </a:lnTo>
                    <a:lnTo>
                      <a:pt x="864" y="14"/>
                    </a:lnTo>
                    <a:lnTo>
                      <a:pt x="884" y="30"/>
                    </a:lnTo>
                    <a:lnTo>
                      <a:pt x="901" y="52"/>
                    </a:lnTo>
                    <a:lnTo>
                      <a:pt x="911" y="76"/>
                    </a:lnTo>
                    <a:lnTo>
                      <a:pt x="915" y="104"/>
                    </a:lnTo>
                    <a:lnTo>
                      <a:pt x="915" y="132"/>
                    </a:lnTo>
                    <a:lnTo>
                      <a:pt x="975" y="156"/>
                    </a:lnTo>
                    <a:lnTo>
                      <a:pt x="994" y="137"/>
                    </a:lnTo>
                    <a:lnTo>
                      <a:pt x="1014" y="122"/>
                    </a:lnTo>
                    <a:lnTo>
                      <a:pt x="1032" y="113"/>
                    </a:lnTo>
                    <a:lnTo>
                      <a:pt x="1052" y="107"/>
                    </a:lnTo>
                    <a:lnTo>
                      <a:pt x="1069" y="107"/>
                    </a:lnTo>
                    <a:lnTo>
                      <a:pt x="1085" y="107"/>
                    </a:lnTo>
                    <a:lnTo>
                      <a:pt x="1095" y="110"/>
                    </a:lnTo>
                    <a:lnTo>
                      <a:pt x="1121" y="120"/>
                    </a:lnTo>
                    <a:lnTo>
                      <a:pt x="1142" y="137"/>
                    </a:lnTo>
                    <a:lnTo>
                      <a:pt x="1282" y="277"/>
                    </a:lnTo>
                    <a:lnTo>
                      <a:pt x="1299" y="300"/>
                    </a:lnTo>
                    <a:lnTo>
                      <a:pt x="1311" y="326"/>
                    </a:lnTo>
                    <a:lnTo>
                      <a:pt x="1314" y="352"/>
                    </a:lnTo>
                    <a:lnTo>
                      <a:pt x="1311" y="379"/>
                    </a:lnTo>
                    <a:lnTo>
                      <a:pt x="1299" y="403"/>
                    </a:lnTo>
                    <a:lnTo>
                      <a:pt x="1282" y="426"/>
                    </a:lnTo>
                    <a:lnTo>
                      <a:pt x="1264" y="445"/>
                    </a:lnTo>
                    <a:lnTo>
                      <a:pt x="1288" y="505"/>
                    </a:lnTo>
                    <a:lnTo>
                      <a:pt x="1315" y="505"/>
                    </a:lnTo>
                    <a:lnTo>
                      <a:pt x="1344" y="509"/>
                    </a:lnTo>
                    <a:lnTo>
                      <a:pt x="1368" y="519"/>
                    </a:lnTo>
                    <a:lnTo>
                      <a:pt x="1389" y="536"/>
                    </a:lnTo>
                    <a:lnTo>
                      <a:pt x="1407" y="558"/>
                    </a:lnTo>
                    <a:lnTo>
                      <a:pt x="1417" y="582"/>
                    </a:lnTo>
                    <a:lnTo>
                      <a:pt x="1421" y="610"/>
                    </a:lnTo>
                    <a:lnTo>
                      <a:pt x="1421" y="809"/>
                    </a:lnTo>
                    <a:lnTo>
                      <a:pt x="1417" y="836"/>
                    </a:lnTo>
                    <a:lnTo>
                      <a:pt x="1407" y="862"/>
                    </a:lnTo>
                    <a:lnTo>
                      <a:pt x="1389" y="883"/>
                    </a:lnTo>
                    <a:lnTo>
                      <a:pt x="1368" y="899"/>
                    </a:lnTo>
                    <a:lnTo>
                      <a:pt x="1344" y="911"/>
                    </a:lnTo>
                    <a:lnTo>
                      <a:pt x="1315" y="913"/>
                    </a:lnTo>
                    <a:lnTo>
                      <a:pt x="1288" y="913"/>
                    </a:lnTo>
                    <a:lnTo>
                      <a:pt x="1264" y="973"/>
                    </a:lnTo>
                    <a:lnTo>
                      <a:pt x="1282" y="993"/>
                    </a:lnTo>
                    <a:lnTo>
                      <a:pt x="1299" y="1015"/>
                    </a:lnTo>
                    <a:lnTo>
                      <a:pt x="1311" y="1041"/>
                    </a:lnTo>
                    <a:lnTo>
                      <a:pt x="1314" y="1066"/>
                    </a:lnTo>
                    <a:lnTo>
                      <a:pt x="1311" y="1093"/>
                    </a:lnTo>
                    <a:lnTo>
                      <a:pt x="1299" y="1119"/>
                    </a:lnTo>
                    <a:lnTo>
                      <a:pt x="1282" y="1141"/>
                    </a:lnTo>
                    <a:lnTo>
                      <a:pt x="1142" y="1282"/>
                    </a:lnTo>
                    <a:lnTo>
                      <a:pt x="1119" y="1299"/>
                    </a:lnTo>
                    <a:lnTo>
                      <a:pt x="1095" y="1309"/>
                    </a:lnTo>
                    <a:lnTo>
                      <a:pt x="1068" y="1312"/>
                    </a:lnTo>
                    <a:lnTo>
                      <a:pt x="1042" y="1309"/>
                    </a:lnTo>
                    <a:lnTo>
                      <a:pt x="1016" y="1299"/>
                    </a:lnTo>
                    <a:lnTo>
                      <a:pt x="994" y="1282"/>
                    </a:lnTo>
                    <a:lnTo>
                      <a:pt x="975" y="1262"/>
                    </a:lnTo>
                    <a:lnTo>
                      <a:pt x="915" y="1288"/>
                    </a:lnTo>
                    <a:lnTo>
                      <a:pt x="915" y="1315"/>
                    </a:lnTo>
                    <a:lnTo>
                      <a:pt x="911" y="1342"/>
                    </a:lnTo>
                    <a:lnTo>
                      <a:pt x="901" y="1368"/>
                    </a:lnTo>
                    <a:lnTo>
                      <a:pt x="884" y="1388"/>
                    </a:lnTo>
                    <a:lnTo>
                      <a:pt x="864" y="1405"/>
                    </a:lnTo>
                    <a:lnTo>
                      <a:pt x="838" y="1415"/>
                    </a:lnTo>
                    <a:lnTo>
                      <a:pt x="811" y="1419"/>
                    </a:lnTo>
                    <a:lnTo>
                      <a:pt x="611" y="1419"/>
                    </a:lnTo>
                    <a:lnTo>
                      <a:pt x="583" y="1415"/>
                    </a:lnTo>
                    <a:lnTo>
                      <a:pt x="558" y="1405"/>
                    </a:lnTo>
                    <a:lnTo>
                      <a:pt x="538" y="1388"/>
                    </a:lnTo>
                    <a:lnTo>
                      <a:pt x="521" y="1368"/>
                    </a:lnTo>
                    <a:lnTo>
                      <a:pt x="511" y="1342"/>
                    </a:lnTo>
                    <a:lnTo>
                      <a:pt x="506" y="1315"/>
                    </a:lnTo>
                    <a:lnTo>
                      <a:pt x="506" y="1288"/>
                    </a:lnTo>
                    <a:lnTo>
                      <a:pt x="446" y="1262"/>
                    </a:lnTo>
                    <a:lnTo>
                      <a:pt x="428" y="1282"/>
                    </a:lnTo>
                    <a:lnTo>
                      <a:pt x="405" y="1299"/>
                    </a:lnTo>
                    <a:lnTo>
                      <a:pt x="379" y="1309"/>
                    </a:lnTo>
                    <a:lnTo>
                      <a:pt x="353" y="1312"/>
                    </a:lnTo>
                    <a:lnTo>
                      <a:pt x="326" y="1309"/>
                    </a:lnTo>
                    <a:lnTo>
                      <a:pt x="302" y="1299"/>
                    </a:lnTo>
                    <a:lnTo>
                      <a:pt x="279" y="1282"/>
                    </a:lnTo>
                    <a:lnTo>
                      <a:pt x="139" y="1141"/>
                    </a:lnTo>
                    <a:lnTo>
                      <a:pt x="122" y="1119"/>
                    </a:lnTo>
                    <a:lnTo>
                      <a:pt x="110" y="1093"/>
                    </a:lnTo>
                    <a:lnTo>
                      <a:pt x="108" y="1066"/>
                    </a:lnTo>
                    <a:lnTo>
                      <a:pt x="110" y="1041"/>
                    </a:lnTo>
                    <a:lnTo>
                      <a:pt x="122" y="1015"/>
                    </a:lnTo>
                    <a:lnTo>
                      <a:pt x="139" y="993"/>
                    </a:lnTo>
                    <a:lnTo>
                      <a:pt x="158" y="973"/>
                    </a:lnTo>
                    <a:lnTo>
                      <a:pt x="133" y="913"/>
                    </a:lnTo>
                    <a:lnTo>
                      <a:pt x="106" y="913"/>
                    </a:lnTo>
                    <a:lnTo>
                      <a:pt x="78" y="911"/>
                    </a:lnTo>
                    <a:lnTo>
                      <a:pt x="53" y="899"/>
                    </a:lnTo>
                    <a:lnTo>
                      <a:pt x="32" y="883"/>
                    </a:lnTo>
                    <a:lnTo>
                      <a:pt x="15" y="862"/>
                    </a:lnTo>
                    <a:lnTo>
                      <a:pt x="5" y="836"/>
                    </a:lnTo>
                    <a:lnTo>
                      <a:pt x="0" y="809"/>
                    </a:lnTo>
                    <a:lnTo>
                      <a:pt x="0" y="610"/>
                    </a:lnTo>
                    <a:lnTo>
                      <a:pt x="5" y="582"/>
                    </a:lnTo>
                    <a:lnTo>
                      <a:pt x="15" y="558"/>
                    </a:lnTo>
                    <a:lnTo>
                      <a:pt x="32" y="536"/>
                    </a:lnTo>
                    <a:lnTo>
                      <a:pt x="53" y="519"/>
                    </a:lnTo>
                    <a:lnTo>
                      <a:pt x="78" y="509"/>
                    </a:lnTo>
                    <a:lnTo>
                      <a:pt x="106" y="505"/>
                    </a:lnTo>
                    <a:lnTo>
                      <a:pt x="133" y="505"/>
                    </a:lnTo>
                    <a:lnTo>
                      <a:pt x="158" y="445"/>
                    </a:lnTo>
                    <a:lnTo>
                      <a:pt x="139" y="426"/>
                    </a:lnTo>
                    <a:lnTo>
                      <a:pt x="122" y="403"/>
                    </a:lnTo>
                    <a:lnTo>
                      <a:pt x="110" y="379"/>
                    </a:lnTo>
                    <a:lnTo>
                      <a:pt x="108" y="352"/>
                    </a:lnTo>
                    <a:lnTo>
                      <a:pt x="110" y="326"/>
                    </a:lnTo>
                    <a:lnTo>
                      <a:pt x="122" y="300"/>
                    </a:lnTo>
                    <a:lnTo>
                      <a:pt x="139" y="277"/>
                    </a:lnTo>
                    <a:lnTo>
                      <a:pt x="279" y="137"/>
                    </a:lnTo>
                    <a:lnTo>
                      <a:pt x="302" y="120"/>
                    </a:lnTo>
                    <a:lnTo>
                      <a:pt x="326" y="110"/>
                    </a:lnTo>
                    <a:lnTo>
                      <a:pt x="353" y="106"/>
                    </a:lnTo>
                    <a:lnTo>
                      <a:pt x="379" y="110"/>
                    </a:lnTo>
                    <a:lnTo>
                      <a:pt x="405" y="120"/>
                    </a:lnTo>
                    <a:lnTo>
                      <a:pt x="428" y="137"/>
                    </a:lnTo>
                    <a:lnTo>
                      <a:pt x="446" y="156"/>
                    </a:lnTo>
                    <a:lnTo>
                      <a:pt x="506" y="132"/>
                    </a:lnTo>
                    <a:lnTo>
                      <a:pt x="506" y="104"/>
                    </a:lnTo>
                    <a:lnTo>
                      <a:pt x="511" y="76"/>
                    </a:lnTo>
                    <a:lnTo>
                      <a:pt x="521" y="52"/>
                    </a:lnTo>
                    <a:lnTo>
                      <a:pt x="538" y="30"/>
                    </a:lnTo>
                    <a:lnTo>
                      <a:pt x="558" y="14"/>
                    </a:lnTo>
                    <a:lnTo>
                      <a:pt x="583" y="3"/>
                    </a:lnTo>
                    <a:lnTo>
                      <a:pt x="6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66" name="Freeform 162"/>
              <p:cNvSpPr>
                <a:spLocks noEditPoints="1"/>
              </p:cNvSpPr>
              <p:nvPr/>
            </p:nvSpPr>
            <p:spPr bwMode="auto">
              <a:xfrm>
                <a:off x="5571" y="2763"/>
                <a:ext cx="598" cy="598"/>
              </a:xfrm>
              <a:custGeom>
                <a:avLst/>
                <a:gdLst>
                  <a:gd name="T0" fmla="*/ 506 w 1194"/>
                  <a:gd name="T1" fmla="*/ 324 h 1196"/>
                  <a:gd name="T2" fmla="*/ 393 w 1194"/>
                  <a:gd name="T3" fmla="*/ 394 h 1196"/>
                  <a:gd name="T4" fmla="*/ 324 w 1194"/>
                  <a:gd name="T5" fmla="*/ 507 h 1196"/>
                  <a:gd name="T6" fmla="*/ 313 w 1194"/>
                  <a:gd name="T7" fmla="*/ 644 h 1196"/>
                  <a:gd name="T8" fmla="*/ 364 w 1194"/>
                  <a:gd name="T9" fmla="*/ 767 h 1196"/>
                  <a:gd name="T10" fmla="*/ 464 w 1194"/>
                  <a:gd name="T11" fmla="*/ 853 h 1196"/>
                  <a:gd name="T12" fmla="*/ 597 w 1194"/>
                  <a:gd name="T13" fmla="*/ 886 h 1196"/>
                  <a:gd name="T14" fmla="*/ 729 w 1194"/>
                  <a:gd name="T15" fmla="*/ 853 h 1196"/>
                  <a:gd name="T16" fmla="*/ 829 w 1194"/>
                  <a:gd name="T17" fmla="*/ 767 h 1196"/>
                  <a:gd name="T18" fmla="*/ 881 w 1194"/>
                  <a:gd name="T19" fmla="*/ 644 h 1196"/>
                  <a:gd name="T20" fmla="*/ 870 w 1194"/>
                  <a:gd name="T21" fmla="*/ 507 h 1196"/>
                  <a:gd name="T22" fmla="*/ 800 w 1194"/>
                  <a:gd name="T23" fmla="*/ 394 h 1196"/>
                  <a:gd name="T24" fmla="*/ 689 w 1194"/>
                  <a:gd name="T25" fmla="*/ 324 h 1196"/>
                  <a:gd name="T26" fmla="*/ 513 w 1194"/>
                  <a:gd name="T27" fmla="*/ 0 h 1196"/>
                  <a:gd name="T28" fmla="*/ 726 w 1194"/>
                  <a:gd name="T29" fmla="*/ 11 h 1196"/>
                  <a:gd name="T30" fmla="*/ 766 w 1194"/>
                  <a:gd name="T31" fmla="*/ 64 h 1196"/>
                  <a:gd name="T32" fmla="*/ 820 w 1194"/>
                  <a:gd name="T33" fmla="*/ 131 h 1196"/>
                  <a:gd name="T34" fmla="*/ 876 w 1194"/>
                  <a:gd name="T35" fmla="*/ 93 h 1196"/>
                  <a:gd name="T36" fmla="*/ 941 w 1194"/>
                  <a:gd name="T37" fmla="*/ 101 h 1196"/>
                  <a:gd name="T38" fmla="*/ 1093 w 1194"/>
                  <a:gd name="T39" fmla="*/ 253 h 1196"/>
                  <a:gd name="T40" fmla="*/ 1102 w 1194"/>
                  <a:gd name="T41" fmla="*/ 319 h 1196"/>
                  <a:gd name="T42" fmla="*/ 1063 w 1194"/>
                  <a:gd name="T43" fmla="*/ 376 h 1196"/>
                  <a:gd name="T44" fmla="*/ 1130 w 1194"/>
                  <a:gd name="T45" fmla="*/ 429 h 1196"/>
                  <a:gd name="T46" fmla="*/ 1183 w 1194"/>
                  <a:gd name="T47" fmla="*/ 469 h 1196"/>
                  <a:gd name="T48" fmla="*/ 1194 w 1194"/>
                  <a:gd name="T49" fmla="*/ 682 h 1196"/>
                  <a:gd name="T50" fmla="*/ 1169 w 1194"/>
                  <a:gd name="T51" fmla="*/ 743 h 1196"/>
                  <a:gd name="T52" fmla="*/ 1106 w 1194"/>
                  <a:gd name="T53" fmla="*/ 770 h 1196"/>
                  <a:gd name="T54" fmla="*/ 1079 w 1194"/>
                  <a:gd name="T55" fmla="*/ 836 h 1196"/>
                  <a:gd name="T56" fmla="*/ 1104 w 1194"/>
                  <a:gd name="T57" fmla="*/ 899 h 1196"/>
                  <a:gd name="T58" fmla="*/ 1079 w 1194"/>
                  <a:gd name="T59" fmla="*/ 962 h 1196"/>
                  <a:gd name="T60" fmla="*/ 920 w 1194"/>
                  <a:gd name="T61" fmla="*/ 1103 h 1196"/>
                  <a:gd name="T62" fmla="*/ 854 w 1194"/>
                  <a:gd name="T63" fmla="*/ 1095 h 1196"/>
                  <a:gd name="T64" fmla="*/ 769 w 1194"/>
                  <a:gd name="T65" fmla="*/ 1085 h 1196"/>
                  <a:gd name="T66" fmla="*/ 757 w 1194"/>
                  <a:gd name="T67" fmla="*/ 1152 h 1196"/>
                  <a:gd name="T68" fmla="*/ 704 w 1194"/>
                  <a:gd name="T69" fmla="*/ 1192 h 1196"/>
                  <a:gd name="T70" fmla="*/ 490 w 1194"/>
                  <a:gd name="T71" fmla="*/ 1192 h 1196"/>
                  <a:gd name="T72" fmla="*/ 437 w 1194"/>
                  <a:gd name="T73" fmla="*/ 1152 h 1196"/>
                  <a:gd name="T74" fmla="*/ 426 w 1194"/>
                  <a:gd name="T75" fmla="*/ 1085 h 1196"/>
                  <a:gd name="T76" fmla="*/ 340 w 1194"/>
                  <a:gd name="T77" fmla="*/ 1095 h 1196"/>
                  <a:gd name="T78" fmla="*/ 274 w 1194"/>
                  <a:gd name="T79" fmla="*/ 1103 h 1196"/>
                  <a:gd name="T80" fmla="*/ 115 w 1194"/>
                  <a:gd name="T81" fmla="*/ 962 h 1196"/>
                  <a:gd name="T82" fmla="*/ 90 w 1194"/>
                  <a:gd name="T83" fmla="*/ 899 h 1196"/>
                  <a:gd name="T84" fmla="*/ 115 w 1194"/>
                  <a:gd name="T85" fmla="*/ 836 h 1196"/>
                  <a:gd name="T86" fmla="*/ 87 w 1194"/>
                  <a:gd name="T87" fmla="*/ 770 h 1196"/>
                  <a:gd name="T88" fmla="*/ 25 w 1194"/>
                  <a:gd name="T89" fmla="*/ 743 h 1196"/>
                  <a:gd name="T90" fmla="*/ 0 w 1194"/>
                  <a:gd name="T91" fmla="*/ 682 h 1196"/>
                  <a:gd name="T92" fmla="*/ 11 w 1194"/>
                  <a:gd name="T93" fmla="*/ 469 h 1196"/>
                  <a:gd name="T94" fmla="*/ 64 w 1194"/>
                  <a:gd name="T95" fmla="*/ 429 h 1196"/>
                  <a:gd name="T96" fmla="*/ 131 w 1194"/>
                  <a:gd name="T97" fmla="*/ 376 h 1196"/>
                  <a:gd name="T98" fmla="*/ 93 w 1194"/>
                  <a:gd name="T99" fmla="*/ 319 h 1196"/>
                  <a:gd name="T100" fmla="*/ 101 w 1194"/>
                  <a:gd name="T101" fmla="*/ 253 h 1196"/>
                  <a:gd name="T102" fmla="*/ 253 w 1194"/>
                  <a:gd name="T103" fmla="*/ 101 h 1196"/>
                  <a:gd name="T104" fmla="*/ 318 w 1194"/>
                  <a:gd name="T105" fmla="*/ 93 h 1196"/>
                  <a:gd name="T106" fmla="*/ 374 w 1194"/>
                  <a:gd name="T107" fmla="*/ 131 h 1196"/>
                  <a:gd name="T108" fmla="*/ 428 w 1194"/>
                  <a:gd name="T109" fmla="*/ 64 h 1196"/>
                  <a:gd name="T110" fmla="*/ 468 w 1194"/>
                  <a:gd name="T111" fmla="*/ 11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94" h="1196">
                    <a:moveTo>
                      <a:pt x="597" y="310"/>
                    </a:moveTo>
                    <a:lnTo>
                      <a:pt x="550" y="313"/>
                    </a:lnTo>
                    <a:lnTo>
                      <a:pt x="506" y="324"/>
                    </a:lnTo>
                    <a:lnTo>
                      <a:pt x="464" y="341"/>
                    </a:lnTo>
                    <a:lnTo>
                      <a:pt x="427" y="366"/>
                    </a:lnTo>
                    <a:lnTo>
                      <a:pt x="393" y="394"/>
                    </a:lnTo>
                    <a:lnTo>
                      <a:pt x="364" y="427"/>
                    </a:lnTo>
                    <a:lnTo>
                      <a:pt x="341" y="466"/>
                    </a:lnTo>
                    <a:lnTo>
                      <a:pt x="324" y="507"/>
                    </a:lnTo>
                    <a:lnTo>
                      <a:pt x="313" y="552"/>
                    </a:lnTo>
                    <a:lnTo>
                      <a:pt x="308" y="597"/>
                    </a:lnTo>
                    <a:lnTo>
                      <a:pt x="313" y="644"/>
                    </a:lnTo>
                    <a:lnTo>
                      <a:pt x="324" y="689"/>
                    </a:lnTo>
                    <a:lnTo>
                      <a:pt x="341" y="730"/>
                    </a:lnTo>
                    <a:lnTo>
                      <a:pt x="364" y="767"/>
                    </a:lnTo>
                    <a:lnTo>
                      <a:pt x="393" y="802"/>
                    </a:lnTo>
                    <a:lnTo>
                      <a:pt x="427" y="830"/>
                    </a:lnTo>
                    <a:lnTo>
                      <a:pt x="464" y="853"/>
                    </a:lnTo>
                    <a:lnTo>
                      <a:pt x="506" y="870"/>
                    </a:lnTo>
                    <a:lnTo>
                      <a:pt x="550" y="882"/>
                    </a:lnTo>
                    <a:lnTo>
                      <a:pt x="597" y="886"/>
                    </a:lnTo>
                    <a:lnTo>
                      <a:pt x="644" y="882"/>
                    </a:lnTo>
                    <a:lnTo>
                      <a:pt x="689" y="870"/>
                    </a:lnTo>
                    <a:lnTo>
                      <a:pt x="729" y="853"/>
                    </a:lnTo>
                    <a:lnTo>
                      <a:pt x="767" y="830"/>
                    </a:lnTo>
                    <a:lnTo>
                      <a:pt x="800" y="802"/>
                    </a:lnTo>
                    <a:lnTo>
                      <a:pt x="829" y="767"/>
                    </a:lnTo>
                    <a:lnTo>
                      <a:pt x="853" y="730"/>
                    </a:lnTo>
                    <a:lnTo>
                      <a:pt x="870" y="689"/>
                    </a:lnTo>
                    <a:lnTo>
                      <a:pt x="881" y="644"/>
                    </a:lnTo>
                    <a:lnTo>
                      <a:pt x="884" y="597"/>
                    </a:lnTo>
                    <a:lnTo>
                      <a:pt x="881" y="552"/>
                    </a:lnTo>
                    <a:lnTo>
                      <a:pt x="870" y="507"/>
                    </a:lnTo>
                    <a:lnTo>
                      <a:pt x="853" y="466"/>
                    </a:lnTo>
                    <a:lnTo>
                      <a:pt x="829" y="427"/>
                    </a:lnTo>
                    <a:lnTo>
                      <a:pt x="800" y="394"/>
                    </a:lnTo>
                    <a:lnTo>
                      <a:pt x="767" y="366"/>
                    </a:lnTo>
                    <a:lnTo>
                      <a:pt x="729" y="341"/>
                    </a:lnTo>
                    <a:lnTo>
                      <a:pt x="689" y="324"/>
                    </a:lnTo>
                    <a:lnTo>
                      <a:pt x="644" y="313"/>
                    </a:lnTo>
                    <a:lnTo>
                      <a:pt x="597" y="310"/>
                    </a:lnTo>
                    <a:close/>
                    <a:moveTo>
                      <a:pt x="513" y="0"/>
                    </a:moveTo>
                    <a:lnTo>
                      <a:pt x="681" y="0"/>
                    </a:lnTo>
                    <a:lnTo>
                      <a:pt x="704" y="3"/>
                    </a:lnTo>
                    <a:lnTo>
                      <a:pt x="726" y="11"/>
                    </a:lnTo>
                    <a:lnTo>
                      <a:pt x="743" y="26"/>
                    </a:lnTo>
                    <a:lnTo>
                      <a:pt x="757" y="43"/>
                    </a:lnTo>
                    <a:lnTo>
                      <a:pt x="766" y="64"/>
                    </a:lnTo>
                    <a:lnTo>
                      <a:pt x="769" y="88"/>
                    </a:lnTo>
                    <a:lnTo>
                      <a:pt x="769" y="111"/>
                    </a:lnTo>
                    <a:lnTo>
                      <a:pt x="820" y="131"/>
                    </a:lnTo>
                    <a:lnTo>
                      <a:pt x="836" y="116"/>
                    </a:lnTo>
                    <a:lnTo>
                      <a:pt x="854" y="101"/>
                    </a:lnTo>
                    <a:lnTo>
                      <a:pt x="876" y="93"/>
                    </a:lnTo>
                    <a:lnTo>
                      <a:pt x="899" y="90"/>
                    </a:lnTo>
                    <a:lnTo>
                      <a:pt x="920" y="93"/>
                    </a:lnTo>
                    <a:lnTo>
                      <a:pt x="941" y="101"/>
                    </a:lnTo>
                    <a:lnTo>
                      <a:pt x="960" y="116"/>
                    </a:lnTo>
                    <a:lnTo>
                      <a:pt x="1079" y="234"/>
                    </a:lnTo>
                    <a:lnTo>
                      <a:pt x="1093" y="253"/>
                    </a:lnTo>
                    <a:lnTo>
                      <a:pt x="1102" y="274"/>
                    </a:lnTo>
                    <a:lnTo>
                      <a:pt x="1104" y="297"/>
                    </a:lnTo>
                    <a:lnTo>
                      <a:pt x="1102" y="319"/>
                    </a:lnTo>
                    <a:lnTo>
                      <a:pt x="1093" y="340"/>
                    </a:lnTo>
                    <a:lnTo>
                      <a:pt x="1079" y="359"/>
                    </a:lnTo>
                    <a:lnTo>
                      <a:pt x="1063" y="376"/>
                    </a:lnTo>
                    <a:lnTo>
                      <a:pt x="1083" y="426"/>
                    </a:lnTo>
                    <a:lnTo>
                      <a:pt x="1106" y="426"/>
                    </a:lnTo>
                    <a:lnTo>
                      <a:pt x="1130" y="429"/>
                    </a:lnTo>
                    <a:lnTo>
                      <a:pt x="1152" y="437"/>
                    </a:lnTo>
                    <a:lnTo>
                      <a:pt x="1169" y="451"/>
                    </a:lnTo>
                    <a:lnTo>
                      <a:pt x="1183" y="469"/>
                    </a:lnTo>
                    <a:lnTo>
                      <a:pt x="1192" y="490"/>
                    </a:lnTo>
                    <a:lnTo>
                      <a:pt x="1194" y="514"/>
                    </a:lnTo>
                    <a:lnTo>
                      <a:pt x="1194" y="682"/>
                    </a:lnTo>
                    <a:lnTo>
                      <a:pt x="1192" y="704"/>
                    </a:lnTo>
                    <a:lnTo>
                      <a:pt x="1183" y="726"/>
                    </a:lnTo>
                    <a:lnTo>
                      <a:pt x="1169" y="743"/>
                    </a:lnTo>
                    <a:lnTo>
                      <a:pt x="1152" y="757"/>
                    </a:lnTo>
                    <a:lnTo>
                      <a:pt x="1130" y="766"/>
                    </a:lnTo>
                    <a:lnTo>
                      <a:pt x="1106" y="770"/>
                    </a:lnTo>
                    <a:lnTo>
                      <a:pt x="1083" y="770"/>
                    </a:lnTo>
                    <a:lnTo>
                      <a:pt x="1063" y="820"/>
                    </a:lnTo>
                    <a:lnTo>
                      <a:pt x="1079" y="836"/>
                    </a:lnTo>
                    <a:lnTo>
                      <a:pt x="1093" y="854"/>
                    </a:lnTo>
                    <a:lnTo>
                      <a:pt x="1102" y="876"/>
                    </a:lnTo>
                    <a:lnTo>
                      <a:pt x="1104" y="899"/>
                    </a:lnTo>
                    <a:lnTo>
                      <a:pt x="1102" y="922"/>
                    </a:lnTo>
                    <a:lnTo>
                      <a:pt x="1093" y="942"/>
                    </a:lnTo>
                    <a:lnTo>
                      <a:pt x="1079" y="962"/>
                    </a:lnTo>
                    <a:lnTo>
                      <a:pt x="960" y="1079"/>
                    </a:lnTo>
                    <a:lnTo>
                      <a:pt x="941" y="1095"/>
                    </a:lnTo>
                    <a:lnTo>
                      <a:pt x="920" y="1103"/>
                    </a:lnTo>
                    <a:lnTo>
                      <a:pt x="899" y="1106"/>
                    </a:lnTo>
                    <a:lnTo>
                      <a:pt x="876" y="1103"/>
                    </a:lnTo>
                    <a:lnTo>
                      <a:pt x="854" y="1095"/>
                    </a:lnTo>
                    <a:lnTo>
                      <a:pt x="836" y="1079"/>
                    </a:lnTo>
                    <a:lnTo>
                      <a:pt x="820" y="1063"/>
                    </a:lnTo>
                    <a:lnTo>
                      <a:pt x="769" y="1085"/>
                    </a:lnTo>
                    <a:lnTo>
                      <a:pt x="769" y="1107"/>
                    </a:lnTo>
                    <a:lnTo>
                      <a:pt x="766" y="1130"/>
                    </a:lnTo>
                    <a:lnTo>
                      <a:pt x="757" y="1152"/>
                    </a:lnTo>
                    <a:lnTo>
                      <a:pt x="743" y="1169"/>
                    </a:lnTo>
                    <a:lnTo>
                      <a:pt x="726" y="1183"/>
                    </a:lnTo>
                    <a:lnTo>
                      <a:pt x="704" y="1192"/>
                    </a:lnTo>
                    <a:lnTo>
                      <a:pt x="681" y="1196"/>
                    </a:lnTo>
                    <a:lnTo>
                      <a:pt x="513" y="1196"/>
                    </a:lnTo>
                    <a:lnTo>
                      <a:pt x="490" y="1192"/>
                    </a:lnTo>
                    <a:lnTo>
                      <a:pt x="468" y="1183"/>
                    </a:lnTo>
                    <a:lnTo>
                      <a:pt x="451" y="1169"/>
                    </a:lnTo>
                    <a:lnTo>
                      <a:pt x="437" y="1152"/>
                    </a:lnTo>
                    <a:lnTo>
                      <a:pt x="428" y="1130"/>
                    </a:lnTo>
                    <a:lnTo>
                      <a:pt x="426" y="1107"/>
                    </a:lnTo>
                    <a:lnTo>
                      <a:pt x="426" y="1085"/>
                    </a:lnTo>
                    <a:lnTo>
                      <a:pt x="374" y="1063"/>
                    </a:lnTo>
                    <a:lnTo>
                      <a:pt x="358" y="1079"/>
                    </a:lnTo>
                    <a:lnTo>
                      <a:pt x="340" y="1095"/>
                    </a:lnTo>
                    <a:lnTo>
                      <a:pt x="318" y="1103"/>
                    </a:lnTo>
                    <a:lnTo>
                      <a:pt x="296" y="1106"/>
                    </a:lnTo>
                    <a:lnTo>
                      <a:pt x="274" y="1103"/>
                    </a:lnTo>
                    <a:lnTo>
                      <a:pt x="253" y="1095"/>
                    </a:lnTo>
                    <a:lnTo>
                      <a:pt x="234" y="1079"/>
                    </a:lnTo>
                    <a:lnTo>
                      <a:pt x="115" y="962"/>
                    </a:lnTo>
                    <a:lnTo>
                      <a:pt x="101" y="942"/>
                    </a:lnTo>
                    <a:lnTo>
                      <a:pt x="93" y="922"/>
                    </a:lnTo>
                    <a:lnTo>
                      <a:pt x="90" y="899"/>
                    </a:lnTo>
                    <a:lnTo>
                      <a:pt x="93" y="876"/>
                    </a:lnTo>
                    <a:lnTo>
                      <a:pt x="101" y="854"/>
                    </a:lnTo>
                    <a:lnTo>
                      <a:pt x="115" y="836"/>
                    </a:lnTo>
                    <a:lnTo>
                      <a:pt x="131" y="820"/>
                    </a:lnTo>
                    <a:lnTo>
                      <a:pt x="110" y="770"/>
                    </a:lnTo>
                    <a:lnTo>
                      <a:pt x="87" y="770"/>
                    </a:lnTo>
                    <a:lnTo>
                      <a:pt x="64" y="766"/>
                    </a:lnTo>
                    <a:lnTo>
                      <a:pt x="43" y="757"/>
                    </a:lnTo>
                    <a:lnTo>
                      <a:pt x="25" y="743"/>
                    </a:lnTo>
                    <a:lnTo>
                      <a:pt x="11" y="726"/>
                    </a:lnTo>
                    <a:lnTo>
                      <a:pt x="3" y="704"/>
                    </a:lnTo>
                    <a:lnTo>
                      <a:pt x="0" y="682"/>
                    </a:lnTo>
                    <a:lnTo>
                      <a:pt x="0" y="514"/>
                    </a:lnTo>
                    <a:lnTo>
                      <a:pt x="3" y="490"/>
                    </a:lnTo>
                    <a:lnTo>
                      <a:pt x="11" y="469"/>
                    </a:lnTo>
                    <a:lnTo>
                      <a:pt x="25" y="451"/>
                    </a:lnTo>
                    <a:lnTo>
                      <a:pt x="43" y="437"/>
                    </a:lnTo>
                    <a:lnTo>
                      <a:pt x="64" y="429"/>
                    </a:lnTo>
                    <a:lnTo>
                      <a:pt x="87" y="426"/>
                    </a:lnTo>
                    <a:lnTo>
                      <a:pt x="110" y="426"/>
                    </a:lnTo>
                    <a:lnTo>
                      <a:pt x="131" y="376"/>
                    </a:lnTo>
                    <a:lnTo>
                      <a:pt x="115" y="359"/>
                    </a:lnTo>
                    <a:lnTo>
                      <a:pt x="101" y="340"/>
                    </a:lnTo>
                    <a:lnTo>
                      <a:pt x="93" y="319"/>
                    </a:lnTo>
                    <a:lnTo>
                      <a:pt x="90" y="297"/>
                    </a:lnTo>
                    <a:lnTo>
                      <a:pt x="93" y="274"/>
                    </a:lnTo>
                    <a:lnTo>
                      <a:pt x="101" y="253"/>
                    </a:lnTo>
                    <a:lnTo>
                      <a:pt x="115" y="234"/>
                    </a:lnTo>
                    <a:lnTo>
                      <a:pt x="234" y="116"/>
                    </a:lnTo>
                    <a:lnTo>
                      <a:pt x="253" y="101"/>
                    </a:lnTo>
                    <a:lnTo>
                      <a:pt x="274" y="93"/>
                    </a:lnTo>
                    <a:lnTo>
                      <a:pt x="296" y="90"/>
                    </a:lnTo>
                    <a:lnTo>
                      <a:pt x="318" y="93"/>
                    </a:lnTo>
                    <a:lnTo>
                      <a:pt x="340" y="101"/>
                    </a:lnTo>
                    <a:lnTo>
                      <a:pt x="358" y="116"/>
                    </a:lnTo>
                    <a:lnTo>
                      <a:pt x="374" y="131"/>
                    </a:lnTo>
                    <a:lnTo>
                      <a:pt x="426" y="111"/>
                    </a:lnTo>
                    <a:lnTo>
                      <a:pt x="426" y="88"/>
                    </a:lnTo>
                    <a:lnTo>
                      <a:pt x="428" y="64"/>
                    </a:lnTo>
                    <a:lnTo>
                      <a:pt x="437" y="43"/>
                    </a:lnTo>
                    <a:lnTo>
                      <a:pt x="451" y="26"/>
                    </a:lnTo>
                    <a:lnTo>
                      <a:pt x="468" y="11"/>
                    </a:lnTo>
                    <a:lnTo>
                      <a:pt x="490" y="3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6" name="Group 5"/>
          <p:cNvGrpSpPr/>
          <p:nvPr/>
        </p:nvGrpSpPr>
        <p:grpSpPr>
          <a:xfrm>
            <a:off x="147993" y="4384839"/>
            <a:ext cx="727877" cy="569812"/>
            <a:chOff x="147993" y="4263727"/>
            <a:chExt cx="727877" cy="569812"/>
          </a:xfrm>
        </p:grpSpPr>
        <p:sp>
          <p:nvSpPr>
            <p:cNvPr id="49" name="Rectangle 17"/>
            <p:cNvSpPr>
              <a:spLocks/>
            </p:cNvSpPr>
            <p:nvPr/>
          </p:nvSpPr>
          <p:spPr bwMode="auto">
            <a:xfrm>
              <a:off x="147993" y="4556540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нешние данные</a:t>
              </a:r>
            </a:p>
          </p:txBody>
        </p:sp>
        <p:grpSp>
          <p:nvGrpSpPr>
            <p:cNvPr id="67" name="Group 201"/>
            <p:cNvGrpSpPr>
              <a:grpSpLocks noChangeAspect="1"/>
            </p:cNvGrpSpPr>
            <p:nvPr/>
          </p:nvGrpSpPr>
          <p:grpSpPr bwMode="auto">
            <a:xfrm>
              <a:off x="417906" y="4263727"/>
              <a:ext cx="202275" cy="226804"/>
              <a:chOff x="4176" y="3243"/>
              <a:chExt cx="602" cy="675"/>
            </a:xfrm>
            <a:solidFill>
              <a:schemeClr val="bg1"/>
            </a:solidFill>
          </p:grpSpPr>
          <p:sp>
            <p:nvSpPr>
              <p:cNvPr id="68" name="Freeform 203"/>
              <p:cNvSpPr>
                <a:spLocks/>
              </p:cNvSpPr>
              <p:nvPr/>
            </p:nvSpPr>
            <p:spPr bwMode="auto">
              <a:xfrm>
                <a:off x="4184" y="3243"/>
                <a:ext cx="594" cy="675"/>
              </a:xfrm>
              <a:custGeom>
                <a:avLst/>
                <a:gdLst>
                  <a:gd name="T0" fmla="*/ 2818 w 2971"/>
                  <a:gd name="T1" fmla="*/ 0 h 3374"/>
                  <a:gd name="T2" fmla="*/ 2877 w 2971"/>
                  <a:gd name="T3" fmla="*/ 12 h 3374"/>
                  <a:gd name="T4" fmla="*/ 2926 w 2971"/>
                  <a:gd name="T5" fmla="*/ 45 h 3374"/>
                  <a:gd name="T6" fmla="*/ 2958 w 2971"/>
                  <a:gd name="T7" fmla="*/ 93 h 3374"/>
                  <a:gd name="T8" fmla="*/ 2971 w 2971"/>
                  <a:gd name="T9" fmla="*/ 154 h 3374"/>
                  <a:gd name="T10" fmla="*/ 2960 w 2971"/>
                  <a:gd name="T11" fmla="*/ 207 h 3374"/>
                  <a:gd name="T12" fmla="*/ 2934 w 2971"/>
                  <a:gd name="T13" fmla="*/ 252 h 3374"/>
                  <a:gd name="T14" fmla="*/ 2894 w 2971"/>
                  <a:gd name="T15" fmla="*/ 285 h 3374"/>
                  <a:gd name="T16" fmla="*/ 2892 w 2971"/>
                  <a:gd name="T17" fmla="*/ 2091 h 3374"/>
                  <a:gd name="T18" fmla="*/ 2872 w 2971"/>
                  <a:gd name="T19" fmla="*/ 2124 h 3374"/>
                  <a:gd name="T20" fmla="*/ 2838 w 2971"/>
                  <a:gd name="T21" fmla="*/ 2145 h 3374"/>
                  <a:gd name="T22" fmla="*/ 2197 w 2971"/>
                  <a:gd name="T23" fmla="*/ 2147 h 3374"/>
                  <a:gd name="T24" fmla="*/ 2475 w 2971"/>
                  <a:gd name="T25" fmla="*/ 3208 h 3374"/>
                  <a:gd name="T26" fmla="*/ 2469 w 2971"/>
                  <a:gd name="T27" fmla="*/ 3261 h 3374"/>
                  <a:gd name="T28" fmla="*/ 2448 w 2971"/>
                  <a:gd name="T29" fmla="*/ 3309 h 3374"/>
                  <a:gd name="T30" fmla="*/ 2411 w 2971"/>
                  <a:gd name="T31" fmla="*/ 3346 h 3374"/>
                  <a:gd name="T32" fmla="*/ 2362 w 2971"/>
                  <a:gd name="T33" fmla="*/ 3370 h 3374"/>
                  <a:gd name="T34" fmla="*/ 2323 w 2971"/>
                  <a:gd name="T35" fmla="*/ 3374 h 3374"/>
                  <a:gd name="T36" fmla="*/ 2267 w 2971"/>
                  <a:gd name="T37" fmla="*/ 3363 h 3374"/>
                  <a:gd name="T38" fmla="*/ 2220 w 2971"/>
                  <a:gd name="T39" fmla="*/ 3334 h 3374"/>
                  <a:gd name="T40" fmla="*/ 2186 w 2971"/>
                  <a:gd name="T41" fmla="*/ 3288 h 3374"/>
                  <a:gd name="T42" fmla="*/ 1902 w 2971"/>
                  <a:gd name="T43" fmla="*/ 2224 h 3374"/>
                  <a:gd name="T44" fmla="*/ 794 w 2971"/>
                  <a:gd name="T45" fmla="*/ 3260 h 3374"/>
                  <a:gd name="T46" fmla="*/ 771 w 2971"/>
                  <a:gd name="T47" fmla="*/ 3309 h 3374"/>
                  <a:gd name="T48" fmla="*/ 734 w 2971"/>
                  <a:gd name="T49" fmla="*/ 3346 h 3374"/>
                  <a:gd name="T50" fmla="*/ 687 w 2971"/>
                  <a:gd name="T51" fmla="*/ 3369 h 3374"/>
                  <a:gd name="T52" fmla="*/ 635 w 2971"/>
                  <a:gd name="T53" fmla="*/ 3374 h 3374"/>
                  <a:gd name="T54" fmla="*/ 581 w 2971"/>
                  <a:gd name="T55" fmla="*/ 3360 h 3374"/>
                  <a:gd name="T56" fmla="*/ 538 w 2971"/>
                  <a:gd name="T57" fmla="*/ 3329 h 3374"/>
                  <a:gd name="T58" fmla="*/ 509 w 2971"/>
                  <a:gd name="T59" fmla="*/ 3286 h 3374"/>
                  <a:gd name="T60" fmla="*/ 495 w 2971"/>
                  <a:gd name="T61" fmla="*/ 3236 h 3374"/>
                  <a:gd name="T62" fmla="*/ 500 w 2971"/>
                  <a:gd name="T63" fmla="*/ 3181 h 3374"/>
                  <a:gd name="T64" fmla="*/ 639 w 2971"/>
                  <a:gd name="T65" fmla="*/ 2147 h 3374"/>
                  <a:gd name="T66" fmla="*/ 729 w 2971"/>
                  <a:gd name="T67" fmla="*/ 2048 h 3374"/>
                  <a:gd name="T68" fmla="*/ 2742 w 2971"/>
                  <a:gd name="T69" fmla="*/ 1994 h 3374"/>
                  <a:gd name="T70" fmla="*/ 227 w 2971"/>
                  <a:gd name="T71" fmla="*/ 307 h 3374"/>
                  <a:gd name="T72" fmla="*/ 184 w 2971"/>
                  <a:gd name="T73" fmla="*/ 1953 h 3374"/>
                  <a:gd name="T74" fmla="*/ 108 w 2971"/>
                  <a:gd name="T75" fmla="*/ 2023 h 3374"/>
                  <a:gd name="T76" fmla="*/ 76 w 2971"/>
                  <a:gd name="T77" fmla="*/ 285 h 3374"/>
                  <a:gd name="T78" fmla="*/ 36 w 2971"/>
                  <a:gd name="T79" fmla="*/ 252 h 3374"/>
                  <a:gd name="T80" fmla="*/ 9 w 2971"/>
                  <a:gd name="T81" fmla="*/ 207 h 3374"/>
                  <a:gd name="T82" fmla="*/ 0 w 2971"/>
                  <a:gd name="T83" fmla="*/ 154 h 3374"/>
                  <a:gd name="T84" fmla="*/ 12 w 2971"/>
                  <a:gd name="T85" fmla="*/ 93 h 3374"/>
                  <a:gd name="T86" fmla="*/ 44 w 2971"/>
                  <a:gd name="T87" fmla="*/ 45 h 3374"/>
                  <a:gd name="T88" fmla="*/ 93 w 2971"/>
                  <a:gd name="T89" fmla="*/ 12 h 3374"/>
                  <a:gd name="T90" fmla="*/ 152 w 2971"/>
                  <a:gd name="T91" fmla="*/ 0 h 3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1" h="3374">
                    <a:moveTo>
                      <a:pt x="152" y="0"/>
                    </a:moveTo>
                    <a:lnTo>
                      <a:pt x="2818" y="0"/>
                    </a:lnTo>
                    <a:lnTo>
                      <a:pt x="2849" y="3"/>
                    </a:lnTo>
                    <a:lnTo>
                      <a:pt x="2877" y="12"/>
                    </a:lnTo>
                    <a:lnTo>
                      <a:pt x="2904" y="27"/>
                    </a:lnTo>
                    <a:lnTo>
                      <a:pt x="2926" y="45"/>
                    </a:lnTo>
                    <a:lnTo>
                      <a:pt x="2945" y="68"/>
                    </a:lnTo>
                    <a:lnTo>
                      <a:pt x="2958" y="93"/>
                    </a:lnTo>
                    <a:lnTo>
                      <a:pt x="2968" y="123"/>
                    </a:lnTo>
                    <a:lnTo>
                      <a:pt x="2971" y="154"/>
                    </a:lnTo>
                    <a:lnTo>
                      <a:pt x="2968" y="181"/>
                    </a:lnTo>
                    <a:lnTo>
                      <a:pt x="2960" y="207"/>
                    </a:lnTo>
                    <a:lnTo>
                      <a:pt x="2950" y="231"/>
                    </a:lnTo>
                    <a:lnTo>
                      <a:pt x="2934" y="252"/>
                    </a:lnTo>
                    <a:lnTo>
                      <a:pt x="2916" y="271"/>
                    </a:lnTo>
                    <a:lnTo>
                      <a:pt x="2894" y="285"/>
                    </a:lnTo>
                    <a:lnTo>
                      <a:pt x="2894" y="2070"/>
                    </a:lnTo>
                    <a:lnTo>
                      <a:pt x="2892" y="2091"/>
                    </a:lnTo>
                    <a:lnTo>
                      <a:pt x="2883" y="2110"/>
                    </a:lnTo>
                    <a:lnTo>
                      <a:pt x="2872" y="2124"/>
                    </a:lnTo>
                    <a:lnTo>
                      <a:pt x="2856" y="2137"/>
                    </a:lnTo>
                    <a:lnTo>
                      <a:pt x="2838" y="2145"/>
                    </a:lnTo>
                    <a:lnTo>
                      <a:pt x="2818" y="2147"/>
                    </a:lnTo>
                    <a:lnTo>
                      <a:pt x="2197" y="2147"/>
                    </a:lnTo>
                    <a:lnTo>
                      <a:pt x="2470" y="3181"/>
                    </a:lnTo>
                    <a:lnTo>
                      <a:pt x="2475" y="3208"/>
                    </a:lnTo>
                    <a:lnTo>
                      <a:pt x="2475" y="3235"/>
                    </a:lnTo>
                    <a:lnTo>
                      <a:pt x="2469" y="3261"/>
                    </a:lnTo>
                    <a:lnTo>
                      <a:pt x="2461" y="3286"/>
                    </a:lnTo>
                    <a:lnTo>
                      <a:pt x="2448" y="3309"/>
                    </a:lnTo>
                    <a:lnTo>
                      <a:pt x="2432" y="3329"/>
                    </a:lnTo>
                    <a:lnTo>
                      <a:pt x="2411" y="3346"/>
                    </a:lnTo>
                    <a:lnTo>
                      <a:pt x="2388" y="3360"/>
                    </a:lnTo>
                    <a:lnTo>
                      <a:pt x="2362" y="3370"/>
                    </a:lnTo>
                    <a:lnTo>
                      <a:pt x="2343" y="3373"/>
                    </a:lnTo>
                    <a:lnTo>
                      <a:pt x="2323" y="3374"/>
                    </a:lnTo>
                    <a:lnTo>
                      <a:pt x="2295" y="3372"/>
                    </a:lnTo>
                    <a:lnTo>
                      <a:pt x="2267" y="3363"/>
                    </a:lnTo>
                    <a:lnTo>
                      <a:pt x="2243" y="3351"/>
                    </a:lnTo>
                    <a:lnTo>
                      <a:pt x="2220" y="3334"/>
                    </a:lnTo>
                    <a:lnTo>
                      <a:pt x="2201" y="3313"/>
                    </a:lnTo>
                    <a:lnTo>
                      <a:pt x="2186" y="3288"/>
                    </a:lnTo>
                    <a:lnTo>
                      <a:pt x="2176" y="3260"/>
                    </a:lnTo>
                    <a:lnTo>
                      <a:pt x="1902" y="2224"/>
                    </a:lnTo>
                    <a:lnTo>
                      <a:pt x="1069" y="2224"/>
                    </a:lnTo>
                    <a:lnTo>
                      <a:pt x="794" y="3260"/>
                    </a:lnTo>
                    <a:lnTo>
                      <a:pt x="785" y="3287"/>
                    </a:lnTo>
                    <a:lnTo>
                      <a:pt x="771" y="3309"/>
                    </a:lnTo>
                    <a:lnTo>
                      <a:pt x="754" y="3329"/>
                    </a:lnTo>
                    <a:lnTo>
                      <a:pt x="734" y="3346"/>
                    </a:lnTo>
                    <a:lnTo>
                      <a:pt x="712" y="3360"/>
                    </a:lnTo>
                    <a:lnTo>
                      <a:pt x="687" y="3369"/>
                    </a:lnTo>
                    <a:lnTo>
                      <a:pt x="662" y="3374"/>
                    </a:lnTo>
                    <a:lnTo>
                      <a:pt x="635" y="3374"/>
                    </a:lnTo>
                    <a:lnTo>
                      <a:pt x="608" y="3370"/>
                    </a:lnTo>
                    <a:lnTo>
                      <a:pt x="581" y="3360"/>
                    </a:lnTo>
                    <a:lnTo>
                      <a:pt x="558" y="3346"/>
                    </a:lnTo>
                    <a:lnTo>
                      <a:pt x="538" y="3329"/>
                    </a:lnTo>
                    <a:lnTo>
                      <a:pt x="522" y="3309"/>
                    </a:lnTo>
                    <a:lnTo>
                      <a:pt x="509" y="3286"/>
                    </a:lnTo>
                    <a:lnTo>
                      <a:pt x="500" y="3261"/>
                    </a:lnTo>
                    <a:lnTo>
                      <a:pt x="495" y="3236"/>
                    </a:lnTo>
                    <a:lnTo>
                      <a:pt x="495" y="3208"/>
                    </a:lnTo>
                    <a:lnTo>
                      <a:pt x="500" y="3181"/>
                    </a:lnTo>
                    <a:lnTo>
                      <a:pt x="773" y="2147"/>
                    </a:lnTo>
                    <a:lnTo>
                      <a:pt x="639" y="2147"/>
                    </a:lnTo>
                    <a:lnTo>
                      <a:pt x="683" y="2099"/>
                    </a:lnTo>
                    <a:lnTo>
                      <a:pt x="729" y="2048"/>
                    </a:lnTo>
                    <a:lnTo>
                      <a:pt x="778" y="1994"/>
                    </a:lnTo>
                    <a:lnTo>
                      <a:pt x="2742" y="1994"/>
                    </a:lnTo>
                    <a:lnTo>
                      <a:pt x="2742" y="307"/>
                    </a:lnTo>
                    <a:lnTo>
                      <a:pt x="227" y="307"/>
                    </a:lnTo>
                    <a:lnTo>
                      <a:pt x="227" y="1912"/>
                    </a:lnTo>
                    <a:lnTo>
                      <a:pt x="184" y="1953"/>
                    </a:lnTo>
                    <a:lnTo>
                      <a:pt x="144" y="1989"/>
                    </a:lnTo>
                    <a:lnTo>
                      <a:pt x="108" y="2023"/>
                    </a:lnTo>
                    <a:lnTo>
                      <a:pt x="76" y="2052"/>
                    </a:lnTo>
                    <a:lnTo>
                      <a:pt x="76" y="285"/>
                    </a:lnTo>
                    <a:lnTo>
                      <a:pt x="55" y="271"/>
                    </a:lnTo>
                    <a:lnTo>
                      <a:pt x="36" y="252"/>
                    </a:lnTo>
                    <a:lnTo>
                      <a:pt x="21" y="231"/>
                    </a:lnTo>
                    <a:lnTo>
                      <a:pt x="9" y="207"/>
                    </a:lnTo>
                    <a:lnTo>
                      <a:pt x="2" y="181"/>
                    </a:lnTo>
                    <a:lnTo>
                      <a:pt x="0" y="154"/>
                    </a:lnTo>
                    <a:lnTo>
                      <a:pt x="3" y="123"/>
                    </a:lnTo>
                    <a:lnTo>
                      <a:pt x="12" y="93"/>
                    </a:lnTo>
                    <a:lnTo>
                      <a:pt x="25" y="68"/>
                    </a:lnTo>
                    <a:lnTo>
                      <a:pt x="44" y="45"/>
                    </a:lnTo>
                    <a:lnTo>
                      <a:pt x="66" y="27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69" name="Freeform 204"/>
              <p:cNvSpPr>
                <a:spLocks/>
              </p:cNvSpPr>
              <p:nvPr/>
            </p:nvSpPr>
            <p:spPr bwMode="auto">
              <a:xfrm>
                <a:off x="4443" y="3439"/>
                <a:ext cx="60" cy="176"/>
              </a:xfrm>
              <a:custGeom>
                <a:avLst/>
                <a:gdLst>
                  <a:gd name="T0" fmla="*/ 153 w 304"/>
                  <a:gd name="T1" fmla="*/ 0 h 881"/>
                  <a:gd name="T2" fmla="*/ 183 w 304"/>
                  <a:gd name="T3" fmla="*/ 3 h 881"/>
                  <a:gd name="T4" fmla="*/ 211 w 304"/>
                  <a:gd name="T5" fmla="*/ 12 h 881"/>
                  <a:gd name="T6" fmla="*/ 237 w 304"/>
                  <a:gd name="T7" fmla="*/ 25 h 881"/>
                  <a:gd name="T8" fmla="*/ 260 w 304"/>
                  <a:gd name="T9" fmla="*/ 44 h 881"/>
                  <a:gd name="T10" fmla="*/ 278 w 304"/>
                  <a:gd name="T11" fmla="*/ 68 h 881"/>
                  <a:gd name="T12" fmla="*/ 293 w 304"/>
                  <a:gd name="T13" fmla="*/ 93 h 881"/>
                  <a:gd name="T14" fmla="*/ 301 w 304"/>
                  <a:gd name="T15" fmla="*/ 122 h 881"/>
                  <a:gd name="T16" fmla="*/ 304 w 304"/>
                  <a:gd name="T17" fmla="*/ 154 h 881"/>
                  <a:gd name="T18" fmla="*/ 304 w 304"/>
                  <a:gd name="T19" fmla="*/ 729 h 881"/>
                  <a:gd name="T20" fmla="*/ 301 w 304"/>
                  <a:gd name="T21" fmla="*/ 759 h 881"/>
                  <a:gd name="T22" fmla="*/ 293 w 304"/>
                  <a:gd name="T23" fmla="*/ 788 h 881"/>
                  <a:gd name="T24" fmla="*/ 278 w 304"/>
                  <a:gd name="T25" fmla="*/ 814 h 881"/>
                  <a:gd name="T26" fmla="*/ 260 w 304"/>
                  <a:gd name="T27" fmla="*/ 837 h 881"/>
                  <a:gd name="T28" fmla="*/ 237 w 304"/>
                  <a:gd name="T29" fmla="*/ 856 h 881"/>
                  <a:gd name="T30" fmla="*/ 211 w 304"/>
                  <a:gd name="T31" fmla="*/ 870 h 881"/>
                  <a:gd name="T32" fmla="*/ 183 w 304"/>
                  <a:gd name="T33" fmla="*/ 878 h 881"/>
                  <a:gd name="T34" fmla="*/ 153 w 304"/>
                  <a:gd name="T35" fmla="*/ 881 h 881"/>
                  <a:gd name="T36" fmla="*/ 121 w 304"/>
                  <a:gd name="T37" fmla="*/ 878 h 881"/>
                  <a:gd name="T38" fmla="*/ 92 w 304"/>
                  <a:gd name="T39" fmla="*/ 870 h 881"/>
                  <a:gd name="T40" fmla="*/ 67 w 304"/>
                  <a:gd name="T41" fmla="*/ 856 h 881"/>
                  <a:gd name="T42" fmla="*/ 44 w 304"/>
                  <a:gd name="T43" fmla="*/ 837 h 881"/>
                  <a:gd name="T44" fmla="*/ 26 w 304"/>
                  <a:gd name="T45" fmla="*/ 814 h 881"/>
                  <a:gd name="T46" fmla="*/ 11 w 304"/>
                  <a:gd name="T47" fmla="*/ 788 h 881"/>
                  <a:gd name="T48" fmla="*/ 3 w 304"/>
                  <a:gd name="T49" fmla="*/ 759 h 881"/>
                  <a:gd name="T50" fmla="*/ 0 w 304"/>
                  <a:gd name="T51" fmla="*/ 729 h 881"/>
                  <a:gd name="T52" fmla="*/ 0 w 304"/>
                  <a:gd name="T53" fmla="*/ 154 h 881"/>
                  <a:gd name="T54" fmla="*/ 3 w 304"/>
                  <a:gd name="T55" fmla="*/ 122 h 881"/>
                  <a:gd name="T56" fmla="*/ 11 w 304"/>
                  <a:gd name="T57" fmla="*/ 93 h 881"/>
                  <a:gd name="T58" fmla="*/ 26 w 304"/>
                  <a:gd name="T59" fmla="*/ 68 h 881"/>
                  <a:gd name="T60" fmla="*/ 44 w 304"/>
                  <a:gd name="T61" fmla="*/ 44 h 881"/>
                  <a:gd name="T62" fmla="*/ 67 w 304"/>
                  <a:gd name="T63" fmla="*/ 25 h 881"/>
                  <a:gd name="T64" fmla="*/ 92 w 304"/>
                  <a:gd name="T65" fmla="*/ 12 h 881"/>
                  <a:gd name="T66" fmla="*/ 121 w 304"/>
                  <a:gd name="T67" fmla="*/ 3 h 881"/>
                  <a:gd name="T68" fmla="*/ 153 w 304"/>
                  <a:gd name="T69" fmla="*/ 0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881">
                    <a:moveTo>
                      <a:pt x="153" y="0"/>
                    </a:moveTo>
                    <a:lnTo>
                      <a:pt x="183" y="3"/>
                    </a:lnTo>
                    <a:lnTo>
                      <a:pt x="211" y="12"/>
                    </a:lnTo>
                    <a:lnTo>
                      <a:pt x="237" y="25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4" y="154"/>
                    </a:lnTo>
                    <a:lnTo>
                      <a:pt x="304" y="729"/>
                    </a:lnTo>
                    <a:lnTo>
                      <a:pt x="301" y="759"/>
                    </a:lnTo>
                    <a:lnTo>
                      <a:pt x="293" y="788"/>
                    </a:lnTo>
                    <a:lnTo>
                      <a:pt x="278" y="814"/>
                    </a:lnTo>
                    <a:lnTo>
                      <a:pt x="260" y="837"/>
                    </a:lnTo>
                    <a:lnTo>
                      <a:pt x="237" y="856"/>
                    </a:lnTo>
                    <a:lnTo>
                      <a:pt x="211" y="870"/>
                    </a:lnTo>
                    <a:lnTo>
                      <a:pt x="183" y="878"/>
                    </a:lnTo>
                    <a:lnTo>
                      <a:pt x="153" y="881"/>
                    </a:lnTo>
                    <a:lnTo>
                      <a:pt x="121" y="878"/>
                    </a:lnTo>
                    <a:lnTo>
                      <a:pt x="92" y="870"/>
                    </a:lnTo>
                    <a:lnTo>
                      <a:pt x="67" y="856"/>
                    </a:lnTo>
                    <a:lnTo>
                      <a:pt x="44" y="837"/>
                    </a:lnTo>
                    <a:lnTo>
                      <a:pt x="26" y="814"/>
                    </a:lnTo>
                    <a:lnTo>
                      <a:pt x="11" y="788"/>
                    </a:lnTo>
                    <a:lnTo>
                      <a:pt x="3" y="759"/>
                    </a:lnTo>
                    <a:lnTo>
                      <a:pt x="0" y="729"/>
                    </a:lnTo>
                    <a:lnTo>
                      <a:pt x="0" y="154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5"/>
                    </a:lnTo>
                    <a:lnTo>
                      <a:pt x="92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70" name="Freeform 205"/>
              <p:cNvSpPr>
                <a:spLocks/>
              </p:cNvSpPr>
              <p:nvPr/>
            </p:nvSpPr>
            <p:spPr bwMode="auto">
              <a:xfrm>
                <a:off x="4542" y="3331"/>
                <a:ext cx="60" cy="284"/>
              </a:xfrm>
              <a:custGeom>
                <a:avLst/>
                <a:gdLst>
                  <a:gd name="T0" fmla="*/ 153 w 304"/>
                  <a:gd name="T1" fmla="*/ 0 h 1418"/>
                  <a:gd name="T2" fmla="*/ 183 w 304"/>
                  <a:gd name="T3" fmla="*/ 3 h 1418"/>
                  <a:gd name="T4" fmla="*/ 212 w 304"/>
                  <a:gd name="T5" fmla="*/ 12 h 1418"/>
                  <a:gd name="T6" fmla="*/ 237 w 304"/>
                  <a:gd name="T7" fmla="*/ 26 h 1418"/>
                  <a:gd name="T8" fmla="*/ 260 w 304"/>
                  <a:gd name="T9" fmla="*/ 45 h 1418"/>
                  <a:gd name="T10" fmla="*/ 278 w 304"/>
                  <a:gd name="T11" fmla="*/ 67 h 1418"/>
                  <a:gd name="T12" fmla="*/ 293 w 304"/>
                  <a:gd name="T13" fmla="*/ 94 h 1418"/>
                  <a:gd name="T14" fmla="*/ 301 w 304"/>
                  <a:gd name="T15" fmla="*/ 122 h 1418"/>
                  <a:gd name="T16" fmla="*/ 304 w 304"/>
                  <a:gd name="T17" fmla="*/ 153 h 1418"/>
                  <a:gd name="T18" fmla="*/ 304 w 304"/>
                  <a:gd name="T19" fmla="*/ 1266 h 1418"/>
                  <a:gd name="T20" fmla="*/ 301 w 304"/>
                  <a:gd name="T21" fmla="*/ 1296 h 1418"/>
                  <a:gd name="T22" fmla="*/ 293 w 304"/>
                  <a:gd name="T23" fmla="*/ 1325 h 1418"/>
                  <a:gd name="T24" fmla="*/ 278 w 304"/>
                  <a:gd name="T25" fmla="*/ 1351 h 1418"/>
                  <a:gd name="T26" fmla="*/ 260 w 304"/>
                  <a:gd name="T27" fmla="*/ 1374 h 1418"/>
                  <a:gd name="T28" fmla="*/ 237 w 304"/>
                  <a:gd name="T29" fmla="*/ 1393 h 1418"/>
                  <a:gd name="T30" fmla="*/ 212 w 304"/>
                  <a:gd name="T31" fmla="*/ 1407 h 1418"/>
                  <a:gd name="T32" fmla="*/ 183 w 304"/>
                  <a:gd name="T33" fmla="*/ 1415 h 1418"/>
                  <a:gd name="T34" fmla="*/ 153 w 304"/>
                  <a:gd name="T35" fmla="*/ 1418 h 1418"/>
                  <a:gd name="T36" fmla="*/ 121 w 304"/>
                  <a:gd name="T37" fmla="*/ 1415 h 1418"/>
                  <a:gd name="T38" fmla="*/ 93 w 304"/>
                  <a:gd name="T39" fmla="*/ 1407 h 1418"/>
                  <a:gd name="T40" fmla="*/ 67 w 304"/>
                  <a:gd name="T41" fmla="*/ 1393 h 1418"/>
                  <a:gd name="T42" fmla="*/ 44 w 304"/>
                  <a:gd name="T43" fmla="*/ 1374 h 1418"/>
                  <a:gd name="T44" fmla="*/ 26 w 304"/>
                  <a:gd name="T45" fmla="*/ 1351 h 1418"/>
                  <a:gd name="T46" fmla="*/ 11 w 304"/>
                  <a:gd name="T47" fmla="*/ 1325 h 1418"/>
                  <a:gd name="T48" fmla="*/ 3 w 304"/>
                  <a:gd name="T49" fmla="*/ 1296 h 1418"/>
                  <a:gd name="T50" fmla="*/ 0 w 304"/>
                  <a:gd name="T51" fmla="*/ 1266 h 1418"/>
                  <a:gd name="T52" fmla="*/ 0 w 304"/>
                  <a:gd name="T53" fmla="*/ 153 h 1418"/>
                  <a:gd name="T54" fmla="*/ 3 w 304"/>
                  <a:gd name="T55" fmla="*/ 122 h 1418"/>
                  <a:gd name="T56" fmla="*/ 11 w 304"/>
                  <a:gd name="T57" fmla="*/ 94 h 1418"/>
                  <a:gd name="T58" fmla="*/ 26 w 304"/>
                  <a:gd name="T59" fmla="*/ 67 h 1418"/>
                  <a:gd name="T60" fmla="*/ 44 w 304"/>
                  <a:gd name="T61" fmla="*/ 45 h 1418"/>
                  <a:gd name="T62" fmla="*/ 67 w 304"/>
                  <a:gd name="T63" fmla="*/ 26 h 1418"/>
                  <a:gd name="T64" fmla="*/ 93 w 304"/>
                  <a:gd name="T65" fmla="*/ 12 h 1418"/>
                  <a:gd name="T66" fmla="*/ 121 w 304"/>
                  <a:gd name="T67" fmla="*/ 3 h 1418"/>
                  <a:gd name="T68" fmla="*/ 153 w 304"/>
                  <a:gd name="T69" fmla="*/ 0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1418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2"/>
                    </a:lnTo>
                    <a:lnTo>
                      <a:pt x="237" y="26"/>
                    </a:lnTo>
                    <a:lnTo>
                      <a:pt x="260" y="45"/>
                    </a:lnTo>
                    <a:lnTo>
                      <a:pt x="278" y="67"/>
                    </a:lnTo>
                    <a:lnTo>
                      <a:pt x="293" y="94"/>
                    </a:lnTo>
                    <a:lnTo>
                      <a:pt x="301" y="122"/>
                    </a:lnTo>
                    <a:lnTo>
                      <a:pt x="304" y="153"/>
                    </a:lnTo>
                    <a:lnTo>
                      <a:pt x="304" y="1266"/>
                    </a:lnTo>
                    <a:lnTo>
                      <a:pt x="301" y="1296"/>
                    </a:lnTo>
                    <a:lnTo>
                      <a:pt x="293" y="1325"/>
                    </a:lnTo>
                    <a:lnTo>
                      <a:pt x="278" y="1351"/>
                    </a:lnTo>
                    <a:lnTo>
                      <a:pt x="260" y="1374"/>
                    </a:lnTo>
                    <a:lnTo>
                      <a:pt x="237" y="1393"/>
                    </a:lnTo>
                    <a:lnTo>
                      <a:pt x="212" y="1407"/>
                    </a:lnTo>
                    <a:lnTo>
                      <a:pt x="183" y="1415"/>
                    </a:lnTo>
                    <a:lnTo>
                      <a:pt x="153" y="1418"/>
                    </a:lnTo>
                    <a:lnTo>
                      <a:pt x="121" y="1415"/>
                    </a:lnTo>
                    <a:lnTo>
                      <a:pt x="93" y="1407"/>
                    </a:lnTo>
                    <a:lnTo>
                      <a:pt x="67" y="1393"/>
                    </a:lnTo>
                    <a:lnTo>
                      <a:pt x="44" y="1374"/>
                    </a:lnTo>
                    <a:lnTo>
                      <a:pt x="26" y="1351"/>
                    </a:lnTo>
                    <a:lnTo>
                      <a:pt x="11" y="1325"/>
                    </a:lnTo>
                    <a:lnTo>
                      <a:pt x="3" y="1296"/>
                    </a:lnTo>
                    <a:lnTo>
                      <a:pt x="0" y="1266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4"/>
                    </a:lnTo>
                    <a:lnTo>
                      <a:pt x="26" y="67"/>
                    </a:lnTo>
                    <a:lnTo>
                      <a:pt x="44" y="45"/>
                    </a:lnTo>
                    <a:lnTo>
                      <a:pt x="67" y="26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71" name="Freeform 206"/>
              <p:cNvSpPr>
                <a:spLocks/>
              </p:cNvSpPr>
              <p:nvPr/>
            </p:nvSpPr>
            <p:spPr bwMode="auto">
              <a:xfrm>
                <a:off x="4641" y="3393"/>
                <a:ext cx="61" cy="222"/>
              </a:xfrm>
              <a:custGeom>
                <a:avLst/>
                <a:gdLst>
                  <a:gd name="T0" fmla="*/ 153 w 305"/>
                  <a:gd name="T1" fmla="*/ 0 h 1111"/>
                  <a:gd name="T2" fmla="*/ 183 w 305"/>
                  <a:gd name="T3" fmla="*/ 3 h 1111"/>
                  <a:gd name="T4" fmla="*/ 212 w 305"/>
                  <a:gd name="T5" fmla="*/ 11 h 1111"/>
                  <a:gd name="T6" fmla="*/ 237 w 305"/>
                  <a:gd name="T7" fmla="*/ 26 h 1111"/>
                  <a:gd name="T8" fmla="*/ 260 w 305"/>
                  <a:gd name="T9" fmla="*/ 44 h 1111"/>
                  <a:gd name="T10" fmla="*/ 278 w 305"/>
                  <a:gd name="T11" fmla="*/ 68 h 1111"/>
                  <a:gd name="T12" fmla="*/ 293 w 305"/>
                  <a:gd name="T13" fmla="*/ 93 h 1111"/>
                  <a:gd name="T14" fmla="*/ 301 w 305"/>
                  <a:gd name="T15" fmla="*/ 122 h 1111"/>
                  <a:gd name="T16" fmla="*/ 305 w 305"/>
                  <a:gd name="T17" fmla="*/ 153 h 1111"/>
                  <a:gd name="T18" fmla="*/ 305 w 305"/>
                  <a:gd name="T19" fmla="*/ 959 h 1111"/>
                  <a:gd name="T20" fmla="*/ 301 w 305"/>
                  <a:gd name="T21" fmla="*/ 989 h 1111"/>
                  <a:gd name="T22" fmla="*/ 293 w 305"/>
                  <a:gd name="T23" fmla="*/ 1018 h 1111"/>
                  <a:gd name="T24" fmla="*/ 278 w 305"/>
                  <a:gd name="T25" fmla="*/ 1044 h 1111"/>
                  <a:gd name="T26" fmla="*/ 260 w 305"/>
                  <a:gd name="T27" fmla="*/ 1067 h 1111"/>
                  <a:gd name="T28" fmla="*/ 237 w 305"/>
                  <a:gd name="T29" fmla="*/ 1086 h 1111"/>
                  <a:gd name="T30" fmla="*/ 212 w 305"/>
                  <a:gd name="T31" fmla="*/ 1100 h 1111"/>
                  <a:gd name="T32" fmla="*/ 183 w 305"/>
                  <a:gd name="T33" fmla="*/ 1108 h 1111"/>
                  <a:gd name="T34" fmla="*/ 153 w 305"/>
                  <a:gd name="T35" fmla="*/ 1111 h 1111"/>
                  <a:gd name="T36" fmla="*/ 121 w 305"/>
                  <a:gd name="T37" fmla="*/ 1108 h 1111"/>
                  <a:gd name="T38" fmla="*/ 93 w 305"/>
                  <a:gd name="T39" fmla="*/ 1100 h 1111"/>
                  <a:gd name="T40" fmla="*/ 67 w 305"/>
                  <a:gd name="T41" fmla="*/ 1086 h 1111"/>
                  <a:gd name="T42" fmla="*/ 44 w 305"/>
                  <a:gd name="T43" fmla="*/ 1067 h 1111"/>
                  <a:gd name="T44" fmla="*/ 26 w 305"/>
                  <a:gd name="T45" fmla="*/ 1044 h 1111"/>
                  <a:gd name="T46" fmla="*/ 12 w 305"/>
                  <a:gd name="T47" fmla="*/ 1018 h 1111"/>
                  <a:gd name="T48" fmla="*/ 3 w 305"/>
                  <a:gd name="T49" fmla="*/ 989 h 1111"/>
                  <a:gd name="T50" fmla="*/ 0 w 305"/>
                  <a:gd name="T51" fmla="*/ 959 h 1111"/>
                  <a:gd name="T52" fmla="*/ 0 w 305"/>
                  <a:gd name="T53" fmla="*/ 153 h 1111"/>
                  <a:gd name="T54" fmla="*/ 3 w 305"/>
                  <a:gd name="T55" fmla="*/ 122 h 1111"/>
                  <a:gd name="T56" fmla="*/ 12 w 305"/>
                  <a:gd name="T57" fmla="*/ 93 h 1111"/>
                  <a:gd name="T58" fmla="*/ 26 w 305"/>
                  <a:gd name="T59" fmla="*/ 68 h 1111"/>
                  <a:gd name="T60" fmla="*/ 44 w 305"/>
                  <a:gd name="T61" fmla="*/ 44 h 1111"/>
                  <a:gd name="T62" fmla="*/ 67 w 305"/>
                  <a:gd name="T63" fmla="*/ 26 h 1111"/>
                  <a:gd name="T64" fmla="*/ 93 w 305"/>
                  <a:gd name="T65" fmla="*/ 11 h 1111"/>
                  <a:gd name="T66" fmla="*/ 121 w 305"/>
                  <a:gd name="T67" fmla="*/ 3 h 1111"/>
                  <a:gd name="T68" fmla="*/ 153 w 305"/>
                  <a:gd name="T69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5" h="1111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1"/>
                    </a:lnTo>
                    <a:lnTo>
                      <a:pt x="237" y="26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5" y="153"/>
                    </a:lnTo>
                    <a:lnTo>
                      <a:pt x="305" y="959"/>
                    </a:lnTo>
                    <a:lnTo>
                      <a:pt x="301" y="989"/>
                    </a:lnTo>
                    <a:lnTo>
                      <a:pt x="293" y="1018"/>
                    </a:lnTo>
                    <a:lnTo>
                      <a:pt x="278" y="1044"/>
                    </a:lnTo>
                    <a:lnTo>
                      <a:pt x="260" y="1067"/>
                    </a:lnTo>
                    <a:lnTo>
                      <a:pt x="237" y="1086"/>
                    </a:lnTo>
                    <a:lnTo>
                      <a:pt x="212" y="1100"/>
                    </a:lnTo>
                    <a:lnTo>
                      <a:pt x="183" y="1108"/>
                    </a:lnTo>
                    <a:lnTo>
                      <a:pt x="153" y="1111"/>
                    </a:lnTo>
                    <a:lnTo>
                      <a:pt x="121" y="1108"/>
                    </a:lnTo>
                    <a:lnTo>
                      <a:pt x="93" y="1100"/>
                    </a:lnTo>
                    <a:lnTo>
                      <a:pt x="67" y="1086"/>
                    </a:lnTo>
                    <a:lnTo>
                      <a:pt x="44" y="1067"/>
                    </a:lnTo>
                    <a:lnTo>
                      <a:pt x="26" y="1044"/>
                    </a:lnTo>
                    <a:lnTo>
                      <a:pt x="12" y="1018"/>
                    </a:lnTo>
                    <a:lnTo>
                      <a:pt x="3" y="989"/>
                    </a:lnTo>
                    <a:lnTo>
                      <a:pt x="0" y="959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2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6"/>
                    </a:lnTo>
                    <a:lnTo>
                      <a:pt x="93" y="11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72" name="Freeform 207"/>
              <p:cNvSpPr>
                <a:spLocks/>
              </p:cNvSpPr>
              <p:nvPr/>
            </p:nvSpPr>
            <p:spPr bwMode="auto">
              <a:xfrm>
                <a:off x="4176" y="3520"/>
                <a:ext cx="223" cy="225"/>
              </a:xfrm>
              <a:custGeom>
                <a:avLst/>
                <a:gdLst>
                  <a:gd name="T0" fmla="*/ 1085 w 1117"/>
                  <a:gd name="T1" fmla="*/ 0 h 1123"/>
                  <a:gd name="T2" fmla="*/ 1106 w 1117"/>
                  <a:gd name="T3" fmla="*/ 10 h 1123"/>
                  <a:gd name="T4" fmla="*/ 1117 w 1117"/>
                  <a:gd name="T5" fmla="*/ 31 h 1123"/>
                  <a:gd name="T6" fmla="*/ 1113 w 1117"/>
                  <a:gd name="T7" fmla="*/ 53 h 1123"/>
                  <a:gd name="T8" fmla="*/ 1104 w 1117"/>
                  <a:gd name="T9" fmla="*/ 66 h 1123"/>
                  <a:gd name="T10" fmla="*/ 1089 w 1117"/>
                  <a:gd name="T11" fmla="*/ 82 h 1123"/>
                  <a:gd name="T12" fmla="*/ 1062 w 1117"/>
                  <a:gd name="T13" fmla="*/ 112 h 1123"/>
                  <a:gd name="T14" fmla="*/ 1023 w 1117"/>
                  <a:gd name="T15" fmla="*/ 155 h 1123"/>
                  <a:gd name="T16" fmla="*/ 973 w 1117"/>
                  <a:gd name="T17" fmla="*/ 209 h 1123"/>
                  <a:gd name="T18" fmla="*/ 917 w 1117"/>
                  <a:gd name="T19" fmla="*/ 272 h 1123"/>
                  <a:gd name="T20" fmla="*/ 853 w 1117"/>
                  <a:gd name="T21" fmla="*/ 342 h 1123"/>
                  <a:gd name="T22" fmla="*/ 785 w 1117"/>
                  <a:gd name="T23" fmla="*/ 417 h 1123"/>
                  <a:gd name="T24" fmla="*/ 712 w 1117"/>
                  <a:gd name="T25" fmla="*/ 497 h 1123"/>
                  <a:gd name="T26" fmla="*/ 640 w 1117"/>
                  <a:gd name="T27" fmla="*/ 577 h 1123"/>
                  <a:gd name="T28" fmla="*/ 566 w 1117"/>
                  <a:gd name="T29" fmla="*/ 658 h 1123"/>
                  <a:gd name="T30" fmla="*/ 494 w 1117"/>
                  <a:gd name="T31" fmla="*/ 737 h 1123"/>
                  <a:gd name="T32" fmla="*/ 425 w 1117"/>
                  <a:gd name="T33" fmla="*/ 813 h 1123"/>
                  <a:gd name="T34" fmla="*/ 361 w 1117"/>
                  <a:gd name="T35" fmla="*/ 884 h 1123"/>
                  <a:gd name="T36" fmla="*/ 303 w 1117"/>
                  <a:gd name="T37" fmla="*/ 946 h 1123"/>
                  <a:gd name="T38" fmla="*/ 254 w 1117"/>
                  <a:gd name="T39" fmla="*/ 1001 h 1123"/>
                  <a:gd name="T40" fmla="*/ 215 w 1117"/>
                  <a:gd name="T41" fmla="*/ 1045 h 1123"/>
                  <a:gd name="T42" fmla="*/ 186 w 1117"/>
                  <a:gd name="T43" fmla="*/ 1076 h 1123"/>
                  <a:gd name="T44" fmla="*/ 171 w 1117"/>
                  <a:gd name="T45" fmla="*/ 1093 h 1123"/>
                  <a:gd name="T46" fmla="*/ 151 w 1117"/>
                  <a:gd name="T47" fmla="*/ 1110 h 1123"/>
                  <a:gd name="T48" fmla="*/ 110 w 1117"/>
                  <a:gd name="T49" fmla="*/ 1123 h 1123"/>
                  <a:gd name="T50" fmla="*/ 66 w 1117"/>
                  <a:gd name="T51" fmla="*/ 1119 h 1123"/>
                  <a:gd name="T52" fmla="*/ 28 w 1117"/>
                  <a:gd name="T53" fmla="*/ 1095 h 1123"/>
                  <a:gd name="T54" fmla="*/ 5 w 1117"/>
                  <a:gd name="T55" fmla="*/ 1057 h 1123"/>
                  <a:gd name="T56" fmla="*/ 0 w 1117"/>
                  <a:gd name="T57" fmla="*/ 1013 h 1123"/>
                  <a:gd name="T58" fmla="*/ 14 w 1117"/>
                  <a:gd name="T59" fmla="*/ 972 h 1123"/>
                  <a:gd name="T60" fmla="*/ 31 w 1117"/>
                  <a:gd name="T61" fmla="*/ 952 h 1123"/>
                  <a:gd name="T62" fmla="*/ 47 w 1117"/>
                  <a:gd name="T63" fmla="*/ 936 h 1123"/>
                  <a:gd name="T64" fmla="*/ 78 w 1117"/>
                  <a:gd name="T65" fmla="*/ 908 h 1123"/>
                  <a:gd name="T66" fmla="*/ 122 w 1117"/>
                  <a:gd name="T67" fmla="*/ 868 h 1123"/>
                  <a:gd name="T68" fmla="*/ 176 w 1117"/>
                  <a:gd name="T69" fmla="*/ 818 h 1123"/>
                  <a:gd name="T70" fmla="*/ 238 w 1117"/>
                  <a:gd name="T71" fmla="*/ 761 h 1123"/>
                  <a:gd name="T72" fmla="*/ 309 w 1117"/>
                  <a:gd name="T73" fmla="*/ 696 h 1123"/>
                  <a:gd name="T74" fmla="*/ 383 w 1117"/>
                  <a:gd name="T75" fmla="*/ 627 h 1123"/>
                  <a:gd name="T76" fmla="*/ 463 w 1117"/>
                  <a:gd name="T77" fmla="*/ 554 h 1123"/>
                  <a:gd name="T78" fmla="*/ 543 w 1117"/>
                  <a:gd name="T79" fmla="*/ 481 h 1123"/>
                  <a:gd name="T80" fmla="*/ 623 w 1117"/>
                  <a:gd name="T81" fmla="*/ 406 h 1123"/>
                  <a:gd name="T82" fmla="*/ 702 w 1117"/>
                  <a:gd name="T83" fmla="*/ 334 h 1123"/>
                  <a:gd name="T84" fmla="*/ 776 w 1117"/>
                  <a:gd name="T85" fmla="*/ 265 h 1123"/>
                  <a:gd name="T86" fmla="*/ 846 w 1117"/>
                  <a:gd name="T87" fmla="*/ 201 h 1123"/>
                  <a:gd name="T88" fmla="*/ 908 w 1117"/>
                  <a:gd name="T89" fmla="*/ 143 h 1123"/>
                  <a:gd name="T90" fmla="*/ 962 w 1117"/>
                  <a:gd name="T91" fmla="*/ 95 h 1123"/>
                  <a:gd name="T92" fmla="*/ 1005 w 1117"/>
                  <a:gd name="T93" fmla="*/ 54 h 1123"/>
                  <a:gd name="T94" fmla="*/ 1036 w 1117"/>
                  <a:gd name="T95" fmla="*/ 27 h 1123"/>
                  <a:gd name="T96" fmla="*/ 1051 w 1117"/>
                  <a:gd name="T97" fmla="*/ 12 h 1123"/>
                  <a:gd name="T98" fmla="*/ 1063 w 1117"/>
                  <a:gd name="T99" fmla="*/ 3 h 1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17" h="1123">
                    <a:moveTo>
                      <a:pt x="1074" y="0"/>
                    </a:moveTo>
                    <a:lnTo>
                      <a:pt x="1085" y="0"/>
                    </a:lnTo>
                    <a:lnTo>
                      <a:pt x="1096" y="3"/>
                    </a:lnTo>
                    <a:lnTo>
                      <a:pt x="1106" y="10"/>
                    </a:lnTo>
                    <a:lnTo>
                      <a:pt x="1113" y="20"/>
                    </a:lnTo>
                    <a:lnTo>
                      <a:pt x="1117" y="31"/>
                    </a:lnTo>
                    <a:lnTo>
                      <a:pt x="1117" y="43"/>
                    </a:lnTo>
                    <a:lnTo>
                      <a:pt x="1113" y="53"/>
                    </a:lnTo>
                    <a:lnTo>
                      <a:pt x="1106" y="64"/>
                    </a:lnTo>
                    <a:lnTo>
                      <a:pt x="1104" y="66"/>
                    </a:lnTo>
                    <a:lnTo>
                      <a:pt x="1099" y="71"/>
                    </a:lnTo>
                    <a:lnTo>
                      <a:pt x="1089" y="82"/>
                    </a:lnTo>
                    <a:lnTo>
                      <a:pt x="1077" y="96"/>
                    </a:lnTo>
                    <a:lnTo>
                      <a:pt x="1062" y="112"/>
                    </a:lnTo>
                    <a:lnTo>
                      <a:pt x="1043" y="132"/>
                    </a:lnTo>
                    <a:lnTo>
                      <a:pt x="1023" y="155"/>
                    </a:lnTo>
                    <a:lnTo>
                      <a:pt x="999" y="181"/>
                    </a:lnTo>
                    <a:lnTo>
                      <a:pt x="973" y="209"/>
                    </a:lnTo>
                    <a:lnTo>
                      <a:pt x="946" y="240"/>
                    </a:lnTo>
                    <a:lnTo>
                      <a:pt x="917" y="272"/>
                    </a:lnTo>
                    <a:lnTo>
                      <a:pt x="885" y="306"/>
                    </a:lnTo>
                    <a:lnTo>
                      <a:pt x="853" y="342"/>
                    </a:lnTo>
                    <a:lnTo>
                      <a:pt x="820" y="379"/>
                    </a:lnTo>
                    <a:lnTo>
                      <a:pt x="785" y="417"/>
                    </a:lnTo>
                    <a:lnTo>
                      <a:pt x="749" y="456"/>
                    </a:lnTo>
                    <a:lnTo>
                      <a:pt x="712" y="497"/>
                    </a:lnTo>
                    <a:lnTo>
                      <a:pt x="676" y="537"/>
                    </a:lnTo>
                    <a:lnTo>
                      <a:pt x="640" y="577"/>
                    </a:lnTo>
                    <a:lnTo>
                      <a:pt x="603" y="617"/>
                    </a:lnTo>
                    <a:lnTo>
                      <a:pt x="566" y="658"/>
                    </a:lnTo>
                    <a:lnTo>
                      <a:pt x="529" y="698"/>
                    </a:lnTo>
                    <a:lnTo>
                      <a:pt x="494" y="737"/>
                    </a:lnTo>
                    <a:lnTo>
                      <a:pt x="458" y="776"/>
                    </a:lnTo>
                    <a:lnTo>
                      <a:pt x="425" y="813"/>
                    </a:lnTo>
                    <a:lnTo>
                      <a:pt x="392" y="849"/>
                    </a:lnTo>
                    <a:lnTo>
                      <a:pt x="361" y="884"/>
                    </a:lnTo>
                    <a:lnTo>
                      <a:pt x="332" y="917"/>
                    </a:lnTo>
                    <a:lnTo>
                      <a:pt x="303" y="946"/>
                    </a:lnTo>
                    <a:lnTo>
                      <a:pt x="278" y="975"/>
                    </a:lnTo>
                    <a:lnTo>
                      <a:pt x="254" y="1001"/>
                    </a:lnTo>
                    <a:lnTo>
                      <a:pt x="233" y="1024"/>
                    </a:lnTo>
                    <a:lnTo>
                      <a:pt x="215" y="1045"/>
                    </a:lnTo>
                    <a:lnTo>
                      <a:pt x="199" y="1062"/>
                    </a:lnTo>
                    <a:lnTo>
                      <a:pt x="186" y="1076"/>
                    </a:lnTo>
                    <a:lnTo>
                      <a:pt x="177" y="1086"/>
                    </a:lnTo>
                    <a:lnTo>
                      <a:pt x="171" y="1093"/>
                    </a:lnTo>
                    <a:lnTo>
                      <a:pt x="169" y="1095"/>
                    </a:lnTo>
                    <a:lnTo>
                      <a:pt x="151" y="1110"/>
                    </a:lnTo>
                    <a:lnTo>
                      <a:pt x="131" y="1119"/>
                    </a:lnTo>
                    <a:lnTo>
                      <a:pt x="110" y="1123"/>
                    </a:lnTo>
                    <a:lnTo>
                      <a:pt x="87" y="1123"/>
                    </a:lnTo>
                    <a:lnTo>
                      <a:pt x="66" y="1119"/>
                    </a:lnTo>
                    <a:lnTo>
                      <a:pt x="46" y="1110"/>
                    </a:lnTo>
                    <a:lnTo>
                      <a:pt x="28" y="1095"/>
                    </a:lnTo>
                    <a:lnTo>
                      <a:pt x="14" y="1077"/>
                    </a:lnTo>
                    <a:lnTo>
                      <a:pt x="5" y="1057"/>
                    </a:lnTo>
                    <a:lnTo>
                      <a:pt x="0" y="1035"/>
                    </a:lnTo>
                    <a:lnTo>
                      <a:pt x="0" y="1013"/>
                    </a:lnTo>
                    <a:lnTo>
                      <a:pt x="5" y="992"/>
                    </a:lnTo>
                    <a:lnTo>
                      <a:pt x="14" y="972"/>
                    </a:lnTo>
                    <a:lnTo>
                      <a:pt x="28" y="954"/>
                    </a:lnTo>
                    <a:lnTo>
                      <a:pt x="31" y="952"/>
                    </a:lnTo>
                    <a:lnTo>
                      <a:pt x="37" y="945"/>
                    </a:lnTo>
                    <a:lnTo>
                      <a:pt x="47" y="936"/>
                    </a:lnTo>
                    <a:lnTo>
                      <a:pt x="61" y="924"/>
                    </a:lnTo>
                    <a:lnTo>
                      <a:pt x="78" y="908"/>
                    </a:lnTo>
                    <a:lnTo>
                      <a:pt x="99" y="889"/>
                    </a:lnTo>
                    <a:lnTo>
                      <a:pt x="122" y="868"/>
                    </a:lnTo>
                    <a:lnTo>
                      <a:pt x="147" y="844"/>
                    </a:lnTo>
                    <a:lnTo>
                      <a:pt x="176" y="818"/>
                    </a:lnTo>
                    <a:lnTo>
                      <a:pt x="206" y="790"/>
                    </a:lnTo>
                    <a:lnTo>
                      <a:pt x="238" y="761"/>
                    </a:lnTo>
                    <a:lnTo>
                      <a:pt x="273" y="729"/>
                    </a:lnTo>
                    <a:lnTo>
                      <a:pt x="309" y="696"/>
                    </a:lnTo>
                    <a:lnTo>
                      <a:pt x="346" y="662"/>
                    </a:lnTo>
                    <a:lnTo>
                      <a:pt x="383" y="627"/>
                    </a:lnTo>
                    <a:lnTo>
                      <a:pt x="422" y="591"/>
                    </a:lnTo>
                    <a:lnTo>
                      <a:pt x="463" y="554"/>
                    </a:lnTo>
                    <a:lnTo>
                      <a:pt x="503" y="518"/>
                    </a:lnTo>
                    <a:lnTo>
                      <a:pt x="543" y="481"/>
                    </a:lnTo>
                    <a:lnTo>
                      <a:pt x="583" y="444"/>
                    </a:lnTo>
                    <a:lnTo>
                      <a:pt x="623" y="406"/>
                    </a:lnTo>
                    <a:lnTo>
                      <a:pt x="663" y="369"/>
                    </a:lnTo>
                    <a:lnTo>
                      <a:pt x="702" y="334"/>
                    </a:lnTo>
                    <a:lnTo>
                      <a:pt x="740" y="299"/>
                    </a:lnTo>
                    <a:lnTo>
                      <a:pt x="776" y="265"/>
                    </a:lnTo>
                    <a:lnTo>
                      <a:pt x="812" y="232"/>
                    </a:lnTo>
                    <a:lnTo>
                      <a:pt x="846" y="201"/>
                    </a:lnTo>
                    <a:lnTo>
                      <a:pt x="879" y="171"/>
                    </a:lnTo>
                    <a:lnTo>
                      <a:pt x="908" y="143"/>
                    </a:lnTo>
                    <a:lnTo>
                      <a:pt x="937" y="118"/>
                    </a:lnTo>
                    <a:lnTo>
                      <a:pt x="962" y="95"/>
                    </a:lnTo>
                    <a:lnTo>
                      <a:pt x="985" y="73"/>
                    </a:lnTo>
                    <a:lnTo>
                      <a:pt x="1005" y="54"/>
                    </a:lnTo>
                    <a:lnTo>
                      <a:pt x="1022" y="39"/>
                    </a:lnTo>
                    <a:lnTo>
                      <a:pt x="1036" y="27"/>
                    </a:lnTo>
                    <a:lnTo>
                      <a:pt x="1045" y="18"/>
                    </a:lnTo>
                    <a:lnTo>
                      <a:pt x="1051" y="12"/>
                    </a:lnTo>
                    <a:lnTo>
                      <a:pt x="1054" y="10"/>
                    </a:lnTo>
                    <a:lnTo>
                      <a:pt x="1063" y="3"/>
                    </a:lnTo>
                    <a:lnTo>
                      <a:pt x="107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147993" y="5209905"/>
            <a:ext cx="727877" cy="472072"/>
            <a:chOff x="163212" y="5096992"/>
            <a:chExt cx="727877" cy="472072"/>
          </a:xfrm>
        </p:grpSpPr>
        <p:sp>
          <p:nvSpPr>
            <p:cNvPr id="73" name="Rectangle 17"/>
            <p:cNvSpPr>
              <a:spLocks/>
            </p:cNvSpPr>
            <p:nvPr/>
          </p:nvSpPr>
          <p:spPr bwMode="auto">
            <a:xfrm>
              <a:off x="163212" y="5292065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Рыночные данные</a:t>
              </a:r>
            </a:p>
          </p:txBody>
        </p:sp>
        <p:grpSp>
          <p:nvGrpSpPr>
            <p:cNvPr id="74" name="Group 165"/>
            <p:cNvGrpSpPr>
              <a:grpSpLocks noChangeAspect="1"/>
            </p:cNvGrpSpPr>
            <p:nvPr/>
          </p:nvGrpSpPr>
          <p:grpSpPr bwMode="auto">
            <a:xfrm>
              <a:off x="377865" y="5096992"/>
              <a:ext cx="253587" cy="198314"/>
              <a:chOff x="-1919" y="3510"/>
              <a:chExt cx="679" cy="531"/>
            </a:xfrm>
            <a:solidFill>
              <a:schemeClr val="bg1"/>
            </a:solidFill>
          </p:grpSpPr>
          <p:sp>
            <p:nvSpPr>
              <p:cNvPr id="75" name="Freeform 167"/>
              <p:cNvSpPr>
                <a:spLocks/>
              </p:cNvSpPr>
              <p:nvPr/>
            </p:nvSpPr>
            <p:spPr bwMode="auto">
              <a:xfrm>
                <a:off x="-1803" y="3980"/>
                <a:ext cx="447" cy="61"/>
              </a:xfrm>
              <a:custGeom>
                <a:avLst/>
                <a:gdLst>
                  <a:gd name="T0" fmla="*/ 154 w 2237"/>
                  <a:gd name="T1" fmla="*/ 0 h 304"/>
                  <a:gd name="T2" fmla="*/ 2082 w 2237"/>
                  <a:gd name="T3" fmla="*/ 0 h 304"/>
                  <a:gd name="T4" fmla="*/ 2113 w 2237"/>
                  <a:gd name="T5" fmla="*/ 3 h 304"/>
                  <a:gd name="T6" fmla="*/ 2142 w 2237"/>
                  <a:gd name="T7" fmla="*/ 12 h 304"/>
                  <a:gd name="T8" fmla="*/ 2168 w 2237"/>
                  <a:gd name="T9" fmla="*/ 27 h 304"/>
                  <a:gd name="T10" fmla="*/ 2191 w 2237"/>
                  <a:gd name="T11" fmla="*/ 45 h 304"/>
                  <a:gd name="T12" fmla="*/ 2210 w 2237"/>
                  <a:gd name="T13" fmla="*/ 68 h 304"/>
                  <a:gd name="T14" fmla="*/ 2224 w 2237"/>
                  <a:gd name="T15" fmla="*/ 93 h 304"/>
                  <a:gd name="T16" fmla="*/ 2234 w 2237"/>
                  <a:gd name="T17" fmla="*/ 122 h 304"/>
                  <a:gd name="T18" fmla="*/ 2237 w 2237"/>
                  <a:gd name="T19" fmla="*/ 153 h 304"/>
                  <a:gd name="T20" fmla="*/ 2234 w 2237"/>
                  <a:gd name="T21" fmla="*/ 183 h 304"/>
                  <a:gd name="T22" fmla="*/ 2224 w 2237"/>
                  <a:gd name="T23" fmla="*/ 212 h 304"/>
                  <a:gd name="T24" fmla="*/ 2210 w 2237"/>
                  <a:gd name="T25" fmla="*/ 237 h 304"/>
                  <a:gd name="T26" fmla="*/ 2191 w 2237"/>
                  <a:gd name="T27" fmla="*/ 260 h 304"/>
                  <a:gd name="T28" fmla="*/ 2168 w 2237"/>
                  <a:gd name="T29" fmla="*/ 278 h 304"/>
                  <a:gd name="T30" fmla="*/ 2142 w 2237"/>
                  <a:gd name="T31" fmla="*/ 293 h 304"/>
                  <a:gd name="T32" fmla="*/ 2113 w 2237"/>
                  <a:gd name="T33" fmla="*/ 301 h 304"/>
                  <a:gd name="T34" fmla="*/ 2082 w 2237"/>
                  <a:gd name="T35" fmla="*/ 304 h 304"/>
                  <a:gd name="T36" fmla="*/ 154 w 2237"/>
                  <a:gd name="T37" fmla="*/ 304 h 304"/>
                  <a:gd name="T38" fmla="*/ 123 w 2237"/>
                  <a:gd name="T39" fmla="*/ 301 h 304"/>
                  <a:gd name="T40" fmla="*/ 93 w 2237"/>
                  <a:gd name="T41" fmla="*/ 293 h 304"/>
                  <a:gd name="T42" fmla="*/ 68 w 2237"/>
                  <a:gd name="T43" fmla="*/ 278 h 304"/>
                  <a:gd name="T44" fmla="*/ 45 w 2237"/>
                  <a:gd name="T45" fmla="*/ 260 h 304"/>
                  <a:gd name="T46" fmla="*/ 26 w 2237"/>
                  <a:gd name="T47" fmla="*/ 237 h 304"/>
                  <a:gd name="T48" fmla="*/ 11 w 2237"/>
                  <a:gd name="T49" fmla="*/ 212 h 304"/>
                  <a:gd name="T50" fmla="*/ 3 w 2237"/>
                  <a:gd name="T51" fmla="*/ 183 h 304"/>
                  <a:gd name="T52" fmla="*/ 0 w 2237"/>
                  <a:gd name="T53" fmla="*/ 153 h 304"/>
                  <a:gd name="T54" fmla="*/ 3 w 2237"/>
                  <a:gd name="T55" fmla="*/ 122 h 304"/>
                  <a:gd name="T56" fmla="*/ 11 w 2237"/>
                  <a:gd name="T57" fmla="*/ 93 h 304"/>
                  <a:gd name="T58" fmla="*/ 26 w 2237"/>
                  <a:gd name="T59" fmla="*/ 68 h 304"/>
                  <a:gd name="T60" fmla="*/ 45 w 2237"/>
                  <a:gd name="T61" fmla="*/ 45 h 304"/>
                  <a:gd name="T62" fmla="*/ 68 w 2237"/>
                  <a:gd name="T63" fmla="*/ 27 h 304"/>
                  <a:gd name="T64" fmla="*/ 93 w 2237"/>
                  <a:gd name="T65" fmla="*/ 12 h 304"/>
                  <a:gd name="T66" fmla="*/ 123 w 2237"/>
                  <a:gd name="T67" fmla="*/ 3 h 304"/>
                  <a:gd name="T68" fmla="*/ 154 w 2237"/>
                  <a:gd name="T69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37" h="304">
                    <a:moveTo>
                      <a:pt x="154" y="0"/>
                    </a:moveTo>
                    <a:lnTo>
                      <a:pt x="2082" y="0"/>
                    </a:lnTo>
                    <a:lnTo>
                      <a:pt x="2113" y="3"/>
                    </a:lnTo>
                    <a:lnTo>
                      <a:pt x="2142" y="12"/>
                    </a:lnTo>
                    <a:lnTo>
                      <a:pt x="2168" y="27"/>
                    </a:lnTo>
                    <a:lnTo>
                      <a:pt x="2191" y="45"/>
                    </a:lnTo>
                    <a:lnTo>
                      <a:pt x="2210" y="68"/>
                    </a:lnTo>
                    <a:lnTo>
                      <a:pt x="2224" y="93"/>
                    </a:lnTo>
                    <a:lnTo>
                      <a:pt x="2234" y="122"/>
                    </a:lnTo>
                    <a:lnTo>
                      <a:pt x="2237" y="153"/>
                    </a:lnTo>
                    <a:lnTo>
                      <a:pt x="2234" y="183"/>
                    </a:lnTo>
                    <a:lnTo>
                      <a:pt x="2224" y="212"/>
                    </a:lnTo>
                    <a:lnTo>
                      <a:pt x="2210" y="237"/>
                    </a:lnTo>
                    <a:lnTo>
                      <a:pt x="2191" y="260"/>
                    </a:lnTo>
                    <a:lnTo>
                      <a:pt x="2168" y="278"/>
                    </a:lnTo>
                    <a:lnTo>
                      <a:pt x="2142" y="293"/>
                    </a:lnTo>
                    <a:lnTo>
                      <a:pt x="2113" y="301"/>
                    </a:lnTo>
                    <a:lnTo>
                      <a:pt x="2082" y="304"/>
                    </a:lnTo>
                    <a:lnTo>
                      <a:pt x="154" y="304"/>
                    </a:lnTo>
                    <a:lnTo>
                      <a:pt x="123" y="301"/>
                    </a:lnTo>
                    <a:lnTo>
                      <a:pt x="93" y="293"/>
                    </a:lnTo>
                    <a:lnTo>
                      <a:pt x="68" y="278"/>
                    </a:lnTo>
                    <a:lnTo>
                      <a:pt x="45" y="260"/>
                    </a:lnTo>
                    <a:lnTo>
                      <a:pt x="26" y="237"/>
                    </a:lnTo>
                    <a:lnTo>
                      <a:pt x="11" y="212"/>
                    </a:lnTo>
                    <a:lnTo>
                      <a:pt x="3" y="183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5" y="45"/>
                    </a:lnTo>
                    <a:lnTo>
                      <a:pt x="68" y="27"/>
                    </a:lnTo>
                    <a:lnTo>
                      <a:pt x="93" y="12"/>
                    </a:lnTo>
                    <a:lnTo>
                      <a:pt x="123" y="3"/>
                    </a:lnTo>
                    <a:lnTo>
                      <a:pt x="1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76" name="Freeform 168"/>
              <p:cNvSpPr>
                <a:spLocks/>
              </p:cNvSpPr>
              <p:nvPr/>
            </p:nvSpPr>
            <p:spPr bwMode="auto">
              <a:xfrm>
                <a:off x="-1811" y="3730"/>
                <a:ext cx="46" cy="121"/>
              </a:xfrm>
              <a:custGeom>
                <a:avLst/>
                <a:gdLst>
                  <a:gd name="T0" fmla="*/ 117 w 232"/>
                  <a:gd name="T1" fmla="*/ 0 h 607"/>
                  <a:gd name="T2" fmla="*/ 143 w 232"/>
                  <a:gd name="T3" fmla="*/ 3 h 607"/>
                  <a:gd name="T4" fmla="*/ 168 w 232"/>
                  <a:gd name="T5" fmla="*/ 12 h 607"/>
                  <a:gd name="T6" fmla="*/ 190 w 232"/>
                  <a:gd name="T7" fmla="*/ 25 h 607"/>
                  <a:gd name="T8" fmla="*/ 207 w 232"/>
                  <a:gd name="T9" fmla="*/ 43 h 607"/>
                  <a:gd name="T10" fmla="*/ 221 w 232"/>
                  <a:gd name="T11" fmla="*/ 64 h 607"/>
                  <a:gd name="T12" fmla="*/ 229 w 232"/>
                  <a:gd name="T13" fmla="*/ 88 h 607"/>
                  <a:gd name="T14" fmla="*/ 232 w 232"/>
                  <a:gd name="T15" fmla="*/ 114 h 607"/>
                  <a:gd name="T16" fmla="*/ 232 w 232"/>
                  <a:gd name="T17" fmla="*/ 494 h 607"/>
                  <a:gd name="T18" fmla="*/ 229 w 232"/>
                  <a:gd name="T19" fmla="*/ 520 h 607"/>
                  <a:gd name="T20" fmla="*/ 221 w 232"/>
                  <a:gd name="T21" fmla="*/ 544 h 607"/>
                  <a:gd name="T22" fmla="*/ 207 w 232"/>
                  <a:gd name="T23" fmla="*/ 565 h 607"/>
                  <a:gd name="T24" fmla="*/ 190 w 232"/>
                  <a:gd name="T25" fmla="*/ 583 h 607"/>
                  <a:gd name="T26" fmla="*/ 168 w 232"/>
                  <a:gd name="T27" fmla="*/ 596 h 607"/>
                  <a:gd name="T28" fmla="*/ 143 w 232"/>
                  <a:gd name="T29" fmla="*/ 605 h 607"/>
                  <a:gd name="T30" fmla="*/ 117 w 232"/>
                  <a:gd name="T31" fmla="*/ 607 h 607"/>
                  <a:gd name="T32" fmla="*/ 90 w 232"/>
                  <a:gd name="T33" fmla="*/ 605 h 607"/>
                  <a:gd name="T34" fmla="*/ 66 w 232"/>
                  <a:gd name="T35" fmla="*/ 596 h 607"/>
                  <a:gd name="T36" fmla="*/ 44 w 232"/>
                  <a:gd name="T37" fmla="*/ 583 h 607"/>
                  <a:gd name="T38" fmla="*/ 26 w 232"/>
                  <a:gd name="T39" fmla="*/ 565 h 607"/>
                  <a:gd name="T40" fmla="*/ 13 w 232"/>
                  <a:gd name="T41" fmla="*/ 544 h 607"/>
                  <a:gd name="T42" fmla="*/ 4 w 232"/>
                  <a:gd name="T43" fmla="*/ 520 h 607"/>
                  <a:gd name="T44" fmla="*/ 0 w 232"/>
                  <a:gd name="T45" fmla="*/ 494 h 607"/>
                  <a:gd name="T46" fmla="*/ 0 w 232"/>
                  <a:gd name="T47" fmla="*/ 114 h 607"/>
                  <a:gd name="T48" fmla="*/ 4 w 232"/>
                  <a:gd name="T49" fmla="*/ 88 h 607"/>
                  <a:gd name="T50" fmla="*/ 13 w 232"/>
                  <a:gd name="T51" fmla="*/ 64 h 607"/>
                  <a:gd name="T52" fmla="*/ 26 w 232"/>
                  <a:gd name="T53" fmla="*/ 43 h 607"/>
                  <a:gd name="T54" fmla="*/ 44 w 232"/>
                  <a:gd name="T55" fmla="*/ 25 h 607"/>
                  <a:gd name="T56" fmla="*/ 66 w 232"/>
                  <a:gd name="T57" fmla="*/ 12 h 607"/>
                  <a:gd name="T58" fmla="*/ 90 w 232"/>
                  <a:gd name="T59" fmla="*/ 3 h 607"/>
                  <a:gd name="T60" fmla="*/ 117 w 232"/>
                  <a:gd name="T61" fmla="*/ 0 h 6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2" h="607">
                    <a:moveTo>
                      <a:pt x="117" y="0"/>
                    </a:moveTo>
                    <a:lnTo>
                      <a:pt x="143" y="3"/>
                    </a:lnTo>
                    <a:lnTo>
                      <a:pt x="168" y="12"/>
                    </a:lnTo>
                    <a:lnTo>
                      <a:pt x="190" y="25"/>
                    </a:lnTo>
                    <a:lnTo>
                      <a:pt x="207" y="43"/>
                    </a:lnTo>
                    <a:lnTo>
                      <a:pt x="221" y="64"/>
                    </a:lnTo>
                    <a:lnTo>
                      <a:pt x="229" y="88"/>
                    </a:lnTo>
                    <a:lnTo>
                      <a:pt x="232" y="114"/>
                    </a:lnTo>
                    <a:lnTo>
                      <a:pt x="232" y="494"/>
                    </a:lnTo>
                    <a:lnTo>
                      <a:pt x="229" y="520"/>
                    </a:lnTo>
                    <a:lnTo>
                      <a:pt x="221" y="544"/>
                    </a:lnTo>
                    <a:lnTo>
                      <a:pt x="207" y="565"/>
                    </a:lnTo>
                    <a:lnTo>
                      <a:pt x="190" y="583"/>
                    </a:lnTo>
                    <a:lnTo>
                      <a:pt x="168" y="596"/>
                    </a:lnTo>
                    <a:lnTo>
                      <a:pt x="143" y="605"/>
                    </a:lnTo>
                    <a:lnTo>
                      <a:pt x="117" y="607"/>
                    </a:lnTo>
                    <a:lnTo>
                      <a:pt x="90" y="605"/>
                    </a:lnTo>
                    <a:lnTo>
                      <a:pt x="66" y="596"/>
                    </a:lnTo>
                    <a:lnTo>
                      <a:pt x="44" y="583"/>
                    </a:lnTo>
                    <a:lnTo>
                      <a:pt x="26" y="565"/>
                    </a:lnTo>
                    <a:lnTo>
                      <a:pt x="13" y="544"/>
                    </a:lnTo>
                    <a:lnTo>
                      <a:pt x="4" y="520"/>
                    </a:lnTo>
                    <a:lnTo>
                      <a:pt x="0" y="494"/>
                    </a:lnTo>
                    <a:lnTo>
                      <a:pt x="0" y="114"/>
                    </a:lnTo>
                    <a:lnTo>
                      <a:pt x="4" y="88"/>
                    </a:lnTo>
                    <a:lnTo>
                      <a:pt x="13" y="64"/>
                    </a:lnTo>
                    <a:lnTo>
                      <a:pt x="26" y="43"/>
                    </a:lnTo>
                    <a:lnTo>
                      <a:pt x="44" y="25"/>
                    </a:lnTo>
                    <a:lnTo>
                      <a:pt x="66" y="12"/>
                    </a:lnTo>
                    <a:lnTo>
                      <a:pt x="90" y="3"/>
                    </a:lnTo>
                    <a:lnTo>
                      <a:pt x="11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77" name="Freeform 169"/>
              <p:cNvSpPr>
                <a:spLocks/>
              </p:cNvSpPr>
              <p:nvPr/>
            </p:nvSpPr>
            <p:spPr bwMode="auto">
              <a:xfrm>
                <a:off x="-1734" y="3699"/>
                <a:ext cx="46" cy="152"/>
              </a:xfrm>
              <a:custGeom>
                <a:avLst/>
                <a:gdLst>
                  <a:gd name="T0" fmla="*/ 116 w 232"/>
                  <a:gd name="T1" fmla="*/ 0 h 759"/>
                  <a:gd name="T2" fmla="*/ 142 w 232"/>
                  <a:gd name="T3" fmla="*/ 3 h 759"/>
                  <a:gd name="T4" fmla="*/ 167 w 232"/>
                  <a:gd name="T5" fmla="*/ 12 h 759"/>
                  <a:gd name="T6" fmla="*/ 188 w 232"/>
                  <a:gd name="T7" fmla="*/ 25 h 759"/>
                  <a:gd name="T8" fmla="*/ 207 w 232"/>
                  <a:gd name="T9" fmla="*/ 43 h 759"/>
                  <a:gd name="T10" fmla="*/ 220 w 232"/>
                  <a:gd name="T11" fmla="*/ 64 h 759"/>
                  <a:gd name="T12" fmla="*/ 229 w 232"/>
                  <a:gd name="T13" fmla="*/ 88 h 759"/>
                  <a:gd name="T14" fmla="*/ 232 w 232"/>
                  <a:gd name="T15" fmla="*/ 115 h 759"/>
                  <a:gd name="T16" fmla="*/ 232 w 232"/>
                  <a:gd name="T17" fmla="*/ 646 h 759"/>
                  <a:gd name="T18" fmla="*/ 229 w 232"/>
                  <a:gd name="T19" fmla="*/ 672 h 759"/>
                  <a:gd name="T20" fmla="*/ 220 w 232"/>
                  <a:gd name="T21" fmla="*/ 696 h 759"/>
                  <a:gd name="T22" fmla="*/ 207 w 232"/>
                  <a:gd name="T23" fmla="*/ 717 h 759"/>
                  <a:gd name="T24" fmla="*/ 188 w 232"/>
                  <a:gd name="T25" fmla="*/ 735 h 759"/>
                  <a:gd name="T26" fmla="*/ 167 w 232"/>
                  <a:gd name="T27" fmla="*/ 748 h 759"/>
                  <a:gd name="T28" fmla="*/ 142 w 232"/>
                  <a:gd name="T29" fmla="*/ 757 h 759"/>
                  <a:gd name="T30" fmla="*/ 116 w 232"/>
                  <a:gd name="T31" fmla="*/ 759 h 759"/>
                  <a:gd name="T32" fmla="*/ 89 w 232"/>
                  <a:gd name="T33" fmla="*/ 757 h 759"/>
                  <a:gd name="T34" fmla="*/ 66 w 232"/>
                  <a:gd name="T35" fmla="*/ 748 h 759"/>
                  <a:gd name="T36" fmla="*/ 44 w 232"/>
                  <a:gd name="T37" fmla="*/ 735 h 759"/>
                  <a:gd name="T38" fmla="*/ 26 w 232"/>
                  <a:gd name="T39" fmla="*/ 717 h 759"/>
                  <a:gd name="T40" fmla="*/ 13 w 232"/>
                  <a:gd name="T41" fmla="*/ 696 h 759"/>
                  <a:gd name="T42" fmla="*/ 3 w 232"/>
                  <a:gd name="T43" fmla="*/ 672 h 759"/>
                  <a:gd name="T44" fmla="*/ 0 w 232"/>
                  <a:gd name="T45" fmla="*/ 646 h 759"/>
                  <a:gd name="T46" fmla="*/ 0 w 232"/>
                  <a:gd name="T47" fmla="*/ 115 h 759"/>
                  <a:gd name="T48" fmla="*/ 3 w 232"/>
                  <a:gd name="T49" fmla="*/ 88 h 759"/>
                  <a:gd name="T50" fmla="*/ 13 w 232"/>
                  <a:gd name="T51" fmla="*/ 64 h 759"/>
                  <a:gd name="T52" fmla="*/ 26 w 232"/>
                  <a:gd name="T53" fmla="*/ 43 h 759"/>
                  <a:gd name="T54" fmla="*/ 44 w 232"/>
                  <a:gd name="T55" fmla="*/ 25 h 759"/>
                  <a:gd name="T56" fmla="*/ 66 w 232"/>
                  <a:gd name="T57" fmla="*/ 12 h 759"/>
                  <a:gd name="T58" fmla="*/ 89 w 232"/>
                  <a:gd name="T59" fmla="*/ 3 h 759"/>
                  <a:gd name="T60" fmla="*/ 116 w 232"/>
                  <a:gd name="T61" fmla="*/ 0 h 7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2" h="759">
                    <a:moveTo>
                      <a:pt x="116" y="0"/>
                    </a:moveTo>
                    <a:lnTo>
                      <a:pt x="142" y="3"/>
                    </a:lnTo>
                    <a:lnTo>
                      <a:pt x="167" y="12"/>
                    </a:lnTo>
                    <a:lnTo>
                      <a:pt x="188" y="25"/>
                    </a:lnTo>
                    <a:lnTo>
                      <a:pt x="207" y="43"/>
                    </a:lnTo>
                    <a:lnTo>
                      <a:pt x="220" y="64"/>
                    </a:lnTo>
                    <a:lnTo>
                      <a:pt x="229" y="88"/>
                    </a:lnTo>
                    <a:lnTo>
                      <a:pt x="232" y="115"/>
                    </a:lnTo>
                    <a:lnTo>
                      <a:pt x="232" y="646"/>
                    </a:lnTo>
                    <a:lnTo>
                      <a:pt x="229" y="672"/>
                    </a:lnTo>
                    <a:lnTo>
                      <a:pt x="220" y="696"/>
                    </a:lnTo>
                    <a:lnTo>
                      <a:pt x="207" y="717"/>
                    </a:lnTo>
                    <a:lnTo>
                      <a:pt x="188" y="735"/>
                    </a:lnTo>
                    <a:lnTo>
                      <a:pt x="167" y="748"/>
                    </a:lnTo>
                    <a:lnTo>
                      <a:pt x="142" y="757"/>
                    </a:lnTo>
                    <a:lnTo>
                      <a:pt x="116" y="759"/>
                    </a:lnTo>
                    <a:lnTo>
                      <a:pt x="89" y="757"/>
                    </a:lnTo>
                    <a:lnTo>
                      <a:pt x="66" y="748"/>
                    </a:lnTo>
                    <a:lnTo>
                      <a:pt x="44" y="735"/>
                    </a:lnTo>
                    <a:lnTo>
                      <a:pt x="26" y="717"/>
                    </a:lnTo>
                    <a:lnTo>
                      <a:pt x="13" y="696"/>
                    </a:lnTo>
                    <a:lnTo>
                      <a:pt x="3" y="672"/>
                    </a:lnTo>
                    <a:lnTo>
                      <a:pt x="0" y="646"/>
                    </a:lnTo>
                    <a:lnTo>
                      <a:pt x="0" y="115"/>
                    </a:lnTo>
                    <a:lnTo>
                      <a:pt x="3" y="88"/>
                    </a:lnTo>
                    <a:lnTo>
                      <a:pt x="13" y="64"/>
                    </a:lnTo>
                    <a:lnTo>
                      <a:pt x="26" y="43"/>
                    </a:lnTo>
                    <a:lnTo>
                      <a:pt x="44" y="25"/>
                    </a:lnTo>
                    <a:lnTo>
                      <a:pt x="66" y="12"/>
                    </a:lnTo>
                    <a:lnTo>
                      <a:pt x="89" y="3"/>
                    </a:lnTo>
                    <a:lnTo>
                      <a:pt x="11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78" name="Freeform 170"/>
              <p:cNvSpPr>
                <a:spLocks/>
              </p:cNvSpPr>
              <p:nvPr/>
            </p:nvSpPr>
            <p:spPr bwMode="auto">
              <a:xfrm>
                <a:off x="-1657" y="3669"/>
                <a:ext cx="46" cy="182"/>
              </a:xfrm>
              <a:custGeom>
                <a:avLst/>
                <a:gdLst>
                  <a:gd name="T0" fmla="*/ 115 w 230"/>
                  <a:gd name="T1" fmla="*/ 0 h 911"/>
                  <a:gd name="T2" fmla="*/ 141 w 230"/>
                  <a:gd name="T3" fmla="*/ 3 h 911"/>
                  <a:gd name="T4" fmla="*/ 166 w 230"/>
                  <a:gd name="T5" fmla="*/ 12 h 911"/>
                  <a:gd name="T6" fmla="*/ 187 w 230"/>
                  <a:gd name="T7" fmla="*/ 25 h 911"/>
                  <a:gd name="T8" fmla="*/ 206 w 230"/>
                  <a:gd name="T9" fmla="*/ 43 h 911"/>
                  <a:gd name="T10" fmla="*/ 219 w 230"/>
                  <a:gd name="T11" fmla="*/ 64 h 911"/>
                  <a:gd name="T12" fmla="*/ 227 w 230"/>
                  <a:gd name="T13" fmla="*/ 88 h 911"/>
                  <a:gd name="T14" fmla="*/ 230 w 230"/>
                  <a:gd name="T15" fmla="*/ 114 h 911"/>
                  <a:gd name="T16" fmla="*/ 230 w 230"/>
                  <a:gd name="T17" fmla="*/ 798 h 911"/>
                  <a:gd name="T18" fmla="*/ 227 w 230"/>
                  <a:gd name="T19" fmla="*/ 824 h 911"/>
                  <a:gd name="T20" fmla="*/ 219 w 230"/>
                  <a:gd name="T21" fmla="*/ 848 h 911"/>
                  <a:gd name="T22" fmla="*/ 206 w 230"/>
                  <a:gd name="T23" fmla="*/ 869 h 911"/>
                  <a:gd name="T24" fmla="*/ 187 w 230"/>
                  <a:gd name="T25" fmla="*/ 887 h 911"/>
                  <a:gd name="T26" fmla="*/ 166 w 230"/>
                  <a:gd name="T27" fmla="*/ 900 h 911"/>
                  <a:gd name="T28" fmla="*/ 141 w 230"/>
                  <a:gd name="T29" fmla="*/ 909 h 911"/>
                  <a:gd name="T30" fmla="*/ 115 w 230"/>
                  <a:gd name="T31" fmla="*/ 911 h 911"/>
                  <a:gd name="T32" fmla="*/ 88 w 230"/>
                  <a:gd name="T33" fmla="*/ 909 h 911"/>
                  <a:gd name="T34" fmla="*/ 64 w 230"/>
                  <a:gd name="T35" fmla="*/ 900 h 911"/>
                  <a:gd name="T36" fmla="*/ 42 w 230"/>
                  <a:gd name="T37" fmla="*/ 887 h 911"/>
                  <a:gd name="T38" fmla="*/ 25 w 230"/>
                  <a:gd name="T39" fmla="*/ 869 h 911"/>
                  <a:gd name="T40" fmla="*/ 11 w 230"/>
                  <a:gd name="T41" fmla="*/ 848 h 911"/>
                  <a:gd name="T42" fmla="*/ 3 w 230"/>
                  <a:gd name="T43" fmla="*/ 824 h 911"/>
                  <a:gd name="T44" fmla="*/ 0 w 230"/>
                  <a:gd name="T45" fmla="*/ 798 h 911"/>
                  <a:gd name="T46" fmla="*/ 0 w 230"/>
                  <a:gd name="T47" fmla="*/ 114 h 911"/>
                  <a:gd name="T48" fmla="*/ 3 w 230"/>
                  <a:gd name="T49" fmla="*/ 88 h 911"/>
                  <a:gd name="T50" fmla="*/ 11 w 230"/>
                  <a:gd name="T51" fmla="*/ 64 h 911"/>
                  <a:gd name="T52" fmla="*/ 25 w 230"/>
                  <a:gd name="T53" fmla="*/ 43 h 911"/>
                  <a:gd name="T54" fmla="*/ 42 w 230"/>
                  <a:gd name="T55" fmla="*/ 25 h 911"/>
                  <a:gd name="T56" fmla="*/ 64 w 230"/>
                  <a:gd name="T57" fmla="*/ 12 h 911"/>
                  <a:gd name="T58" fmla="*/ 88 w 230"/>
                  <a:gd name="T59" fmla="*/ 3 h 911"/>
                  <a:gd name="T60" fmla="*/ 115 w 230"/>
                  <a:gd name="T61" fmla="*/ 0 h 9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0" h="911">
                    <a:moveTo>
                      <a:pt x="115" y="0"/>
                    </a:moveTo>
                    <a:lnTo>
                      <a:pt x="141" y="3"/>
                    </a:lnTo>
                    <a:lnTo>
                      <a:pt x="166" y="12"/>
                    </a:lnTo>
                    <a:lnTo>
                      <a:pt x="187" y="25"/>
                    </a:lnTo>
                    <a:lnTo>
                      <a:pt x="206" y="43"/>
                    </a:lnTo>
                    <a:lnTo>
                      <a:pt x="219" y="64"/>
                    </a:lnTo>
                    <a:lnTo>
                      <a:pt x="227" y="88"/>
                    </a:lnTo>
                    <a:lnTo>
                      <a:pt x="230" y="114"/>
                    </a:lnTo>
                    <a:lnTo>
                      <a:pt x="230" y="798"/>
                    </a:lnTo>
                    <a:lnTo>
                      <a:pt x="227" y="824"/>
                    </a:lnTo>
                    <a:lnTo>
                      <a:pt x="219" y="848"/>
                    </a:lnTo>
                    <a:lnTo>
                      <a:pt x="206" y="869"/>
                    </a:lnTo>
                    <a:lnTo>
                      <a:pt x="187" y="887"/>
                    </a:lnTo>
                    <a:lnTo>
                      <a:pt x="166" y="900"/>
                    </a:lnTo>
                    <a:lnTo>
                      <a:pt x="141" y="909"/>
                    </a:lnTo>
                    <a:lnTo>
                      <a:pt x="115" y="911"/>
                    </a:lnTo>
                    <a:lnTo>
                      <a:pt x="88" y="909"/>
                    </a:lnTo>
                    <a:lnTo>
                      <a:pt x="64" y="900"/>
                    </a:lnTo>
                    <a:lnTo>
                      <a:pt x="42" y="887"/>
                    </a:lnTo>
                    <a:lnTo>
                      <a:pt x="25" y="869"/>
                    </a:lnTo>
                    <a:lnTo>
                      <a:pt x="11" y="848"/>
                    </a:lnTo>
                    <a:lnTo>
                      <a:pt x="3" y="824"/>
                    </a:lnTo>
                    <a:lnTo>
                      <a:pt x="0" y="798"/>
                    </a:lnTo>
                    <a:lnTo>
                      <a:pt x="0" y="114"/>
                    </a:lnTo>
                    <a:lnTo>
                      <a:pt x="3" y="88"/>
                    </a:lnTo>
                    <a:lnTo>
                      <a:pt x="11" y="64"/>
                    </a:lnTo>
                    <a:lnTo>
                      <a:pt x="25" y="43"/>
                    </a:lnTo>
                    <a:lnTo>
                      <a:pt x="42" y="25"/>
                    </a:lnTo>
                    <a:lnTo>
                      <a:pt x="64" y="12"/>
                    </a:lnTo>
                    <a:lnTo>
                      <a:pt x="88" y="3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79" name="Freeform 171"/>
              <p:cNvSpPr>
                <a:spLocks/>
              </p:cNvSpPr>
              <p:nvPr/>
            </p:nvSpPr>
            <p:spPr bwMode="auto">
              <a:xfrm>
                <a:off x="-1919" y="3510"/>
                <a:ext cx="679" cy="440"/>
              </a:xfrm>
              <a:custGeom>
                <a:avLst/>
                <a:gdLst>
                  <a:gd name="T0" fmla="*/ 3240 w 3394"/>
                  <a:gd name="T1" fmla="*/ 0 h 2203"/>
                  <a:gd name="T2" fmla="*/ 3300 w 3394"/>
                  <a:gd name="T3" fmla="*/ 11 h 2203"/>
                  <a:gd name="T4" fmla="*/ 3349 w 3394"/>
                  <a:gd name="T5" fmla="*/ 44 h 2203"/>
                  <a:gd name="T6" fmla="*/ 3382 w 3394"/>
                  <a:gd name="T7" fmla="*/ 92 h 2203"/>
                  <a:gd name="T8" fmla="*/ 3394 w 3394"/>
                  <a:gd name="T9" fmla="*/ 152 h 2203"/>
                  <a:gd name="T10" fmla="*/ 3187 w 3394"/>
                  <a:gd name="T11" fmla="*/ 1669 h 2203"/>
                  <a:gd name="T12" fmla="*/ 3245 w 3394"/>
                  <a:gd name="T13" fmla="*/ 1543 h 2203"/>
                  <a:gd name="T14" fmla="*/ 3281 w 3394"/>
                  <a:gd name="T15" fmla="*/ 1409 h 2203"/>
                  <a:gd name="T16" fmla="*/ 3294 w 3394"/>
                  <a:gd name="T17" fmla="*/ 1271 h 2203"/>
                  <a:gd name="T18" fmla="*/ 3282 w 3394"/>
                  <a:gd name="T19" fmla="*/ 1139 h 2203"/>
                  <a:gd name="T20" fmla="*/ 3251 w 3394"/>
                  <a:gd name="T21" fmla="*/ 1012 h 2203"/>
                  <a:gd name="T22" fmla="*/ 3199 w 3394"/>
                  <a:gd name="T23" fmla="*/ 894 h 2203"/>
                  <a:gd name="T24" fmla="*/ 3128 w 3394"/>
                  <a:gd name="T25" fmla="*/ 783 h 2203"/>
                  <a:gd name="T26" fmla="*/ 3085 w 3394"/>
                  <a:gd name="T27" fmla="*/ 304 h 2203"/>
                  <a:gd name="T28" fmla="*/ 309 w 3394"/>
                  <a:gd name="T29" fmla="*/ 1899 h 2203"/>
                  <a:gd name="T30" fmla="*/ 1989 w 3394"/>
                  <a:gd name="T31" fmla="*/ 1937 h 2203"/>
                  <a:gd name="T32" fmla="*/ 2097 w 3394"/>
                  <a:gd name="T33" fmla="*/ 2001 h 2203"/>
                  <a:gd name="T34" fmla="*/ 2214 w 3394"/>
                  <a:gd name="T35" fmla="*/ 2048 h 2203"/>
                  <a:gd name="T36" fmla="*/ 2338 w 3394"/>
                  <a:gd name="T37" fmla="*/ 2077 h 2203"/>
                  <a:gd name="T38" fmla="*/ 2465 w 3394"/>
                  <a:gd name="T39" fmla="*/ 2086 h 2203"/>
                  <a:gd name="T40" fmla="*/ 2607 w 3394"/>
                  <a:gd name="T41" fmla="*/ 2074 h 2203"/>
                  <a:gd name="T42" fmla="*/ 2743 w 3394"/>
                  <a:gd name="T43" fmla="*/ 2039 h 2203"/>
                  <a:gd name="T44" fmla="*/ 2871 w 3394"/>
                  <a:gd name="T45" fmla="*/ 1980 h 2203"/>
                  <a:gd name="T46" fmla="*/ 3089 w 3394"/>
                  <a:gd name="T47" fmla="*/ 2195 h 2203"/>
                  <a:gd name="T48" fmla="*/ 3098 w 3394"/>
                  <a:gd name="T49" fmla="*/ 2203 h 2203"/>
                  <a:gd name="T50" fmla="*/ 124 w 3394"/>
                  <a:gd name="T51" fmla="*/ 2199 h 2203"/>
                  <a:gd name="T52" fmla="*/ 69 w 3394"/>
                  <a:gd name="T53" fmla="*/ 2177 h 2203"/>
                  <a:gd name="T54" fmla="*/ 26 w 3394"/>
                  <a:gd name="T55" fmla="*/ 2135 h 2203"/>
                  <a:gd name="T56" fmla="*/ 3 w 3394"/>
                  <a:gd name="T57" fmla="*/ 2081 h 2203"/>
                  <a:gd name="T58" fmla="*/ 0 w 3394"/>
                  <a:gd name="T59" fmla="*/ 152 h 2203"/>
                  <a:gd name="T60" fmla="*/ 12 w 3394"/>
                  <a:gd name="T61" fmla="*/ 93 h 2203"/>
                  <a:gd name="T62" fmla="*/ 46 w 3394"/>
                  <a:gd name="T63" fmla="*/ 44 h 2203"/>
                  <a:gd name="T64" fmla="*/ 95 w 3394"/>
                  <a:gd name="T65" fmla="*/ 11 h 2203"/>
                  <a:gd name="T66" fmla="*/ 155 w 3394"/>
                  <a:gd name="T67" fmla="*/ 0 h 2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394" h="2203">
                    <a:moveTo>
                      <a:pt x="155" y="0"/>
                    </a:moveTo>
                    <a:lnTo>
                      <a:pt x="3240" y="0"/>
                    </a:lnTo>
                    <a:lnTo>
                      <a:pt x="3271" y="3"/>
                    </a:lnTo>
                    <a:lnTo>
                      <a:pt x="3300" y="11"/>
                    </a:lnTo>
                    <a:lnTo>
                      <a:pt x="3326" y="26"/>
                    </a:lnTo>
                    <a:lnTo>
                      <a:pt x="3349" y="44"/>
                    </a:lnTo>
                    <a:lnTo>
                      <a:pt x="3368" y="67"/>
                    </a:lnTo>
                    <a:lnTo>
                      <a:pt x="3382" y="92"/>
                    </a:lnTo>
                    <a:lnTo>
                      <a:pt x="3391" y="121"/>
                    </a:lnTo>
                    <a:lnTo>
                      <a:pt x="3394" y="152"/>
                    </a:lnTo>
                    <a:lnTo>
                      <a:pt x="3394" y="1874"/>
                    </a:lnTo>
                    <a:lnTo>
                      <a:pt x="3187" y="1669"/>
                    </a:lnTo>
                    <a:lnTo>
                      <a:pt x="3219" y="1608"/>
                    </a:lnTo>
                    <a:lnTo>
                      <a:pt x="3245" y="1543"/>
                    </a:lnTo>
                    <a:lnTo>
                      <a:pt x="3266" y="1478"/>
                    </a:lnTo>
                    <a:lnTo>
                      <a:pt x="3281" y="1409"/>
                    </a:lnTo>
                    <a:lnTo>
                      <a:pt x="3291" y="1341"/>
                    </a:lnTo>
                    <a:lnTo>
                      <a:pt x="3294" y="1271"/>
                    </a:lnTo>
                    <a:lnTo>
                      <a:pt x="3291" y="1205"/>
                    </a:lnTo>
                    <a:lnTo>
                      <a:pt x="3282" y="1139"/>
                    </a:lnTo>
                    <a:lnTo>
                      <a:pt x="3269" y="1075"/>
                    </a:lnTo>
                    <a:lnTo>
                      <a:pt x="3251" y="1012"/>
                    </a:lnTo>
                    <a:lnTo>
                      <a:pt x="3227" y="952"/>
                    </a:lnTo>
                    <a:lnTo>
                      <a:pt x="3199" y="894"/>
                    </a:lnTo>
                    <a:lnTo>
                      <a:pt x="3166" y="836"/>
                    </a:lnTo>
                    <a:lnTo>
                      <a:pt x="3128" y="783"/>
                    </a:lnTo>
                    <a:lnTo>
                      <a:pt x="3085" y="732"/>
                    </a:lnTo>
                    <a:lnTo>
                      <a:pt x="3085" y="304"/>
                    </a:lnTo>
                    <a:lnTo>
                      <a:pt x="309" y="304"/>
                    </a:lnTo>
                    <a:lnTo>
                      <a:pt x="309" y="1899"/>
                    </a:lnTo>
                    <a:lnTo>
                      <a:pt x="1938" y="1899"/>
                    </a:lnTo>
                    <a:lnTo>
                      <a:pt x="1989" y="1937"/>
                    </a:lnTo>
                    <a:lnTo>
                      <a:pt x="2042" y="1971"/>
                    </a:lnTo>
                    <a:lnTo>
                      <a:pt x="2097" y="2001"/>
                    </a:lnTo>
                    <a:lnTo>
                      <a:pt x="2155" y="2027"/>
                    </a:lnTo>
                    <a:lnTo>
                      <a:pt x="2214" y="2048"/>
                    </a:lnTo>
                    <a:lnTo>
                      <a:pt x="2275" y="2064"/>
                    </a:lnTo>
                    <a:lnTo>
                      <a:pt x="2338" y="2077"/>
                    </a:lnTo>
                    <a:lnTo>
                      <a:pt x="2401" y="2084"/>
                    </a:lnTo>
                    <a:lnTo>
                      <a:pt x="2465" y="2086"/>
                    </a:lnTo>
                    <a:lnTo>
                      <a:pt x="2537" y="2083"/>
                    </a:lnTo>
                    <a:lnTo>
                      <a:pt x="2607" y="2074"/>
                    </a:lnTo>
                    <a:lnTo>
                      <a:pt x="2675" y="2059"/>
                    </a:lnTo>
                    <a:lnTo>
                      <a:pt x="2743" y="2039"/>
                    </a:lnTo>
                    <a:lnTo>
                      <a:pt x="2808" y="2012"/>
                    </a:lnTo>
                    <a:lnTo>
                      <a:pt x="2871" y="1980"/>
                    </a:lnTo>
                    <a:lnTo>
                      <a:pt x="3085" y="2191"/>
                    </a:lnTo>
                    <a:lnTo>
                      <a:pt x="3089" y="2195"/>
                    </a:lnTo>
                    <a:lnTo>
                      <a:pt x="3094" y="2198"/>
                    </a:lnTo>
                    <a:lnTo>
                      <a:pt x="3098" y="2203"/>
                    </a:lnTo>
                    <a:lnTo>
                      <a:pt x="155" y="2203"/>
                    </a:lnTo>
                    <a:lnTo>
                      <a:pt x="124" y="2199"/>
                    </a:lnTo>
                    <a:lnTo>
                      <a:pt x="95" y="2190"/>
                    </a:lnTo>
                    <a:lnTo>
                      <a:pt x="69" y="2177"/>
                    </a:lnTo>
                    <a:lnTo>
                      <a:pt x="46" y="2158"/>
                    </a:lnTo>
                    <a:lnTo>
                      <a:pt x="26" y="2135"/>
                    </a:lnTo>
                    <a:lnTo>
                      <a:pt x="12" y="2109"/>
                    </a:lnTo>
                    <a:lnTo>
                      <a:pt x="3" y="2081"/>
                    </a:lnTo>
                    <a:lnTo>
                      <a:pt x="0" y="2051"/>
                    </a:lnTo>
                    <a:lnTo>
                      <a:pt x="0" y="152"/>
                    </a:lnTo>
                    <a:lnTo>
                      <a:pt x="3" y="121"/>
                    </a:lnTo>
                    <a:lnTo>
                      <a:pt x="12" y="93"/>
                    </a:lnTo>
                    <a:lnTo>
                      <a:pt x="26" y="67"/>
                    </a:lnTo>
                    <a:lnTo>
                      <a:pt x="46" y="44"/>
                    </a:lnTo>
                    <a:lnTo>
                      <a:pt x="69" y="26"/>
                    </a:lnTo>
                    <a:lnTo>
                      <a:pt x="95" y="11"/>
                    </a:lnTo>
                    <a:lnTo>
                      <a:pt x="124" y="3"/>
                    </a:lnTo>
                    <a:lnTo>
                      <a:pt x="1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80" name="Freeform 172"/>
              <p:cNvSpPr>
                <a:spLocks noEditPoints="1"/>
              </p:cNvSpPr>
              <p:nvPr/>
            </p:nvSpPr>
            <p:spPr bwMode="auto">
              <a:xfrm>
                <a:off x="-1561" y="3631"/>
                <a:ext cx="304" cy="299"/>
              </a:xfrm>
              <a:custGeom>
                <a:avLst/>
                <a:gdLst>
                  <a:gd name="T0" fmla="*/ 568 w 1520"/>
                  <a:gd name="T1" fmla="*/ 146 h 1495"/>
                  <a:gd name="T2" fmla="*/ 422 w 1520"/>
                  <a:gd name="T3" fmla="*/ 198 h 1495"/>
                  <a:gd name="T4" fmla="*/ 295 w 1520"/>
                  <a:gd name="T5" fmla="*/ 291 h 1495"/>
                  <a:gd name="T6" fmla="*/ 202 w 1520"/>
                  <a:gd name="T7" fmla="*/ 415 h 1495"/>
                  <a:gd name="T8" fmla="*/ 149 w 1520"/>
                  <a:gd name="T9" fmla="*/ 560 h 1495"/>
                  <a:gd name="T10" fmla="*/ 141 w 1520"/>
                  <a:gd name="T11" fmla="*/ 715 h 1495"/>
                  <a:gd name="T12" fmla="*/ 179 w 1520"/>
                  <a:gd name="T13" fmla="*/ 865 h 1495"/>
                  <a:gd name="T14" fmla="*/ 260 w 1520"/>
                  <a:gd name="T15" fmla="*/ 997 h 1495"/>
                  <a:gd name="T16" fmla="*/ 377 w 1520"/>
                  <a:gd name="T17" fmla="*/ 1101 h 1495"/>
                  <a:gd name="T18" fmla="*/ 518 w 1520"/>
                  <a:gd name="T19" fmla="*/ 1168 h 1495"/>
                  <a:gd name="T20" fmla="*/ 673 w 1520"/>
                  <a:gd name="T21" fmla="*/ 1190 h 1495"/>
                  <a:gd name="T22" fmla="*/ 829 w 1520"/>
                  <a:gd name="T23" fmla="*/ 1168 h 1495"/>
                  <a:gd name="T24" fmla="*/ 971 w 1520"/>
                  <a:gd name="T25" fmla="*/ 1101 h 1495"/>
                  <a:gd name="T26" fmla="*/ 1088 w 1520"/>
                  <a:gd name="T27" fmla="*/ 997 h 1495"/>
                  <a:gd name="T28" fmla="*/ 1168 w 1520"/>
                  <a:gd name="T29" fmla="*/ 865 h 1495"/>
                  <a:gd name="T30" fmla="*/ 1207 w 1520"/>
                  <a:gd name="T31" fmla="*/ 715 h 1495"/>
                  <a:gd name="T32" fmla="*/ 1198 w 1520"/>
                  <a:gd name="T33" fmla="*/ 560 h 1495"/>
                  <a:gd name="T34" fmla="*/ 1146 w 1520"/>
                  <a:gd name="T35" fmla="*/ 415 h 1495"/>
                  <a:gd name="T36" fmla="*/ 1053 w 1520"/>
                  <a:gd name="T37" fmla="*/ 291 h 1495"/>
                  <a:gd name="T38" fmla="*/ 926 w 1520"/>
                  <a:gd name="T39" fmla="*/ 198 h 1495"/>
                  <a:gd name="T40" fmla="*/ 779 w 1520"/>
                  <a:gd name="T41" fmla="*/ 146 h 1495"/>
                  <a:gd name="T42" fmla="*/ 673 w 1520"/>
                  <a:gd name="T43" fmla="*/ 0 h 1495"/>
                  <a:gd name="T44" fmla="*/ 849 w 1520"/>
                  <a:gd name="T45" fmla="*/ 23 h 1495"/>
                  <a:gd name="T46" fmla="*/ 1010 w 1520"/>
                  <a:gd name="T47" fmla="*/ 88 h 1495"/>
                  <a:gd name="T48" fmla="*/ 1151 w 1520"/>
                  <a:gd name="T49" fmla="*/ 195 h 1495"/>
                  <a:gd name="T50" fmla="*/ 1258 w 1520"/>
                  <a:gd name="T51" fmla="*/ 332 h 1495"/>
                  <a:gd name="T52" fmla="*/ 1324 w 1520"/>
                  <a:gd name="T53" fmla="*/ 490 h 1495"/>
                  <a:gd name="T54" fmla="*/ 1347 w 1520"/>
                  <a:gd name="T55" fmla="*/ 663 h 1495"/>
                  <a:gd name="T56" fmla="*/ 1322 w 1520"/>
                  <a:gd name="T57" fmla="*/ 841 h 1495"/>
                  <a:gd name="T58" fmla="*/ 1251 w 1520"/>
                  <a:gd name="T59" fmla="*/ 1004 h 1495"/>
                  <a:gd name="T60" fmla="*/ 1211 w 1520"/>
                  <a:gd name="T61" fmla="*/ 1132 h 1495"/>
                  <a:gd name="T62" fmla="*/ 1256 w 1520"/>
                  <a:gd name="T63" fmla="*/ 1142 h 1495"/>
                  <a:gd name="T64" fmla="*/ 1511 w 1520"/>
                  <a:gd name="T65" fmla="*/ 1395 h 1495"/>
                  <a:gd name="T66" fmla="*/ 1517 w 1520"/>
                  <a:gd name="T67" fmla="*/ 1445 h 1495"/>
                  <a:gd name="T68" fmla="*/ 1485 w 1520"/>
                  <a:gd name="T69" fmla="*/ 1487 h 1495"/>
                  <a:gd name="T70" fmla="*/ 1433 w 1520"/>
                  <a:gd name="T71" fmla="*/ 1493 h 1495"/>
                  <a:gd name="T72" fmla="*/ 1170 w 1520"/>
                  <a:gd name="T73" fmla="*/ 1248 h 1495"/>
                  <a:gd name="T74" fmla="*/ 1151 w 1520"/>
                  <a:gd name="T75" fmla="*/ 1208 h 1495"/>
                  <a:gd name="T76" fmla="*/ 1070 w 1520"/>
                  <a:gd name="T77" fmla="*/ 1198 h 1495"/>
                  <a:gd name="T78" fmla="*/ 911 w 1520"/>
                  <a:gd name="T79" fmla="*/ 1283 h 1495"/>
                  <a:gd name="T80" fmla="*/ 735 w 1520"/>
                  <a:gd name="T81" fmla="*/ 1323 h 1495"/>
                  <a:gd name="T82" fmla="*/ 556 w 1520"/>
                  <a:gd name="T83" fmla="*/ 1316 h 1495"/>
                  <a:gd name="T84" fmla="*/ 390 w 1520"/>
                  <a:gd name="T85" fmla="*/ 1264 h 1495"/>
                  <a:gd name="T86" fmla="*/ 242 w 1520"/>
                  <a:gd name="T87" fmla="*/ 1172 h 1495"/>
                  <a:gd name="T88" fmla="*/ 122 w 1520"/>
                  <a:gd name="T89" fmla="*/ 1043 h 1495"/>
                  <a:gd name="T90" fmla="*/ 40 w 1520"/>
                  <a:gd name="T91" fmla="*/ 890 h 1495"/>
                  <a:gd name="T92" fmla="*/ 3 w 1520"/>
                  <a:gd name="T93" fmla="*/ 722 h 1495"/>
                  <a:gd name="T94" fmla="*/ 10 w 1520"/>
                  <a:gd name="T95" fmla="*/ 547 h 1495"/>
                  <a:gd name="T96" fmla="*/ 63 w 1520"/>
                  <a:gd name="T97" fmla="*/ 383 h 1495"/>
                  <a:gd name="T98" fmla="*/ 157 w 1520"/>
                  <a:gd name="T99" fmla="*/ 238 h 1495"/>
                  <a:gd name="T100" fmla="*/ 288 w 1520"/>
                  <a:gd name="T101" fmla="*/ 119 h 1495"/>
                  <a:gd name="T102" fmla="*/ 443 w 1520"/>
                  <a:gd name="T103" fmla="*/ 40 h 1495"/>
                  <a:gd name="T104" fmla="*/ 614 w 1520"/>
                  <a:gd name="T105" fmla="*/ 2 h 1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20" h="1495">
                    <a:moveTo>
                      <a:pt x="673" y="136"/>
                    </a:moveTo>
                    <a:lnTo>
                      <a:pt x="620" y="138"/>
                    </a:lnTo>
                    <a:lnTo>
                      <a:pt x="568" y="146"/>
                    </a:lnTo>
                    <a:lnTo>
                      <a:pt x="518" y="159"/>
                    </a:lnTo>
                    <a:lnTo>
                      <a:pt x="469" y="176"/>
                    </a:lnTo>
                    <a:lnTo>
                      <a:pt x="422" y="198"/>
                    </a:lnTo>
                    <a:lnTo>
                      <a:pt x="377" y="224"/>
                    </a:lnTo>
                    <a:lnTo>
                      <a:pt x="335" y="255"/>
                    </a:lnTo>
                    <a:lnTo>
                      <a:pt x="295" y="291"/>
                    </a:lnTo>
                    <a:lnTo>
                      <a:pt x="260" y="330"/>
                    </a:lnTo>
                    <a:lnTo>
                      <a:pt x="229" y="371"/>
                    </a:lnTo>
                    <a:lnTo>
                      <a:pt x="202" y="415"/>
                    </a:lnTo>
                    <a:lnTo>
                      <a:pt x="179" y="462"/>
                    </a:lnTo>
                    <a:lnTo>
                      <a:pt x="161" y="510"/>
                    </a:lnTo>
                    <a:lnTo>
                      <a:pt x="149" y="560"/>
                    </a:lnTo>
                    <a:lnTo>
                      <a:pt x="141" y="611"/>
                    </a:lnTo>
                    <a:lnTo>
                      <a:pt x="138" y="663"/>
                    </a:lnTo>
                    <a:lnTo>
                      <a:pt x="141" y="715"/>
                    </a:lnTo>
                    <a:lnTo>
                      <a:pt x="149" y="767"/>
                    </a:lnTo>
                    <a:lnTo>
                      <a:pt x="161" y="817"/>
                    </a:lnTo>
                    <a:lnTo>
                      <a:pt x="179" y="865"/>
                    </a:lnTo>
                    <a:lnTo>
                      <a:pt x="202" y="911"/>
                    </a:lnTo>
                    <a:lnTo>
                      <a:pt x="229" y="955"/>
                    </a:lnTo>
                    <a:lnTo>
                      <a:pt x="260" y="997"/>
                    </a:lnTo>
                    <a:lnTo>
                      <a:pt x="295" y="1036"/>
                    </a:lnTo>
                    <a:lnTo>
                      <a:pt x="335" y="1071"/>
                    </a:lnTo>
                    <a:lnTo>
                      <a:pt x="377" y="1101"/>
                    </a:lnTo>
                    <a:lnTo>
                      <a:pt x="422" y="1128"/>
                    </a:lnTo>
                    <a:lnTo>
                      <a:pt x="469" y="1150"/>
                    </a:lnTo>
                    <a:lnTo>
                      <a:pt x="518" y="1168"/>
                    </a:lnTo>
                    <a:lnTo>
                      <a:pt x="568" y="1180"/>
                    </a:lnTo>
                    <a:lnTo>
                      <a:pt x="620" y="1187"/>
                    </a:lnTo>
                    <a:lnTo>
                      <a:pt x="673" y="1190"/>
                    </a:lnTo>
                    <a:lnTo>
                      <a:pt x="726" y="1187"/>
                    </a:lnTo>
                    <a:lnTo>
                      <a:pt x="779" y="1180"/>
                    </a:lnTo>
                    <a:lnTo>
                      <a:pt x="829" y="1168"/>
                    </a:lnTo>
                    <a:lnTo>
                      <a:pt x="879" y="1150"/>
                    </a:lnTo>
                    <a:lnTo>
                      <a:pt x="926" y="1128"/>
                    </a:lnTo>
                    <a:lnTo>
                      <a:pt x="971" y="1101"/>
                    </a:lnTo>
                    <a:lnTo>
                      <a:pt x="1013" y="1071"/>
                    </a:lnTo>
                    <a:lnTo>
                      <a:pt x="1053" y="1036"/>
                    </a:lnTo>
                    <a:lnTo>
                      <a:pt x="1088" y="997"/>
                    </a:lnTo>
                    <a:lnTo>
                      <a:pt x="1119" y="955"/>
                    </a:lnTo>
                    <a:lnTo>
                      <a:pt x="1146" y="911"/>
                    </a:lnTo>
                    <a:lnTo>
                      <a:pt x="1168" y="865"/>
                    </a:lnTo>
                    <a:lnTo>
                      <a:pt x="1186" y="817"/>
                    </a:lnTo>
                    <a:lnTo>
                      <a:pt x="1198" y="767"/>
                    </a:lnTo>
                    <a:lnTo>
                      <a:pt x="1207" y="715"/>
                    </a:lnTo>
                    <a:lnTo>
                      <a:pt x="1209" y="663"/>
                    </a:lnTo>
                    <a:lnTo>
                      <a:pt x="1207" y="611"/>
                    </a:lnTo>
                    <a:lnTo>
                      <a:pt x="1198" y="560"/>
                    </a:lnTo>
                    <a:lnTo>
                      <a:pt x="1186" y="510"/>
                    </a:lnTo>
                    <a:lnTo>
                      <a:pt x="1168" y="462"/>
                    </a:lnTo>
                    <a:lnTo>
                      <a:pt x="1146" y="415"/>
                    </a:lnTo>
                    <a:lnTo>
                      <a:pt x="1119" y="371"/>
                    </a:lnTo>
                    <a:lnTo>
                      <a:pt x="1088" y="330"/>
                    </a:lnTo>
                    <a:lnTo>
                      <a:pt x="1053" y="291"/>
                    </a:lnTo>
                    <a:lnTo>
                      <a:pt x="1013" y="255"/>
                    </a:lnTo>
                    <a:lnTo>
                      <a:pt x="971" y="224"/>
                    </a:lnTo>
                    <a:lnTo>
                      <a:pt x="926" y="198"/>
                    </a:lnTo>
                    <a:lnTo>
                      <a:pt x="879" y="176"/>
                    </a:lnTo>
                    <a:lnTo>
                      <a:pt x="829" y="159"/>
                    </a:lnTo>
                    <a:lnTo>
                      <a:pt x="779" y="146"/>
                    </a:lnTo>
                    <a:lnTo>
                      <a:pt x="726" y="138"/>
                    </a:lnTo>
                    <a:lnTo>
                      <a:pt x="673" y="136"/>
                    </a:lnTo>
                    <a:close/>
                    <a:moveTo>
                      <a:pt x="673" y="0"/>
                    </a:moveTo>
                    <a:lnTo>
                      <a:pt x="734" y="2"/>
                    </a:lnTo>
                    <a:lnTo>
                      <a:pt x="792" y="10"/>
                    </a:lnTo>
                    <a:lnTo>
                      <a:pt x="849" y="23"/>
                    </a:lnTo>
                    <a:lnTo>
                      <a:pt x="904" y="40"/>
                    </a:lnTo>
                    <a:lnTo>
                      <a:pt x="958" y="61"/>
                    </a:lnTo>
                    <a:lnTo>
                      <a:pt x="1010" y="88"/>
                    </a:lnTo>
                    <a:lnTo>
                      <a:pt x="1059" y="119"/>
                    </a:lnTo>
                    <a:lnTo>
                      <a:pt x="1106" y="155"/>
                    </a:lnTo>
                    <a:lnTo>
                      <a:pt x="1151" y="195"/>
                    </a:lnTo>
                    <a:lnTo>
                      <a:pt x="1190" y="238"/>
                    </a:lnTo>
                    <a:lnTo>
                      <a:pt x="1226" y="284"/>
                    </a:lnTo>
                    <a:lnTo>
                      <a:pt x="1258" y="332"/>
                    </a:lnTo>
                    <a:lnTo>
                      <a:pt x="1285" y="383"/>
                    </a:lnTo>
                    <a:lnTo>
                      <a:pt x="1306" y="436"/>
                    </a:lnTo>
                    <a:lnTo>
                      <a:pt x="1324" y="490"/>
                    </a:lnTo>
                    <a:lnTo>
                      <a:pt x="1337" y="547"/>
                    </a:lnTo>
                    <a:lnTo>
                      <a:pt x="1345" y="604"/>
                    </a:lnTo>
                    <a:lnTo>
                      <a:pt x="1347" y="663"/>
                    </a:lnTo>
                    <a:lnTo>
                      <a:pt x="1344" y="724"/>
                    </a:lnTo>
                    <a:lnTo>
                      <a:pt x="1337" y="783"/>
                    </a:lnTo>
                    <a:lnTo>
                      <a:pt x="1322" y="841"/>
                    </a:lnTo>
                    <a:lnTo>
                      <a:pt x="1303" y="898"/>
                    </a:lnTo>
                    <a:lnTo>
                      <a:pt x="1279" y="952"/>
                    </a:lnTo>
                    <a:lnTo>
                      <a:pt x="1251" y="1004"/>
                    </a:lnTo>
                    <a:lnTo>
                      <a:pt x="1217" y="1053"/>
                    </a:lnTo>
                    <a:lnTo>
                      <a:pt x="1179" y="1100"/>
                    </a:lnTo>
                    <a:lnTo>
                      <a:pt x="1211" y="1132"/>
                    </a:lnTo>
                    <a:lnTo>
                      <a:pt x="1226" y="1132"/>
                    </a:lnTo>
                    <a:lnTo>
                      <a:pt x="1241" y="1135"/>
                    </a:lnTo>
                    <a:lnTo>
                      <a:pt x="1256" y="1142"/>
                    </a:lnTo>
                    <a:lnTo>
                      <a:pt x="1268" y="1151"/>
                    </a:lnTo>
                    <a:lnTo>
                      <a:pt x="1500" y="1381"/>
                    </a:lnTo>
                    <a:lnTo>
                      <a:pt x="1511" y="1395"/>
                    </a:lnTo>
                    <a:lnTo>
                      <a:pt x="1517" y="1411"/>
                    </a:lnTo>
                    <a:lnTo>
                      <a:pt x="1520" y="1428"/>
                    </a:lnTo>
                    <a:lnTo>
                      <a:pt x="1517" y="1445"/>
                    </a:lnTo>
                    <a:lnTo>
                      <a:pt x="1511" y="1462"/>
                    </a:lnTo>
                    <a:lnTo>
                      <a:pt x="1500" y="1476"/>
                    </a:lnTo>
                    <a:lnTo>
                      <a:pt x="1485" y="1487"/>
                    </a:lnTo>
                    <a:lnTo>
                      <a:pt x="1469" y="1493"/>
                    </a:lnTo>
                    <a:lnTo>
                      <a:pt x="1451" y="1495"/>
                    </a:lnTo>
                    <a:lnTo>
                      <a:pt x="1433" y="1493"/>
                    </a:lnTo>
                    <a:lnTo>
                      <a:pt x="1417" y="1487"/>
                    </a:lnTo>
                    <a:lnTo>
                      <a:pt x="1402" y="1476"/>
                    </a:lnTo>
                    <a:lnTo>
                      <a:pt x="1170" y="1248"/>
                    </a:lnTo>
                    <a:lnTo>
                      <a:pt x="1160" y="1235"/>
                    </a:lnTo>
                    <a:lnTo>
                      <a:pt x="1154" y="1222"/>
                    </a:lnTo>
                    <a:lnTo>
                      <a:pt x="1151" y="1208"/>
                    </a:lnTo>
                    <a:lnTo>
                      <a:pt x="1151" y="1192"/>
                    </a:lnTo>
                    <a:lnTo>
                      <a:pt x="1118" y="1161"/>
                    </a:lnTo>
                    <a:lnTo>
                      <a:pt x="1070" y="1198"/>
                    </a:lnTo>
                    <a:lnTo>
                      <a:pt x="1020" y="1231"/>
                    </a:lnTo>
                    <a:lnTo>
                      <a:pt x="967" y="1260"/>
                    </a:lnTo>
                    <a:lnTo>
                      <a:pt x="911" y="1283"/>
                    </a:lnTo>
                    <a:lnTo>
                      <a:pt x="854" y="1302"/>
                    </a:lnTo>
                    <a:lnTo>
                      <a:pt x="796" y="1315"/>
                    </a:lnTo>
                    <a:lnTo>
                      <a:pt x="735" y="1323"/>
                    </a:lnTo>
                    <a:lnTo>
                      <a:pt x="673" y="1326"/>
                    </a:lnTo>
                    <a:lnTo>
                      <a:pt x="614" y="1323"/>
                    </a:lnTo>
                    <a:lnTo>
                      <a:pt x="556" y="1316"/>
                    </a:lnTo>
                    <a:lnTo>
                      <a:pt x="499" y="1304"/>
                    </a:lnTo>
                    <a:lnTo>
                      <a:pt x="443" y="1287"/>
                    </a:lnTo>
                    <a:lnTo>
                      <a:pt x="390" y="1264"/>
                    </a:lnTo>
                    <a:lnTo>
                      <a:pt x="338" y="1238"/>
                    </a:lnTo>
                    <a:lnTo>
                      <a:pt x="288" y="1207"/>
                    </a:lnTo>
                    <a:lnTo>
                      <a:pt x="242" y="1172"/>
                    </a:lnTo>
                    <a:lnTo>
                      <a:pt x="197" y="1132"/>
                    </a:lnTo>
                    <a:lnTo>
                      <a:pt x="157" y="1089"/>
                    </a:lnTo>
                    <a:lnTo>
                      <a:pt x="122" y="1043"/>
                    </a:lnTo>
                    <a:lnTo>
                      <a:pt x="90" y="994"/>
                    </a:lnTo>
                    <a:lnTo>
                      <a:pt x="63" y="943"/>
                    </a:lnTo>
                    <a:lnTo>
                      <a:pt x="40" y="890"/>
                    </a:lnTo>
                    <a:lnTo>
                      <a:pt x="23" y="835"/>
                    </a:lnTo>
                    <a:lnTo>
                      <a:pt x="10" y="779"/>
                    </a:lnTo>
                    <a:lnTo>
                      <a:pt x="3" y="722"/>
                    </a:lnTo>
                    <a:lnTo>
                      <a:pt x="0" y="663"/>
                    </a:lnTo>
                    <a:lnTo>
                      <a:pt x="3" y="604"/>
                    </a:lnTo>
                    <a:lnTo>
                      <a:pt x="10" y="547"/>
                    </a:lnTo>
                    <a:lnTo>
                      <a:pt x="23" y="490"/>
                    </a:lnTo>
                    <a:lnTo>
                      <a:pt x="40" y="436"/>
                    </a:lnTo>
                    <a:lnTo>
                      <a:pt x="63" y="383"/>
                    </a:lnTo>
                    <a:lnTo>
                      <a:pt x="90" y="332"/>
                    </a:lnTo>
                    <a:lnTo>
                      <a:pt x="122" y="284"/>
                    </a:lnTo>
                    <a:lnTo>
                      <a:pt x="157" y="238"/>
                    </a:lnTo>
                    <a:lnTo>
                      <a:pt x="197" y="195"/>
                    </a:lnTo>
                    <a:lnTo>
                      <a:pt x="242" y="155"/>
                    </a:lnTo>
                    <a:lnTo>
                      <a:pt x="288" y="119"/>
                    </a:lnTo>
                    <a:lnTo>
                      <a:pt x="338" y="88"/>
                    </a:lnTo>
                    <a:lnTo>
                      <a:pt x="390" y="61"/>
                    </a:lnTo>
                    <a:lnTo>
                      <a:pt x="443" y="40"/>
                    </a:lnTo>
                    <a:lnTo>
                      <a:pt x="499" y="23"/>
                    </a:lnTo>
                    <a:lnTo>
                      <a:pt x="556" y="10"/>
                    </a:lnTo>
                    <a:lnTo>
                      <a:pt x="614" y="2"/>
                    </a:lnTo>
                    <a:lnTo>
                      <a:pt x="6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130" name="TextBox 54"/>
          <p:cNvSpPr txBox="1"/>
          <p:nvPr/>
        </p:nvSpPr>
        <p:spPr>
          <a:xfrm>
            <a:off x="1540656" y="1690956"/>
            <a:ext cx="4385424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7432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Пожизненная ценность клиента</a:t>
            </a:r>
          </a:p>
        </p:txBody>
      </p:sp>
      <p:sp>
        <p:nvSpPr>
          <p:cNvPr id="131" name="TextBox 55"/>
          <p:cNvSpPr txBox="1"/>
          <p:nvPr/>
        </p:nvSpPr>
        <p:spPr>
          <a:xfrm rot="16200000">
            <a:off x="1095914" y="2738859"/>
            <a:ext cx="56725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Ценность</a:t>
            </a:r>
          </a:p>
        </p:txBody>
      </p:sp>
      <p:sp>
        <p:nvSpPr>
          <p:cNvPr id="132" name="AutoShape 50"/>
          <p:cNvSpPr>
            <a:spLocks noChangeArrowheads="1"/>
          </p:cNvSpPr>
          <p:nvPr/>
        </p:nvSpPr>
        <p:spPr bwMode="auto">
          <a:xfrm flipH="1">
            <a:off x="3190265" y="3833639"/>
            <a:ext cx="1117949" cy="553998"/>
          </a:xfrm>
          <a:prstGeom prst="accentCallout2">
            <a:avLst>
              <a:gd name="adj1" fmla="val 16392"/>
              <a:gd name="adj2" fmla="val -2481"/>
              <a:gd name="adj3" fmla="val 16178"/>
              <a:gd name="adj4" fmla="val -15912"/>
              <a:gd name="adj5" fmla="val -414698"/>
              <a:gd name="adj6" fmla="val 60100"/>
            </a:avLst>
          </a:prstGeom>
          <a:noFill/>
          <a:ln w="6350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 wrap="square" lIns="36731" tIns="0" rIns="36731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88" lvl="1" defTabSz="913526">
              <a:spcBef>
                <a:spcPts val="300"/>
              </a:spcBef>
              <a:defRPr/>
            </a:pPr>
            <a:r>
              <a:rPr lang="ru-RU" sz="900" i="1" dirty="0">
                <a:solidFill>
                  <a:schemeClr val="bg1"/>
                </a:solidFill>
                <a:latin typeface="+mj-lt"/>
              </a:rPr>
              <a:t>Изменения в поведении / потребностях клиента</a:t>
            </a:r>
          </a:p>
        </p:txBody>
      </p:sp>
      <p:sp>
        <p:nvSpPr>
          <p:cNvPr id="133" name="AutoShape 50"/>
          <p:cNvSpPr>
            <a:spLocks noChangeArrowheads="1"/>
          </p:cNvSpPr>
          <p:nvPr/>
        </p:nvSpPr>
        <p:spPr bwMode="auto">
          <a:xfrm flipH="1">
            <a:off x="4659746" y="3833637"/>
            <a:ext cx="927576" cy="692497"/>
          </a:xfrm>
          <a:prstGeom prst="accentCallout2">
            <a:avLst>
              <a:gd name="adj1" fmla="val 16392"/>
              <a:gd name="adj2" fmla="val -2481"/>
              <a:gd name="adj3" fmla="val 14841"/>
              <a:gd name="adj4" fmla="val -8896"/>
              <a:gd name="adj5" fmla="val -112797"/>
              <a:gd name="adj6" fmla="val 30233"/>
            </a:avLst>
          </a:prstGeom>
          <a:noFill/>
          <a:ln w="6350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 wrap="square" lIns="36731" tIns="0" rIns="36731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88" lvl="1" defTabSz="913526">
              <a:spcBef>
                <a:spcPts val="300"/>
              </a:spcBef>
              <a:defRPr/>
            </a:pPr>
            <a:r>
              <a:rPr lang="ru-RU" sz="900" i="1" dirty="0">
                <a:solidFill>
                  <a:schemeClr val="bg1"/>
                </a:solidFill>
                <a:latin typeface="+mj-lt"/>
              </a:rPr>
              <a:t>Прекращение поставки товара или услуги по запросу</a:t>
            </a:r>
          </a:p>
        </p:txBody>
      </p:sp>
      <p:sp>
        <p:nvSpPr>
          <p:cNvPr id="134" name="Freeform 133"/>
          <p:cNvSpPr/>
          <p:nvPr/>
        </p:nvSpPr>
        <p:spPr>
          <a:xfrm>
            <a:off x="3932429" y="2547849"/>
            <a:ext cx="1871692" cy="185865"/>
          </a:xfrm>
          <a:custGeom>
            <a:avLst/>
            <a:gdLst>
              <a:gd name="connsiteX0" fmla="*/ 0 w 6667500"/>
              <a:gd name="connsiteY0" fmla="*/ 2730500 h 2730500"/>
              <a:gd name="connsiteX1" fmla="*/ 3248025 w 6667500"/>
              <a:gd name="connsiteY1" fmla="*/ 149225 h 2730500"/>
              <a:gd name="connsiteX2" fmla="*/ 5581650 w 6667500"/>
              <a:gd name="connsiteY2" fmla="*/ 1835150 h 2730500"/>
              <a:gd name="connsiteX3" fmla="*/ 6667500 w 6667500"/>
              <a:gd name="connsiteY3" fmla="*/ 2168525 h 2730500"/>
              <a:gd name="connsiteX0" fmla="*/ 0 w 6667500"/>
              <a:gd name="connsiteY0" fmla="*/ 2730500 h 3143250"/>
              <a:gd name="connsiteX1" fmla="*/ 3248025 w 6667500"/>
              <a:gd name="connsiteY1" fmla="*/ 149225 h 3143250"/>
              <a:gd name="connsiteX2" fmla="*/ 5581650 w 6667500"/>
              <a:gd name="connsiteY2" fmla="*/ 1835150 h 3143250"/>
              <a:gd name="connsiteX3" fmla="*/ 6667500 w 6667500"/>
              <a:gd name="connsiteY3" fmla="*/ 2168525 h 3143250"/>
              <a:gd name="connsiteX0" fmla="*/ 0 w 6667500"/>
              <a:gd name="connsiteY0" fmla="*/ 2730500 h 3143250"/>
              <a:gd name="connsiteX1" fmla="*/ 3248025 w 6667500"/>
              <a:gd name="connsiteY1" fmla="*/ 149225 h 3143250"/>
              <a:gd name="connsiteX2" fmla="*/ 5581650 w 6667500"/>
              <a:gd name="connsiteY2" fmla="*/ 1835150 h 3143250"/>
              <a:gd name="connsiteX3" fmla="*/ 6667500 w 6667500"/>
              <a:gd name="connsiteY3" fmla="*/ 2168525 h 3143250"/>
              <a:gd name="connsiteX0" fmla="*/ 0 w 6667500"/>
              <a:gd name="connsiteY0" fmla="*/ 2730500 h 3067050"/>
              <a:gd name="connsiteX1" fmla="*/ 3248025 w 6667500"/>
              <a:gd name="connsiteY1" fmla="*/ 149225 h 3067050"/>
              <a:gd name="connsiteX2" fmla="*/ 5581650 w 6667500"/>
              <a:gd name="connsiteY2" fmla="*/ 1835150 h 3067050"/>
              <a:gd name="connsiteX3" fmla="*/ 6667500 w 6667500"/>
              <a:gd name="connsiteY3" fmla="*/ 2168525 h 3067050"/>
              <a:gd name="connsiteX0" fmla="*/ 0 w 6667500"/>
              <a:gd name="connsiteY0" fmla="*/ 2730500 h 3067050"/>
              <a:gd name="connsiteX1" fmla="*/ 3248025 w 6667500"/>
              <a:gd name="connsiteY1" fmla="*/ 149225 h 3067050"/>
              <a:gd name="connsiteX2" fmla="*/ 5581650 w 6667500"/>
              <a:gd name="connsiteY2" fmla="*/ 1835150 h 3067050"/>
              <a:gd name="connsiteX3" fmla="*/ 6667500 w 6667500"/>
              <a:gd name="connsiteY3" fmla="*/ 2168525 h 3067050"/>
              <a:gd name="connsiteX0" fmla="*/ 0 w 6153150"/>
              <a:gd name="connsiteY0" fmla="*/ 2730500 h 3067050"/>
              <a:gd name="connsiteX1" fmla="*/ 3248025 w 6153150"/>
              <a:gd name="connsiteY1" fmla="*/ 149225 h 3067050"/>
              <a:gd name="connsiteX2" fmla="*/ 5581650 w 6153150"/>
              <a:gd name="connsiteY2" fmla="*/ 1835150 h 3067050"/>
              <a:gd name="connsiteX3" fmla="*/ 6153150 w 6153150"/>
              <a:gd name="connsiteY3" fmla="*/ 2035175 h 3067050"/>
              <a:gd name="connsiteX0" fmla="*/ 0 w 6153150"/>
              <a:gd name="connsiteY0" fmla="*/ 2730500 h 3067050"/>
              <a:gd name="connsiteX1" fmla="*/ 3248025 w 6153150"/>
              <a:gd name="connsiteY1" fmla="*/ 149225 h 3067050"/>
              <a:gd name="connsiteX2" fmla="*/ 5581650 w 6153150"/>
              <a:gd name="connsiteY2" fmla="*/ 1835150 h 3067050"/>
              <a:gd name="connsiteX3" fmla="*/ 6153150 w 6153150"/>
              <a:gd name="connsiteY3" fmla="*/ 2035175 h 3067050"/>
              <a:gd name="connsiteX0" fmla="*/ 0 w 5581650"/>
              <a:gd name="connsiteY0" fmla="*/ 2730500 h 3067050"/>
              <a:gd name="connsiteX1" fmla="*/ 3248025 w 5581650"/>
              <a:gd name="connsiteY1" fmla="*/ 149225 h 3067050"/>
              <a:gd name="connsiteX2" fmla="*/ 5581650 w 5581650"/>
              <a:gd name="connsiteY2" fmla="*/ 1835150 h 3067050"/>
              <a:gd name="connsiteX0" fmla="*/ 0 w 5867400"/>
              <a:gd name="connsiteY0" fmla="*/ 2730500 h 3067050"/>
              <a:gd name="connsiteX1" fmla="*/ 3248025 w 5867400"/>
              <a:gd name="connsiteY1" fmla="*/ 149225 h 3067050"/>
              <a:gd name="connsiteX2" fmla="*/ 5867400 w 5867400"/>
              <a:gd name="connsiteY2" fmla="*/ 1968500 h 3067050"/>
              <a:gd name="connsiteX0" fmla="*/ 0 w 5867400"/>
              <a:gd name="connsiteY0" fmla="*/ 2730500 h 3067050"/>
              <a:gd name="connsiteX1" fmla="*/ 3248025 w 5867400"/>
              <a:gd name="connsiteY1" fmla="*/ 149225 h 3067050"/>
              <a:gd name="connsiteX2" fmla="*/ 5867400 w 5867400"/>
              <a:gd name="connsiteY2" fmla="*/ 1968500 h 3067050"/>
              <a:gd name="connsiteX0" fmla="*/ 0 w 6048375"/>
              <a:gd name="connsiteY0" fmla="*/ 2730500 h 3067050"/>
              <a:gd name="connsiteX1" fmla="*/ 3248025 w 6048375"/>
              <a:gd name="connsiteY1" fmla="*/ 149225 h 3067050"/>
              <a:gd name="connsiteX2" fmla="*/ 6048375 w 6048375"/>
              <a:gd name="connsiteY2" fmla="*/ 1892300 h 3067050"/>
              <a:gd name="connsiteX0" fmla="*/ 0 w 6048375"/>
              <a:gd name="connsiteY0" fmla="*/ 2730500 h 3067050"/>
              <a:gd name="connsiteX1" fmla="*/ 3248025 w 6048375"/>
              <a:gd name="connsiteY1" fmla="*/ 149225 h 3067050"/>
              <a:gd name="connsiteX2" fmla="*/ 6048375 w 6048375"/>
              <a:gd name="connsiteY2" fmla="*/ 1892300 h 3067050"/>
              <a:gd name="connsiteX0" fmla="*/ 0 w 6048375"/>
              <a:gd name="connsiteY0" fmla="*/ 2581275 h 2917825"/>
              <a:gd name="connsiteX1" fmla="*/ 3248025 w 6048375"/>
              <a:gd name="connsiteY1" fmla="*/ 0 h 2917825"/>
              <a:gd name="connsiteX2" fmla="*/ 6048375 w 6048375"/>
              <a:gd name="connsiteY2" fmla="*/ 1743075 h 2917825"/>
              <a:gd name="connsiteX0" fmla="*/ 0 w 2800350"/>
              <a:gd name="connsiteY0" fmla="*/ 0 h 1743075"/>
              <a:gd name="connsiteX1" fmla="*/ 2800350 w 2800350"/>
              <a:gd name="connsiteY1" fmla="*/ 1743075 h 1743075"/>
              <a:gd name="connsiteX0" fmla="*/ 0 w 2800350"/>
              <a:gd name="connsiteY0" fmla="*/ 0 h 1743075"/>
              <a:gd name="connsiteX1" fmla="*/ 460311 w 2800350"/>
              <a:gd name="connsiteY1" fmla="*/ 277662 h 1743075"/>
              <a:gd name="connsiteX2" fmla="*/ 2800350 w 2800350"/>
              <a:gd name="connsiteY2" fmla="*/ 1743075 h 1743075"/>
              <a:gd name="connsiteX0" fmla="*/ 0 w 2444865"/>
              <a:gd name="connsiteY0" fmla="*/ 116360 h 435475"/>
              <a:gd name="connsiteX1" fmla="*/ 460311 w 2444865"/>
              <a:gd name="connsiteY1" fmla="*/ 394022 h 435475"/>
              <a:gd name="connsiteX2" fmla="*/ 2444865 w 2444865"/>
              <a:gd name="connsiteY2" fmla="*/ 9525 h 435475"/>
              <a:gd name="connsiteX0" fmla="*/ 0 w 2444865"/>
              <a:gd name="connsiteY0" fmla="*/ 106835 h 439483"/>
              <a:gd name="connsiteX1" fmla="*/ 460311 w 2444865"/>
              <a:gd name="connsiteY1" fmla="*/ 384497 h 439483"/>
              <a:gd name="connsiteX2" fmla="*/ 2444865 w 2444865"/>
              <a:gd name="connsiteY2" fmla="*/ 0 h 439483"/>
              <a:gd name="connsiteX0" fmla="*/ 0 w 1984554"/>
              <a:gd name="connsiteY0" fmla="*/ 384497 h 439482"/>
              <a:gd name="connsiteX1" fmla="*/ 1984554 w 1984554"/>
              <a:gd name="connsiteY1" fmla="*/ 0 h 439482"/>
              <a:gd name="connsiteX0" fmla="*/ 0 w 1984554"/>
              <a:gd name="connsiteY0" fmla="*/ 384497 h 569632"/>
              <a:gd name="connsiteX1" fmla="*/ 1984554 w 1984554"/>
              <a:gd name="connsiteY1" fmla="*/ 0 h 569632"/>
              <a:gd name="connsiteX0" fmla="*/ 0 w 1984554"/>
              <a:gd name="connsiteY0" fmla="*/ 384497 h 569632"/>
              <a:gd name="connsiteX1" fmla="*/ 1984554 w 1984554"/>
              <a:gd name="connsiteY1" fmla="*/ 0 h 569632"/>
              <a:gd name="connsiteX0" fmla="*/ 0 w 2325790"/>
              <a:gd name="connsiteY0" fmla="*/ 136455 h 421522"/>
              <a:gd name="connsiteX1" fmla="*/ 2325790 w 2325790"/>
              <a:gd name="connsiteY1" fmla="*/ 0 h 421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325790" h="421522">
                <a:moveTo>
                  <a:pt x="0" y="136455"/>
                </a:moveTo>
                <a:cubicBezTo>
                  <a:pt x="1044382" y="321590"/>
                  <a:pt x="1736656" y="421522"/>
                  <a:pt x="2325790" y="0"/>
                </a:cubicBezTo>
              </a:path>
            </a:pathLst>
          </a:custGeom>
          <a:noFill/>
          <a:ln w="28575" cap="rnd" cmpd="sng" algn="ctr">
            <a:solidFill>
              <a:schemeClr val="accent4">
                <a:lumMod val="60000"/>
                <a:lumOff val="40000"/>
              </a:schemeClr>
            </a:solidFill>
            <a:prstDash val="sysDot"/>
            <a:tailEnd type="none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35" name="Freeform 134"/>
          <p:cNvSpPr/>
          <p:nvPr/>
        </p:nvSpPr>
        <p:spPr>
          <a:xfrm>
            <a:off x="5242855" y="3118199"/>
            <a:ext cx="655212" cy="128661"/>
          </a:xfrm>
          <a:custGeom>
            <a:avLst/>
            <a:gdLst>
              <a:gd name="connsiteX0" fmla="*/ 0 w 6667500"/>
              <a:gd name="connsiteY0" fmla="*/ 2730500 h 2730500"/>
              <a:gd name="connsiteX1" fmla="*/ 3248025 w 6667500"/>
              <a:gd name="connsiteY1" fmla="*/ 149225 h 2730500"/>
              <a:gd name="connsiteX2" fmla="*/ 5581650 w 6667500"/>
              <a:gd name="connsiteY2" fmla="*/ 1835150 h 2730500"/>
              <a:gd name="connsiteX3" fmla="*/ 6667500 w 6667500"/>
              <a:gd name="connsiteY3" fmla="*/ 2168525 h 2730500"/>
              <a:gd name="connsiteX0" fmla="*/ 0 w 6667500"/>
              <a:gd name="connsiteY0" fmla="*/ 2730500 h 3143250"/>
              <a:gd name="connsiteX1" fmla="*/ 3248025 w 6667500"/>
              <a:gd name="connsiteY1" fmla="*/ 149225 h 3143250"/>
              <a:gd name="connsiteX2" fmla="*/ 5581650 w 6667500"/>
              <a:gd name="connsiteY2" fmla="*/ 1835150 h 3143250"/>
              <a:gd name="connsiteX3" fmla="*/ 6667500 w 6667500"/>
              <a:gd name="connsiteY3" fmla="*/ 2168525 h 3143250"/>
              <a:gd name="connsiteX0" fmla="*/ 0 w 6667500"/>
              <a:gd name="connsiteY0" fmla="*/ 2730500 h 3143250"/>
              <a:gd name="connsiteX1" fmla="*/ 3248025 w 6667500"/>
              <a:gd name="connsiteY1" fmla="*/ 149225 h 3143250"/>
              <a:gd name="connsiteX2" fmla="*/ 5581650 w 6667500"/>
              <a:gd name="connsiteY2" fmla="*/ 1835150 h 3143250"/>
              <a:gd name="connsiteX3" fmla="*/ 6667500 w 6667500"/>
              <a:gd name="connsiteY3" fmla="*/ 2168525 h 3143250"/>
              <a:gd name="connsiteX0" fmla="*/ 0 w 6667500"/>
              <a:gd name="connsiteY0" fmla="*/ 2730500 h 3067050"/>
              <a:gd name="connsiteX1" fmla="*/ 3248025 w 6667500"/>
              <a:gd name="connsiteY1" fmla="*/ 149225 h 3067050"/>
              <a:gd name="connsiteX2" fmla="*/ 5581650 w 6667500"/>
              <a:gd name="connsiteY2" fmla="*/ 1835150 h 3067050"/>
              <a:gd name="connsiteX3" fmla="*/ 6667500 w 6667500"/>
              <a:gd name="connsiteY3" fmla="*/ 2168525 h 3067050"/>
              <a:gd name="connsiteX0" fmla="*/ 0 w 6667500"/>
              <a:gd name="connsiteY0" fmla="*/ 2730500 h 3067050"/>
              <a:gd name="connsiteX1" fmla="*/ 3248025 w 6667500"/>
              <a:gd name="connsiteY1" fmla="*/ 149225 h 3067050"/>
              <a:gd name="connsiteX2" fmla="*/ 5581650 w 6667500"/>
              <a:gd name="connsiteY2" fmla="*/ 1835150 h 3067050"/>
              <a:gd name="connsiteX3" fmla="*/ 6667500 w 6667500"/>
              <a:gd name="connsiteY3" fmla="*/ 2168525 h 3067050"/>
              <a:gd name="connsiteX0" fmla="*/ 0 w 6153150"/>
              <a:gd name="connsiteY0" fmla="*/ 2730500 h 3067050"/>
              <a:gd name="connsiteX1" fmla="*/ 3248025 w 6153150"/>
              <a:gd name="connsiteY1" fmla="*/ 149225 h 3067050"/>
              <a:gd name="connsiteX2" fmla="*/ 5581650 w 6153150"/>
              <a:gd name="connsiteY2" fmla="*/ 1835150 h 3067050"/>
              <a:gd name="connsiteX3" fmla="*/ 6153150 w 6153150"/>
              <a:gd name="connsiteY3" fmla="*/ 2035175 h 3067050"/>
              <a:gd name="connsiteX0" fmla="*/ 0 w 6153150"/>
              <a:gd name="connsiteY0" fmla="*/ 2730500 h 3067050"/>
              <a:gd name="connsiteX1" fmla="*/ 3248025 w 6153150"/>
              <a:gd name="connsiteY1" fmla="*/ 149225 h 3067050"/>
              <a:gd name="connsiteX2" fmla="*/ 5581650 w 6153150"/>
              <a:gd name="connsiteY2" fmla="*/ 1835150 h 3067050"/>
              <a:gd name="connsiteX3" fmla="*/ 6153150 w 6153150"/>
              <a:gd name="connsiteY3" fmla="*/ 2035175 h 3067050"/>
              <a:gd name="connsiteX0" fmla="*/ 0 w 5581650"/>
              <a:gd name="connsiteY0" fmla="*/ 2730500 h 3067050"/>
              <a:gd name="connsiteX1" fmla="*/ 3248025 w 5581650"/>
              <a:gd name="connsiteY1" fmla="*/ 149225 h 3067050"/>
              <a:gd name="connsiteX2" fmla="*/ 5581650 w 5581650"/>
              <a:gd name="connsiteY2" fmla="*/ 1835150 h 3067050"/>
              <a:gd name="connsiteX0" fmla="*/ 0 w 5867400"/>
              <a:gd name="connsiteY0" fmla="*/ 2730500 h 3067050"/>
              <a:gd name="connsiteX1" fmla="*/ 3248025 w 5867400"/>
              <a:gd name="connsiteY1" fmla="*/ 149225 h 3067050"/>
              <a:gd name="connsiteX2" fmla="*/ 5867400 w 5867400"/>
              <a:gd name="connsiteY2" fmla="*/ 1968500 h 3067050"/>
              <a:gd name="connsiteX0" fmla="*/ 0 w 5867400"/>
              <a:gd name="connsiteY0" fmla="*/ 2730500 h 3067050"/>
              <a:gd name="connsiteX1" fmla="*/ 3248025 w 5867400"/>
              <a:gd name="connsiteY1" fmla="*/ 149225 h 3067050"/>
              <a:gd name="connsiteX2" fmla="*/ 5867400 w 5867400"/>
              <a:gd name="connsiteY2" fmla="*/ 1968500 h 3067050"/>
              <a:gd name="connsiteX0" fmla="*/ 0 w 6048375"/>
              <a:gd name="connsiteY0" fmla="*/ 2730500 h 3067050"/>
              <a:gd name="connsiteX1" fmla="*/ 3248025 w 6048375"/>
              <a:gd name="connsiteY1" fmla="*/ 149225 h 3067050"/>
              <a:gd name="connsiteX2" fmla="*/ 6048375 w 6048375"/>
              <a:gd name="connsiteY2" fmla="*/ 1892300 h 3067050"/>
              <a:gd name="connsiteX0" fmla="*/ 0 w 6048375"/>
              <a:gd name="connsiteY0" fmla="*/ 2730500 h 3067050"/>
              <a:gd name="connsiteX1" fmla="*/ 3248025 w 6048375"/>
              <a:gd name="connsiteY1" fmla="*/ 149225 h 3067050"/>
              <a:gd name="connsiteX2" fmla="*/ 6048375 w 6048375"/>
              <a:gd name="connsiteY2" fmla="*/ 1892300 h 3067050"/>
              <a:gd name="connsiteX0" fmla="*/ 0 w 6048375"/>
              <a:gd name="connsiteY0" fmla="*/ 2581275 h 2917825"/>
              <a:gd name="connsiteX1" fmla="*/ 3248025 w 6048375"/>
              <a:gd name="connsiteY1" fmla="*/ 0 h 2917825"/>
              <a:gd name="connsiteX2" fmla="*/ 6048375 w 6048375"/>
              <a:gd name="connsiteY2" fmla="*/ 1743075 h 2917825"/>
              <a:gd name="connsiteX0" fmla="*/ 0 w 2800350"/>
              <a:gd name="connsiteY0" fmla="*/ 0 h 1743075"/>
              <a:gd name="connsiteX1" fmla="*/ 2800350 w 2800350"/>
              <a:gd name="connsiteY1" fmla="*/ 1743075 h 1743075"/>
              <a:gd name="connsiteX0" fmla="*/ 0 w 2800350"/>
              <a:gd name="connsiteY0" fmla="*/ 0 h 1743075"/>
              <a:gd name="connsiteX1" fmla="*/ 460311 w 2800350"/>
              <a:gd name="connsiteY1" fmla="*/ 277662 h 1743075"/>
              <a:gd name="connsiteX2" fmla="*/ 2800350 w 2800350"/>
              <a:gd name="connsiteY2" fmla="*/ 1743075 h 1743075"/>
              <a:gd name="connsiteX0" fmla="*/ 0 w 2444865"/>
              <a:gd name="connsiteY0" fmla="*/ 116360 h 435475"/>
              <a:gd name="connsiteX1" fmla="*/ 460311 w 2444865"/>
              <a:gd name="connsiteY1" fmla="*/ 394022 h 435475"/>
              <a:gd name="connsiteX2" fmla="*/ 2444865 w 2444865"/>
              <a:gd name="connsiteY2" fmla="*/ 9525 h 435475"/>
              <a:gd name="connsiteX0" fmla="*/ 0 w 2444865"/>
              <a:gd name="connsiteY0" fmla="*/ 106835 h 439483"/>
              <a:gd name="connsiteX1" fmla="*/ 460311 w 2444865"/>
              <a:gd name="connsiteY1" fmla="*/ 384497 h 439483"/>
              <a:gd name="connsiteX2" fmla="*/ 2444865 w 2444865"/>
              <a:gd name="connsiteY2" fmla="*/ 0 h 439483"/>
              <a:gd name="connsiteX0" fmla="*/ 0 w 1984554"/>
              <a:gd name="connsiteY0" fmla="*/ 384497 h 439482"/>
              <a:gd name="connsiteX1" fmla="*/ 1984554 w 1984554"/>
              <a:gd name="connsiteY1" fmla="*/ 0 h 439482"/>
              <a:gd name="connsiteX0" fmla="*/ 0 w 1984554"/>
              <a:gd name="connsiteY0" fmla="*/ 384497 h 569632"/>
              <a:gd name="connsiteX1" fmla="*/ 1984554 w 1984554"/>
              <a:gd name="connsiteY1" fmla="*/ 0 h 569632"/>
              <a:gd name="connsiteX0" fmla="*/ 0 w 1984554"/>
              <a:gd name="connsiteY0" fmla="*/ 384497 h 569632"/>
              <a:gd name="connsiteX1" fmla="*/ 1984554 w 1984554"/>
              <a:gd name="connsiteY1" fmla="*/ 0 h 569632"/>
              <a:gd name="connsiteX0" fmla="*/ 0 w 1984554"/>
              <a:gd name="connsiteY0" fmla="*/ 325914 h 511049"/>
              <a:gd name="connsiteX1" fmla="*/ 1984554 w 1984554"/>
              <a:gd name="connsiteY1" fmla="*/ 0 h 511049"/>
              <a:gd name="connsiteX0" fmla="*/ 0 w 1984554"/>
              <a:gd name="connsiteY0" fmla="*/ 325914 h 511049"/>
              <a:gd name="connsiteX1" fmla="*/ 1984554 w 1984554"/>
              <a:gd name="connsiteY1" fmla="*/ 0 h 511049"/>
              <a:gd name="connsiteX0" fmla="*/ 0 w 1984554"/>
              <a:gd name="connsiteY0" fmla="*/ 325914 h 410872"/>
              <a:gd name="connsiteX1" fmla="*/ 1984554 w 1984554"/>
              <a:gd name="connsiteY1" fmla="*/ 0 h 410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84554" h="410872">
                <a:moveTo>
                  <a:pt x="0" y="325914"/>
                </a:moveTo>
                <a:cubicBezTo>
                  <a:pt x="902476" y="356606"/>
                  <a:pt x="1363168" y="410872"/>
                  <a:pt x="1984554" y="0"/>
                </a:cubicBezTo>
              </a:path>
            </a:pathLst>
          </a:custGeom>
          <a:noFill/>
          <a:ln w="28575" cap="rnd" cmpd="sng" algn="ctr">
            <a:solidFill>
              <a:schemeClr val="accent4">
                <a:lumMod val="60000"/>
                <a:lumOff val="40000"/>
              </a:schemeClr>
            </a:solidFill>
            <a:prstDash val="sysDot"/>
            <a:tailEnd type="none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136" name="Group 135"/>
          <p:cNvGrpSpPr/>
          <p:nvPr/>
        </p:nvGrpSpPr>
        <p:grpSpPr>
          <a:xfrm>
            <a:off x="1523560" y="1965141"/>
            <a:ext cx="4384143" cy="1926829"/>
            <a:chOff x="845574" y="2369472"/>
            <a:chExt cx="5437242" cy="3819303"/>
          </a:xfrm>
        </p:grpSpPr>
        <p:sp>
          <p:nvSpPr>
            <p:cNvPr id="162" name="Freeform 161"/>
            <p:cNvSpPr/>
            <p:nvPr/>
          </p:nvSpPr>
          <p:spPr>
            <a:xfrm>
              <a:off x="866775" y="3638550"/>
              <a:ext cx="5286375" cy="2550225"/>
            </a:xfrm>
            <a:custGeom>
              <a:avLst/>
              <a:gdLst>
                <a:gd name="connsiteX0" fmla="*/ 0 w 6667500"/>
                <a:gd name="connsiteY0" fmla="*/ 2730500 h 2730500"/>
                <a:gd name="connsiteX1" fmla="*/ 3248025 w 6667500"/>
                <a:gd name="connsiteY1" fmla="*/ 149225 h 2730500"/>
                <a:gd name="connsiteX2" fmla="*/ 5581650 w 6667500"/>
                <a:gd name="connsiteY2" fmla="*/ 1835150 h 2730500"/>
                <a:gd name="connsiteX3" fmla="*/ 6667500 w 6667500"/>
                <a:gd name="connsiteY3" fmla="*/ 2168525 h 2730500"/>
                <a:gd name="connsiteX0" fmla="*/ 0 w 6667500"/>
                <a:gd name="connsiteY0" fmla="*/ 2730500 h 3143250"/>
                <a:gd name="connsiteX1" fmla="*/ 3248025 w 6667500"/>
                <a:gd name="connsiteY1" fmla="*/ 149225 h 3143250"/>
                <a:gd name="connsiteX2" fmla="*/ 5581650 w 6667500"/>
                <a:gd name="connsiteY2" fmla="*/ 1835150 h 3143250"/>
                <a:gd name="connsiteX3" fmla="*/ 6667500 w 6667500"/>
                <a:gd name="connsiteY3" fmla="*/ 2168525 h 3143250"/>
                <a:gd name="connsiteX0" fmla="*/ 0 w 6667500"/>
                <a:gd name="connsiteY0" fmla="*/ 2730500 h 3143250"/>
                <a:gd name="connsiteX1" fmla="*/ 3248025 w 6667500"/>
                <a:gd name="connsiteY1" fmla="*/ 149225 h 3143250"/>
                <a:gd name="connsiteX2" fmla="*/ 5581650 w 6667500"/>
                <a:gd name="connsiteY2" fmla="*/ 1835150 h 3143250"/>
                <a:gd name="connsiteX3" fmla="*/ 6667500 w 6667500"/>
                <a:gd name="connsiteY3" fmla="*/ 2168525 h 3143250"/>
                <a:gd name="connsiteX0" fmla="*/ 0 w 6667500"/>
                <a:gd name="connsiteY0" fmla="*/ 2730500 h 3067050"/>
                <a:gd name="connsiteX1" fmla="*/ 3248025 w 6667500"/>
                <a:gd name="connsiteY1" fmla="*/ 149225 h 3067050"/>
                <a:gd name="connsiteX2" fmla="*/ 5581650 w 6667500"/>
                <a:gd name="connsiteY2" fmla="*/ 1835150 h 3067050"/>
                <a:gd name="connsiteX3" fmla="*/ 6667500 w 6667500"/>
                <a:gd name="connsiteY3" fmla="*/ 2168525 h 3067050"/>
                <a:gd name="connsiteX0" fmla="*/ 0 w 6667500"/>
                <a:gd name="connsiteY0" fmla="*/ 2730500 h 3067050"/>
                <a:gd name="connsiteX1" fmla="*/ 3248025 w 6667500"/>
                <a:gd name="connsiteY1" fmla="*/ 149225 h 3067050"/>
                <a:gd name="connsiteX2" fmla="*/ 5581650 w 6667500"/>
                <a:gd name="connsiteY2" fmla="*/ 1835150 h 3067050"/>
                <a:gd name="connsiteX3" fmla="*/ 6667500 w 6667500"/>
                <a:gd name="connsiteY3" fmla="*/ 2168525 h 3067050"/>
                <a:gd name="connsiteX0" fmla="*/ 0 w 6153150"/>
                <a:gd name="connsiteY0" fmla="*/ 2730500 h 3067050"/>
                <a:gd name="connsiteX1" fmla="*/ 3248025 w 6153150"/>
                <a:gd name="connsiteY1" fmla="*/ 149225 h 3067050"/>
                <a:gd name="connsiteX2" fmla="*/ 5581650 w 6153150"/>
                <a:gd name="connsiteY2" fmla="*/ 1835150 h 3067050"/>
                <a:gd name="connsiteX3" fmla="*/ 6153150 w 6153150"/>
                <a:gd name="connsiteY3" fmla="*/ 2035175 h 3067050"/>
                <a:gd name="connsiteX0" fmla="*/ 0 w 6153150"/>
                <a:gd name="connsiteY0" fmla="*/ 2730500 h 3067050"/>
                <a:gd name="connsiteX1" fmla="*/ 3248025 w 6153150"/>
                <a:gd name="connsiteY1" fmla="*/ 149225 h 3067050"/>
                <a:gd name="connsiteX2" fmla="*/ 5581650 w 6153150"/>
                <a:gd name="connsiteY2" fmla="*/ 1835150 h 3067050"/>
                <a:gd name="connsiteX3" fmla="*/ 6153150 w 6153150"/>
                <a:gd name="connsiteY3" fmla="*/ 2035175 h 3067050"/>
                <a:gd name="connsiteX0" fmla="*/ 0 w 5581650"/>
                <a:gd name="connsiteY0" fmla="*/ 2730500 h 3067050"/>
                <a:gd name="connsiteX1" fmla="*/ 3248025 w 5581650"/>
                <a:gd name="connsiteY1" fmla="*/ 149225 h 3067050"/>
                <a:gd name="connsiteX2" fmla="*/ 5581650 w 5581650"/>
                <a:gd name="connsiteY2" fmla="*/ 1835150 h 3067050"/>
                <a:gd name="connsiteX0" fmla="*/ 0 w 5867400"/>
                <a:gd name="connsiteY0" fmla="*/ 2730500 h 3067050"/>
                <a:gd name="connsiteX1" fmla="*/ 3248025 w 5867400"/>
                <a:gd name="connsiteY1" fmla="*/ 149225 h 3067050"/>
                <a:gd name="connsiteX2" fmla="*/ 5867400 w 5867400"/>
                <a:gd name="connsiteY2" fmla="*/ 1968500 h 3067050"/>
                <a:gd name="connsiteX0" fmla="*/ 0 w 5867400"/>
                <a:gd name="connsiteY0" fmla="*/ 2730500 h 3067050"/>
                <a:gd name="connsiteX1" fmla="*/ 3248025 w 5867400"/>
                <a:gd name="connsiteY1" fmla="*/ 149225 h 3067050"/>
                <a:gd name="connsiteX2" fmla="*/ 5867400 w 5867400"/>
                <a:gd name="connsiteY2" fmla="*/ 1968500 h 3067050"/>
                <a:gd name="connsiteX0" fmla="*/ 0 w 6048375"/>
                <a:gd name="connsiteY0" fmla="*/ 2730500 h 3067050"/>
                <a:gd name="connsiteX1" fmla="*/ 3248025 w 6048375"/>
                <a:gd name="connsiteY1" fmla="*/ 149225 h 3067050"/>
                <a:gd name="connsiteX2" fmla="*/ 6048375 w 6048375"/>
                <a:gd name="connsiteY2" fmla="*/ 1892300 h 3067050"/>
                <a:gd name="connsiteX0" fmla="*/ 0 w 6048375"/>
                <a:gd name="connsiteY0" fmla="*/ 2730500 h 3067050"/>
                <a:gd name="connsiteX1" fmla="*/ 3248025 w 6048375"/>
                <a:gd name="connsiteY1" fmla="*/ 149225 h 3067050"/>
                <a:gd name="connsiteX2" fmla="*/ 6048375 w 6048375"/>
                <a:gd name="connsiteY2" fmla="*/ 1892300 h 3067050"/>
                <a:gd name="connsiteX0" fmla="*/ 0 w 6048375"/>
                <a:gd name="connsiteY0" fmla="*/ 2581275 h 2917825"/>
                <a:gd name="connsiteX1" fmla="*/ 3248025 w 6048375"/>
                <a:gd name="connsiteY1" fmla="*/ 0 h 2917825"/>
                <a:gd name="connsiteX2" fmla="*/ 6048375 w 6048375"/>
                <a:gd name="connsiteY2" fmla="*/ 1743075 h 2917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48375" h="2917825">
                  <a:moveTo>
                    <a:pt x="0" y="2581275"/>
                  </a:moveTo>
                  <a:cubicBezTo>
                    <a:pt x="1177925" y="2917825"/>
                    <a:pt x="1536700" y="149225"/>
                    <a:pt x="3248025" y="0"/>
                  </a:cubicBezTo>
                  <a:cubicBezTo>
                    <a:pt x="4711700" y="31750"/>
                    <a:pt x="4926013" y="1733550"/>
                    <a:pt x="6048375" y="1743075"/>
                  </a:cubicBezTo>
                </a:path>
              </a:pathLst>
            </a:custGeom>
            <a:noFill/>
            <a:ln w="28575" cap="flat" cmpd="sng" algn="ctr">
              <a:solidFill>
                <a:schemeClr val="accent4">
                  <a:lumMod val="60000"/>
                  <a:lumOff val="40000"/>
                </a:scheme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cxnSp>
          <p:nvCxnSpPr>
            <p:cNvPr id="163" name="Straight Arrow Connector 162"/>
            <p:cNvCxnSpPr/>
            <p:nvPr/>
          </p:nvCxnSpPr>
          <p:spPr>
            <a:xfrm flipV="1">
              <a:off x="845574" y="2369472"/>
              <a:ext cx="0" cy="3815429"/>
            </a:xfrm>
            <a:prstGeom prst="straightConnector1">
              <a:avLst/>
            </a:prstGeom>
            <a:noFill/>
            <a:ln w="12700" cap="flat" cmpd="sng" algn="ctr">
              <a:solidFill>
                <a:schemeClr val="bg2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64" name="Straight Arrow Connector 163"/>
            <p:cNvCxnSpPr/>
            <p:nvPr/>
          </p:nvCxnSpPr>
          <p:spPr>
            <a:xfrm>
              <a:off x="845574" y="5183321"/>
              <a:ext cx="5437242" cy="0"/>
            </a:xfrm>
            <a:prstGeom prst="straightConnector1">
              <a:avLst/>
            </a:prstGeom>
            <a:noFill/>
            <a:ln w="12700" cap="flat" cmpd="sng" algn="ctr">
              <a:solidFill>
                <a:schemeClr val="bg1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137" name="TextBox 66"/>
          <p:cNvSpPr txBox="1"/>
          <p:nvPr/>
        </p:nvSpPr>
        <p:spPr>
          <a:xfrm>
            <a:off x="5634571" y="3422882"/>
            <a:ext cx="3674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Время</a:t>
            </a:r>
          </a:p>
        </p:txBody>
      </p:sp>
      <p:sp>
        <p:nvSpPr>
          <p:cNvPr id="138" name="Oval 137"/>
          <p:cNvSpPr/>
          <p:nvPr/>
        </p:nvSpPr>
        <p:spPr bwMode="ltGray">
          <a:xfrm>
            <a:off x="3554237" y="2559245"/>
            <a:ext cx="124876" cy="124852"/>
          </a:xfrm>
          <a:prstGeom prst="ellipse">
            <a:avLst/>
          </a:prstGeom>
          <a:solidFill>
            <a:schemeClr val="bg1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endParaRPr lang="en-US" sz="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9" name="Oval 138"/>
          <p:cNvSpPr/>
          <p:nvPr/>
        </p:nvSpPr>
        <p:spPr bwMode="ltGray">
          <a:xfrm>
            <a:off x="5242855" y="3182238"/>
            <a:ext cx="124876" cy="124852"/>
          </a:xfrm>
          <a:prstGeom prst="ellipse">
            <a:avLst/>
          </a:prstGeom>
          <a:solidFill>
            <a:schemeClr val="bg1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endParaRPr lang="en-US" sz="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0" name="TextBox 70"/>
          <p:cNvSpPr txBox="1"/>
          <p:nvPr/>
        </p:nvSpPr>
        <p:spPr>
          <a:xfrm>
            <a:off x="3410759" y="2591601"/>
            <a:ext cx="26319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74320" algn="r">
              <a:spcAft>
                <a:spcPts val="900"/>
              </a:spcAft>
            </a:pPr>
            <a:r>
              <a:rPr lang="ru-RU" sz="3200" b="1" i="1" dirty="0" smtClean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41" name="TextBox 71"/>
          <p:cNvSpPr txBox="1"/>
          <p:nvPr/>
        </p:nvSpPr>
        <p:spPr>
          <a:xfrm>
            <a:off x="5319888" y="2711667"/>
            <a:ext cx="26319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74320" algn="r">
              <a:spcAft>
                <a:spcPts val="900"/>
              </a:spcAft>
            </a:pPr>
            <a:r>
              <a:rPr lang="ru-RU" sz="2800" b="1" i="1" dirty="0" smtClean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142" name="TextBox 72"/>
          <p:cNvSpPr txBox="1"/>
          <p:nvPr/>
        </p:nvSpPr>
        <p:spPr>
          <a:xfrm>
            <a:off x="1421354" y="3345937"/>
            <a:ext cx="625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0</a:t>
            </a:r>
          </a:p>
        </p:txBody>
      </p:sp>
      <p:grpSp>
        <p:nvGrpSpPr>
          <p:cNvPr id="143" name="Group 142"/>
          <p:cNvGrpSpPr/>
          <p:nvPr/>
        </p:nvGrpSpPr>
        <p:grpSpPr>
          <a:xfrm>
            <a:off x="5123493" y="2007982"/>
            <a:ext cx="997083" cy="369794"/>
            <a:chOff x="2246342" y="1754496"/>
            <a:chExt cx="914400" cy="595003"/>
          </a:xfrm>
        </p:grpSpPr>
        <p:sp>
          <p:nvSpPr>
            <p:cNvPr id="160" name="Chevron 159"/>
            <p:cNvSpPr>
              <a:spLocks/>
            </p:cNvSpPr>
            <p:nvPr/>
          </p:nvSpPr>
          <p:spPr bwMode="blackWhite">
            <a:xfrm>
              <a:off x="2246342" y="1754496"/>
              <a:ext cx="914400" cy="595003"/>
            </a:xfrm>
            <a:prstGeom prst="chevron">
              <a:avLst>
                <a:gd name="adj" fmla="val 19959"/>
              </a:avLst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97603" tIns="48802" rIns="97603" bIns="48802" anchor="ctr"/>
            <a:lstStyle/>
            <a:p>
              <a:endParaRPr lang="en-US" sz="8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1" name="Rectangle 160"/>
            <p:cNvSpPr>
              <a:spLocks noChangeArrowheads="1"/>
            </p:cNvSpPr>
            <p:nvPr/>
          </p:nvSpPr>
          <p:spPr bwMode="blackWhite">
            <a:xfrm>
              <a:off x="2375006" y="1836268"/>
              <a:ext cx="733659" cy="4314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4067" tIns="0" rIns="4067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75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ru-RU" sz="80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Предложения по удержанию</a:t>
              </a:r>
            </a:p>
          </p:txBody>
        </p:sp>
      </p:grpSp>
      <p:grpSp>
        <p:nvGrpSpPr>
          <p:cNvPr id="144" name="Group 143"/>
          <p:cNvGrpSpPr/>
          <p:nvPr/>
        </p:nvGrpSpPr>
        <p:grpSpPr>
          <a:xfrm>
            <a:off x="2115539" y="2007982"/>
            <a:ext cx="927992" cy="369794"/>
            <a:chOff x="2246342" y="1754496"/>
            <a:chExt cx="945166" cy="595003"/>
          </a:xfrm>
        </p:grpSpPr>
        <p:sp>
          <p:nvSpPr>
            <p:cNvPr id="158" name="Chevron 157"/>
            <p:cNvSpPr>
              <a:spLocks/>
            </p:cNvSpPr>
            <p:nvPr/>
          </p:nvSpPr>
          <p:spPr bwMode="blackWhite">
            <a:xfrm>
              <a:off x="2246342" y="1754496"/>
              <a:ext cx="914400" cy="595003"/>
            </a:xfrm>
            <a:prstGeom prst="chevron">
              <a:avLst>
                <a:gd name="adj" fmla="val 19959"/>
              </a:avLst>
            </a:prstGeom>
            <a:solidFill>
              <a:schemeClr val="accent3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97603" tIns="48802" rIns="97603" bIns="48802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59" name="Rectangle 158"/>
            <p:cNvSpPr>
              <a:spLocks noChangeArrowheads="1"/>
            </p:cNvSpPr>
            <p:nvPr/>
          </p:nvSpPr>
          <p:spPr bwMode="blackWhite">
            <a:xfrm>
              <a:off x="2403801" y="1819334"/>
              <a:ext cx="787707" cy="4314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4067" tIns="0" rIns="4067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75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ru-RU" sz="80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Исследование</a:t>
              </a:r>
            </a:p>
          </p:txBody>
        </p:sp>
      </p:grpSp>
      <p:grpSp>
        <p:nvGrpSpPr>
          <p:cNvPr id="145" name="Group 144"/>
          <p:cNvGrpSpPr/>
          <p:nvPr/>
        </p:nvGrpSpPr>
        <p:grpSpPr>
          <a:xfrm>
            <a:off x="2948283" y="2007982"/>
            <a:ext cx="693755" cy="369794"/>
            <a:chOff x="2246342" y="1754496"/>
            <a:chExt cx="914400" cy="595003"/>
          </a:xfrm>
          <a:solidFill>
            <a:srgbClr val="FFFFFF">
              <a:lumMod val="85000"/>
            </a:srgbClr>
          </a:solidFill>
        </p:grpSpPr>
        <p:sp>
          <p:nvSpPr>
            <p:cNvPr id="156" name="Chevron 155"/>
            <p:cNvSpPr>
              <a:spLocks/>
            </p:cNvSpPr>
            <p:nvPr/>
          </p:nvSpPr>
          <p:spPr bwMode="blackWhite">
            <a:xfrm>
              <a:off x="2246342" y="1754496"/>
              <a:ext cx="914400" cy="595003"/>
            </a:xfrm>
            <a:prstGeom prst="chevron">
              <a:avLst>
                <a:gd name="adj" fmla="val 19959"/>
              </a:avLst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97603" tIns="48802" rIns="97603" bIns="48802" anchor="ctr"/>
            <a:lstStyle/>
            <a:p>
              <a:endParaRPr lang="en-US" sz="8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7" name="Rectangle 156"/>
            <p:cNvSpPr>
              <a:spLocks noChangeArrowheads="1"/>
            </p:cNvSpPr>
            <p:nvPr/>
          </p:nvSpPr>
          <p:spPr bwMode="blackWhite">
            <a:xfrm>
              <a:off x="2375008" y="1836268"/>
              <a:ext cx="657068" cy="431460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0" tIns="48802" rIns="0" bIns="48802" anchor="ctr"/>
            <a:lstStyle/>
            <a:p>
              <a:pPr algn="ctr"/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Зрелость</a:t>
              </a:r>
              <a:endParaRPr lang="ru-RU" sz="800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46" name="Group 145"/>
          <p:cNvGrpSpPr/>
          <p:nvPr/>
        </p:nvGrpSpPr>
        <p:grpSpPr>
          <a:xfrm>
            <a:off x="3576998" y="2007982"/>
            <a:ext cx="1611534" cy="369794"/>
            <a:chOff x="2246342" y="1754496"/>
            <a:chExt cx="914400" cy="595003"/>
          </a:xfrm>
        </p:grpSpPr>
        <p:sp>
          <p:nvSpPr>
            <p:cNvPr id="154" name="Chevron 153"/>
            <p:cNvSpPr>
              <a:spLocks/>
            </p:cNvSpPr>
            <p:nvPr/>
          </p:nvSpPr>
          <p:spPr bwMode="blackWhite">
            <a:xfrm>
              <a:off x="2246342" y="1754496"/>
              <a:ext cx="914400" cy="595003"/>
            </a:xfrm>
            <a:prstGeom prst="chevron">
              <a:avLst>
                <a:gd name="adj" fmla="val 19959"/>
              </a:avLst>
            </a:prstGeom>
            <a:solidFill>
              <a:schemeClr val="accent3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97603" tIns="48802" rIns="97603" bIns="48802" anchor="ctr"/>
            <a:lstStyle/>
            <a:p>
              <a:endParaRPr lang="en-US" sz="8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5" name="Rectangle 154"/>
            <p:cNvSpPr>
              <a:spLocks noChangeArrowheads="1"/>
            </p:cNvSpPr>
            <p:nvPr/>
          </p:nvSpPr>
          <p:spPr bwMode="blackWhite">
            <a:xfrm>
              <a:off x="2263482" y="1836268"/>
              <a:ext cx="657068" cy="43146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97603" tIns="48802" rIns="97603" bIns="48802" anchor="ctr"/>
            <a:lstStyle/>
            <a:p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Перекрестные и доп.продажи</a:t>
              </a:r>
              <a:endParaRPr lang="ru-RU" sz="800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1604134" y="2007982"/>
            <a:ext cx="576444" cy="369794"/>
            <a:chOff x="2246342" y="1754496"/>
            <a:chExt cx="914400" cy="595003"/>
          </a:xfrm>
          <a:solidFill>
            <a:srgbClr val="FFFFFF">
              <a:lumMod val="85000"/>
            </a:srgbClr>
          </a:solidFill>
        </p:grpSpPr>
        <p:sp>
          <p:nvSpPr>
            <p:cNvPr id="152" name="Chevron 151"/>
            <p:cNvSpPr>
              <a:spLocks/>
            </p:cNvSpPr>
            <p:nvPr/>
          </p:nvSpPr>
          <p:spPr bwMode="blackWhite">
            <a:xfrm>
              <a:off x="2246342" y="1754496"/>
              <a:ext cx="914400" cy="595003"/>
            </a:xfrm>
            <a:prstGeom prst="chevron">
              <a:avLst>
                <a:gd name="adj" fmla="val 19959"/>
              </a:avLst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97603" tIns="48802" rIns="97603" bIns="48802" anchor="ctr"/>
            <a:lstStyle/>
            <a:p>
              <a:endParaRPr lang="en-US" sz="8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3" name="Rectangle 152"/>
            <p:cNvSpPr>
              <a:spLocks noChangeArrowheads="1"/>
            </p:cNvSpPr>
            <p:nvPr/>
          </p:nvSpPr>
          <p:spPr bwMode="blackWhite">
            <a:xfrm>
              <a:off x="2375008" y="1836268"/>
              <a:ext cx="657068" cy="431460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0" tIns="48802" rIns="0" bIns="48802" anchor="ctr"/>
            <a:lstStyle/>
            <a:p>
              <a:pPr algn="ctr" defTabSz="975098">
                <a:buSzPct val="120000"/>
                <a:defRPr/>
              </a:pPr>
              <a:r>
                <a:rPr lang="ru-RU" sz="800" dirty="0" smtClean="0">
                  <a:solidFill>
                    <a:schemeClr val="bg1"/>
                  </a:solidFill>
                  <a:latin typeface="+mj-lt"/>
                </a:rPr>
                <a:t>Продажи</a:t>
              </a:r>
              <a:endParaRPr lang="ru-RU" sz="800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48" name="AutoShape 50"/>
          <p:cNvSpPr>
            <a:spLocks noChangeArrowheads="1"/>
          </p:cNvSpPr>
          <p:nvPr/>
        </p:nvSpPr>
        <p:spPr bwMode="auto">
          <a:xfrm flipH="1">
            <a:off x="1663997" y="3906449"/>
            <a:ext cx="1209413" cy="692497"/>
          </a:xfrm>
          <a:prstGeom prst="accentCallout2">
            <a:avLst>
              <a:gd name="adj1" fmla="val 16392"/>
              <a:gd name="adj2" fmla="val -2481"/>
              <a:gd name="adj3" fmla="val 14841"/>
              <a:gd name="adj4" fmla="val -8896"/>
              <a:gd name="adj5" fmla="val -55972"/>
              <a:gd name="adj6" fmla="val 74256"/>
            </a:avLst>
          </a:prstGeom>
          <a:noFill/>
          <a:ln w="6350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 wrap="square" lIns="36731" tIns="0" rIns="36731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88" marR="0" lvl="1" algn="l" defTabSz="91352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9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Несоответствие предложения потребностям и ожиданиям клиента</a:t>
            </a:r>
          </a:p>
        </p:txBody>
      </p:sp>
      <p:sp>
        <p:nvSpPr>
          <p:cNvPr id="150" name="Freeform 149"/>
          <p:cNvSpPr/>
          <p:nvPr/>
        </p:nvSpPr>
        <p:spPr>
          <a:xfrm rot="18675167">
            <a:off x="1738132" y="3061998"/>
            <a:ext cx="1208580" cy="193725"/>
          </a:xfrm>
          <a:custGeom>
            <a:avLst/>
            <a:gdLst>
              <a:gd name="connsiteX0" fmla="*/ 0 w 6667500"/>
              <a:gd name="connsiteY0" fmla="*/ 2730500 h 2730500"/>
              <a:gd name="connsiteX1" fmla="*/ 3248025 w 6667500"/>
              <a:gd name="connsiteY1" fmla="*/ 149225 h 2730500"/>
              <a:gd name="connsiteX2" fmla="*/ 5581650 w 6667500"/>
              <a:gd name="connsiteY2" fmla="*/ 1835150 h 2730500"/>
              <a:gd name="connsiteX3" fmla="*/ 6667500 w 6667500"/>
              <a:gd name="connsiteY3" fmla="*/ 2168525 h 2730500"/>
              <a:gd name="connsiteX0" fmla="*/ 0 w 6667500"/>
              <a:gd name="connsiteY0" fmla="*/ 2730500 h 3143250"/>
              <a:gd name="connsiteX1" fmla="*/ 3248025 w 6667500"/>
              <a:gd name="connsiteY1" fmla="*/ 149225 h 3143250"/>
              <a:gd name="connsiteX2" fmla="*/ 5581650 w 6667500"/>
              <a:gd name="connsiteY2" fmla="*/ 1835150 h 3143250"/>
              <a:gd name="connsiteX3" fmla="*/ 6667500 w 6667500"/>
              <a:gd name="connsiteY3" fmla="*/ 2168525 h 3143250"/>
              <a:gd name="connsiteX0" fmla="*/ 0 w 6667500"/>
              <a:gd name="connsiteY0" fmla="*/ 2730500 h 3143250"/>
              <a:gd name="connsiteX1" fmla="*/ 3248025 w 6667500"/>
              <a:gd name="connsiteY1" fmla="*/ 149225 h 3143250"/>
              <a:gd name="connsiteX2" fmla="*/ 5581650 w 6667500"/>
              <a:gd name="connsiteY2" fmla="*/ 1835150 h 3143250"/>
              <a:gd name="connsiteX3" fmla="*/ 6667500 w 6667500"/>
              <a:gd name="connsiteY3" fmla="*/ 2168525 h 3143250"/>
              <a:gd name="connsiteX0" fmla="*/ 0 w 6667500"/>
              <a:gd name="connsiteY0" fmla="*/ 2730500 h 3067050"/>
              <a:gd name="connsiteX1" fmla="*/ 3248025 w 6667500"/>
              <a:gd name="connsiteY1" fmla="*/ 149225 h 3067050"/>
              <a:gd name="connsiteX2" fmla="*/ 5581650 w 6667500"/>
              <a:gd name="connsiteY2" fmla="*/ 1835150 h 3067050"/>
              <a:gd name="connsiteX3" fmla="*/ 6667500 w 6667500"/>
              <a:gd name="connsiteY3" fmla="*/ 2168525 h 3067050"/>
              <a:gd name="connsiteX0" fmla="*/ 0 w 6667500"/>
              <a:gd name="connsiteY0" fmla="*/ 2730500 h 3067050"/>
              <a:gd name="connsiteX1" fmla="*/ 3248025 w 6667500"/>
              <a:gd name="connsiteY1" fmla="*/ 149225 h 3067050"/>
              <a:gd name="connsiteX2" fmla="*/ 5581650 w 6667500"/>
              <a:gd name="connsiteY2" fmla="*/ 1835150 h 3067050"/>
              <a:gd name="connsiteX3" fmla="*/ 6667500 w 6667500"/>
              <a:gd name="connsiteY3" fmla="*/ 2168525 h 3067050"/>
              <a:gd name="connsiteX0" fmla="*/ 0 w 6153150"/>
              <a:gd name="connsiteY0" fmla="*/ 2730500 h 3067050"/>
              <a:gd name="connsiteX1" fmla="*/ 3248025 w 6153150"/>
              <a:gd name="connsiteY1" fmla="*/ 149225 h 3067050"/>
              <a:gd name="connsiteX2" fmla="*/ 5581650 w 6153150"/>
              <a:gd name="connsiteY2" fmla="*/ 1835150 h 3067050"/>
              <a:gd name="connsiteX3" fmla="*/ 6153150 w 6153150"/>
              <a:gd name="connsiteY3" fmla="*/ 2035175 h 3067050"/>
              <a:gd name="connsiteX0" fmla="*/ 0 w 6153150"/>
              <a:gd name="connsiteY0" fmla="*/ 2730500 h 3067050"/>
              <a:gd name="connsiteX1" fmla="*/ 3248025 w 6153150"/>
              <a:gd name="connsiteY1" fmla="*/ 149225 h 3067050"/>
              <a:gd name="connsiteX2" fmla="*/ 5581650 w 6153150"/>
              <a:gd name="connsiteY2" fmla="*/ 1835150 h 3067050"/>
              <a:gd name="connsiteX3" fmla="*/ 6153150 w 6153150"/>
              <a:gd name="connsiteY3" fmla="*/ 2035175 h 3067050"/>
              <a:gd name="connsiteX0" fmla="*/ 0 w 5581650"/>
              <a:gd name="connsiteY0" fmla="*/ 2730500 h 3067050"/>
              <a:gd name="connsiteX1" fmla="*/ 3248025 w 5581650"/>
              <a:gd name="connsiteY1" fmla="*/ 149225 h 3067050"/>
              <a:gd name="connsiteX2" fmla="*/ 5581650 w 5581650"/>
              <a:gd name="connsiteY2" fmla="*/ 1835150 h 3067050"/>
              <a:gd name="connsiteX0" fmla="*/ 0 w 5867400"/>
              <a:gd name="connsiteY0" fmla="*/ 2730500 h 3067050"/>
              <a:gd name="connsiteX1" fmla="*/ 3248025 w 5867400"/>
              <a:gd name="connsiteY1" fmla="*/ 149225 h 3067050"/>
              <a:gd name="connsiteX2" fmla="*/ 5867400 w 5867400"/>
              <a:gd name="connsiteY2" fmla="*/ 1968500 h 3067050"/>
              <a:gd name="connsiteX0" fmla="*/ 0 w 5867400"/>
              <a:gd name="connsiteY0" fmla="*/ 2730500 h 3067050"/>
              <a:gd name="connsiteX1" fmla="*/ 3248025 w 5867400"/>
              <a:gd name="connsiteY1" fmla="*/ 149225 h 3067050"/>
              <a:gd name="connsiteX2" fmla="*/ 5867400 w 5867400"/>
              <a:gd name="connsiteY2" fmla="*/ 1968500 h 3067050"/>
              <a:gd name="connsiteX0" fmla="*/ 0 w 6048375"/>
              <a:gd name="connsiteY0" fmla="*/ 2730500 h 3067050"/>
              <a:gd name="connsiteX1" fmla="*/ 3248025 w 6048375"/>
              <a:gd name="connsiteY1" fmla="*/ 149225 h 3067050"/>
              <a:gd name="connsiteX2" fmla="*/ 6048375 w 6048375"/>
              <a:gd name="connsiteY2" fmla="*/ 1892300 h 3067050"/>
              <a:gd name="connsiteX0" fmla="*/ 0 w 6048375"/>
              <a:gd name="connsiteY0" fmla="*/ 2730500 h 3067050"/>
              <a:gd name="connsiteX1" fmla="*/ 3248025 w 6048375"/>
              <a:gd name="connsiteY1" fmla="*/ 149225 h 3067050"/>
              <a:gd name="connsiteX2" fmla="*/ 6048375 w 6048375"/>
              <a:gd name="connsiteY2" fmla="*/ 1892300 h 3067050"/>
              <a:gd name="connsiteX0" fmla="*/ 0 w 6048375"/>
              <a:gd name="connsiteY0" fmla="*/ 2581275 h 2917825"/>
              <a:gd name="connsiteX1" fmla="*/ 3248025 w 6048375"/>
              <a:gd name="connsiteY1" fmla="*/ 0 h 2917825"/>
              <a:gd name="connsiteX2" fmla="*/ 6048375 w 6048375"/>
              <a:gd name="connsiteY2" fmla="*/ 1743075 h 2917825"/>
              <a:gd name="connsiteX0" fmla="*/ 0 w 2800350"/>
              <a:gd name="connsiteY0" fmla="*/ 0 h 1743075"/>
              <a:gd name="connsiteX1" fmla="*/ 2800350 w 2800350"/>
              <a:gd name="connsiteY1" fmla="*/ 1743075 h 1743075"/>
              <a:gd name="connsiteX0" fmla="*/ 0 w 2800350"/>
              <a:gd name="connsiteY0" fmla="*/ 0 h 1743075"/>
              <a:gd name="connsiteX1" fmla="*/ 460311 w 2800350"/>
              <a:gd name="connsiteY1" fmla="*/ 277662 h 1743075"/>
              <a:gd name="connsiteX2" fmla="*/ 2800350 w 2800350"/>
              <a:gd name="connsiteY2" fmla="*/ 1743075 h 1743075"/>
              <a:gd name="connsiteX0" fmla="*/ 0 w 2444865"/>
              <a:gd name="connsiteY0" fmla="*/ 116360 h 435475"/>
              <a:gd name="connsiteX1" fmla="*/ 460311 w 2444865"/>
              <a:gd name="connsiteY1" fmla="*/ 394022 h 435475"/>
              <a:gd name="connsiteX2" fmla="*/ 2444865 w 2444865"/>
              <a:gd name="connsiteY2" fmla="*/ 9525 h 435475"/>
              <a:gd name="connsiteX0" fmla="*/ 0 w 2444865"/>
              <a:gd name="connsiteY0" fmla="*/ 106835 h 439483"/>
              <a:gd name="connsiteX1" fmla="*/ 460311 w 2444865"/>
              <a:gd name="connsiteY1" fmla="*/ 384497 h 439483"/>
              <a:gd name="connsiteX2" fmla="*/ 2444865 w 2444865"/>
              <a:gd name="connsiteY2" fmla="*/ 0 h 439483"/>
              <a:gd name="connsiteX0" fmla="*/ 0 w 1984554"/>
              <a:gd name="connsiteY0" fmla="*/ 384497 h 439482"/>
              <a:gd name="connsiteX1" fmla="*/ 1984554 w 1984554"/>
              <a:gd name="connsiteY1" fmla="*/ 0 h 439482"/>
              <a:gd name="connsiteX0" fmla="*/ 0 w 1984554"/>
              <a:gd name="connsiteY0" fmla="*/ 384497 h 569632"/>
              <a:gd name="connsiteX1" fmla="*/ 1984554 w 1984554"/>
              <a:gd name="connsiteY1" fmla="*/ 0 h 569632"/>
              <a:gd name="connsiteX0" fmla="*/ 0 w 1984554"/>
              <a:gd name="connsiteY0" fmla="*/ 384497 h 569632"/>
              <a:gd name="connsiteX1" fmla="*/ 1984554 w 1984554"/>
              <a:gd name="connsiteY1" fmla="*/ 0 h 569632"/>
              <a:gd name="connsiteX0" fmla="*/ 0 w 1984554"/>
              <a:gd name="connsiteY0" fmla="*/ 325914 h 511049"/>
              <a:gd name="connsiteX1" fmla="*/ 1984554 w 1984554"/>
              <a:gd name="connsiteY1" fmla="*/ 0 h 511049"/>
              <a:gd name="connsiteX0" fmla="*/ 0 w 1984554"/>
              <a:gd name="connsiteY0" fmla="*/ 325914 h 511049"/>
              <a:gd name="connsiteX1" fmla="*/ 1984554 w 1984554"/>
              <a:gd name="connsiteY1" fmla="*/ 0 h 511049"/>
              <a:gd name="connsiteX0" fmla="*/ 0 w 1984554"/>
              <a:gd name="connsiteY0" fmla="*/ 325914 h 410872"/>
              <a:gd name="connsiteX1" fmla="*/ 1984554 w 1984554"/>
              <a:gd name="connsiteY1" fmla="*/ 0 h 410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84554" h="410872">
                <a:moveTo>
                  <a:pt x="0" y="325914"/>
                </a:moveTo>
                <a:cubicBezTo>
                  <a:pt x="902476" y="356606"/>
                  <a:pt x="1363168" y="410872"/>
                  <a:pt x="1984554" y="0"/>
                </a:cubicBezTo>
              </a:path>
            </a:pathLst>
          </a:custGeom>
          <a:noFill/>
          <a:ln w="28575" cap="rnd" cmpd="sng" algn="ctr">
            <a:solidFill>
              <a:schemeClr val="accent4">
                <a:lumMod val="60000"/>
                <a:lumOff val="40000"/>
              </a:schemeClr>
            </a:solidFill>
            <a:prstDash val="sysDot"/>
            <a:tailEnd type="none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51" name="TextBox 96"/>
          <p:cNvSpPr txBox="1"/>
          <p:nvPr/>
        </p:nvSpPr>
        <p:spPr>
          <a:xfrm>
            <a:off x="1561650" y="3281235"/>
            <a:ext cx="26319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74320" algn="r">
              <a:spcAft>
                <a:spcPts val="900"/>
              </a:spcAft>
            </a:pPr>
            <a:r>
              <a:rPr lang="ru-RU" sz="3200" b="1" i="1" dirty="0" smtClean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18" name="Rectangle 17"/>
          <p:cNvSpPr>
            <a:spLocks/>
          </p:cNvSpPr>
          <p:nvPr/>
        </p:nvSpPr>
        <p:spPr bwMode="auto">
          <a:xfrm>
            <a:off x="142450" y="3248537"/>
            <a:ext cx="681848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Данные</a:t>
            </a:r>
            <a:endParaRPr lang="ru-RU" sz="1050" b="1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17" name="Freeform 45"/>
          <p:cNvSpPr>
            <a:spLocks noEditPoints="1"/>
          </p:cNvSpPr>
          <p:nvPr/>
        </p:nvSpPr>
        <p:spPr bwMode="auto">
          <a:xfrm>
            <a:off x="7291715" y="1044029"/>
            <a:ext cx="1054308" cy="688824"/>
          </a:xfrm>
          <a:custGeom>
            <a:avLst/>
            <a:gdLst>
              <a:gd name="T0" fmla="*/ 1775 w 6560"/>
              <a:gd name="T1" fmla="*/ 4184 h 6556"/>
              <a:gd name="T2" fmla="*/ 2054 w 6560"/>
              <a:gd name="T3" fmla="*/ 4628 h 6556"/>
              <a:gd name="T4" fmla="*/ 1725 w 6560"/>
              <a:gd name="T5" fmla="*/ 4892 h 6556"/>
              <a:gd name="T6" fmla="*/ 1330 w 6560"/>
              <a:gd name="T7" fmla="*/ 5097 h 6556"/>
              <a:gd name="T8" fmla="*/ 882 w 6560"/>
              <a:gd name="T9" fmla="*/ 5238 h 6556"/>
              <a:gd name="T10" fmla="*/ 373 w 6560"/>
              <a:gd name="T11" fmla="*/ 5312 h 6556"/>
              <a:gd name="T12" fmla="*/ 0 w 6560"/>
              <a:gd name="T13" fmla="*/ 4507 h 6556"/>
              <a:gd name="T14" fmla="*/ 445 w 6560"/>
              <a:gd name="T15" fmla="*/ 4483 h 6556"/>
              <a:gd name="T16" fmla="*/ 812 w 6560"/>
              <a:gd name="T17" fmla="*/ 4411 h 6556"/>
              <a:gd name="T18" fmla="*/ 1113 w 6560"/>
              <a:gd name="T19" fmla="*/ 4298 h 6556"/>
              <a:gd name="T20" fmla="*/ 1358 w 6560"/>
              <a:gd name="T21" fmla="*/ 4144 h 6556"/>
              <a:gd name="T22" fmla="*/ 1562 w 6560"/>
              <a:gd name="T23" fmla="*/ 3959 h 6556"/>
              <a:gd name="T24" fmla="*/ 189 w 6560"/>
              <a:gd name="T25" fmla="*/ 1234 h 6556"/>
              <a:gd name="T26" fmla="*/ 718 w 6560"/>
              <a:gd name="T27" fmla="*/ 1286 h 6556"/>
              <a:gd name="T28" fmla="*/ 1187 w 6560"/>
              <a:gd name="T29" fmla="*/ 1405 h 6556"/>
              <a:gd name="T30" fmla="*/ 1600 w 6560"/>
              <a:gd name="T31" fmla="*/ 1589 h 6556"/>
              <a:gd name="T32" fmla="*/ 1959 w 6560"/>
              <a:gd name="T33" fmla="*/ 1840 h 6556"/>
              <a:gd name="T34" fmla="*/ 2264 w 6560"/>
              <a:gd name="T35" fmla="*/ 2155 h 6556"/>
              <a:gd name="T36" fmla="*/ 2505 w 6560"/>
              <a:gd name="T37" fmla="*/ 2498 h 6556"/>
              <a:gd name="T38" fmla="*/ 2705 w 6560"/>
              <a:gd name="T39" fmla="*/ 2854 h 6556"/>
              <a:gd name="T40" fmla="*/ 2872 w 6560"/>
              <a:gd name="T41" fmla="*/ 3185 h 6556"/>
              <a:gd name="T42" fmla="*/ 3008 w 6560"/>
              <a:gd name="T43" fmla="*/ 3446 h 6556"/>
              <a:gd name="T44" fmla="*/ 3149 w 6560"/>
              <a:gd name="T45" fmla="*/ 3688 h 6556"/>
              <a:gd name="T46" fmla="*/ 3311 w 6560"/>
              <a:gd name="T47" fmla="*/ 3905 h 6556"/>
              <a:gd name="T48" fmla="*/ 3500 w 6560"/>
              <a:gd name="T49" fmla="*/ 4096 h 6556"/>
              <a:gd name="T50" fmla="*/ 3732 w 6560"/>
              <a:gd name="T51" fmla="*/ 4258 h 6556"/>
              <a:gd name="T52" fmla="*/ 4011 w 6560"/>
              <a:gd name="T53" fmla="*/ 4381 h 6556"/>
              <a:gd name="T54" fmla="*/ 4352 w 6560"/>
              <a:gd name="T55" fmla="*/ 4465 h 6556"/>
              <a:gd name="T56" fmla="*/ 4765 w 6560"/>
              <a:gd name="T57" fmla="*/ 4505 h 6556"/>
              <a:gd name="T58" fmla="*/ 6560 w 6560"/>
              <a:gd name="T59" fmla="*/ 4918 h 6556"/>
              <a:gd name="T60" fmla="*/ 4729 w 6560"/>
              <a:gd name="T61" fmla="*/ 5324 h 6556"/>
              <a:gd name="T62" fmla="*/ 4200 w 6560"/>
              <a:gd name="T63" fmla="*/ 5270 h 6556"/>
              <a:gd name="T64" fmla="*/ 3732 w 6560"/>
              <a:gd name="T65" fmla="*/ 5151 h 6556"/>
              <a:gd name="T66" fmla="*/ 3321 w 6560"/>
              <a:gd name="T67" fmla="*/ 4967 h 6556"/>
              <a:gd name="T68" fmla="*/ 2962 w 6560"/>
              <a:gd name="T69" fmla="*/ 4716 h 6556"/>
              <a:gd name="T70" fmla="*/ 2657 w 6560"/>
              <a:gd name="T71" fmla="*/ 4401 h 6556"/>
              <a:gd name="T72" fmla="*/ 2415 w 6560"/>
              <a:gd name="T73" fmla="*/ 4060 h 6556"/>
              <a:gd name="T74" fmla="*/ 2214 w 6560"/>
              <a:gd name="T75" fmla="*/ 3702 h 6556"/>
              <a:gd name="T76" fmla="*/ 2048 w 6560"/>
              <a:gd name="T77" fmla="*/ 3371 h 6556"/>
              <a:gd name="T78" fmla="*/ 1913 w 6560"/>
              <a:gd name="T79" fmla="*/ 3112 h 6556"/>
              <a:gd name="T80" fmla="*/ 1769 w 6560"/>
              <a:gd name="T81" fmla="*/ 2868 h 6556"/>
              <a:gd name="T82" fmla="*/ 1610 w 6560"/>
              <a:gd name="T83" fmla="*/ 2651 h 6556"/>
              <a:gd name="T84" fmla="*/ 1418 w 6560"/>
              <a:gd name="T85" fmla="*/ 2460 h 6556"/>
              <a:gd name="T86" fmla="*/ 1189 w 6560"/>
              <a:gd name="T87" fmla="*/ 2300 h 6556"/>
              <a:gd name="T88" fmla="*/ 910 w 6560"/>
              <a:gd name="T89" fmla="*/ 2175 h 6556"/>
              <a:gd name="T90" fmla="*/ 568 w 6560"/>
              <a:gd name="T91" fmla="*/ 2091 h 6556"/>
              <a:gd name="T92" fmla="*/ 156 w 6560"/>
              <a:gd name="T93" fmla="*/ 2051 h 6556"/>
              <a:gd name="T94" fmla="*/ 4921 w 6560"/>
              <a:gd name="T95" fmla="*/ 0 h 6556"/>
              <a:gd name="T96" fmla="*/ 4921 w 6560"/>
              <a:gd name="T97" fmla="*/ 2049 h 6556"/>
              <a:gd name="T98" fmla="*/ 4476 w 6560"/>
              <a:gd name="T99" fmla="*/ 2073 h 6556"/>
              <a:gd name="T100" fmla="*/ 4109 w 6560"/>
              <a:gd name="T101" fmla="*/ 2145 h 6556"/>
              <a:gd name="T102" fmla="*/ 3808 w 6560"/>
              <a:gd name="T103" fmla="*/ 2258 h 6556"/>
              <a:gd name="T104" fmla="*/ 3560 w 6560"/>
              <a:gd name="T105" fmla="*/ 2412 h 6556"/>
              <a:gd name="T106" fmla="*/ 3359 w 6560"/>
              <a:gd name="T107" fmla="*/ 2597 h 6556"/>
              <a:gd name="T108" fmla="*/ 3143 w 6560"/>
              <a:gd name="T109" fmla="*/ 2372 h 6556"/>
              <a:gd name="T110" fmla="*/ 2864 w 6560"/>
              <a:gd name="T111" fmla="*/ 1930 h 6556"/>
              <a:gd name="T112" fmla="*/ 3195 w 6560"/>
              <a:gd name="T113" fmla="*/ 1666 h 6556"/>
              <a:gd name="T114" fmla="*/ 3588 w 6560"/>
              <a:gd name="T115" fmla="*/ 1459 h 6556"/>
              <a:gd name="T116" fmla="*/ 4039 w 6560"/>
              <a:gd name="T117" fmla="*/ 1320 h 6556"/>
              <a:gd name="T118" fmla="*/ 4548 w 6560"/>
              <a:gd name="T119" fmla="*/ 1244 h 6556"/>
              <a:gd name="T120" fmla="*/ 4921 w 6560"/>
              <a:gd name="T121" fmla="*/ 0 h 6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560" h="6556">
                <a:moveTo>
                  <a:pt x="1622" y="3891"/>
                </a:moveTo>
                <a:lnTo>
                  <a:pt x="1695" y="4036"/>
                </a:lnTo>
                <a:lnTo>
                  <a:pt x="1775" y="4184"/>
                </a:lnTo>
                <a:lnTo>
                  <a:pt x="1861" y="4331"/>
                </a:lnTo>
                <a:lnTo>
                  <a:pt x="1955" y="4481"/>
                </a:lnTo>
                <a:lnTo>
                  <a:pt x="2054" y="4628"/>
                </a:lnTo>
                <a:lnTo>
                  <a:pt x="1959" y="4716"/>
                </a:lnTo>
                <a:lnTo>
                  <a:pt x="1845" y="4808"/>
                </a:lnTo>
                <a:lnTo>
                  <a:pt x="1725" y="4892"/>
                </a:lnTo>
                <a:lnTo>
                  <a:pt x="1600" y="4967"/>
                </a:lnTo>
                <a:lnTo>
                  <a:pt x="1468" y="5035"/>
                </a:lnTo>
                <a:lnTo>
                  <a:pt x="1330" y="5097"/>
                </a:lnTo>
                <a:lnTo>
                  <a:pt x="1187" y="5151"/>
                </a:lnTo>
                <a:lnTo>
                  <a:pt x="1037" y="5199"/>
                </a:lnTo>
                <a:lnTo>
                  <a:pt x="882" y="5238"/>
                </a:lnTo>
                <a:lnTo>
                  <a:pt x="718" y="5270"/>
                </a:lnTo>
                <a:lnTo>
                  <a:pt x="549" y="5294"/>
                </a:lnTo>
                <a:lnTo>
                  <a:pt x="373" y="5312"/>
                </a:lnTo>
                <a:lnTo>
                  <a:pt x="189" y="5324"/>
                </a:lnTo>
                <a:lnTo>
                  <a:pt x="0" y="5326"/>
                </a:lnTo>
                <a:lnTo>
                  <a:pt x="0" y="4507"/>
                </a:lnTo>
                <a:lnTo>
                  <a:pt x="158" y="4505"/>
                </a:lnTo>
                <a:lnTo>
                  <a:pt x="305" y="4497"/>
                </a:lnTo>
                <a:lnTo>
                  <a:pt x="445" y="4483"/>
                </a:lnTo>
                <a:lnTo>
                  <a:pt x="574" y="4463"/>
                </a:lnTo>
                <a:lnTo>
                  <a:pt x="696" y="4439"/>
                </a:lnTo>
                <a:lnTo>
                  <a:pt x="812" y="4411"/>
                </a:lnTo>
                <a:lnTo>
                  <a:pt x="917" y="4377"/>
                </a:lnTo>
                <a:lnTo>
                  <a:pt x="1019" y="4339"/>
                </a:lnTo>
                <a:lnTo>
                  <a:pt x="1113" y="4298"/>
                </a:lnTo>
                <a:lnTo>
                  <a:pt x="1201" y="4250"/>
                </a:lnTo>
                <a:lnTo>
                  <a:pt x="1282" y="4200"/>
                </a:lnTo>
                <a:lnTo>
                  <a:pt x="1358" y="4144"/>
                </a:lnTo>
                <a:lnTo>
                  <a:pt x="1430" y="4086"/>
                </a:lnTo>
                <a:lnTo>
                  <a:pt x="1498" y="4025"/>
                </a:lnTo>
                <a:lnTo>
                  <a:pt x="1562" y="3959"/>
                </a:lnTo>
                <a:lnTo>
                  <a:pt x="1622" y="3891"/>
                </a:lnTo>
                <a:close/>
                <a:moveTo>
                  <a:pt x="0" y="1230"/>
                </a:moveTo>
                <a:lnTo>
                  <a:pt x="189" y="1234"/>
                </a:lnTo>
                <a:lnTo>
                  <a:pt x="373" y="1244"/>
                </a:lnTo>
                <a:lnTo>
                  <a:pt x="549" y="1262"/>
                </a:lnTo>
                <a:lnTo>
                  <a:pt x="718" y="1286"/>
                </a:lnTo>
                <a:lnTo>
                  <a:pt x="882" y="1320"/>
                </a:lnTo>
                <a:lnTo>
                  <a:pt x="1037" y="1357"/>
                </a:lnTo>
                <a:lnTo>
                  <a:pt x="1187" y="1405"/>
                </a:lnTo>
                <a:lnTo>
                  <a:pt x="1330" y="1459"/>
                </a:lnTo>
                <a:lnTo>
                  <a:pt x="1468" y="1521"/>
                </a:lnTo>
                <a:lnTo>
                  <a:pt x="1600" y="1589"/>
                </a:lnTo>
                <a:lnTo>
                  <a:pt x="1725" y="1666"/>
                </a:lnTo>
                <a:lnTo>
                  <a:pt x="1845" y="1750"/>
                </a:lnTo>
                <a:lnTo>
                  <a:pt x="1959" y="1840"/>
                </a:lnTo>
                <a:lnTo>
                  <a:pt x="2068" y="1941"/>
                </a:lnTo>
                <a:lnTo>
                  <a:pt x="2170" y="2045"/>
                </a:lnTo>
                <a:lnTo>
                  <a:pt x="2264" y="2155"/>
                </a:lnTo>
                <a:lnTo>
                  <a:pt x="2350" y="2266"/>
                </a:lnTo>
                <a:lnTo>
                  <a:pt x="2429" y="2380"/>
                </a:lnTo>
                <a:lnTo>
                  <a:pt x="2505" y="2498"/>
                </a:lnTo>
                <a:lnTo>
                  <a:pt x="2575" y="2615"/>
                </a:lnTo>
                <a:lnTo>
                  <a:pt x="2641" y="2735"/>
                </a:lnTo>
                <a:lnTo>
                  <a:pt x="2705" y="2854"/>
                </a:lnTo>
                <a:lnTo>
                  <a:pt x="2766" y="2974"/>
                </a:lnTo>
                <a:lnTo>
                  <a:pt x="2826" y="3096"/>
                </a:lnTo>
                <a:lnTo>
                  <a:pt x="2872" y="3185"/>
                </a:lnTo>
                <a:lnTo>
                  <a:pt x="2916" y="3273"/>
                </a:lnTo>
                <a:lnTo>
                  <a:pt x="2962" y="3361"/>
                </a:lnTo>
                <a:lnTo>
                  <a:pt x="3008" y="3446"/>
                </a:lnTo>
                <a:lnTo>
                  <a:pt x="3054" y="3528"/>
                </a:lnTo>
                <a:lnTo>
                  <a:pt x="3102" y="3610"/>
                </a:lnTo>
                <a:lnTo>
                  <a:pt x="3149" y="3688"/>
                </a:lnTo>
                <a:lnTo>
                  <a:pt x="3201" y="3763"/>
                </a:lnTo>
                <a:lnTo>
                  <a:pt x="3255" y="3835"/>
                </a:lnTo>
                <a:lnTo>
                  <a:pt x="3311" y="3905"/>
                </a:lnTo>
                <a:lnTo>
                  <a:pt x="3371" y="3973"/>
                </a:lnTo>
                <a:lnTo>
                  <a:pt x="3435" y="4036"/>
                </a:lnTo>
                <a:lnTo>
                  <a:pt x="3500" y="4096"/>
                </a:lnTo>
                <a:lnTo>
                  <a:pt x="3572" y="4154"/>
                </a:lnTo>
                <a:lnTo>
                  <a:pt x="3650" y="4208"/>
                </a:lnTo>
                <a:lnTo>
                  <a:pt x="3732" y="4258"/>
                </a:lnTo>
                <a:lnTo>
                  <a:pt x="3818" y="4302"/>
                </a:lnTo>
                <a:lnTo>
                  <a:pt x="3911" y="4343"/>
                </a:lnTo>
                <a:lnTo>
                  <a:pt x="4011" y="4381"/>
                </a:lnTo>
                <a:lnTo>
                  <a:pt x="4117" y="4413"/>
                </a:lnTo>
                <a:lnTo>
                  <a:pt x="4230" y="4441"/>
                </a:lnTo>
                <a:lnTo>
                  <a:pt x="4352" y="4465"/>
                </a:lnTo>
                <a:lnTo>
                  <a:pt x="4482" y="4483"/>
                </a:lnTo>
                <a:lnTo>
                  <a:pt x="4617" y="4497"/>
                </a:lnTo>
                <a:lnTo>
                  <a:pt x="4765" y="4505"/>
                </a:lnTo>
                <a:lnTo>
                  <a:pt x="4921" y="4507"/>
                </a:lnTo>
                <a:lnTo>
                  <a:pt x="4921" y="3279"/>
                </a:lnTo>
                <a:lnTo>
                  <a:pt x="6560" y="4918"/>
                </a:lnTo>
                <a:lnTo>
                  <a:pt x="4921" y="6556"/>
                </a:lnTo>
                <a:lnTo>
                  <a:pt x="4921" y="5326"/>
                </a:lnTo>
                <a:lnTo>
                  <a:pt x="4729" y="5324"/>
                </a:lnTo>
                <a:lnTo>
                  <a:pt x="4548" y="5312"/>
                </a:lnTo>
                <a:lnTo>
                  <a:pt x="4370" y="5294"/>
                </a:lnTo>
                <a:lnTo>
                  <a:pt x="4200" y="5270"/>
                </a:lnTo>
                <a:lnTo>
                  <a:pt x="4039" y="5238"/>
                </a:lnTo>
                <a:lnTo>
                  <a:pt x="3881" y="5199"/>
                </a:lnTo>
                <a:lnTo>
                  <a:pt x="3732" y="5151"/>
                </a:lnTo>
                <a:lnTo>
                  <a:pt x="3588" y="5097"/>
                </a:lnTo>
                <a:lnTo>
                  <a:pt x="3451" y="5035"/>
                </a:lnTo>
                <a:lnTo>
                  <a:pt x="3321" y="4967"/>
                </a:lnTo>
                <a:lnTo>
                  <a:pt x="3195" y="4892"/>
                </a:lnTo>
                <a:lnTo>
                  <a:pt x="3076" y="4808"/>
                </a:lnTo>
                <a:lnTo>
                  <a:pt x="2962" y="4716"/>
                </a:lnTo>
                <a:lnTo>
                  <a:pt x="2852" y="4615"/>
                </a:lnTo>
                <a:lnTo>
                  <a:pt x="2750" y="4511"/>
                </a:lnTo>
                <a:lnTo>
                  <a:pt x="2657" y="4401"/>
                </a:lnTo>
                <a:lnTo>
                  <a:pt x="2569" y="4290"/>
                </a:lnTo>
                <a:lnTo>
                  <a:pt x="2489" y="4176"/>
                </a:lnTo>
                <a:lnTo>
                  <a:pt x="2415" y="4060"/>
                </a:lnTo>
                <a:lnTo>
                  <a:pt x="2346" y="3941"/>
                </a:lnTo>
                <a:lnTo>
                  <a:pt x="2278" y="3821"/>
                </a:lnTo>
                <a:lnTo>
                  <a:pt x="2214" y="3702"/>
                </a:lnTo>
                <a:lnTo>
                  <a:pt x="2154" y="3582"/>
                </a:lnTo>
                <a:lnTo>
                  <a:pt x="2092" y="3462"/>
                </a:lnTo>
                <a:lnTo>
                  <a:pt x="2048" y="3371"/>
                </a:lnTo>
                <a:lnTo>
                  <a:pt x="2003" y="3281"/>
                </a:lnTo>
                <a:lnTo>
                  <a:pt x="1959" y="3195"/>
                </a:lnTo>
                <a:lnTo>
                  <a:pt x="1913" y="3112"/>
                </a:lnTo>
                <a:lnTo>
                  <a:pt x="1867" y="3028"/>
                </a:lnTo>
                <a:lnTo>
                  <a:pt x="1819" y="2948"/>
                </a:lnTo>
                <a:lnTo>
                  <a:pt x="1769" y="2868"/>
                </a:lnTo>
                <a:lnTo>
                  <a:pt x="1719" y="2793"/>
                </a:lnTo>
                <a:lnTo>
                  <a:pt x="1665" y="2721"/>
                </a:lnTo>
                <a:lnTo>
                  <a:pt x="1610" y="2651"/>
                </a:lnTo>
                <a:lnTo>
                  <a:pt x="1550" y="2583"/>
                </a:lnTo>
                <a:lnTo>
                  <a:pt x="1486" y="2520"/>
                </a:lnTo>
                <a:lnTo>
                  <a:pt x="1418" y="2460"/>
                </a:lnTo>
                <a:lnTo>
                  <a:pt x="1346" y="2402"/>
                </a:lnTo>
                <a:lnTo>
                  <a:pt x="1271" y="2348"/>
                </a:lnTo>
                <a:lnTo>
                  <a:pt x="1189" y="2300"/>
                </a:lnTo>
                <a:lnTo>
                  <a:pt x="1101" y="2254"/>
                </a:lnTo>
                <a:lnTo>
                  <a:pt x="1009" y="2213"/>
                </a:lnTo>
                <a:lnTo>
                  <a:pt x="910" y="2175"/>
                </a:lnTo>
                <a:lnTo>
                  <a:pt x="802" y="2143"/>
                </a:lnTo>
                <a:lnTo>
                  <a:pt x="688" y="2115"/>
                </a:lnTo>
                <a:lnTo>
                  <a:pt x="568" y="2091"/>
                </a:lnTo>
                <a:lnTo>
                  <a:pt x="439" y="2073"/>
                </a:lnTo>
                <a:lnTo>
                  <a:pt x="301" y="2059"/>
                </a:lnTo>
                <a:lnTo>
                  <a:pt x="156" y="2051"/>
                </a:lnTo>
                <a:lnTo>
                  <a:pt x="0" y="2049"/>
                </a:lnTo>
                <a:lnTo>
                  <a:pt x="0" y="1230"/>
                </a:lnTo>
                <a:close/>
                <a:moveTo>
                  <a:pt x="4921" y="0"/>
                </a:moveTo>
                <a:lnTo>
                  <a:pt x="6560" y="1638"/>
                </a:lnTo>
                <a:lnTo>
                  <a:pt x="4921" y="3279"/>
                </a:lnTo>
                <a:lnTo>
                  <a:pt x="4921" y="2049"/>
                </a:lnTo>
                <a:lnTo>
                  <a:pt x="4763" y="2051"/>
                </a:lnTo>
                <a:lnTo>
                  <a:pt x="4615" y="2061"/>
                </a:lnTo>
                <a:lnTo>
                  <a:pt x="4476" y="2073"/>
                </a:lnTo>
                <a:lnTo>
                  <a:pt x="4346" y="2093"/>
                </a:lnTo>
                <a:lnTo>
                  <a:pt x="4222" y="2117"/>
                </a:lnTo>
                <a:lnTo>
                  <a:pt x="4109" y="2145"/>
                </a:lnTo>
                <a:lnTo>
                  <a:pt x="4001" y="2179"/>
                </a:lnTo>
                <a:lnTo>
                  <a:pt x="3901" y="2217"/>
                </a:lnTo>
                <a:lnTo>
                  <a:pt x="3808" y="2258"/>
                </a:lnTo>
                <a:lnTo>
                  <a:pt x="3720" y="2306"/>
                </a:lnTo>
                <a:lnTo>
                  <a:pt x="3638" y="2356"/>
                </a:lnTo>
                <a:lnTo>
                  <a:pt x="3560" y="2412"/>
                </a:lnTo>
                <a:lnTo>
                  <a:pt x="3488" y="2470"/>
                </a:lnTo>
                <a:lnTo>
                  <a:pt x="3423" y="2532"/>
                </a:lnTo>
                <a:lnTo>
                  <a:pt x="3359" y="2597"/>
                </a:lnTo>
                <a:lnTo>
                  <a:pt x="3299" y="2665"/>
                </a:lnTo>
                <a:lnTo>
                  <a:pt x="3223" y="2520"/>
                </a:lnTo>
                <a:lnTo>
                  <a:pt x="3143" y="2372"/>
                </a:lnTo>
                <a:lnTo>
                  <a:pt x="3058" y="2225"/>
                </a:lnTo>
                <a:lnTo>
                  <a:pt x="2966" y="2075"/>
                </a:lnTo>
                <a:lnTo>
                  <a:pt x="2864" y="1930"/>
                </a:lnTo>
                <a:lnTo>
                  <a:pt x="2962" y="1840"/>
                </a:lnTo>
                <a:lnTo>
                  <a:pt x="3076" y="1750"/>
                </a:lnTo>
                <a:lnTo>
                  <a:pt x="3195" y="1666"/>
                </a:lnTo>
                <a:lnTo>
                  <a:pt x="3321" y="1589"/>
                </a:lnTo>
                <a:lnTo>
                  <a:pt x="3451" y="1521"/>
                </a:lnTo>
                <a:lnTo>
                  <a:pt x="3588" y="1459"/>
                </a:lnTo>
                <a:lnTo>
                  <a:pt x="3732" y="1405"/>
                </a:lnTo>
                <a:lnTo>
                  <a:pt x="3881" y="1357"/>
                </a:lnTo>
                <a:lnTo>
                  <a:pt x="4039" y="1320"/>
                </a:lnTo>
                <a:lnTo>
                  <a:pt x="4200" y="1286"/>
                </a:lnTo>
                <a:lnTo>
                  <a:pt x="4370" y="1262"/>
                </a:lnTo>
                <a:lnTo>
                  <a:pt x="4548" y="1244"/>
                </a:lnTo>
                <a:lnTo>
                  <a:pt x="4729" y="1234"/>
                </a:lnTo>
                <a:lnTo>
                  <a:pt x="4921" y="1230"/>
                </a:lnTo>
                <a:lnTo>
                  <a:pt x="4921" y="0"/>
                </a:lnTo>
                <a:close/>
              </a:path>
            </a:pathLst>
          </a:custGeom>
          <a:solidFill>
            <a:schemeClr val="bg1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9" name="Oval 148"/>
          <p:cNvSpPr/>
          <p:nvPr/>
        </p:nvSpPr>
        <p:spPr bwMode="ltGray">
          <a:xfrm>
            <a:off x="1889708" y="3630034"/>
            <a:ext cx="124876" cy="124852"/>
          </a:xfrm>
          <a:prstGeom prst="ellipse">
            <a:avLst/>
          </a:prstGeom>
          <a:solidFill>
            <a:schemeClr val="bg1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94" name="Rectangle 93"/>
          <p:cNvSpPr/>
          <p:nvPr/>
        </p:nvSpPr>
        <p:spPr bwMode="ltGray">
          <a:xfrm>
            <a:off x="6174395" y="-1"/>
            <a:ext cx="2969606" cy="24504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  <a:latin typeface="+mj-lt"/>
              </a:rPr>
              <a:t>Банковские услуги и телекоммуникации </a:t>
            </a:r>
            <a:endParaRPr lang="ru-RU" sz="9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55454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389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4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/>
          <p:nvPr/>
        </p:nvSpPr>
        <p:spPr bwMode="ltGray">
          <a:xfrm>
            <a:off x="2033514" y="1272386"/>
            <a:ext cx="4940368" cy="2855114"/>
          </a:xfrm>
          <a:prstGeom prst="rect">
            <a:avLst/>
          </a:prstGeom>
          <a:solidFill>
            <a:srgbClr val="8A867A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107" name="Content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72105433"/>
              </p:ext>
            </p:extLst>
          </p:nvPr>
        </p:nvGraphicFramePr>
        <p:xfrm>
          <a:off x="1657562" y="1135842"/>
          <a:ext cx="5769041" cy="3729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Freeform 8"/>
          <p:cNvSpPr/>
          <p:nvPr/>
        </p:nvSpPr>
        <p:spPr bwMode="ltGray">
          <a:xfrm>
            <a:off x="6947193" y="2330851"/>
            <a:ext cx="1020467" cy="615950"/>
          </a:xfrm>
          <a:custGeom>
            <a:avLst/>
            <a:gdLst>
              <a:gd name="connsiteX0" fmla="*/ 0 w 1123950"/>
              <a:gd name="connsiteY0" fmla="*/ 0 h 638175"/>
              <a:gd name="connsiteX1" fmla="*/ 1123950 w 1123950"/>
              <a:gd name="connsiteY1" fmla="*/ 638175 h 638175"/>
              <a:gd name="connsiteX2" fmla="*/ 1123950 w 1123950"/>
              <a:gd name="connsiteY2" fmla="*/ 638175 h 638175"/>
              <a:gd name="connsiteX0" fmla="*/ 0 w 1095375"/>
              <a:gd name="connsiteY0" fmla="*/ 0 h 603250"/>
              <a:gd name="connsiteX1" fmla="*/ 1095375 w 1095375"/>
              <a:gd name="connsiteY1" fmla="*/ 603250 h 603250"/>
              <a:gd name="connsiteX2" fmla="*/ 1095375 w 1095375"/>
              <a:gd name="connsiteY2" fmla="*/ 603250 h 603250"/>
              <a:gd name="connsiteX0" fmla="*/ 0 w 1127125"/>
              <a:gd name="connsiteY0" fmla="*/ 0 h 615950"/>
              <a:gd name="connsiteX1" fmla="*/ 1127125 w 1127125"/>
              <a:gd name="connsiteY1" fmla="*/ 615950 h 615950"/>
              <a:gd name="connsiteX2" fmla="*/ 1127125 w 1127125"/>
              <a:gd name="connsiteY2" fmla="*/ 615950 h 615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27125" h="615950">
                <a:moveTo>
                  <a:pt x="0" y="0"/>
                </a:moveTo>
                <a:lnTo>
                  <a:pt x="1127125" y="615950"/>
                </a:lnTo>
                <a:lnTo>
                  <a:pt x="1127125" y="615950"/>
                </a:lnTo>
              </a:path>
            </a:pathLst>
          </a:custGeom>
          <a:noFill/>
          <a:ln w="28575" cap="rnd">
            <a:solidFill>
              <a:schemeClr val="accent5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08" name="Straight Connector 107"/>
          <p:cNvCxnSpPr/>
          <p:nvPr/>
        </p:nvCxnSpPr>
        <p:spPr>
          <a:xfrm flipV="1">
            <a:off x="4783927" y="1465593"/>
            <a:ext cx="0" cy="2661909"/>
          </a:xfrm>
          <a:prstGeom prst="line">
            <a:avLst/>
          </a:prstGeom>
          <a:ln w="19050">
            <a:solidFill>
              <a:srgbClr val="7470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 flipH="1">
            <a:off x="2033515" y="1690275"/>
            <a:ext cx="3713235" cy="0"/>
          </a:xfrm>
          <a:prstGeom prst="line">
            <a:avLst/>
          </a:prstGeom>
          <a:ln w="19050">
            <a:solidFill>
              <a:schemeClr val="accent5">
                <a:lumMod val="40000"/>
                <a:lumOff val="6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/>
        </p:nvCxnSpPr>
        <p:spPr>
          <a:xfrm flipV="1">
            <a:off x="5741358" y="1690275"/>
            <a:ext cx="0" cy="2437227"/>
          </a:xfrm>
          <a:prstGeom prst="line">
            <a:avLst/>
          </a:prstGeom>
          <a:ln w="19050">
            <a:solidFill>
              <a:srgbClr val="7470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 flipH="1">
            <a:off x="4783927" y="3328074"/>
            <a:ext cx="2205601" cy="0"/>
          </a:xfrm>
          <a:prstGeom prst="line">
            <a:avLst/>
          </a:prstGeom>
          <a:ln w="19050">
            <a:solidFill>
              <a:schemeClr val="tx2">
                <a:lumMod val="20000"/>
                <a:lumOff val="8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/>
        </p:nvCxnSpPr>
        <p:spPr>
          <a:xfrm flipH="1">
            <a:off x="5741358" y="3926024"/>
            <a:ext cx="1248171" cy="0"/>
          </a:xfrm>
          <a:prstGeom prst="line">
            <a:avLst/>
          </a:prstGeom>
          <a:ln w="19050">
            <a:solidFill>
              <a:schemeClr val="tx2">
                <a:lumMod val="20000"/>
                <a:lumOff val="8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/>
          <p:cNvCxnSpPr/>
          <p:nvPr/>
        </p:nvCxnSpPr>
        <p:spPr>
          <a:xfrm>
            <a:off x="6733944" y="3328074"/>
            <a:ext cx="0" cy="597949"/>
          </a:xfrm>
          <a:prstGeom prst="straightConnector1">
            <a:avLst/>
          </a:prstGeom>
          <a:ln w="19050">
            <a:solidFill>
              <a:schemeClr val="tx2">
                <a:lumMod val="20000"/>
                <a:lumOff val="8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/>
          <p:cNvSpPr txBox="1"/>
          <p:nvPr/>
        </p:nvSpPr>
        <p:spPr>
          <a:xfrm>
            <a:off x="6307842" y="3550104"/>
            <a:ext cx="418384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sz="1000" b="1" i="1" dirty="0" smtClean="0">
                <a:solidFill>
                  <a:schemeClr val="bg1"/>
                </a:solidFill>
                <a:latin typeface="+mj-lt"/>
              </a:rPr>
              <a:t>&gt; 10 %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3381180" y="1502961"/>
            <a:ext cx="4328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sz="1000" b="1" i="1" dirty="0" smtClean="0">
                <a:solidFill>
                  <a:schemeClr val="bg1"/>
                </a:solidFill>
                <a:latin typeface="+mj-lt"/>
              </a:rPr>
              <a:t>0,25 %</a:t>
            </a:r>
          </a:p>
        </p:txBody>
      </p:sp>
      <p:cxnSp>
        <p:nvCxnSpPr>
          <p:cNvPr id="117" name="Straight Arrow Connector 116"/>
          <p:cNvCxnSpPr/>
          <p:nvPr/>
        </p:nvCxnSpPr>
        <p:spPr>
          <a:xfrm>
            <a:off x="3876479" y="1474299"/>
            <a:ext cx="0" cy="211213"/>
          </a:xfrm>
          <a:prstGeom prst="straightConnector1">
            <a:avLst/>
          </a:prstGeom>
          <a:ln w="19050">
            <a:solidFill>
              <a:schemeClr val="accent5">
                <a:lumMod val="40000"/>
                <a:lumOff val="6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eeform 12"/>
          <p:cNvSpPr/>
          <p:nvPr/>
        </p:nvSpPr>
        <p:spPr bwMode="ltGray">
          <a:xfrm>
            <a:off x="6915151" y="4071936"/>
            <a:ext cx="1066800" cy="214313"/>
          </a:xfrm>
          <a:custGeom>
            <a:avLst/>
            <a:gdLst>
              <a:gd name="connsiteX0" fmla="*/ 0 w 976313"/>
              <a:gd name="connsiteY0" fmla="*/ 0 h 209550"/>
              <a:gd name="connsiteX1" fmla="*/ 857250 w 976313"/>
              <a:gd name="connsiteY1" fmla="*/ 185737 h 209550"/>
              <a:gd name="connsiteX2" fmla="*/ 904875 w 976313"/>
              <a:gd name="connsiteY2" fmla="*/ 190500 h 209550"/>
              <a:gd name="connsiteX3" fmla="*/ 962025 w 976313"/>
              <a:gd name="connsiteY3" fmla="*/ 204787 h 209550"/>
              <a:gd name="connsiteX4" fmla="*/ 976313 w 976313"/>
              <a:gd name="connsiteY4" fmla="*/ 209550 h 209550"/>
              <a:gd name="connsiteX5" fmla="*/ 976313 w 976313"/>
              <a:gd name="connsiteY5" fmla="*/ 209550 h 209550"/>
              <a:gd name="connsiteX0" fmla="*/ 0 w 976313"/>
              <a:gd name="connsiteY0" fmla="*/ 0 h 209550"/>
              <a:gd name="connsiteX1" fmla="*/ 857250 w 976313"/>
              <a:gd name="connsiteY1" fmla="*/ 185737 h 209550"/>
              <a:gd name="connsiteX2" fmla="*/ 904875 w 976313"/>
              <a:gd name="connsiteY2" fmla="*/ 190500 h 209550"/>
              <a:gd name="connsiteX3" fmla="*/ 962025 w 976313"/>
              <a:gd name="connsiteY3" fmla="*/ 204787 h 209550"/>
              <a:gd name="connsiteX4" fmla="*/ 976313 w 976313"/>
              <a:gd name="connsiteY4" fmla="*/ 209550 h 209550"/>
              <a:gd name="connsiteX5" fmla="*/ 976313 w 976313"/>
              <a:gd name="connsiteY5" fmla="*/ 209550 h 209550"/>
              <a:gd name="connsiteX0" fmla="*/ 0 w 952501"/>
              <a:gd name="connsiteY0" fmla="*/ 0 h 195262"/>
              <a:gd name="connsiteX1" fmla="*/ 833438 w 952501"/>
              <a:gd name="connsiteY1" fmla="*/ 171449 h 195262"/>
              <a:gd name="connsiteX2" fmla="*/ 881063 w 952501"/>
              <a:gd name="connsiteY2" fmla="*/ 176212 h 195262"/>
              <a:gd name="connsiteX3" fmla="*/ 938213 w 952501"/>
              <a:gd name="connsiteY3" fmla="*/ 190499 h 195262"/>
              <a:gd name="connsiteX4" fmla="*/ 952501 w 952501"/>
              <a:gd name="connsiteY4" fmla="*/ 195262 h 195262"/>
              <a:gd name="connsiteX5" fmla="*/ 952501 w 952501"/>
              <a:gd name="connsiteY5" fmla="*/ 195262 h 195262"/>
              <a:gd name="connsiteX0" fmla="*/ 0 w 809626"/>
              <a:gd name="connsiteY0" fmla="*/ 0 h 119062"/>
              <a:gd name="connsiteX1" fmla="*/ 690563 w 809626"/>
              <a:gd name="connsiteY1" fmla="*/ 95249 h 119062"/>
              <a:gd name="connsiteX2" fmla="*/ 738188 w 809626"/>
              <a:gd name="connsiteY2" fmla="*/ 100012 h 119062"/>
              <a:gd name="connsiteX3" fmla="*/ 795338 w 809626"/>
              <a:gd name="connsiteY3" fmla="*/ 114299 h 119062"/>
              <a:gd name="connsiteX4" fmla="*/ 809626 w 809626"/>
              <a:gd name="connsiteY4" fmla="*/ 119062 h 119062"/>
              <a:gd name="connsiteX5" fmla="*/ 809626 w 809626"/>
              <a:gd name="connsiteY5" fmla="*/ 119062 h 119062"/>
              <a:gd name="connsiteX0" fmla="*/ 0 w 985838"/>
              <a:gd name="connsiteY0" fmla="*/ 0 h 209550"/>
              <a:gd name="connsiteX1" fmla="*/ 866775 w 985838"/>
              <a:gd name="connsiteY1" fmla="*/ 185737 h 209550"/>
              <a:gd name="connsiteX2" fmla="*/ 914400 w 985838"/>
              <a:gd name="connsiteY2" fmla="*/ 190500 h 209550"/>
              <a:gd name="connsiteX3" fmla="*/ 971550 w 985838"/>
              <a:gd name="connsiteY3" fmla="*/ 204787 h 209550"/>
              <a:gd name="connsiteX4" fmla="*/ 985838 w 985838"/>
              <a:gd name="connsiteY4" fmla="*/ 209550 h 209550"/>
              <a:gd name="connsiteX5" fmla="*/ 985838 w 985838"/>
              <a:gd name="connsiteY5" fmla="*/ 209550 h 209550"/>
              <a:gd name="connsiteX0" fmla="*/ 0 w 985838"/>
              <a:gd name="connsiteY0" fmla="*/ 0 h 209550"/>
              <a:gd name="connsiteX1" fmla="*/ 866775 w 985838"/>
              <a:gd name="connsiteY1" fmla="*/ 185737 h 209550"/>
              <a:gd name="connsiteX2" fmla="*/ 914400 w 985838"/>
              <a:gd name="connsiteY2" fmla="*/ 190500 h 209550"/>
              <a:gd name="connsiteX3" fmla="*/ 971550 w 985838"/>
              <a:gd name="connsiteY3" fmla="*/ 204787 h 209550"/>
              <a:gd name="connsiteX4" fmla="*/ 985838 w 985838"/>
              <a:gd name="connsiteY4" fmla="*/ 209550 h 209550"/>
              <a:gd name="connsiteX5" fmla="*/ 985838 w 985838"/>
              <a:gd name="connsiteY5" fmla="*/ 209550 h 209550"/>
              <a:gd name="connsiteX0" fmla="*/ 0 w 985838"/>
              <a:gd name="connsiteY0" fmla="*/ 0 h 209550"/>
              <a:gd name="connsiteX1" fmla="*/ 866775 w 985838"/>
              <a:gd name="connsiteY1" fmla="*/ 185737 h 209550"/>
              <a:gd name="connsiteX2" fmla="*/ 914400 w 985838"/>
              <a:gd name="connsiteY2" fmla="*/ 190500 h 209550"/>
              <a:gd name="connsiteX3" fmla="*/ 971550 w 985838"/>
              <a:gd name="connsiteY3" fmla="*/ 204787 h 209550"/>
              <a:gd name="connsiteX4" fmla="*/ 985838 w 985838"/>
              <a:gd name="connsiteY4" fmla="*/ 209550 h 209550"/>
              <a:gd name="connsiteX0" fmla="*/ 0 w 990599"/>
              <a:gd name="connsiteY0" fmla="*/ 0 h 209550"/>
              <a:gd name="connsiteX1" fmla="*/ 866775 w 990599"/>
              <a:gd name="connsiteY1" fmla="*/ 185737 h 209550"/>
              <a:gd name="connsiteX2" fmla="*/ 914400 w 990599"/>
              <a:gd name="connsiteY2" fmla="*/ 190500 h 209550"/>
              <a:gd name="connsiteX3" fmla="*/ 971550 w 990599"/>
              <a:gd name="connsiteY3" fmla="*/ 204787 h 209550"/>
              <a:gd name="connsiteX4" fmla="*/ 985838 w 990599"/>
              <a:gd name="connsiteY4" fmla="*/ 209550 h 209550"/>
              <a:gd name="connsiteX5" fmla="*/ 990599 w 990599"/>
              <a:gd name="connsiteY5" fmla="*/ 204787 h 209550"/>
              <a:gd name="connsiteX0" fmla="*/ 0 w 985838"/>
              <a:gd name="connsiteY0" fmla="*/ 0 h 209550"/>
              <a:gd name="connsiteX1" fmla="*/ 866775 w 985838"/>
              <a:gd name="connsiteY1" fmla="*/ 185737 h 209550"/>
              <a:gd name="connsiteX2" fmla="*/ 914400 w 985838"/>
              <a:gd name="connsiteY2" fmla="*/ 190500 h 209550"/>
              <a:gd name="connsiteX3" fmla="*/ 971550 w 985838"/>
              <a:gd name="connsiteY3" fmla="*/ 204787 h 209550"/>
              <a:gd name="connsiteX4" fmla="*/ 985838 w 985838"/>
              <a:gd name="connsiteY4" fmla="*/ 209550 h 209550"/>
              <a:gd name="connsiteX0" fmla="*/ 0 w 971550"/>
              <a:gd name="connsiteY0" fmla="*/ 0 h 204787"/>
              <a:gd name="connsiteX1" fmla="*/ 866775 w 971550"/>
              <a:gd name="connsiteY1" fmla="*/ 185737 h 204787"/>
              <a:gd name="connsiteX2" fmla="*/ 914400 w 971550"/>
              <a:gd name="connsiteY2" fmla="*/ 190500 h 204787"/>
              <a:gd name="connsiteX3" fmla="*/ 971550 w 971550"/>
              <a:gd name="connsiteY3" fmla="*/ 204787 h 204787"/>
              <a:gd name="connsiteX0" fmla="*/ 0 w 914400"/>
              <a:gd name="connsiteY0" fmla="*/ 0 h 190500"/>
              <a:gd name="connsiteX1" fmla="*/ 866775 w 914400"/>
              <a:gd name="connsiteY1" fmla="*/ 185737 h 190500"/>
              <a:gd name="connsiteX2" fmla="*/ 914400 w 914400"/>
              <a:gd name="connsiteY2" fmla="*/ 190500 h 190500"/>
              <a:gd name="connsiteX0" fmla="*/ 0 w 866775"/>
              <a:gd name="connsiteY0" fmla="*/ 0 h 185737"/>
              <a:gd name="connsiteX1" fmla="*/ 866775 w 866775"/>
              <a:gd name="connsiteY1" fmla="*/ 185737 h 185737"/>
              <a:gd name="connsiteX0" fmla="*/ 0 w 1066800"/>
              <a:gd name="connsiteY0" fmla="*/ 0 h 223837"/>
              <a:gd name="connsiteX1" fmla="*/ 1066800 w 1066800"/>
              <a:gd name="connsiteY1" fmla="*/ 223837 h 223837"/>
              <a:gd name="connsiteX0" fmla="*/ 0 w 1066800"/>
              <a:gd name="connsiteY0" fmla="*/ 0 h 223837"/>
              <a:gd name="connsiteX1" fmla="*/ 1066800 w 1066800"/>
              <a:gd name="connsiteY1" fmla="*/ 223837 h 223837"/>
              <a:gd name="connsiteX0" fmla="*/ 0 w 1062037"/>
              <a:gd name="connsiteY0" fmla="*/ 0 h 180975"/>
              <a:gd name="connsiteX1" fmla="*/ 1062037 w 1062037"/>
              <a:gd name="connsiteY1" fmla="*/ 180975 h 180975"/>
              <a:gd name="connsiteX0" fmla="*/ 0 w 1062037"/>
              <a:gd name="connsiteY0" fmla="*/ 0 h 180975"/>
              <a:gd name="connsiteX1" fmla="*/ 1062037 w 1062037"/>
              <a:gd name="connsiteY1" fmla="*/ 180975 h 180975"/>
              <a:gd name="connsiteX0" fmla="*/ 0 w 1066800"/>
              <a:gd name="connsiteY0" fmla="*/ 0 h 214313"/>
              <a:gd name="connsiteX1" fmla="*/ 1066800 w 1066800"/>
              <a:gd name="connsiteY1" fmla="*/ 214313 h 214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66800" h="214313">
                <a:moveTo>
                  <a:pt x="0" y="0"/>
                </a:moveTo>
                <a:cubicBezTo>
                  <a:pt x="355600" y="95250"/>
                  <a:pt x="773112" y="171451"/>
                  <a:pt x="1066800" y="214313"/>
                </a:cubicBezTo>
              </a:path>
            </a:pathLst>
          </a:custGeom>
          <a:noFill/>
          <a:ln w="28575" cap="rnd">
            <a:solidFill>
              <a:schemeClr val="tx2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742534"/>
            <a:ext cx="73896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Обработка в режиме реального времени</a:t>
            </a:r>
          </a:p>
        </p:txBody>
      </p:sp>
      <p:sp>
        <p:nvSpPr>
          <p:cNvPr id="40" name="Rectangle 17"/>
          <p:cNvSpPr>
            <a:spLocks/>
          </p:cNvSpPr>
          <p:nvPr/>
        </p:nvSpPr>
        <p:spPr bwMode="auto">
          <a:xfrm>
            <a:off x="187218" y="3249670"/>
            <a:ext cx="640461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Данные</a:t>
            </a:r>
            <a:endParaRPr lang="ru-RU" sz="1050" b="1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490296" y="3005320"/>
            <a:ext cx="128489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900"/>
              </a:spcAft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Ожидаемое значение</a:t>
            </a:r>
            <a:r>
              <a:rPr>
                <a:solidFill>
                  <a:schemeClr val="bg1"/>
                </a:solidFill>
                <a:latin typeface="+mj-lt"/>
              </a:rPr>
              <a:t/>
            </a:r>
            <a:br>
              <a:rPr>
                <a:solidFill>
                  <a:schemeClr val="bg1"/>
                </a:solidFill>
                <a:latin typeface="+mj-lt"/>
              </a:rPr>
            </a:b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маржинальной выручки</a:t>
            </a:r>
            <a:endParaRPr lang="ru-RU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7490296" y="4352307"/>
            <a:ext cx="123205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900"/>
              </a:spcAft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Вероятность получения кредита</a:t>
            </a:r>
            <a:endParaRPr lang="ru-RU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TextBox 3"/>
          <p:cNvSpPr txBox="1"/>
          <p:nvPr/>
        </p:nvSpPr>
        <p:spPr>
          <a:xfrm rot="16200000">
            <a:off x="1240620" y="2638301"/>
            <a:ext cx="64921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Выручка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4333061" y="4313162"/>
            <a:ext cx="37510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Цена</a:t>
            </a:r>
          </a:p>
        </p:txBody>
      </p:sp>
      <p:sp>
        <p:nvSpPr>
          <p:cNvPr id="52" name="Down Arrow 51"/>
          <p:cNvSpPr/>
          <p:nvPr/>
        </p:nvSpPr>
        <p:spPr bwMode="ltGray">
          <a:xfrm rot="13205640">
            <a:off x="3640795" y="2101058"/>
            <a:ext cx="704850" cy="3520631"/>
          </a:xfrm>
          <a:prstGeom prst="downArrow">
            <a:avLst/>
          </a:prstGeom>
          <a:gradFill>
            <a:gsLst>
              <a:gs pos="0">
                <a:srgbClr val="A7A49B">
                  <a:alpha val="0"/>
                </a:srgbClr>
              </a:gs>
              <a:gs pos="100000">
                <a:srgbClr val="A7A49B">
                  <a:alpha val="50000"/>
                </a:srgbClr>
              </a:gs>
            </a:gsLst>
            <a:lin ang="5400000" scaled="1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4" name="Down Arrow 73"/>
          <p:cNvSpPr/>
          <p:nvPr/>
        </p:nvSpPr>
        <p:spPr bwMode="ltGray">
          <a:xfrm rot="7792372">
            <a:off x="4648967" y="948392"/>
            <a:ext cx="704850" cy="4737068"/>
          </a:xfrm>
          <a:prstGeom prst="downArrow">
            <a:avLst/>
          </a:prstGeom>
          <a:gradFill>
            <a:gsLst>
              <a:gs pos="0">
                <a:srgbClr val="A7A49B">
                  <a:alpha val="0"/>
                </a:srgbClr>
              </a:gs>
              <a:gs pos="100000">
                <a:srgbClr val="A7A49B">
                  <a:alpha val="50000"/>
                </a:srgbClr>
              </a:gs>
            </a:gsLst>
            <a:lin ang="5400000" scaled="1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472893" y="5026914"/>
            <a:ext cx="2212137" cy="682682"/>
          </a:xfrm>
          <a:prstGeom prst="rect">
            <a:avLst/>
          </a:prstGeom>
          <a:noFill/>
          <a:ln>
            <a:noFill/>
          </a:ln>
        </p:spPr>
        <p:txBody>
          <a:bodyPr wrap="square" lIns="0" tIns="36000" rIns="0" bIns="0" rtlCol="0" anchor="ctr">
            <a:spAutoFit/>
          </a:bodyPr>
          <a:lstStyle/>
          <a:p>
            <a:pPr indent="-274320">
              <a:spcAft>
                <a:spcPts val="600"/>
              </a:spcAft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Внедрение гибкого </a:t>
            </a:r>
            <a:r>
              <a:rPr sz="1400" dirty="0">
                <a:solidFill>
                  <a:schemeClr val="bg1"/>
                </a:solidFill>
                <a:latin typeface="+mj-lt"/>
              </a:rPr>
              <a:t/>
            </a:r>
            <a:br>
              <a:rPr sz="1400" dirty="0">
                <a:solidFill>
                  <a:schemeClr val="bg1"/>
                </a:solidFill>
                <a:latin typeface="+mj-lt"/>
              </a:rPr>
            </a:b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ценообразования на базе модели</a:t>
            </a:r>
            <a:r>
              <a:rPr lang="en-US" sz="1400" i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эластичности..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665879" y="5031477"/>
            <a:ext cx="2907344" cy="682682"/>
          </a:xfrm>
          <a:prstGeom prst="rect">
            <a:avLst/>
          </a:prstGeom>
          <a:noFill/>
          <a:ln>
            <a:noFill/>
          </a:ln>
        </p:spPr>
        <p:txBody>
          <a:bodyPr wrap="square" lIns="0" tIns="36000" rIns="0" bIns="0" rtlCol="0" anchor="ctr">
            <a:spAutoFit/>
          </a:bodyPr>
          <a:lstStyle/>
          <a:p>
            <a:pPr indent="-274320">
              <a:spcAft>
                <a:spcPts val="600"/>
              </a:spcAft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Мы можем найти цену, которая обеспечит максимальную ожидаемую выручку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3906503" y="5024302"/>
            <a:ext cx="1683637" cy="682682"/>
          </a:xfrm>
          <a:prstGeom prst="rect">
            <a:avLst/>
          </a:prstGeom>
          <a:noFill/>
          <a:ln>
            <a:noFill/>
          </a:ln>
        </p:spPr>
        <p:txBody>
          <a:bodyPr wrap="square" lIns="0" tIns="36000" rIns="0" bIns="0" rtlCol="0" anchor="ctr">
            <a:spAutoFit/>
          </a:bodyPr>
          <a:lstStyle/>
          <a:p>
            <a:pPr indent="-274320">
              <a:spcAft>
                <a:spcPts val="600"/>
              </a:spcAft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..может привести к привлечению новых клиентов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5154601" y="2470468"/>
            <a:ext cx="22442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ctr">
              <a:spcAft>
                <a:spcPts val="900"/>
              </a:spcAft>
            </a:pPr>
            <a:r>
              <a:rPr lang="ru-RU" sz="1000" b="1" i="1" dirty="0" smtClean="0">
                <a:solidFill>
                  <a:schemeClr val="bg1"/>
                </a:solidFill>
                <a:latin typeface="+mj-lt"/>
              </a:rPr>
              <a:t>3 %</a:t>
            </a:r>
          </a:p>
        </p:txBody>
      </p:sp>
      <p:cxnSp>
        <p:nvCxnSpPr>
          <p:cNvPr id="119" name="Straight Arrow Connector 118"/>
          <p:cNvCxnSpPr/>
          <p:nvPr/>
        </p:nvCxnSpPr>
        <p:spPr>
          <a:xfrm>
            <a:off x="4792265" y="2422925"/>
            <a:ext cx="949094" cy="0"/>
          </a:xfrm>
          <a:prstGeom prst="straightConnector1">
            <a:avLst/>
          </a:prstGeom>
          <a:ln w="19050">
            <a:solidFill>
              <a:srgbClr val="74706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/>
        </p:nvSpPr>
        <p:spPr bwMode="ltGray">
          <a:xfrm>
            <a:off x="1472893" y="5839043"/>
            <a:ext cx="7137707" cy="628326"/>
          </a:xfrm>
          <a:prstGeom prst="rect">
            <a:avLst/>
          </a:prstGeom>
          <a:solidFill>
            <a:srgbClr val="8E8A8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Наше решение позволяет ежемесячно успешно определять цену тысяч кредитов на индивидуальной основе. Опыт показал, что такая система </a:t>
            </a:r>
            <a:r>
              <a:rPr lang="ru-RU" sz="1400" b="1" i="1" dirty="0" smtClean="0">
                <a:solidFill>
                  <a:schemeClr val="bg1"/>
                </a:solidFill>
                <a:latin typeface="+mj-lt"/>
              </a:rPr>
              <a:t>неизменно</a:t>
            </a: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 на </a:t>
            </a:r>
            <a:r>
              <a:rPr lang="ru-RU" sz="1600" b="1" i="1" dirty="0" smtClean="0">
                <a:solidFill>
                  <a:schemeClr val="bg1"/>
                </a:solidFill>
                <a:latin typeface="+mj-lt"/>
              </a:rPr>
              <a:t>20 % </a:t>
            </a: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более эффективна, чем клиентский подход к ценообразованию на базе экспертного мнения.</a:t>
            </a:r>
          </a:p>
        </p:txBody>
      </p:sp>
      <p:sp>
        <p:nvSpPr>
          <p:cNvPr id="53" name="Down Arrow 52"/>
          <p:cNvSpPr/>
          <p:nvPr/>
        </p:nvSpPr>
        <p:spPr bwMode="ltGray">
          <a:xfrm rot="13205640">
            <a:off x="5153375" y="3101419"/>
            <a:ext cx="704850" cy="2387069"/>
          </a:xfrm>
          <a:prstGeom prst="downArrow">
            <a:avLst/>
          </a:prstGeom>
          <a:gradFill>
            <a:gsLst>
              <a:gs pos="0">
                <a:srgbClr val="A7A49B">
                  <a:alpha val="0"/>
                </a:srgbClr>
              </a:gs>
              <a:gs pos="100000">
                <a:srgbClr val="A7A49B">
                  <a:alpha val="50000"/>
                </a:srgbClr>
              </a:gs>
            </a:gsLst>
            <a:lin ang="5400000" scaled="1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472894" y="438255"/>
            <a:ext cx="7137706" cy="914400"/>
          </a:xfrm>
        </p:spPr>
        <p:txBody>
          <a:bodyPr/>
          <a:lstStyle/>
          <a:p>
            <a:r>
              <a:rPr lang="ru-RU" sz="1800" dirty="0" smtClean="0"/>
              <a:t>Определение идеальной цены для каждого клиента с целью максимального увеличения выручки</a:t>
            </a:r>
            <a:r>
              <a:rPr sz="1800" dirty="0"/>
              <a:t/>
            </a:r>
            <a:br>
              <a:rPr sz="1800" dirty="0"/>
            </a:br>
            <a:endParaRPr lang="ru-RU" sz="18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219" y="2429057"/>
            <a:ext cx="649424" cy="318507"/>
          </a:xfrm>
          <a:prstGeom prst="rect">
            <a:avLst/>
          </a:prstGeom>
        </p:spPr>
      </p:pic>
      <p:sp>
        <p:nvSpPr>
          <p:cNvPr id="49" name="Freeform 4803"/>
          <p:cNvSpPr>
            <a:spLocks noEditPoints="1"/>
          </p:cNvSpPr>
          <p:nvPr/>
        </p:nvSpPr>
        <p:spPr bwMode="auto">
          <a:xfrm>
            <a:off x="7402665" y="1135842"/>
            <a:ext cx="1207936" cy="880250"/>
          </a:xfrm>
          <a:custGeom>
            <a:avLst/>
            <a:gdLst>
              <a:gd name="T0" fmla="*/ 372 w 376"/>
              <a:gd name="T1" fmla="*/ 98 h 274"/>
              <a:gd name="T2" fmla="*/ 344 w 376"/>
              <a:gd name="T3" fmla="*/ 74 h 274"/>
              <a:gd name="T4" fmla="*/ 334 w 376"/>
              <a:gd name="T5" fmla="*/ 68 h 274"/>
              <a:gd name="T6" fmla="*/ 254 w 376"/>
              <a:gd name="T7" fmla="*/ 80 h 274"/>
              <a:gd name="T8" fmla="*/ 210 w 376"/>
              <a:gd name="T9" fmla="*/ 68 h 274"/>
              <a:gd name="T10" fmla="*/ 6 w 376"/>
              <a:gd name="T11" fmla="*/ 136 h 274"/>
              <a:gd name="T12" fmla="*/ 4 w 376"/>
              <a:gd name="T13" fmla="*/ 170 h 274"/>
              <a:gd name="T14" fmla="*/ 30 w 376"/>
              <a:gd name="T15" fmla="*/ 194 h 274"/>
              <a:gd name="T16" fmla="*/ 4 w 376"/>
              <a:gd name="T17" fmla="*/ 220 h 274"/>
              <a:gd name="T18" fmla="*/ 198 w 376"/>
              <a:gd name="T19" fmla="*/ 250 h 274"/>
              <a:gd name="T20" fmla="*/ 272 w 376"/>
              <a:gd name="T21" fmla="*/ 274 h 274"/>
              <a:gd name="T22" fmla="*/ 346 w 376"/>
              <a:gd name="T23" fmla="*/ 246 h 274"/>
              <a:gd name="T24" fmla="*/ 322 w 376"/>
              <a:gd name="T25" fmla="*/ 252 h 274"/>
              <a:gd name="T26" fmla="*/ 220 w 376"/>
              <a:gd name="T27" fmla="*/ 252 h 274"/>
              <a:gd name="T28" fmla="*/ 196 w 376"/>
              <a:gd name="T29" fmla="*/ 232 h 274"/>
              <a:gd name="T30" fmla="*/ 148 w 376"/>
              <a:gd name="T31" fmla="*/ 234 h 274"/>
              <a:gd name="T32" fmla="*/ 200 w 376"/>
              <a:gd name="T33" fmla="*/ 220 h 274"/>
              <a:gd name="T34" fmla="*/ 300 w 376"/>
              <a:gd name="T35" fmla="*/ 236 h 274"/>
              <a:gd name="T36" fmla="*/ 346 w 376"/>
              <a:gd name="T37" fmla="*/ 196 h 274"/>
              <a:gd name="T38" fmla="*/ 308 w 376"/>
              <a:gd name="T39" fmla="*/ 220 h 274"/>
              <a:gd name="T40" fmla="*/ 210 w 376"/>
              <a:gd name="T41" fmla="*/ 210 h 274"/>
              <a:gd name="T42" fmla="*/ 196 w 376"/>
              <a:gd name="T43" fmla="*/ 196 h 274"/>
              <a:gd name="T44" fmla="*/ 150 w 376"/>
              <a:gd name="T45" fmla="*/ 200 h 274"/>
              <a:gd name="T46" fmla="*/ 202 w 376"/>
              <a:gd name="T47" fmla="*/ 184 h 274"/>
              <a:gd name="T48" fmla="*/ 318 w 376"/>
              <a:gd name="T49" fmla="*/ 196 h 274"/>
              <a:gd name="T50" fmla="*/ 374 w 376"/>
              <a:gd name="T51" fmla="*/ 162 h 274"/>
              <a:gd name="T52" fmla="*/ 374 w 376"/>
              <a:gd name="T53" fmla="*/ 130 h 274"/>
              <a:gd name="T54" fmla="*/ 248 w 376"/>
              <a:gd name="T55" fmla="*/ 94 h 274"/>
              <a:gd name="T56" fmla="*/ 342 w 376"/>
              <a:gd name="T57" fmla="*/ 78 h 274"/>
              <a:gd name="T58" fmla="*/ 334 w 376"/>
              <a:gd name="T59" fmla="*/ 104 h 274"/>
              <a:gd name="T60" fmla="*/ 238 w 376"/>
              <a:gd name="T61" fmla="*/ 114 h 274"/>
              <a:gd name="T62" fmla="*/ 200 w 376"/>
              <a:gd name="T63" fmla="*/ 96 h 274"/>
              <a:gd name="T64" fmla="*/ 202 w 376"/>
              <a:gd name="T65" fmla="*/ 114 h 274"/>
              <a:gd name="T66" fmla="*/ 294 w 376"/>
              <a:gd name="T67" fmla="*/ 130 h 274"/>
              <a:gd name="T68" fmla="*/ 346 w 376"/>
              <a:gd name="T69" fmla="*/ 124 h 274"/>
              <a:gd name="T70" fmla="*/ 338 w 376"/>
              <a:gd name="T71" fmla="*/ 136 h 274"/>
              <a:gd name="T72" fmla="*/ 272 w 376"/>
              <a:gd name="T73" fmla="*/ 152 h 274"/>
              <a:gd name="T74" fmla="*/ 214 w 376"/>
              <a:gd name="T75" fmla="*/ 142 h 274"/>
              <a:gd name="T76" fmla="*/ 198 w 376"/>
              <a:gd name="T77" fmla="*/ 118 h 274"/>
              <a:gd name="T78" fmla="*/ 134 w 376"/>
              <a:gd name="T79" fmla="*/ 150 h 274"/>
              <a:gd name="T80" fmla="*/ 100 w 376"/>
              <a:gd name="T81" fmla="*/ 136 h 274"/>
              <a:gd name="T82" fmla="*/ 158 w 376"/>
              <a:gd name="T83" fmla="*/ 128 h 274"/>
              <a:gd name="T84" fmla="*/ 162 w 376"/>
              <a:gd name="T85" fmla="*/ 144 h 274"/>
              <a:gd name="T86" fmla="*/ 346 w 376"/>
              <a:gd name="T87" fmla="*/ 162 h 274"/>
              <a:gd name="T88" fmla="*/ 342 w 376"/>
              <a:gd name="T89" fmla="*/ 168 h 274"/>
              <a:gd name="T90" fmla="*/ 322 w 376"/>
              <a:gd name="T91" fmla="*/ 180 h 274"/>
              <a:gd name="T92" fmla="*/ 220 w 376"/>
              <a:gd name="T93" fmla="*/ 180 h 274"/>
              <a:gd name="T94" fmla="*/ 200 w 376"/>
              <a:gd name="T95" fmla="*/ 168 h 274"/>
              <a:gd name="T96" fmla="*/ 198 w 376"/>
              <a:gd name="T97" fmla="*/ 154 h 274"/>
              <a:gd name="T98" fmla="*/ 272 w 376"/>
              <a:gd name="T99" fmla="*/ 166 h 274"/>
              <a:gd name="T100" fmla="*/ 346 w 376"/>
              <a:gd name="T101" fmla="*/ 160 h 274"/>
              <a:gd name="T102" fmla="*/ 196 w 376"/>
              <a:gd name="T103" fmla="*/ 28 h 274"/>
              <a:gd name="T104" fmla="*/ 272 w 376"/>
              <a:gd name="T105" fmla="*/ 0 h 274"/>
              <a:gd name="T106" fmla="*/ 344 w 376"/>
              <a:gd name="T107" fmla="*/ 24 h 274"/>
              <a:gd name="T108" fmla="*/ 322 w 376"/>
              <a:gd name="T109" fmla="*/ 50 h 274"/>
              <a:gd name="T110" fmla="*/ 220 w 376"/>
              <a:gd name="T111" fmla="*/ 50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76" h="274">
                <a:moveTo>
                  <a:pt x="376" y="126"/>
                </a:moveTo>
                <a:lnTo>
                  <a:pt x="376" y="126"/>
                </a:lnTo>
                <a:lnTo>
                  <a:pt x="374" y="122"/>
                </a:lnTo>
                <a:lnTo>
                  <a:pt x="370" y="120"/>
                </a:lnTo>
                <a:lnTo>
                  <a:pt x="346" y="110"/>
                </a:lnTo>
                <a:lnTo>
                  <a:pt x="372" y="98"/>
                </a:lnTo>
                <a:lnTo>
                  <a:pt x="372" y="98"/>
                </a:lnTo>
                <a:lnTo>
                  <a:pt x="376" y="96"/>
                </a:lnTo>
                <a:lnTo>
                  <a:pt x="376" y="92"/>
                </a:lnTo>
                <a:lnTo>
                  <a:pt x="376" y="92"/>
                </a:lnTo>
                <a:lnTo>
                  <a:pt x="376" y="86"/>
                </a:lnTo>
                <a:lnTo>
                  <a:pt x="372" y="84"/>
                </a:lnTo>
                <a:lnTo>
                  <a:pt x="344" y="74"/>
                </a:lnTo>
                <a:lnTo>
                  <a:pt x="344" y="74"/>
                </a:lnTo>
                <a:lnTo>
                  <a:pt x="346" y="70"/>
                </a:lnTo>
                <a:lnTo>
                  <a:pt x="346" y="66"/>
                </a:lnTo>
                <a:lnTo>
                  <a:pt x="346" y="52"/>
                </a:lnTo>
                <a:lnTo>
                  <a:pt x="346" y="52"/>
                </a:lnTo>
                <a:lnTo>
                  <a:pt x="346" y="56"/>
                </a:lnTo>
                <a:lnTo>
                  <a:pt x="344" y="60"/>
                </a:lnTo>
                <a:lnTo>
                  <a:pt x="334" y="68"/>
                </a:lnTo>
                <a:lnTo>
                  <a:pt x="334" y="68"/>
                </a:lnTo>
                <a:lnTo>
                  <a:pt x="322" y="72"/>
                </a:lnTo>
                <a:lnTo>
                  <a:pt x="308" y="76"/>
                </a:lnTo>
                <a:lnTo>
                  <a:pt x="290" y="80"/>
                </a:lnTo>
                <a:lnTo>
                  <a:pt x="272" y="80"/>
                </a:lnTo>
                <a:lnTo>
                  <a:pt x="272" y="80"/>
                </a:lnTo>
                <a:lnTo>
                  <a:pt x="254" y="80"/>
                </a:lnTo>
                <a:lnTo>
                  <a:pt x="238" y="78"/>
                </a:lnTo>
                <a:lnTo>
                  <a:pt x="226" y="74"/>
                </a:lnTo>
                <a:lnTo>
                  <a:pt x="214" y="70"/>
                </a:lnTo>
                <a:lnTo>
                  <a:pt x="214" y="70"/>
                </a:lnTo>
                <a:lnTo>
                  <a:pt x="214" y="70"/>
                </a:lnTo>
                <a:lnTo>
                  <a:pt x="210" y="68"/>
                </a:lnTo>
                <a:lnTo>
                  <a:pt x="210" y="68"/>
                </a:lnTo>
                <a:lnTo>
                  <a:pt x="200" y="60"/>
                </a:lnTo>
                <a:lnTo>
                  <a:pt x="198" y="56"/>
                </a:lnTo>
                <a:lnTo>
                  <a:pt x="196" y="52"/>
                </a:lnTo>
                <a:lnTo>
                  <a:pt x="196" y="52"/>
                </a:lnTo>
                <a:lnTo>
                  <a:pt x="198" y="46"/>
                </a:lnTo>
                <a:lnTo>
                  <a:pt x="6" y="136"/>
                </a:lnTo>
                <a:lnTo>
                  <a:pt x="6" y="136"/>
                </a:lnTo>
                <a:lnTo>
                  <a:pt x="2" y="138"/>
                </a:lnTo>
                <a:lnTo>
                  <a:pt x="2" y="142"/>
                </a:lnTo>
                <a:lnTo>
                  <a:pt x="2" y="142"/>
                </a:lnTo>
                <a:lnTo>
                  <a:pt x="2" y="148"/>
                </a:lnTo>
                <a:lnTo>
                  <a:pt x="6" y="150"/>
                </a:lnTo>
                <a:lnTo>
                  <a:pt x="30" y="158"/>
                </a:lnTo>
                <a:lnTo>
                  <a:pt x="4" y="170"/>
                </a:lnTo>
                <a:lnTo>
                  <a:pt x="4" y="170"/>
                </a:lnTo>
                <a:lnTo>
                  <a:pt x="2" y="174"/>
                </a:lnTo>
                <a:lnTo>
                  <a:pt x="0" y="178"/>
                </a:lnTo>
                <a:lnTo>
                  <a:pt x="0" y="178"/>
                </a:lnTo>
                <a:lnTo>
                  <a:pt x="2" y="182"/>
                </a:lnTo>
                <a:lnTo>
                  <a:pt x="6" y="184"/>
                </a:lnTo>
                <a:lnTo>
                  <a:pt x="30" y="194"/>
                </a:lnTo>
                <a:lnTo>
                  <a:pt x="4" y="206"/>
                </a:lnTo>
                <a:lnTo>
                  <a:pt x="4" y="206"/>
                </a:lnTo>
                <a:lnTo>
                  <a:pt x="0" y="208"/>
                </a:lnTo>
                <a:lnTo>
                  <a:pt x="0" y="212"/>
                </a:lnTo>
                <a:lnTo>
                  <a:pt x="0" y="212"/>
                </a:lnTo>
                <a:lnTo>
                  <a:pt x="0" y="218"/>
                </a:lnTo>
                <a:lnTo>
                  <a:pt x="4" y="220"/>
                </a:lnTo>
                <a:lnTo>
                  <a:pt x="148" y="270"/>
                </a:lnTo>
                <a:lnTo>
                  <a:pt x="148" y="270"/>
                </a:lnTo>
                <a:lnTo>
                  <a:pt x="150" y="270"/>
                </a:lnTo>
                <a:lnTo>
                  <a:pt x="150" y="270"/>
                </a:lnTo>
                <a:lnTo>
                  <a:pt x="154" y="270"/>
                </a:lnTo>
                <a:lnTo>
                  <a:pt x="198" y="250"/>
                </a:lnTo>
                <a:lnTo>
                  <a:pt x="198" y="250"/>
                </a:lnTo>
                <a:lnTo>
                  <a:pt x="200" y="254"/>
                </a:lnTo>
                <a:lnTo>
                  <a:pt x="206" y="258"/>
                </a:lnTo>
                <a:lnTo>
                  <a:pt x="212" y="264"/>
                </a:lnTo>
                <a:lnTo>
                  <a:pt x="222" y="266"/>
                </a:lnTo>
                <a:lnTo>
                  <a:pt x="244" y="272"/>
                </a:lnTo>
                <a:lnTo>
                  <a:pt x="272" y="274"/>
                </a:lnTo>
                <a:lnTo>
                  <a:pt x="272" y="274"/>
                </a:lnTo>
                <a:lnTo>
                  <a:pt x="300" y="272"/>
                </a:lnTo>
                <a:lnTo>
                  <a:pt x="314" y="270"/>
                </a:lnTo>
                <a:lnTo>
                  <a:pt x="324" y="266"/>
                </a:lnTo>
                <a:lnTo>
                  <a:pt x="334" y="262"/>
                </a:lnTo>
                <a:lnTo>
                  <a:pt x="340" y="256"/>
                </a:lnTo>
                <a:lnTo>
                  <a:pt x="344" y="252"/>
                </a:lnTo>
                <a:lnTo>
                  <a:pt x="346" y="246"/>
                </a:lnTo>
                <a:lnTo>
                  <a:pt x="346" y="230"/>
                </a:lnTo>
                <a:lnTo>
                  <a:pt x="346" y="230"/>
                </a:lnTo>
                <a:lnTo>
                  <a:pt x="346" y="236"/>
                </a:lnTo>
                <a:lnTo>
                  <a:pt x="344" y="240"/>
                </a:lnTo>
                <a:lnTo>
                  <a:pt x="334" y="246"/>
                </a:lnTo>
                <a:lnTo>
                  <a:pt x="334" y="246"/>
                </a:lnTo>
                <a:lnTo>
                  <a:pt x="322" y="252"/>
                </a:lnTo>
                <a:lnTo>
                  <a:pt x="308" y="256"/>
                </a:lnTo>
                <a:lnTo>
                  <a:pt x="290" y="258"/>
                </a:lnTo>
                <a:lnTo>
                  <a:pt x="272" y="260"/>
                </a:lnTo>
                <a:lnTo>
                  <a:pt x="272" y="260"/>
                </a:lnTo>
                <a:lnTo>
                  <a:pt x="252" y="258"/>
                </a:lnTo>
                <a:lnTo>
                  <a:pt x="236" y="256"/>
                </a:lnTo>
                <a:lnTo>
                  <a:pt x="220" y="252"/>
                </a:lnTo>
                <a:lnTo>
                  <a:pt x="210" y="246"/>
                </a:lnTo>
                <a:lnTo>
                  <a:pt x="210" y="246"/>
                </a:lnTo>
                <a:lnTo>
                  <a:pt x="206" y="244"/>
                </a:lnTo>
                <a:lnTo>
                  <a:pt x="206" y="244"/>
                </a:lnTo>
                <a:lnTo>
                  <a:pt x="206" y="244"/>
                </a:lnTo>
                <a:lnTo>
                  <a:pt x="200" y="238"/>
                </a:lnTo>
                <a:lnTo>
                  <a:pt x="196" y="232"/>
                </a:lnTo>
                <a:lnTo>
                  <a:pt x="196" y="232"/>
                </a:lnTo>
                <a:lnTo>
                  <a:pt x="196" y="230"/>
                </a:lnTo>
                <a:lnTo>
                  <a:pt x="196" y="232"/>
                </a:lnTo>
                <a:lnTo>
                  <a:pt x="150" y="254"/>
                </a:lnTo>
                <a:lnTo>
                  <a:pt x="28" y="212"/>
                </a:lnTo>
                <a:lnTo>
                  <a:pt x="52" y="200"/>
                </a:lnTo>
                <a:lnTo>
                  <a:pt x="148" y="234"/>
                </a:lnTo>
                <a:lnTo>
                  <a:pt x="148" y="234"/>
                </a:lnTo>
                <a:lnTo>
                  <a:pt x="152" y="234"/>
                </a:lnTo>
                <a:lnTo>
                  <a:pt x="152" y="234"/>
                </a:lnTo>
                <a:lnTo>
                  <a:pt x="154" y="234"/>
                </a:lnTo>
                <a:lnTo>
                  <a:pt x="198" y="214"/>
                </a:lnTo>
                <a:lnTo>
                  <a:pt x="198" y="214"/>
                </a:lnTo>
                <a:lnTo>
                  <a:pt x="200" y="220"/>
                </a:lnTo>
                <a:lnTo>
                  <a:pt x="206" y="224"/>
                </a:lnTo>
                <a:lnTo>
                  <a:pt x="214" y="228"/>
                </a:lnTo>
                <a:lnTo>
                  <a:pt x="222" y="232"/>
                </a:lnTo>
                <a:lnTo>
                  <a:pt x="246" y="236"/>
                </a:lnTo>
                <a:lnTo>
                  <a:pt x="272" y="238"/>
                </a:lnTo>
                <a:lnTo>
                  <a:pt x="272" y="238"/>
                </a:lnTo>
                <a:lnTo>
                  <a:pt x="300" y="236"/>
                </a:lnTo>
                <a:lnTo>
                  <a:pt x="314" y="234"/>
                </a:lnTo>
                <a:lnTo>
                  <a:pt x="324" y="230"/>
                </a:lnTo>
                <a:lnTo>
                  <a:pt x="334" y="226"/>
                </a:lnTo>
                <a:lnTo>
                  <a:pt x="340" y="220"/>
                </a:lnTo>
                <a:lnTo>
                  <a:pt x="344" y="216"/>
                </a:lnTo>
                <a:lnTo>
                  <a:pt x="346" y="210"/>
                </a:lnTo>
                <a:lnTo>
                  <a:pt x="346" y="196"/>
                </a:lnTo>
                <a:lnTo>
                  <a:pt x="346" y="196"/>
                </a:lnTo>
                <a:lnTo>
                  <a:pt x="346" y="200"/>
                </a:lnTo>
                <a:lnTo>
                  <a:pt x="344" y="204"/>
                </a:lnTo>
                <a:lnTo>
                  <a:pt x="334" y="210"/>
                </a:lnTo>
                <a:lnTo>
                  <a:pt x="334" y="210"/>
                </a:lnTo>
                <a:lnTo>
                  <a:pt x="322" y="216"/>
                </a:lnTo>
                <a:lnTo>
                  <a:pt x="308" y="220"/>
                </a:lnTo>
                <a:lnTo>
                  <a:pt x="290" y="222"/>
                </a:lnTo>
                <a:lnTo>
                  <a:pt x="272" y="224"/>
                </a:lnTo>
                <a:lnTo>
                  <a:pt x="272" y="224"/>
                </a:lnTo>
                <a:lnTo>
                  <a:pt x="252" y="222"/>
                </a:lnTo>
                <a:lnTo>
                  <a:pt x="236" y="220"/>
                </a:lnTo>
                <a:lnTo>
                  <a:pt x="220" y="216"/>
                </a:lnTo>
                <a:lnTo>
                  <a:pt x="210" y="210"/>
                </a:lnTo>
                <a:lnTo>
                  <a:pt x="210" y="210"/>
                </a:lnTo>
                <a:lnTo>
                  <a:pt x="208" y="210"/>
                </a:lnTo>
                <a:lnTo>
                  <a:pt x="208" y="210"/>
                </a:lnTo>
                <a:lnTo>
                  <a:pt x="200" y="204"/>
                </a:lnTo>
                <a:lnTo>
                  <a:pt x="198" y="198"/>
                </a:lnTo>
                <a:lnTo>
                  <a:pt x="198" y="198"/>
                </a:lnTo>
                <a:lnTo>
                  <a:pt x="196" y="196"/>
                </a:lnTo>
                <a:lnTo>
                  <a:pt x="196" y="198"/>
                </a:lnTo>
                <a:lnTo>
                  <a:pt x="152" y="218"/>
                </a:lnTo>
                <a:lnTo>
                  <a:pt x="72" y="192"/>
                </a:lnTo>
                <a:lnTo>
                  <a:pt x="50" y="184"/>
                </a:lnTo>
                <a:lnTo>
                  <a:pt x="28" y="176"/>
                </a:lnTo>
                <a:lnTo>
                  <a:pt x="52" y="166"/>
                </a:lnTo>
                <a:lnTo>
                  <a:pt x="150" y="200"/>
                </a:lnTo>
                <a:lnTo>
                  <a:pt x="150" y="200"/>
                </a:lnTo>
                <a:lnTo>
                  <a:pt x="152" y="200"/>
                </a:lnTo>
                <a:lnTo>
                  <a:pt x="152" y="200"/>
                </a:lnTo>
                <a:lnTo>
                  <a:pt x="156" y="200"/>
                </a:lnTo>
                <a:lnTo>
                  <a:pt x="198" y="180"/>
                </a:lnTo>
                <a:lnTo>
                  <a:pt x="198" y="180"/>
                </a:lnTo>
                <a:lnTo>
                  <a:pt x="202" y="184"/>
                </a:lnTo>
                <a:lnTo>
                  <a:pt x="208" y="188"/>
                </a:lnTo>
                <a:lnTo>
                  <a:pt x="224" y="196"/>
                </a:lnTo>
                <a:lnTo>
                  <a:pt x="246" y="200"/>
                </a:lnTo>
                <a:lnTo>
                  <a:pt x="272" y="202"/>
                </a:lnTo>
                <a:lnTo>
                  <a:pt x="272" y="202"/>
                </a:lnTo>
                <a:lnTo>
                  <a:pt x="296" y="200"/>
                </a:lnTo>
                <a:lnTo>
                  <a:pt x="318" y="196"/>
                </a:lnTo>
                <a:lnTo>
                  <a:pt x="334" y="190"/>
                </a:lnTo>
                <a:lnTo>
                  <a:pt x="340" y="186"/>
                </a:lnTo>
                <a:lnTo>
                  <a:pt x="344" y="180"/>
                </a:lnTo>
                <a:lnTo>
                  <a:pt x="370" y="168"/>
                </a:lnTo>
                <a:lnTo>
                  <a:pt x="370" y="168"/>
                </a:lnTo>
                <a:lnTo>
                  <a:pt x="374" y="166"/>
                </a:lnTo>
                <a:lnTo>
                  <a:pt x="374" y="162"/>
                </a:lnTo>
                <a:lnTo>
                  <a:pt x="374" y="162"/>
                </a:lnTo>
                <a:lnTo>
                  <a:pt x="374" y="156"/>
                </a:lnTo>
                <a:lnTo>
                  <a:pt x="370" y="154"/>
                </a:lnTo>
                <a:lnTo>
                  <a:pt x="346" y="146"/>
                </a:lnTo>
                <a:lnTo>
                  <a:pt x="372" y="134"/>
                </a:lnTo>
                <a:lnTo>
                  <a:pt x="372" y="134"/>
                </a:lnTo>
                <a:lnTo>
                  <a:pt x="374" y="130"/>
                </a:lnTo>
                <a:lnTo>
                  <a:pt x="376" y="126"/>
                </a:lnTo>
                <a:lnTo>
                  <a:pt x="376" y="126"/>
                </a:lnTo>
                <a:close/>
                <a:moveTo>
                  <a:pt x="202" y="78"/>
                </a:moveTo>
                <a:lnTo>
                  <a:pt x="202" y="78"/>
                </a:lnTo>
                <a:lnTo>
                  <a:pt x="214" y="84"/>
                </a:lnTo>
                <a:lnTo>
                  <a:pt x="230" y="90"/>
                </a:lnTo>
                <a:lnTo>
                  <a:pt x="248" y="94"/>
                </a:lnTo>
                <a:lnTo>
                  <a:pt x="272" y="96"/>
                </a:lnTo>
                <a:lnTo>
                  <a:pt x="272" y="96"/>
                </a:lnTo>
                <a:lnTo>
                  <a:pt x="294" y="94"/>
                </a:lnTo>
                <a:lnTo>
                  <a:pt x="314" y="90"/>
                </a:lnTo>
                <a:lnTo>
                  <a:pt x="330" y="84"/>
                </a:lnTo>
                <a:lnTo>
                  <a:pt x="342" y="78"/>
                </a:lnTo>
                <a:lnTo>
                  <a:pt x="342" y="78"/>
                </a:lnTo>
                <a:lnTo>
                  <a:pt x="346" y="82"/>
                </a:lnTo>
                <a:lnTo>
                  <a:pt x="346" y="88"/>
                </a:lnTo>
                <a:lnTo>
                  <a:pt x="346" y="88"/>
                </a:lnTo>
                <a:lnTo>
                  <a:pt x="346" y="92"/>
                </a:lnTo>
                <a:lnTo>
                  <a:pt x="344" y="96"/>
                </a:lnTo>
                <a:lnTo>
                  <a:pt x="334" y="104"/>
                </a:lnTo>
                <a:lnTo>
                  <a:pt x="334" y="104"/>
                </a:lnTo>
                <a:lnTo>
                  <a:pt x="322" y="108"/>
                </a:lnTo>
                <a:lnTo>
                  <a:pt x="308" y="112"/>
                </a:lnTo>
                <a:lnTo>
                  <a:pt x="290" y="116"/>
                </a:lnTo>
                <a:lnTo>
                  <a:pt x="272" y="116"/>
                </a:lnTo>
                <a:lnTo>
                  <a:pt x="272" y="116"/>
                </a:lnTo>
                <a:lnTo>
                  <a:pt x="254" y="116"/>
                </a:lnTo>
                <a:lnTo>
                  <a:pt x="238" y="114"/>
                </a:lnTo>
                <a:lnTo>
                  <a:pt x="226" y="110"/>
                </a:lnTo>
                <a:lnTo>
                  <a:pt x="214" y="106"/>
                </a:lnTo>
                <a:lnTo>
                  <a:pt x="214" y="106"/>
                </a:lnTo>
                <a:lnTo>
                  <a:pt x="214" y="106"/>
                </a:lnTo>
                <a:lnTo>
                  <a:pt x="210" y="104"/>
                </a:lnTo>
                <a:lnTo>
                  <a:pt x="210" y="104"/>
                </a:lnTo>
                <a:lnTo>
                  <a:pt x="200" y="96"/>
                </a:lnTo>
                <a:lnTo>
                  <a:pt x="198" y="92"/>
                </a:lnTo>
                <a:lnTo>
                  <a:pt x="196" y="88"/>
                </a:lnTo>
                <a:lnTo>
                  <a:pt x="196" y="88"/>
                </a:lnTo>
                <a:lnTo>
                  <a:pt x="198" y="82"/>
                </a:lnTo>
                <a:lnTo>
                  <a:pt x="202" y="78"/>
                </a:lnTo>
                <a:lnTo>
                  <a:pt x="202" y="78"/>
                </a:lnTo>
                <a:close/>
                <a:moveTo>
                  <a:pt x="202" y="114"/>
                </a:moveTo>
                <a:lnTo>
                  <a:pt x="202" y="114"/>
                </a:lnTo>
                <a:lnTo>
                  <a:pt x="214" y="120"/>
                </a:lnTo>
                <a:lnTo>
                  <a:pt x="230" y="126"/>
                </a:lnTo>
                <a:lnTo>
                  <a:pt x="248" y="130"/>
                </a:lnTo>
                <a:lnTo>
                  <a:pt x="272" y="130"/>
                </a:lnTo>
                <a:lnTo>
                  <a:pt x="272" y="130"/>
                </a:lnTo>
                <a:lnTo>
                  <a:pt x="294" y="130"/>
                </a:lnTo>
                <a:lnTo>
                  <a:pt x="314" y="126"/>
                </a:lnTo>
                <a:lnTo>
                  <a:pt x="330" y="120"/>
                </a:lnTo>
                <a:lnTo>
                  <a:pt x="342" y="114"/>
                </a:lnTo>
                <a:lnTo>
                  <a:pt x="342" y="114"/>
                </a:lnTo>
                <a:lnTo>
                  <a:pt x="346" y="118"/>
                </a:lnTo>
                <a:lnTo>
                  <a:pt x="346" y="124"/>
                </a:lnTo>
                <a:lnTo>
                  <a:pt x="346" y="124"/>
                </a:lnTo>
                <a:lnTo>
                  <a:pt x="346" y="128"/>
                </a:lnTo>
                <a:lnTo>
                  <a:pt x="346" y="128"/>
                </a:lnTo>
                <a:lnTo>
                  <a:pt x="342" y="132"/>
                </a:lnTo>
                <a:lnTo>
                  <a:pt x="342" y="132"/>
                </a:lnTo>
                <a:lnTo>
                  <a:pt x="340" y="134"/>
                </a:lnTo>
                <a:lnTo>
                  <a:pt x="340" y="134"/>
                </a:lnTo>
                <a:lnTo>
                  <a:pt x="338" y="136"/>
                </a:lnTo>
                <a:lnTo>
                  <a:pt x="338" y="136"/>
                </a:lnTo>
                <a:lnTo>
                  <a:pt x="334" y="140"/>
                </a:lnTo>
                <a:lnTo>
                  <a:pt x="334" y="140"/>
                </a:lnTo>
                <a:lnTo>
                  <a:pt x="322" y="144"/>
                </a:lnTo>
                <a:lnTo>
                  <a:pt x="308" y="148"/>
                </a:lnTo>
                <a:lnTo>
                  <a:pt x="290" y="150"/>
                </a:lnTo>
                <a:lnTo>
                  <a:pt x="272" y="152"/>
                </a:lnTo>
                <a:lnTo>
                  <a:pt x="272" y="152"/>
                </a:lnTo>
                <a:lnTo>
                  <a:pt x="254" y="152"/>
                </a:lnTo>
                <a:lnTo>
                  <a:pt x="238" y="148"/>
                </a:lnTo>
                <a:lnTo>
                  <a:pt x="226" y="146"/>
                </a:lnTo>
                <a:lnTo>
                  <a:pt x="214" y="142"/>
                </a:lnTo>
                <a:lnTo>
                  <a:pt x="214" y="142"/>
                </a:lnTo>
                <a:lnTo>
                  <a:pt x="214" y="142"/>
                </a:lnTo>
                <a:lnTo>
                  <a:pt x="210" y="140"/>
                </a:lnTo>
                <a:lnTo>
                  <a:pt x="210" y="140"/>
                </a:lnTo>
                <a:lnTo>
                  <a:pt x="200" y="132"/>
                </a:lnTo>
                <a:lnTo>
                  <a:pt x="198" y="128"/>
                </a:lnTo>
                <a:lnTo>
                  <a:pt x="196" y="124"/>
                </a:lnTo>
                <a:lnTo>
                  <a:pt x="196" y="124"/>
                </a:lnTo>
                <a:lnTo>
                  <a:pt x="198" y="118"/>
                </a:lnTo>
                <a:lnTo>
                  <a:pt x="202" y="114"/>
                </a:lnTo>
                <a:lnTo>
                  <a:pt x="202" y="114"/>
                </a:lnTo>
                <a:close/>
                <a:moveTo>
                  <a:pt x="162" y="144"/>
                </a:moveTo>
                <a:lnTo>
                  <a:pt x="162" y="144"/>
                </a:lnTo>
                <a:lnTo>
                  <a:pt x="150" y="150"/>
                </a:lnTo>
                <a:lnTo>
                  <a:pt x="134" y="150"/>
                </a:lnTo>
                <a:lnTo>
                  <a:pt x="134" y="150"/>
                </a:lnTo>
                <a:lnTo>
                  <a:pt x="116" y="150"/>
                </a:lnTo>
                <a:lnTo>
                  <a:pt x="104" y="144"/>
                </a:lnTo>
                <a:lnTo>
                  <a:pt x="104" y="144"/>
                </a:lnTo>
                <a:lnTo>
                  <a:pt x="100" y="142"/>
                </a:lnTo>
                <a:lnTo>
                  <a:pt x="98" y="138"/>
                </a:lnTo>
                <a:lnTo>
                  <a:pt x="98" y="138"/>
                </a:lnTo>
                <a:lnTo>
                  <a:pt x="100" y="136"/>
                </a:lnTo>
                <a:lnTo>
                  <a:pt x="102" y="132"/>
                </a:lnTo>
                <a:lnTo>
                  <a:pt x="110" y="128"/>
                </a:lnTo>
                <a:lnTo>
                  <a:pt x="120" y="126"/>
                </a:lnTo>
                <a:lnTo>
                  <a:pt x="134" y="124"/>
                </a:lnTo>
                <a:lnTo>
                  <a:pt x="134" y="124"/>
                </a:lnTo>
                <a:lnTo>
                  <a:pt x="148" y="126"/>
                </a:lnTo>
                <a:lnTo>
                  <a:pt x="158" y="128"/>
                </a:lnTo>
                <a:lnTo>
                  <a:pt x="166" y="132"/>
                </a:lnTo>
                <a:lnTo>
                  <a:pt x="168" y="136"/>
                </a:lnTo>
                <a:lnTo>
                  <a:pt x="168" y="138"/>
                </a:lnTo>
                <a:lnTo>
                  <a:pt x="168" y="138"/>
                </a:lnTo>
                <a:lnTo>
                  <a:pt x="166" y="142"/>
                </a:lnTo>
                <a:lnTo>
                  <a:pt x="162" y="144"/>
                </a:lnTo>
                <a:lnTo>
                  <a:pt x="162" y="144"/>
                </a:lnTo>
                <a:close/>
                <a:moveTo>
                  <a:pt x="346" y="160"/>
                </a:moveTo>
                <a:lnTo>
                  <a:pt x="346" y="160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4" y="166"/>
                </a:lnTo>
                <a:lnTo>
                  <a:pt x="344" y="166"/>
                </a:lnTo>
                <a:lnTo>
                  <a:pt x="344" y="166"/>
                </a:lnTo>
                <a:lnTo>
                  <a:pt x="344" y="166"/>
                </a:lnTo>
                <a:lnTo>
                  <a:pt x="342" y="168"/>
                </a:lnTo>
                <a:lnTo>
                  <a:pt x="342" y="168"/>
                </a:lnTo>
                <a:lnTo>
                  <a:pt x="340" y="170"/>
                </a:lnTo>
                <a:lnTo>
                  <a:pt x="340" y="170"/>
                </a:lnTo>
                <a:lnTo>
                  <a:pt x="338" y="172"/>
                </a:lnTo>
                <a:lnTo>
                  <a:pt x="338" y="172"/>
                </a:lnTo>
                <a:lnTo>
                  <a:pt x="334" y="174"/>
                </a:lnTo>
                <a:lnTo>
                  <a:pt x="334" y="174"/>
                </a:lnTo>
                <a:lnTo>
                  <a:pt x="322" y="180"/>
                </a:lnTo>
                <a:lnTo>
                  <a:pt x="308" y="184"/>
                </a:lnTo>
                <a:lnTo>
                  <a:pt x="290" y="186"/>
                </a:lnTo>
                <a:lnTo>
                  <a:pt x="272" y="188"/>
                </a:lnTo>
                <a:lnTo>
                  <a:pt x="272" y="188"/>
                </a:lnTo>
                <a:lnTo>
                  <a:pt x="252" y="186"/>
                </a:lnTo>
                <a:lnTo>
                  <a:pt x="236" y="184"/>
                </a:lnTo>
                <a:lnTo>
                  <a:pt x="220" y="180"/>
                </a:lnTo>
                <a:lnTo>
                  <a:pt x="210" y="174"/>
                </a:lnTo>
                <a:lnTo>
                  <a:pt x="210" y="174"/>
                </a:lnTo>
                <a:lnTo>
                  <a:pt x="208" y="174"/>
                </a:lnTo>
                <a:lnTo>
                  <a:pt x="208" y="174"/>
                </a:lnTo>
                <a:lnTo>
                  <a:pt x="208" y="174"/>
                </a:lnTo>
                <a:lnTo>
                  <a:pt x="200" y="168"/>
                </a:lnTo>
                <a:lnTo>
                  <a:pt x="200" y="168"/>
                </a:lnTo>
                <a:lnTo>
                  <a:pt x="200" y="166"/>
                </a:lnTo>
                <a:lnTo>
                  <a:pt x="200" y="166"/>
                </a:lnTo>
                <a:lnTo>
                  <a:pt x="198" y="164"/>
                </a:lnTo>
                <a:lnTo>
                  <a:pt x="198" y="164"/>
                </a:lnTo>
                <a:lnTo>
                  <a:pt x="196" y="160"/>
                </a:lnTo>
                <a:lnTo>
                  <a:pt x="196" y="160"/>
                </a:lnTo>
                <a:lnTo>
                  <a:pt x="198" y="154"/>
                </a:lnTo>
                <a:lnTo>
                  <a:pt x="202" y="148"/>
                </a:lnTo>
                <a:lnTo>
                  <a:pt x="202" y="148"/>
                </a:lnTo>
                <a:lnTo>
                  <a:pt x="214" y="156"/>
                </a:lnTo>
                <a:lnTo>
                  <a:pt x="230" y="162"/>
                </a:lnTo>
                <a:lnTo>
                  <a:pt x="248" y="166"/>
                </a:lnTo>
                <a:lnTo>
                  <a:pt x="272" y="166"/>
                </a:lnTo>
                <a:lnTo>
                  <a:pt x="272" y="166"/>
                </a:lnTo>
                <a:lnTo>
                  <a:pt x="294" y="166"/>
                </a:lnTo>
                <a:lnTo>
                  <a:pt x="314" y="162"/>
                </a:lnTo>
                <a:lnTo>
                  <a:pt x="330" y="156"/>
                </a:lnTo>
                <a:lnTo>
                  <a:pt x="342" y="148"/>
                </a:lnTo>
                <a:lnTo>
                  <a:pt x="342" y="148"/>
                </a:lnTo>
                <a:lnTo>
                  <a:pt x="346" y="154"/>
                </a:lnTo>
                <a:lnTo>
                  <a:pt x="346" y="160"/>
                </a:lnTo>
                <a:lnTo>
                  <a:pt x="346" y="160"/>
                </a:lnTo>
                <a:close/>
                <a:moveTo>
                  <a:pt x="346" y="128"/>
                </a:moveTo>
                <a:lnTo>
                  <a:pt x="346" y="128"/>
                </a:lnTo>
                <a:lnTo>
                  <a:pt x="348" y="128"/>
                </a:lnTo>
                <a:lnTo>
                  <a:pt x="346" y="128"/>
                </a:lnTo>
                <a:close/>
                <a:moveTo>
                  <a:pt x="196" y="28"/>
                </a:moveTo>
                <a:lnTo>
                  <a:pt x="196" y="28"/>
                </a:lnTo>
                <a:lnTo>
                  <a:pt x="198" y="24"/>
                </a:lnTo>
                <a:lnTo>
                  <a:pt x="202" y="18"/>
                </a:lnTo>
                <a:lnTo>
                  <a:pt x="210" y="14"/>
                </a:lnTo>
                <a:lnTo>
                  <a:pt x="218" y="8"/>
                </a:lnTo>
                <a:lnTo>
                  <a:pt x="230" y="6"/>
                </a:lnTo>
                <a:lnTo>
                  <a:pt x="242" y="2"/>
                </a:lnTo>
                <a:lnTo>
                  <a:pt x="272" y="0"/>
                </a:lnTo>
                <a:lnTo>
                  <a:pt x="272" y="0"/>
                </a:lnTo>
                <a:lnTo>
                  <a:pt x="300" y="2"/>
                </a:lnTo>
                <a:lnTo>
                  <a:pt x="314" y="6"/>
                </a:lnTo>
                <a:lnTo>
                  <a:pt x="324" y="8"/>
                </a:lnTo>
                <a:lnTo>
                  <a:pt x="334" y="14"/>
                </a:lnTo>
                <a:lnTo>
                  <a:pt x="340" y="18"/>
                </a:lnTo>
                <a:lnTo>
                  <a:pt x="344" y="24"/>
                </a:lnTo>
                <a:lnTo>
                  <a:pt x="346" y="28"/>
                </a:lnTo>
                <a:lnTo>
                  <a:pt x="346" y="28"/>
                </a:lnTo>
                <a:lnTo>
                  <a:pt x="346" y="34"/>
                </a:lnTo>
                <a:lnTo>
                  <a:pt x="344" y="38"/>
                </a:lnTo>
                <a:lnTo>
                  <a:pt x="334" y="44"/>
                </a:lnTo>
                <a:lnTo>
                  <a:pt x="334" y="44"/>
                </a:lnTo>
                <a:lnTo>
                  <a:pt x="322" y="50"/>
                </a:lnTo>
                <a:lnTo>
                  <a:pt x="308" y="54"/>
                </a:lnTo>
                <a:lnTo>
                  <a:pt x="290" y="56"/>
                </a:lnTo>
                <a:lnTo>
                  <a:pt x="272" y="58"/>
                </a:lnTo>
                <a:lnTo>
                  <a:pt x="272" y="58"/>
                </a:lnTo>
                <a:lnTo>
                  <a:pt x="252" y="56"/>
                </a:lnTo>
                <a:lnTo>
                  <a:pt x="236" y="54"/>
                </a:lnTo>
                <a:lnTo>
                  <a:pt x="220" y="50"/>
                </a:lnTo>
                <a:lnTo>
                  <a:pt x="210" y="44"/>
                </a:lnTo>
                <a:lnTo>
                  <a:pt x="210" y="44"/>
                </a:lnTo>
                <a:lnTo>
                  <a:pt x="200" y="38"/>
                </a:lnTo>
                <a:lnTo>
                  <a:pt x="198" y="34"/>
                </a:lnTo>
                <a:lnTo>
                  <a:pt x="196" y="28"/>
                </a:lnTo>
                <a:lnTo>
                  <a:pt x="196" y="2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4" name="Rectangle 17"/>
          <p:cNvSpPr>
            <a:spLocks/>
          </p:cNvSpPr>
          <p:nvPr/>
        </p:nvSpPr>
        <p:spPr bwMode="auto">
          <a:xfrm>
            <a:off x="142450" y="1464962"/>
            <a:ext cx="79730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Изучение ассоциативных правил</a:t>
            </a:r>
          </a:p>
        </p:txBody>
      </p:sp>
      <p:sp>
        <p:nvSpPr>
          <p:cNvPr id="55" name="Rectangle 17"/>
          <p:cNvSpPr>
            <a:spLocks/>
          </p:cNvSpPr>
          <p:nvPr/>
        </p:nvSpPr>
        <p:spPr bwMode="auto">
          <a:xfrm>
            <a:off x="142451" y="2118140"/>
            <a:ext cx="7389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A/B-тестирование</a:t>
            </a:r>
          </a:p>
        </p:txBody>
      </p:sp>
      <p:grpSp>
        <p:nvGrpSpPr>
          <p:cNvPr id="149" name="Group 148"/>
          <p:cNvGrpSpPr/>
          <p:nvPr/>
        </p:nvGrpSpPr>
        <p:grpSpPr>
          <a:xfrm>
            <a:off x="147993" y="4588074"/>
            <a:ext cx="727877" cy="569812"/>
            <a:chOff x="147993" y="4263727"/>
            <a:chExt cx="727877" cy="569812"/>
          </a:xfrm>
        </p:grpSpPr>
        <p:sp>
          <p:nvSpPr>
            <p:cNvPr id="150" name="Rectangle 17"/>
            <p:cNvSpPr>
              <a:spLocks/>
            </p:cNvSpPr>
            <p:nvPr/>
          </p:nvSpPr>
          <p:spPr bwMode="auto">
            <a:xfrm>
              <a:off x="147993" y="4556540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нешние данные</a:t>
              </a:r>
            </a:p>
          </p:txBody>
        </p:sp>
        <p:grpSp>
          <p:nvGrpSpPr>
            <p:cNvPr id="151" name="Group 201"/>
            <p:cNvGrpSpPr>
              <a:grpSpLocks noChangeAspect="1"/>
            </p:cNvGrpSpPr>
            <p:nvPr/>
          </p:nvGrpSpPr>
          <p:grpSpPr bwMode="auto">
            <a:xfrm>
              <a:off x="417906" y="4263727"/>
              <a:ext cx="202275" cy="226804"/>
              <a:chOff x="4176" y="3243"/>
              <a:chExt cx="602" cy="675"/>
            </a:xfrm>
            <a:solidFill>
              <a:schemeClr val="bg1"/>
            </a:solidFill>
          </p:grpSpPr>
          <p:sp>
            <p:nvSpPr>
              <p:cNvPr id="152" name="Freeform 203"/>
              <p:cNvSpPr>
                <a:spLocks/>
              </p:cNvSpPr>
              <p:nvPr/>
            </p:nvSpPr>
            <p:spPr bwMode="auto">
              <a:xfrm>
                <a:off x="4184" y="3243"/>
                <a:ext cx="594" cy="675"/>
              </a:xfrm>
              <a:custGeom>
                <a:avLst/>
                <a:gdLst>
                  <a:gd name="T0" fmla="*/ 2818 w 2971"/>
                  <a:gd name="T1" fmla="*/ 0 h 3374"/>
                  <a:gd name="T2" fmla="*/ 2877 w 2971"/>
                  <a:gd name="T3" fmla="*/ 12 h 3374"/>
                  <a:gd name="T4" fmla="*/ 2926 w 2971"/>
                  <a:gd name="T5" fmla="*/ 45 h 3374"/>
                  <a:gd name="T6" fmla="*/ 2958 w 2971"/>
                  <a:gd name="T7" fmla="*/ 93 h 3374"/>
                  <a:gd name="T8" fmla="*/ 2971 w 2971"/>
                  <a:gd name="T9" fmla="*/ 154 h 3374"/>
                  <a:gd name="T10" fmla="*/ 2960 w 2971"/>
                  <a:gd name="T11" fmla="*/ 207 h 3374"/>
                  <a:gd name="T12" fmla="*/ 2934 w 2971"/>
                  <a:gd name="T13" fmla="*/ 252 h 3374"/>
                  <a:gd name="T14" fmla="*/ 2894 w 2971"/>
                  <a:gd name="T15" fmla="*/ 285 h 3374"/>
                  <a:gd name="T16" fmla="*/ 2892 w 2971"/>
                  <a:gd name="T17" fmla="*/ 2091 h 3374"/>
                  <a:gd name="T18" fmla="*/ 2872 w 2971"/>
                  <a:gd name="T19" fmla="*/ 2124 h 3374"/>
                  <a:gd name="T20" fmla="*/ 2838 w 2971"/>
                  <a:gd name="T21" fmla="*/ 2145 h 3374"/>
                  <a:gd name="T22" fmla="*/ 2197 w 2971"/>
                  <a:gd name="T23" fmla="*/ 2147 h 3374"/>
                  <a:gd name="T24" fmla="*/ 2475 w 2971"/>
                  <a:gd name="T25" fmla="*/ 3208 h 3374"/>
                  <a:gd name="T26" fmla="*/ 2469 w 2971"/>
                  <a:gd name="T27" fmla="*/ 3261 h 3374"/>
                  <a:gd name="T28" fmla="*/ 2448 w 2971"/>
                  <a:gd name="T29" fmla="*/ 3309 h 3374"/>
                  <a:gd name="T30" fmla="*/ 2411 w 2971"/>
                  <a:gd name="T31" fmla="*/ 3346 h 3374"/>
                  <a:gd name="T32" fmla="*/ 2362 w 2971"/>
                  <a:gd name="T33" fmla="*/ 3370 h 3374"/>
                  <a:gd name="T34" fmla="*/ 2323 w 2971"/>
                  <a:gd name="T35" fmla="*/ 3374 h 3374"/>
                  <a:gd name="T36" fmla="*/ 2267 w 2971"/>
                  <a:gd name="T37" fmla="*/ 3363 h 3374"/>
                  <a:gd name="T38" fmla="*/ 2220 w 2971"/>
                  <a:gd name="T39" fmla="*/ 3334 h 3374"/>
                  <a:gd name="T40" fmla="*/ 2186 w 2971"/>
                  <a:gd name="T41" fmla="*/ 3288 h 3374"/>
                  <a:gd name="T42" fmla="*/ 1902 w 2971"/>
                  <a:gd name="T43" fmla="*/ 2224 h 3374"/>
                  <a:gd name="T44" fmla="*/ 794 w 2971"/>
                  <a:gd name="T45" fmla="*/ 3260 h 3374"/>
                  <a:gd name="T46" fmla="*/ 771 w 2971"/>
                  <a:gd name="T47" fmla="*/ 3309 h 3374"/>
                  <a:gd name="T48" fmla="*/ 734 w 2971"/>
                  <a:gd name="T49" fmla="*/ 3346 h 3374"/>
                  <a:gd name="T50" fmla="*/ 687 w 2971"/>
                  <a:gd name="T51" fmla="*/ 3369 h 3374"/>
                  <a:gd name="T52" fmla="*/ 635 w 2971"/>
                  <a:gd name="T53" fmla="*/ 3374 h 3374"/>
                  <a:gd name="T54" fmla="*/ 581 w 2971"/>
                  <a:gd name="T55" fmla="*/ 3360 h 3374"/>
                  <a:gd name="T56" fmla="*/ 538 w 2971"/>
                  <a:gd name="T57" fmla="*/ 3329 h 3374"/>
                  <a:gd name="T58" fmla="*/ 509 w 2971"/>
                  <a:gd name="T59" fmla="*/ 3286 h 3374"/>
                  <a:gd name="T60" fmla="*/ 495 w 2971"/>
                  <a:gd name="T61" fmla="*/ 3236 h 3374"/>
                  <a:gd name="T62" fmla="*/ 500 w 2971"/>
                  <a:gd name="T63" fmla="*/ 3181 h 3374"/>
                  <a:gd name="T64" fmla="*/ 639 w 2971"/>
                  <a:gd name="T65" fmla="*/ 2147 h 3374"/>
                  <a:gd name="T66" fmla="*/ 729 w 2971"/>
                  <a:gd name="T67" fmla="*/ 2048 h 3374"/>
                  <a:gd name="T68" fmla="*/ 2742 w 2971"/>
                  <a:gd name="T69" fmla="*/ 1994 h 3374"/>
                  <a:gd name="T70" fmla="*/ 227 w 2971"/>
                  <a:gd name="T71" fmla="*/ 307 h 3374"/>
                  <a:gd name="T72" fmla="*/ 184 w 2971"/>
                  <a:gd name="T73" fmla="*/ 1953 h 3374"/>
                  <a:gd name="T74" fmla="*/ 108 w 2971"/>
                  <a:gd name="T75" fmla="*/ 2023 h 3374"/>
                  <a:gd name="T76" fmla="*/ 76 w 2971"/>
                  <a:gd name="T77" fmla="*/ 285 h 3374"/>
                  <a:gd name="T78" fmla="*/ 36 w 2971"/>
                  <a:gd name="T79" fmla="*/ 252 h 3374"/>
                  <a:gd name="T80" fmla="*/ 9 w 2971"/>
                  <a:gd name="T81" fmla="*/ 207 h 3374"/>
                  <a:gd name="T82" fmla="*/ 0 w 2971"/>
                  <a:gd name="T83" fmla="*/ 154 h 3374"/>
                  <a:gd name="T84" fmla="*/ 12 w 2971"/>
                  <a:gd name="T85" fmla="*/ 93 h 3374"/>
                  <a:gd name="T86" fmla="*/ 44 w 2971"/>
                  <a:gd name="T87" fmla="*/ 45 h 3374"/>
                  <a:gd name="T88" fmla="*/ 93 w 2971"/>
                  <a:gd name="T89" fmla="*/ 12 h 3374"/>
                  <a:gd name="T90" fmla="*/ 152 w 2971"/>
                  <a:gd name="T91" fmla="*/ 0 h 3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1" h="3374">
                    <a:moveTo>
                      <a:pt x="152" y="0"/>
                    </a:moveTo>
                    <a:lnTo>
                      <a:pt x="2818" y="0"/>
                    </a:lnTo>
                    <a:lnTo>
                      <a:pt x="2849" y="3"/>
                    </a:lnTo>
                    <a:lnTo>
                      <a:pt x="2877" y="12"/>
                    </a:lnTo>
                    <a:lnTo>
                      <a:pt x="2904" y="27"/>
                    </a:lnTo>
                    <a:lnTo>
                      <a:pt x="2926" y="45"/>
                    </a:lnTo>
                    <a:lnTo>
                      <a:pt x="2945" y="68"/>
                    </a:lnTo>
                    <a:lnTo>
                      <a:pt x="2958" y="93"/>
                    </a:lnTo>
                    <a:lnTo>
                      <a:pt x="2968" y="123"/>
                    </a:lnTo>
                    <a:lnTo>
                      <a:pt x="2971" y="154"/>
                    </a:lnTo>
                    <a:lnTo>
                      <a:pt x="2968" y="181"/>
                    </a:lnTo>
                    <a:lnTo>
                      <a:pt x="2960" y="207"/>
                    </a:lnTo>
                    <a:lnTo>
                      <a:pt x="2950" y="231"/>
                    </a:lnTo>
                    <a:lnTo>
                      <a:pt x="2934" y="252"/>
                    </a:lnTo>
                    <a:lnTo>
                      <a:pt x="2916" y="271"/>
                    </a:lnTo>
                    <a:lnTo>
                      <a:pt x="2894" y="285"/>
                    </a:lnTo>
                    <a:lnTo>
                      <a:pt x="2894" y="2070"/>
                    </a:lnTo>
                    <a:lnTo>
                      <a:pt x="2892" y="2091"/>
                    </a:lnTo>
                    <a:lnTo>
                      <a:pt x="2883" y="2110"/>
                    </a:lnTo>
                    <a:lnTo>
                      <a:pt x="2872" y="2124"/>
                    </a:lnTo>
                    <a:lnTo>
                      <a:pt x="2856" y="2137"/>
                    </a:lnTo>
                    <a:lnTo>
                      <a:pt x="2838" y="2145"/>
                    </a:lnTo>
                    <a:lnTo>
                      <a:pt x="2818" y="2147"/>
                    </a:lnTo>
                    <a:lnTo>
                      <a:pt x="2197" y="2147"/>
                    </a:lnTo>
                    <a:lnTo>
                      <a:pt x="2470" y="3181"/>
                    </a:lnTo>
                    <a:lnTo>
                      <a:pt x="2475" y="3208"/>
                    </a:lnTo>
                    <a:lnTo>
                      <a:pt x="2475" y="3235"/>
                    </a:lnTo>
                    <a:lnTo>
                      <a:pt x="2469" y="3261"/>
                    </a:lnTo>
                    <a:lnTo>
                      <a:pt x="2461" y="3286"/>
                    </a:lnTo>
                    <a:lnTo>
                      <a:pt x="2448" y="3309"/>
                    </a:lnTo>
                    <a:lnTo>
                      <a:pt x="2432" y="3329"/>
                    </a:lnTo>
                    <a:lnTo>
                      <a:pt x="2411" y="3346"/>
                    </a:lnTo>
                    <a:lnTo>
                      <a:pt x="2388" y="3360"/>
                    </a:lnTo>
                    <a:lnTo>
                      <a:pt x="2362" y="3370"/>
                    </a:lnTo>
                    <a:lnTo>
                      <a:pt x="2343" y="3373"/>
                    </a:lnTo>
                    <a:lnTo>
                      <a:pt x="2323" y="3374"/>
                    </a:lnTo>
                    <a:lnTo>
                      <a:pt x="2295" y="3372"/>
                    </a:lnTo>
                    <a:lnTo>
                      <a:pt x="2267" y="3363"/>
                    </a:lnTo>
                    <a:lnTo>
                      <a:pt x="2243" y="3351"/>
                    </a:lnTo>
                    <a:lnTo>
                      <a:pt x="2220" y="3334"/>
                    </a:lnTo>
                    <a:lnTo>
                      <a:pt x="2201" y="3313"/>
                    </a:lnTo>
                    <a:lnTo>
                      <a:pt x="2186" y="3288"/>
                    </a:lnTo>
                    <a:lnTo>
                      <a:pt x="2176" y="3260"/>
                    </a:lnTo>
                    <a:lnTo>
                      <a:pt x="1902" y="2224"/>
                    </a:lnTo>
                    <a:lnTo>
                      <a:pt x="1069" y="2224"/>
                    </a:lnTo>
                    <a:lnTo>
                      <a:pt x="794" y="3260"/>
                    </a:lnTo>
                    <a:lnTo>
                      <a:pt x="785" y="3287"/>
                    </a:lnTo>
                    <a:lnTo>
                      <a:pt x="771" y="3309"/>
                    </a:lnTo>
                    <a:lnTo>
                      <a:pt x="754" y="3329"/>
                    </a:lnTo>
                    <a:lnTo>
                      <a:pt x="734" y="3346"/>
                    </a:lnTo>
                    <a:lnTo>
                      <a:pt x="712" y="3360"/>
                    </a:lnTo>
                    <a:lnTo>
                      <a:pt x="687" y="3369"/>
                    </a:lnTo>
                    <a:lnTo>
                      <a:pt x="662" y="3374"/>
                    </a:lnTo>
                    <a:lnTo>
                      <a:pt x="635" y="3374"/>
                    </a:lnTo>
                    <a:lnTo>
                      <a:pt x="608" y="3370"/>
                    </a:lnTo>
                    <a:lnTo>
                      <a:pt x="581" y="3360"/>
                    </a:lnTo>
                    <a:lnTo>
                      <a:pt x="558" y="3346"/>
                    </a:lnTo>
                    <a:lnTo>
                      <a:pt x="538" y="3329"/>
                    </a:lnTo>
                    <a:lnTo>
                      <a:pt x="522" y="3309"/>
                    </a:lnTo>
                    <a:lnTo>
                      <a:pt x="509" y="3286"/>
                    </a:lnTo>
                    <a:lnTo>
                      <a:pt x="500" y="3261"/>
                    </a:lnTo>
                    <a:lnTo>
                      <a:pt x="495" y="3236"/>
                    </a:lnTo>
                    <a:lnTo>
                      <a:pt x="495" y="3208"/>
                    </a:lnTo>
                    <a:lnTo>
                      <a:pt x="500" y="3181"/>
                    </a:lnTo>
                    <a:lnTo>
                      <a:pt x="773" y="2147"/>
                    </a:lnTo>
                    <a:lnTo>
                      <a:pt x="639" y="2147"/>
                    </a:lnTo>
                    <a:lnTo>
                      <a:pt x="683" y="2099"/>
                    </a:lnTo>
                    <a:lnTo>
                      <a:pt x="729" y="2048"/>
                    </a:lnTo>
                    <a:lnTo>
                      <a:pt x="778" y="1994"/>
                    </a:lnTo>
                    <a:lnTo>
                      <a:pt x="2742" y="1994"/>
                    </a:lnTo>
                    <a:lnTo>
                      <a:pt x="2742" y="307"/>
                    </a:lnTo>
                    <a:lnTo>
                      <a:pt x="227" y="307"/>
                    </a:lnTo>
                    <a:lnTo>
                      <a:pt x="227" y="1912"/>
                    </a:lnTo>
                    <a:lnTo>
                      <a:pt x="184" y="1953"/>
                    </a:lnTo>
                    <a:lnTo>
                      <a:pt x="144" y="1989"/>
                    </a:lnTo>
                    <a:lnTo>
                      <a:pt x="108" y="2023"/>
                    </a:lnTo>
                    <a:lnTo>
                      <a:pt x="76" y="2052"/>
                    </a:lnTo>
                    <a:lnTo>
                      <a:pt x="76" y="285"/>
                    </a:lnTo>
                    <a:lnTo>
                      <a:pt x="55" y="271"/>
                    </a:lnTo>
                    <a:lnTo>
                      <a:pt x="36" y="252"/>
                    </a:lnTo>
                    <a:lnTo>
                      <a:pt x="21" y="231"/>
                    </a:lnTo>
                    <a:lnTo>
                      <a:pt x="9" y="207"/>
                    </a:lnTo>
                    <a:lnTo>
                      <a:pt x="2" y="181"/>
                    </a:lnTo>
                    <a:lnTo>
                      <a:pt x="0" y="154"/>
                    </a:lnTo>
                    <a:lnTo>
                      <a:pt x="3" y="123"/>
                    </a:lnTo>
                    <a:lnTo>
                      <a:pt x="12" y="93"/>
                    </a:lnTo>
                    <a:lnTo>
                      <a:pt x="25" y="68"/>
                    </a:lnTo>
                    <a:lnTo>
                      <a:pt x="44" y="45"/>
                    </a:lnTo>
                    <a:lnTo>
                      <a:pt x="66" y="27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3" name="Freeform 204"/>
              <p:cNvSpPr>
                <a:spLocks/>
              </p:cNvSpPr>
              <p:nvPr/>
            </p:nvSpPr>
            <p:spPr bwMode="auto">
              <a:xfrm>
                <a:off x="4443" y="3439"/>
                <a:ext cx="60" cy="176"/>
              </a:xfrm>
              <a:custGeom>
                <a:avLst/>
                <a:gdLst>
                  <a:gd name="T0" fmla="*/ 153 w 304"/>
                  <a:gd name="T1" fmla="*/ 0 h 881"/>
                  <a:gd name="T2" fmla="*/ 183 w 304"/>
                  <a:gd name="T3" fmla="*/ 3 h 881"/>
                  <a:gd name="T4" fmla="*/ 211 w 304"/>
                  <a:gd name="T5" fmla="*/ 12 h 881"/>
                  <a:gd name="T6" fmla="*/ 237 w 304"/>
                  <a:gd name="T7" fmla="*/ 25 h 881"/>
                  <a:gd name="T8" fmla="*/ 260 w 304"/>
                  <a:gd name="T9" fmla="*/ 44 h 881"/>
                  <a:gd name="T10" fmla="*/ 278 w 304"/>
                  <a:gd name="T11" fmla="*/ 68 h 881"/>
                  <a:gd name="T12" fmla="*/ 293 w 304"/>
                  <a:gd name="T13" fmla="*/ 93 h 881"/>
                  <a:gd name="T14" fmla="*/ 301 w 304"/>
                  <a:gd name="T15" fmla="*/ 122 h 881"/>
                  <a:gd name="T16" fmla="*/ 304 w 304"/>
                  <a:gd name="T17" fmla="*/ 154 h 881"/>
                  <a:gd name="T18" fmla="*/ 304 w 304"/>
                  <a:gd name="T19" fmla="*/ 729 h 881"/>
                  <a:gd name="T20" fmla="*/ 301 w 304"/>
                  <a:gd name="T21" fmla="*/ 759 h 881"/>
                  <a:gd name="T22" fmla="*/ 293 w 304"/>
                  <a:gd name="T23" fmla="*/ 788 h 881"/>
                  <a:gd name="T24" fmla="*/ 278 w 304"/>
                  <a:gd name="T25" fmla="*/ 814 h 881"/>
                  <a:gd name="T26" fmla="*/ 260 w 304"/>
                  <a:gd name="T27" fmla="*/ 837 h 881"/>
                  <a:gd name="T28" fmla="*/ 237 w 304"/>
                  <a:gd name="T29" fmla="*/ 856 h 881"/>
                  <a:gd name="T30" fmla="*/ 211 w 304"/>
                  <a:gd name="T31" fmla="*/ 870 h 881"/>
                  <a:gd name="T32" fmla="*/ 183 w 304"/>
                  <a:gd name="T33" fmla="*/ 878 h 881"/>
                  <a:gd name="T34" fmla="*/ 153 w 304"/>
                  <a:gd name="T35" fmla="*/ 881 h 881"/>
                  <a:gd name="T36" fmla="*/ 121 w 304"/>
                  <a:gd name="T37" fmla="*/ 878 h 881"/>
                  <a:gd name="T38" fmla="*/ 92 w 304"/>
                  <a:gd name="T39" fmla="*/ 870 h 881"/>
                  <a:gd name="T40" fmla="*/ 67 w 304"/>
                  <a:gd name="T41" fmla="*/ 856 h 881"/>
                  <a:gd name="T42" fmla="*/ 44 w 304"/>
                  <a:gd name="T43" fmla="*/ 837 h 881"/>
                  <a:gd name="T44" fmla="*/ 26 w 304"/>
                  <a:gd name="T45" fmla="*/ 814 h 881"/>
                  <a:gd name="T46" fmla="*/ 11 w 304"/>
                  <a:gd name="T47" fmla="*/ 788 h 881"/>
                  <a:gd name="T48" fmla="*/ 3 w 304"/>
                  <a:gd name="T49" fmla="*/ 759 h 881"/>
                  <a:gd name="T50" fmla="*/ 0 w 304"/>
                  <a:gd name="T51" fmla="*/ 729 h 881"/>
                  <a:gd name="T52" fmla="*/ 0 w 304"/>
                  <a:gd name="T53" fmla="*/ 154 h 881"/>
                  <a:gd name="T54" fmla="*/ 3 w 304"/>
                  <a:gd name="T55" fmla="*/ 122 h 881"/>
                  <a:gd name="T56" fmla="*/ 11 w 304"/>
                  <a:gd name="T57" fmla="*/ 93 h 881"/>
                  <a:gd name="T58" fmla="*/ 26 w 304"/>
                  <a:gd name="T59" fmla="*/ 68 h 881"/>
                  <a:gd name="T60" fmla="*/ 44 w 304"/>
                  <a:gd name="T61" fmla="*/ 44 h 881"/>
                  <a:gd name="T62" fmla="*/ 67 w 304"/>
                  <a:gd name="T63" fmla="*/ 25 h 881"/>
                  <a:gd name="T64" fmla="*/ 92 w 304"/>
                  <a:gd name="T65" fmla="*/ 12 h 881"/>
                  <a:gd name="T66" fmla="*/ 121 w 304"/>
                  <a:gd name="T67" fmla="*/ 3 h 881"/>
                  <a:gd name="T68" fmla="*/ 153 w 304"/>
                  <a:gd name="T69" fmla="*/ 0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881">
                    <a:moveTo>
                      <a:pt x="153" y="0"/>
                    </a:moveTo>
                    <a:lnTo>
                      <a:pt x="183" y="3"/>
                    </a:lnTo>
                    <a:lnTo>
                      <a:pt x="211" y="12"/>
                    </a:lnTo>
                    <a:lnTo>
                      <a:pt x="237" y="25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4" y="154"/>
                    </a:lnTo>
                    <a:lnTo>
                      <a:pt x="304" y="729"/>
                    </a:lnTo>
                    <a:lnTo>
                      <a:pt x="301" y="759"/>
                    </a:lnTo>
                    <a:lnTo>
                      <a:pt x="293" y="788"/>
                    </a:lnTo>
                    <a:lnTo>
                      <a:pt x="278" y="814"/>
                    </a:lnTo>
                    <a:lnTo>
                      <a:pt x="260" y="837"/>
                    </a:lnTo>
                    <a:lnTo>
                      <a:pt x="237" y="856"/>
                    </a:lnTo>
                    <a:lnTo>
                      <a:pt x="211" y="870"/>
                    </a:lnTo>
                    <a:lnTo>
                      <a:pt x="183" y="878"/>
                    </a:lnTo>
                    <a:lnTo>
                      <a:pt x="153" y="881"/>
                    </a:lnTo>
                    <a:lnTo>
                      <a:pt x="121" y="878"/>
                    </a:lnTo>
                    <a:lnTo>
                      <a:pt x="92" y="870"/>
                    </a:lnTo>
                    <a:lnTo>
                      <a:pt x="67" y="856"/>
                    </a:lnTo>
                    <a:lnTo>
                      <a:pt x="44" y="837"/>
                    </a:lnTo>
                    <a:lnTo>
                      <a:pt x="26" y="814"/>
                    </a:lnTo>
                    <a:lnTo>
                      <a:pt x="11" y="788"/>
                    </a:lnTo>
                    <a:lnTo>
                      <a:pt x="3" y="759"/>
                    </a:lnTo>
                    <a:lnTo>
                      <a:pt x="0" y="729"/>
                    </a:lnTo>
                    <a:lnTo>
                      <a:pt x="0" y="154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5"/>
                    </a:lnTo>
                    <a:lnTo>
                      <a:pt x="92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4" name="Freeform 205"/>
              <p:cNvSpPr>
                <a:spLocks/>
              </p:cNvSpPr>
              <p:nvPr/>
            </p:nvSpPr>
            <p:spPr bwMode="auto">
              <a:xfrm>
                <a:off x="4542" y="3331"/>
                <a:ext cx="60" cy="284"/>
              </a:xfrm>
              <a:custGeom>
                <a:avLst/>
                <a:gdLst>
                  <a:gd name="T0" fmla="*/ 153 w 304"/>
                  <a:gd name="T1" fmla="*/ 0 h 1418"/>
                  <a:gd name="T2" fmla="*/ 183 w 304"/>
                  <a:gd name="T3" fmla="*/ 3 h 1418"/>
                  <a:gd name="T4" fmla="*/ 212 w 304"/>
                  <a:gd name="T5" fmla="*/ 12 h 1418"/>
                  <a:gd name="T6" fmla="*/ 237 w 304"/>
                  <a:gd name="T7" fmla="*/ 26 h 1418"/>
                  <a:gd name="T8" fmla="*/ 260 w 304"/>
                  <a:gd name="T9" fmla="*/ 45 h 1418"/>
                  <a:gd name="T10" fmla="*/ 278 w 304"/>
                  <a:gd name="T11" fmla="*/ 67 h 1418"/>
                  <a:gd name="T12" fmla="*/ 293 w 304"/>
                  <a:gd name="T13" fmla="*/ 94 h 1418"/>
                  <a:gd name="T14" fmla="*/ 301 w 304"/>
                  <a:gd name="T15" fmla="*/ 122 h 1418"/>
                  <a:gd name="T16" fmla="*/ 304 w 304"/>
                  <a:gd name="T17" fmla="*/ 153 h 1418"/>
                  <a:gd name="T18" fmla="*/ 304 w 304"/>
                  <a:gd name="T19" fmla="*/ 1266 h 1418"/>
                  <a:gd name="T20" fmla="*/ 301 w 304"/>
                  <a:gd name="T21" fmla="*/ 1296 h 1418"/>
                  <a:gd name="T22" fmla="*/ 293 w 304"/>
                  <a:gd name="T23" fmla="*/ 1325 h 1418"/>
                  <a:gd name="T24" fmla="*/ 278 w 304"/>
                  <a:gd name="T25" fmla="*/ 1351 h 1418"/>
                  <a:gd name="T26" fmla="*/ 260 w 304"/>
                  <a:gd name="T27" fmla="*/ 1374 h 1418"/>
                  <a:gd name="T28" fmla="*/ 237 w 304"/>
                  <a:gd name="T29" fmla="*/ 1393 h 1418"/>
                  <a:gd name="T30" fmla="*/ 212 w 304"/>
                  <a:gd name="T31" fmla="*/ 1407 h 1418"/>
                  <a:gd name="T32" fmla="*/ 183 w 304"/>
                  <a:gd name="T33" fmla="*/ 1415 h 1418"/>
                  <a:gd name="T34" fmla="*/ 153 w 304"/>
                  <a:gd name="T35" fmla="*/ 1418 h 1418"/>
                  <a:gd name="T36" fmla="*/ 121 w 304"/>
                  <a:gd name="T37" fmla="*/ 1415 h 1418"/>
                  <a:gd name="T38" fmla="*/ 93 w 304"/>
                  <a:gd name="T39" fmla="*/ 1407 h 1418"/>
                  <a:gd name="T40" fmla="*/ 67 w 304"/>
                  <a:gd name="T41" fmla="*/ 1393 h 1418"/>
                  <a:gd name="T42" fmla="*/ 44 w 304"/>
                  <a:gd name="T43" fmla="*/ 1374 h 1418"/>
                  <a:gd name="T44" fmla="*/ 26 w 304"/>
                  <a:gd name="T45" fmla="*/ 1351 h 1418"/>
                  <a:gd name="T46" fmla="*/ 11 w 304"/>
                  <a:gd name="T47" fmla="*/ 1325 h 1418"/>
                  <a:gd name="T48" fmla="*/ 3 w 304"/>
                  <a:gd name="T49" fmla="*/ 1296 h 1418"/>
                  <a:gd name="T50" fmla="*/ 0 w 304"/>
                  <a:gd name="T51" fmla="*/ 1266 h 1418"/>
                  <a:gd name="T52" fmla="*/ 0 w 304"/>
                  <a:gd name="T53" fmla="*/ 153 h 1418"/>
                  <a:gd name="T54" fmla="*/ 3 w 304"/>
                  <a:gd name="T55" fmla="*/ 122 h 1418"/>
                  <a:gd name="T56" fmla="*/ 11 w 304"/>
                  <a:gd name="T57" fmla="*/ 94 h 1418"/>
                  <a:gd name="T58" fmla="*/ 26 w 304"/>
                  <a:gd name="T59" fmla="*/ 67 h 1418"/>
                  <a:gd name="T60" fmla="*/ 44 w 304"/>
                  <a:gd name="T61" fmla="*/ 45 h 1418"/>
                  <a:gd name="T62" fmla="*/ 67 w 304"/>
                  <a:gd name="T63" fmla="*/ 26 h 1418"/>
                  <a:gd name="T64" fmla="*/ 93 w 304"/>
                  <a:gd name="T65" fmla="*/ 12 h 1418"/>
                  <a:gd name="T66" fmla="*/ 121 w 304"/>
                  <a:gd name="T67" fmla="*/ 3 h 1418"/>
                  <a:gd name="T68" fmla="*/ 153 w 304"/>
                  <a:gd name="T69" fmla="*/ 0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1418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2"/>
                    </a:lnTo>
                    <a:lnTo>
                      <a:pt x="237" y="26"/>
                    </a:lnTo>
                    <a:lnTo>
                      <a:pt x="260" y="45"/>
                    </a:lnTo>
                    <a:lnTo>
                      <a:pt x="278" y="67"/>
                    </a:lnTo>
                    <a:lnTo>
                      <a:pt x="293" y="94"/>
                    </a:lnTo>
                    <a:lnTo>
                      <a:pt x="301" y="122"/>
                    </a:lnTo>
                    <a:lnTo>
                      <a:pt x="304" y="153"/>
                    </a:lnTo>
                    <a:lnTo>
                      <a:pt x="304" y="1266"/>
                    </a:lnTo>
                    <a:lnTo>
                      <a:pt x="301" y="1296"/>
                    </a:lnTo>
                    <a:lnTo>
                      <a:pt x="293" y="1325"/>
                    </a:lnTo>
                    <a:lnTo>
                      <a:pt x="278" y="1351"/>
                    </a:lnTo>
                    <a:lnTo>
                      <a:pt x="260" y="1374"/>
                    </a:lnTo>
                    <a:lnTo>
                      <a:pt x="237" y="1393"/>
                    </a:lnTo>
                    <a:lnTo>
                      <a:pt x="212" y="1407"/>
                    </a:lnTo>
                    <a:lnTo>
                      <a:pt x="183" y="1415"/>
                    </a:lnTo>
                    <a:lnTo>
                      <a:pt x="153" y="1418"/>
                    </a:lnTo>
                    <a:lnTo>
                      <a:pt x="121" y="1415"/>
                    </a:lnTo>
                    <a:lnTo>
                      <a:pt x="93" y="1407"/>
                    </a:lnTo>
                    <a:lnTo>
                      <a:pt x="67" y="1393"/>
                    </a:lnTo>
                    <a:lnTo>
                      <a:pt x="44" y="1374"/>
                    </a:lnTo>
                    <a:lnTo>
                      <a:pt x="26" y="1351"/>
                    </a:lnTo>
                    <a:lnTo>
                      <a:pt x="11" y="1325"/>
                    </a:lnTo>
                    <a:lnTo>
                      <a:pt x="3" y="1296"/>
                    </a:lnTo>
                    <a:lnTo>
                      <a:pt x="0" y="1266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4"/>
                    </a:lnTo>
                    <a:lnTo>
                      <a:pt x="26" y="67"/>
                    </a:lnTo>
                    <a:lnTo>
                      <a:pt x="44" y="45"/>
                    </a:lnTo>
                    <a:lnTo>
                      <a:pt x="67" y="26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5" name="Freeform 206"/>
              <p:cNvSpPr>
                <a:spLocks/>
              </p:cNvSpPr>
              <p:nvPr/>
            </p:nvSpPr>
            <p:spPr bwMode="auto">
              <a:xfrm>
                <a:off x="4641" y="3393"/>
                <a:ext cx="61" cy="222"/>
              </a:xfrm>
              <a:custGeom>
                <a:avLst/>
                <a:gdLst>
                  <a:gd name="T0" fmla="*/ 153 w 305"/>
                  <a:gd name="T1" fmla="*/ 0 h 1111"/>
                  <a:gd name="T2" fmla="*/ 183 w 305"/>
                  <a:gd name="T3" fmla="*/ 3 h 1111"/>
                  <a:gd name="T4" fmla="*/ 212 w 305"/>
                  <a:gd name="T5" fmla="*/ 11 h 1111"/>
                  <a:gd name="T6" fmla="*/ 237 w 305"/>
                  <a:gd name="T7" fmla="*/ 26 h 1111"/>
                  <a:gd name="T8" fmla="*/ 260 w 305"/>
                  <a:gd name="T9" fmla="*/ 44 h 1111"/>
                  <a:gd name="T10" fmla="*/ 278 w 305"/>
                  <a:gd name="T11" fmla="*/ 68 h 1111"/>
                  <a:gd name="T12" fmla="*/ 293 w 305"/>
                  <a:gd name="T13" fmla="*/ 93 h 1111"/>
                  <a:gd name="T14" fmla="*/ 301 w 305"/>
                  <a:gd name="T15" fmla="*/ 122 h 1111"/>
                  <a:gd name="T16" fmla="*/ 305 w 305"/>
                  <a:gd name="T17" fmla="*/ 153 h 1111"/>
                  <a:gd name="T18" fmla="*/ 305 w 305"/>
                  <a:gd name="T19" fmla="*/ 959 h 1111"/>
                  <a:gd name="T20" fmla="*/ 301 w 305"/>
                  <a:gd name="T21" fmla="*/ 989 h 1111"/>
                  <a:gd name="T22" fmla="*/ 293 w 305"/>
                  <a:gd name="T23" fmla="*/ 1018 h 1111"/>
                  <a:gd name="T24" fmla="*/ 278 w 305"/>
                  <a:gd name="T25" fmla="*/ 1044 h 1111"/>
                  <a:gd name="T26" fmla="*/ 260 w 305"/>
                  <a:gd name="T27" fmla="*/ 1067 h 1111"/>
                  <a:gd name="T28" fmla="*/ 237 w 305"/>
                  <a:gd name="T29" fmla="*/ 1086 h 1111"/>
                  <a:gd name="T30" fmla="*/ 212 w 305"/>
                  <a:gd name="T31" fmla="*/ 1100 h 1111"/>
                  <a:gd name="T32" fmla="*/ 183 w 305"/>
                  <a:gd name="T33" fmla="*/ 1108 h 1111"/>
                  <a:gd name="T34" fmla="*/ 153 w 305"/>
                  <a:gd name="T35" fmla="*/ 1111 h 1111"/>
                  <a:gd name="T36" fmla="*/ 121 w 305"/>
                  <a:gd name="T37" fmla="*/ 1108 h 1111"/>
                  <a:gd name="T38" fmla="*/ 93 w 305"/>
                  <a:gd name="T39" fmla="*/ 1100 h 1111"/>
                  <a:gd name="T40" fmla="*/ 67 w 305"/>
                  <a:gd name="T41" fmla="*/ 1086 h 1111"/>
                  <a:gd name="T42" fmla="*/ 44 w 305"/>
                  <a:gd name="T43" fmla="*/ 1067 h 1111"/>
                  <a:gd name="T44" fmla="*/ 26 w 305"/>
                  <a:gd name="T45" fmla="*/ 1044 h 1111"/>
                  <a:gd name="T46" fmla="*/ 12 w 305"/>
                  <a:gd name="T47" fmla="*/ 1018 h 1111"/>
                  <a:gd name="T48" fmla="*/ 3 w 305"/>
                  <a:gd name="T49" fmla="*/ 989 h 1111"/>
                  <a:gd name="T50" fmla="*/ 0 w 305"/>
                  <a:gd name="T51" fmla="*/ 959 h 1111"/>
                  <a:gd name="T52" fmla="*/ 0 w 305"/>
                  <a:gd name="T53" fmla="*/ 153 h 1111"/>
                  <a:gd name="T54" fmla="*/ 3 w 305"/>
                  <a:gd name="T55" fmla="*/ 122 h 1111"/>
                  <a:gd name="T56" fmla="*/ 12 w 305"/>
                  <a:gd name="T57" fmla="*/ 93 h 1111"/>
                  <a:gd name="T58" fmla="*/ 26 w 305"/>
                  <a:gd name="T59" fmla="*/ 68 h 1111"/>
                  <a:gd name="T60" fmla="*/ 44 w 305"/>
                  <a:gd name="T61" fmla="*/ 44 h 1111"/>
                  <a:gd name="T62" fmla="*/ 67 w 305"/>
                  <a:gd name="T63" fmla="*/ 26 h 1111"/>
                  <a:gd name="T64" fmla="*/ 93 w 305"/>
                  <a:gd name="T65" fmla="*/ 11 h 1111"/>
                  <a:gd name="T66" fmla="*/ 121 w 305"/>
                  <a:gd name="T67" fmla="*/ 3 h 1111"/>
                  <a:gd name="T68" fmla="*/ 153 w 305"/>
                  <a:gd name="T69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5" h="1111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1"/>
                    </a:lnTo>
                    <a:lnTo>
                      <a:pt x="237" y="26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5" y="153"/>
                    </a:lnTo>
                    <a:lnTo>
                      <a:pt x="305" y="959"/>
                    </a:lnTo>
                    <a:lnTo>
                      <a:pt x="301" y="989"/>
                    </a:lnTo>
                    <a:lnTo>
                      <a:pt x="293" y="1018"/>
                    </a:lnTo>
                    <a:lnTo>
                      <a:pt x="278" y="1044"/>
                    </a:lnTo>
                    <a:lnTo>
                      <a:pt x="260" y="1067"/>
                    </a:lnTo>
                    <a:lnTo>
                      <a:pt x="237" y="1086"/>
                    </a:lnTo>
                    <a:lnTo>
                      <a:pt x="212" y="1100"/>
                    </a:lnTo>
                    <a:lnTo>
                      <a:pt x="183" y="1108"/>
                    </a:lnTo>
                    <a:lnTo>
                      <a:pt x="153" y="1111"/>
                    </a:lnTo>
                    <a:lnTo>
                      <a:pt x="121" y="1108"/>
                    </a:lnTo>
                    <a:lnTo>
                      <a:pt x="93" y="1100"/>
                    </a:lnTo>
                    <a:lnTo>
                      <a:pt x="67" y="1086"/>
                    </a:lnTo>
                    <a:lnTo>
                      <a:pt x="44" y="1067"/>
                    </a:lnTo>
                    <a:lnTo>
                      <a:pt x="26" y="1044"/>
                    </a:lnTo>
                    <a:lnTo>
                      <a:pt x="12" y="1018"/>
                    </a:lnTo>
                    <a:lnTo>
                      <a:pt x="3" y="989"/>
                    </a:lnTo>
                    <a:lnTo>
                      <a:pt x="0" y="959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2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6"/>
                    </a:lnTo>
                    <a:lnTo>
                      <a:pt x="93" y="11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6" name="Freeform 207"/>
              <p:cNvSpPr>
                <a:spLocks/>
              </p:cNvSpPr>
              <p:nvPr/>
            </p:nvSpPr>
            <p:spPr bwMode="auto">
              <a:xfrm>
                <a:off x="4176" y="3520"/>
                <a:ext cx="223" cy="225"/>
              </a:xfrm>
              <a:custGeom>
                <a:avLst/>
                <a:gdLst>
                  <a:gd name="T0" fmla="*/ 1085 w 1117"/>
                  <a:gd name="T1" fmla="*/ 0 h 1123"/>
                  <a:gd name="T2" fmla="*/ 1106 w 1117"/>
                  <a:gd name="T3" fmla="*/ 10 h 1123"/>
                  <a:gd name="T4" fmla="*/ 1117 w 1117"/>
                  <a:gd name="T5" fmla="*/ 31 h 1123"/>
                  <a:gd name="T6" fmla="*/ 1113 w 1117"/>
                  <a:gd name="T7" fmla="*/ 53 h 1123"/>
                  <a:gd name="T8" fmla="*/ 1104 w 1117"/>
                  <a:gd name="T9" fmla="*/ 66 h 1123"/>
                  <a:gd name="T10" fmla="*/ 1089 w 1117"/>
                  <a:gd name="T11" fmla="*/ 82 h 1123"/>
                  <a:gd name="T12" fmla="*/ 1062 w 1117"/>
                  <a:gd name="T13" fmla="*/ 112 h 1123"/>
                  <a:gd name="T14" fmla="*/ 1023 w 1117"/>
                  <a:gd name="T15" fmla="*/ 155 h 1123"/>
                  <a:gd name="T16" fmla="*/ 973 w 1117"/>
                  <a:gd name="T17" fmla="*/ 209 h 1123"/>
                  <a:gd name="T18" fmla="*/ 917 w 1117"/>
                  <a:gd name="T19" fmla="*/ 272 h 1123"/>
                  <a:gd name="T20" fmla="*/ 853 w 1117"/>
                  <a:gd name="T21" fmla="*/ 342 h 1123"/>
                  <a:gd name="T22" fmla="*/ 785 w 1117"/>
                  <a:gd name="T23" fmla="*/ 417 h 1123"/>
                  <a:gd name="T24" fmla="*/ 712 w 1117"/>
                  <a:gd name="T25" fmla="*/ 497 h 1123"/>
                  <a:gd name="T26" fmla="*/ 640 w 1117"/>
                  <a:gd name="T27" fmla="*/ 577 h 1123"/>
                  <a:gd name="T28" fmla="*/ 566 w 1117"/>
                  <a:gd name="T29" fmla="*/ 658 h 1123"/>
                  <a:gd name="T30" fmla="*/ 494 w 1117"/>
                  <a:gd name="T31" fmla="*/ 737 h 1123"/>
                  <a:gd name="T32" fmla="*/ 425 w 1117"/>
                  <a:gd name="T33" fmla="*/ 813 h 1123"/>
                  <a:gd name="T34" fmla="*/ 361 w 1117"/>
                  <a:gd name="T35" fmla="*/ 884 h 1123"/>
                  <a:gd name="T36" fmla="*/ 303 w 1117"/>
                  <a:gd name="T37" fmla="*/ 946 h 1123"/>
                  <a:gd name="T38" fmla="*/ 254 w 1117"/>
                  <a:gd name="T39" fmla="*/ 1001 h 1123"/>
                  <a:gd name="T40" fmla="*/ 215 w 1117"/>
                  <a:gd name="T41" fmla="*/ 1045 h 1123"/>
                  <a:gd name="T42" fmla="*/ 186 w 1117"/>
                  <a:gd name="T43" fmla="*/ 1076 h 1123"/>
                  <a:gd name="T44" fmla="*/ 171 w 1117"/>
                  <a:gd name="T45" fmla="*/ 1093 h 1123"/>
                  <a:gd name="T46" fmla="*/ 151 w 1117"/>
                  <a:gd name="T47" fmla="*/ 1110 h 1123"/>
                  <a:gd name="T48" fmla="*/ 110 w 1117"/>
                  <a:gd name="T49" fmla="*/ 1123 h 1123"/>
                  <a:gd name="T50" fmla="*/ 66 w 1117"/>
                  <a:gd name="T51" fmla="*/ 1119 h 1123"/>
                  <a:gd name="T52" fmla="*/ 28 w 1117"/>
                  <a:gd name="T53" fmla="*/ 1095 h 1123"/>
                  <a:gd name="T54" fmla="*/ 5 w 1117"/>
                  <a:gd name="T55" fmla="*/ 1057 h 1123"/>
                  <a:gd name="T56" fmla="*/ 0 w 1117"/>
                  <a:gd name="T57" fmla="*/ 1013 h 1123"/>
                  <a:gd name="T58" fmla="*/ 14 w 1117"/>
                  <a:gd name="T59" fmla="*/ 972 h 1123"/>
                  <a:gd name="T60" fmla="*/ 31 w 1117"/>
                  <a:gd name="T61" fmla="*/ 952 h 1123"/>
                  <a:gd name="T62" fmla="*/ 47 w 1117"/>
                  <a:gd name="T63" fmla="*/ 936 h 1123"/>
                  <a:gd name="T64" fmla="*/ 78 w 1117"/>
                  <a:gd name="T65" fmla="*/ 908 h 1123"/>
                  <a:gd name="T66" fmla="*/ 122 w 1117"/>
                  <a:gd name="T67" fmla="*/ 868 h 1123"/>
                  <a:gd name="T68" fmla="*/ 176 w 1117"/>
                  <a:gd name="T69" fmla="*/ 818 h 1123"/>
                  <a:gd name="T70" fmla="*/ 238 w 1117"/>
                  <a:gd name="T71" fmla="*/ 761 h 1123"/>
                  <a:gd name="T72" fmla="*/ 309 w 1117"/>
                  <a:gd name="T73" fmla="*/ 696 h 1123"/>
                  <a:gd name="T74" fmla="*/ 383 w 1117"/>
                  <a:gd name="T75" fmla="*/ 627 h 1123"/>
                  <a:gd name="T76" fmla="*/ 463 w 1117"/>
                  <a:gd name="T77" fmla="*/ 554 h 1123"/>
                  <a:gd name="T78" fmla="*/ 543 w 1117"/>
                  <a:gd name="T79" fmla="*/ 481 h 1123"/>
                  <a:gd name="T80" fmla="*/ 623 w 1117"/>
                  <a:gd name="T81" fmla="*/ 406 h 1123"/>
                  <a:gd name="T82" fmla="*/ 702 w 1117"/>
                  <a:gd name="T83" fmla="*/ 334 h 1123"/>
                  <a:gd name="T84" fmla="*/ 776 w 1117"/>
                  <a:gd name="T85" fmla="*/ 265 h 1123"/>
                  <a:gd name="T86" fmla="*/ 846 w 1117"/>
                  <a:gd name="T87" fmla="*/ 201 h 1123"/>
                  <a:gd name="T88" fmla="*/ 908 w 1117"/>
                  <a:gd name="T89" fmla="*/ 143 h 1123"/>
                  <a:gd name="T90" fmla="*/ 962 w 1117"/>
                  <a:gd name="T91" fmla="*/ 95 h 1123"/>
                  <a:gd name="T92" fmla="*/ 1005 w 1117"/>
                  <a:gd name="T93" fmla="*/ 54 h 1123"/>
                  <a:gd name="T94" fmla="*/ 1036 w 1117"/>
                  <a:gd name="T95" fmla="*/ 27 h 1123"/>
                  <a:gd name="T96" fmla="*/ 1051 w 1117"/>
                  <a:gd name="T97" fmla="*/ 12 h 1123"/>
                  <a:gd name="T98" fmla="*/ 1063 w 1117"/>
                  <a:gd name="T99" fmla="*/ 3 h 1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17" h="1123">
                    <a:moveTo>
                      <a:pt x="1074" y="0"/>
                    </a:moveTo>
                    <a:lnTo>
                      <a:pt x="1085" y="0"/>
                    </a:lnTo>
                    <a:lnTo>
                      <a:pt x="1096" y="3"/>
                    </a:lnTo>
                    <a:lnTo>
                      <a:pt x="1106" y="10"/>
                    </a:lnTo>
                    <a:lnTo>
                      <a:pt x="1113" y="20"/>
                    </a:lnTo>
                    <a:lnTo>
                      <a:pt x="1117" y="31"/>
                    </a:lnTo>
                    <a:lnTo>
                      <a:pt x="1117" y="43"/>
                    </a:lnTo>
                    <a:lnTo>
                      <a:pt x="1113" y="53"/>
                    </a:lnTo>
                    <a:lnTo>
                      <a:pt x="1106" y="64"/>
                    </a:lnTo>
                    <a:lnTo>
                      <a:pt x="1104" y="66"/>
                    </a:lnTo>
                    <a:lnTo>
                      <a:pt x="1099" y="71"/>
                    </a:lnTo>
                    <a:lnTo>
                      <a:pt x="1089" y="82"/>
                    </a:lnTo>
                    <a:lnTo>
                      <a:pt x="1077" y="96"/>
                    </a:lnTo>
                    <a:lnTo>
                      <a:pt x="1062" y="112"/>
                    </a:lnTo>
                    <a:lnTo>
                      <a:pt x="1043" y="132"/>
                    </a:lnTo>
                    <a:lnTo>
                      <a:pt x="1023" y="155"/>
                    </a:lnTo>
                    <a:lnTo>
                      <a:pt x="999" y="181"/>
                    </a:lnTo>
                    <a:lnTo>
                      <a:pt x="973" y="209"/>
                    </a:lnTo>
                    <a:lnTo>
                      <a:pt x="946" y="240"/>
                    </a:lnTo>
                    <a:lnTo>
                      <a:pt x="917" y="272"/>
                    </a:lnTo>
                    <a:lnTo>
                      <a:pt x="885" y="306"/>
                    </a:lnTo>
                    <a:lnTo>
                      <a:pt x="853" y="342"/>
                    </a:lnTo>
                    <a:lnTo>
                      <a:pt x="820" y="379"/>
                    </a:lnTo>
                    <a:lnTo>
                      <a:pt x="785" y="417"/>
                    </a:lnTo>
                    <a:lnTo>
                      <a:pt x="749" y="456"/>
                    </a:lnTo>
                    <a:lnTo>
                      <a:pt x="712" y="497"/>
                    </a:lnTo>
                    <a:lnTo>
                      <a:pt x="676" y="537"/>
                    </a:lnTo>
                    <a:lnTo>
                      <a:pt x="640" y="577"/>
                    </a:lnTo>
                    <a:lnTo>
                      <a:pt x="603" y="617"/>
                    </a:lnTo>
                    <a:lnTo>
                      <a:pt x="566" y="658"/>
                    </a:lnTo>
                    <a:lnTo>
                      <a:pt x="529" y="698"/>
                    </a:lnTo>
                    <a:lnTo>
                      <a:pt x="494" y="737"/>
                    </a:lnTo>
                    <a:lnTo>
                      <a:pt x="458" y="776"/>
                    </a:lnTo>
                    <a:lnTo>
                      <a:pt x="425" y="813"/>
                    </a:lnTo>
                    <a:lnTo>
                      <a:pt x="392" y="849"/>
                    </a:lnTo>
                    <a:lnTo>
                      <a:pt x="361" y="884"/>
                    </a:lnTo>
                    <a:lnTo>
                      <a:pt x="332" y="917"/>
                    </a:lnTo>
                    <a:lnTo>
                      <a:pt x="303" y="946"/>
                    </a:lnTo>
                    <a:lnTo>
                      <a:pt x="278" y="975"/>
                    </a:lnTo>
                    <a:lnTo>
                      <a:pt x="254" y="1001"/>
                    </a:lnTo>
                    <a:lnTo>
                      <a:pt x="233" y="1024"/>
                    </a:lnTo>
                    <a:lnTo>
                      <a:pt x="215" y="1045"/>
                    </a:lnTo>
                    <a:lnTo>
                      <a:pt x="199" y="1062"/>
                    </a:lnTo>
                    <a:lnTo>
                      <a:pt x="186" y="1076"/>
                    </a:lnTo>
                    <a:lnTo>
                      <a:pt x="177" y="1086"/>
                    </a:lnTo>
                    <a:lnTo>
                      <a:pt x="171" y="1093"/>
                    </a:lnTo>
                    <a:lnTo>
                      <a:pt x="169" y="1095"/>
                    </a:lnTo>
                    <a:lnTo>
                      <a:pt x="151" y="1110"/>
                    </a:lnTo>
                    <a:lnTo>
                      <a:pt x="131" y="1119"/>
                    </a:lnTo>
                    <a:lnTo>
                      <a:pt x="110" y="1123"/>
                    </a:lnTo>
                    <a:lnTo>
                      <a:pt x="87" y="1123"/>
                    </a:lnTo>
                    <a:lnTo>
                      <a:pt x="66" y="1119"/>
                    </a:lnTo>
                    <a:lnTo>
                      <a:pt x="46" y="1110"/>
                    </a:lnTo>
                    <a:lnTo>
                      <a:pt x="28" y="1095"/>
                    </a:lnTo>
                    <a:lnTo>
                      <a:pt x="14" y="1077"/>
                    </a:lnTo>
                    <a:lnTo>
                      <a:pt x="5" y="1057"/>
                    </a:lnTo>
                    <a:lnTo>
                      <a:pt x="0" y="1035"/>
                    </a:lnTo>
                    <a:lnTo>
                      <a:pt x="0" y="1013"/>
                    </a:lnTo>
                    <a:lnTo>
                      <a:pt x="5" y="992"/>
                    </a:lnTo>
                    <a:lnTo>
                      <a:pt x="14" y="972"/>
                    </a:lnTo>
                    <a:lnTo>
                      <a:pt x="28" y="954"/>
                    </a:lnTo>
                    <a:lnTo>
                      <a:pt x="31" y="952"/>
                    </a:lnTo>
                    <a:lnTo>
                      <a:pt x="37" y="945"/>
                    </a:lnTo>
                    <a:lnTo>
                      <a:pt x="47" y="936"/>
                    </a:lnTo>
                    <a:lnTo>
                      <a:pt x="61" y="924"/>
                    </a:lnTo>
                    <a:lnTo>
                      <a:pt x="78" y="908"/>
                    </a:lnTo>
                    <a:lnTo>
                      <a:pt x="99" y="889"/>
                    </a:lnTo>
                    <a:lnTo>
                      <a:pt x="122" y="868"/>
                    </a:lnTo>
                    <a:lnTo>
                      <a:pt x="147" y="844"/>
                    </a:lnTo>
                    <a:lnTo>
                      <a:pt x="176" y="818"/>
                    </a:lnTo>
                    <a:lnTo>
                      <a:pt x="206" y="790"/>
                    </a:lnTo>
                    <a:lnTo>
                      <a:pt x="238" y="761"/>
                    </a:lnTo>
                    <a:lnTo>
                      <a:pt x="273" y="729"/>
                    </a:lnTo>
                    <a:lnTo>
                      <a:pt x="309" y="696"/>
                    </a:lnTo>
                    <a:lnTo>
                      <a:pt x="346" y="662"/>
                    </a:lnTo>
                    <a:lnTo>
                      <a:pt x="383" y="627"/>
                    </a:lnTo>
                    <a:lnTo>
                      <a:pt x="422" y="591"/>
                    </a:lnTo>
                    <a:lnTo>
                      <a:pt x="463" y="554"/>
                    </a:lnTo>
                    <a:lnTo>
                      <a:pt x="503" y="518"/>
                    </a:lnTo>
                    <a:lnTo>
                      <a:pt x="543" y="481"/>
                    </a:lnTo>
                    <a:lnTo>
                      <a:pt x="583" y="444"/>
                    </a:lnTo>
                    <a:lnTo>
                      <a:pt x="623" y="406"/>
                    </a:lnTo>
                    <a:lnTo>
                      <a:pt x="663" y="369"/>
                    </a:lnTo>
                    <a:lnTo>
                      <a:pt x="702" y="334"/>
                    </a:lnTo>
                    <a:lnTo>
                      <a:pt x="740" y="299"/>
                    </a:lnTo>
                    <a:lnTo>
                      <a:pt x="776" y="265"/>
                    </a:lnTo>
                    <a:lnTo>
                      <a:pt x="812" y="232"/>
                    </a:lnTo>
                    <a:lnTo>
                      <a:pt x="846" y="201"/>
                    </a:lnTo>
                    <a:lnTo>
                      <a:pt x="879" y="171"/>
                    </a:lnTo>
                    <a:lnTo>
                      <a:pt x="908" y="143"/>
                    </a:lnTo>
                    <a:lnTo>
                      <a:pt x="937" y="118"/>
                    </a:lnTo>
                    <a:lnTo>
                      <a:pt x="962" y="95"/>
                    </a:lnTo>
                    <a:lnTo>
                      <a:pt x="985" y="73"/>
                    </a:lnTo>
                    <a:lnTo>
                      <a:pt x="1005" y="54"/>
                    </a:lnTo>
                    <a:lnTo>
                      <a:pt x="1022" y="39"/>
                    </a:lnTo>
                    <a:lnTo>
                      <a:pt x="1036" y="27"/>
                    </a:lnTo>
                    <a:lnTo>
                      <a:pt x="1045" y="18"/>
                    </a:lnTo>
                    <a:lnTo>
                      <a:pt x="1051" y="12"/>
                    </a:lnTo>
                    <a:lnTo>
                      <a:pt x="1054" y="10"/>
                    </a:lnTo>
                    <a:lnTo>
                      <a:pt x="1063" y="3"/>
                    </a:lnTo>
                    <a:lnTo>
                      <a:pt x="107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59" name="Group 158"/>
          <p:cNvGrpSpPr/>
          <p:nvPr/>
        </p:nvGrpSpPr>
        <p:grpSpPr>
          <a:xfrm>
            <a:off x="147993" y="3636980"/>
            <a:ext cx="727877" cy="786718"/>
            <a:chOff x="147993" y="5867981"/>
            <a:chExt cx="727877" cy="786718"/>
          </a:xfrm>
        </p:grpSpPr>
        <p:sp>
          <p:nvSpPr>
            <p:cNvPr id="160" name="Rectangle 17"/>
            <p:cNvSpPr>
              <a:spLocks/>
            </p:cNvSpPr>
            <p:nvPr/>
          </p:nvSpPr>
          <p:spPr bwMode="auto">
            <a:xfrm>
              <a:off x="147993" y="6100701"/>
              <a:ext cx="727877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Веб-ресурсы, продукт, датчики, приложения</a:t>
              </a:r>
            </a:p>
          </p:txBody>
        </p:sp>
        <p:grpSp>
          <p:nvGrpSpPr>
            <p:cNvPr id="161" name="Group 157"/>
            <p:cNvGrpSpPr>
              <a:grpSpLocks noChangeAspect="1"/>
            </p:cNvGrpSpPr>
            <p:nvPr/>
          </p:nvGrpSpPr>
          <p:grpSpPr bwMode="auto">
            <a:xfrm>
              <a:off x="384100" y="5867981"/>
              <a:ext cx="254721" cy="240654"/>
              <a:chOff x="3815" y="1810"/>
              <a:chExt cx="2354" cy="2224"/>
            </a:xfrm>
            <a:solidFill>
              <a:schemeClr val="bg1"/>
            </a:solidFill>
          </p:grpSpPr>
          <p:sp>
            <p:nvSpPr>
              <p:cNvPr id="162" name="Freeform 159"/>
              <p:cNvSpPr>
                <a:spLocks noEditPoints="1"/>
              </p:cNvSpPr>
              <p:nvPr/>
            </p:nvSpPr>
            <p:spPr bwMode="auto">
              <a:xfrm>
                <a:off x="3815" y="1810"/>
                <a:ext cx="2021" cy="1982"/>
              </a:xfrm>
              <a:custGeom>
                <a:avLst/>
                <a:gdLst>
                  <a:gd name="T0" fmla="*/ 3423 w 4043"/>
                  <a:gd name="T1" fmla="*/ 409 h 3965"/>
                  <a:gd name="T2" fmla="*/ 3363 w 4043"/>
                  <a:gd name="T3" fmla="*/ 435 h 3965"/>
                  <a:gd name="T4" fmla="*/ 3317 w 4043"/>
                  <a:gd name="T5" fmla="*/ 481 h 3965"/>
                  <a:gd name="T6" fmla="*/ 3291 w 4043"/>
                  <a:gd name="T7" fmla="*/ 542 h 3965"/>
                  <a:gd name="T8" fmla="*/ 3291 w 4043"/>
                  <a:gd name="T9" fmla="*/ 611 h 3965"/>
                  <a:gd name="T10" fmla="*/ 3317 w 4043"/>
                  <a:gd name="T11" fmla="*/ 671 h 3965"/>
                  <a:gd name="T12" fmla="*/ 3363 w 4043"/>
                  <a:gd name="T13" fmla="*/ 716 h 3965"/>
                  <a:gd name="T14" fmla="*/ 3423 w 4043"/>
                  <a:gd name="T15" fmla="*/ 742 h 3965"/>
                  <a:gd name="T16" fmla="*/ 3491 w 4043"/>
                  <a:gd name="T17" fmla="*/ 742 h 3965"/>
                  <a:gd name="T18" fmla="*/ 3553 w 4043"/>
                  <a:gd name="T19" fmla="*/ 716 h 3965"/>
                  <a:gd name="T20" fmla="*/ 3598 w 4043"/>
                  <a:gd name="T21" fmla="*/ 671 h 3965"/>
                  <a:gd name="T22" fmla="*/ 3624 w 4043"/>
                  <a:gd name="T23" fmla="*/ 611 h 3965"/>
                  <a:gd name="T24" fmla="*/ 3624 w 4043"/>
                  <a:gd name="T25" fmla="*/ 542 h 3965"/>
                  <a:gd name="T26" fmla="*/ 3598 w 4043"/>
                  <a:gd name="T27" fmla="*/ 481 h 3965"/>
                  <a:gd name="T28" fmla="*/ 3553 w 4043"/>
                  <a:gd name="T29" fmla="*/ 435 h 3965"/>
                  <a:gd name="T30" fmla="*/ 3491 w 4043"/>
                  <a:gd name="T31" fmla="*/ 409 h 3965"/>
                  <a:gd name="T32" fmla="*/ 2924 w 4043"/>
                  <a:gd name="T33" fmla="*/ 406 h 3965"/>
                  <a:gd name="T34" fmla="*/ 2858 w 4043"/>
                  <a:gd name="T35" fmla="*/ 419 h 3965"/>
                  <a:gd name="T36" fmla="*/ 2804 w 4043"/>
                  <a:gd name="T37" fmla="*/ 456 h 3965"/>
                  <a:gd name="T38" fmla="*/ 2768 w 4043"/>
                  <a:gd name="T39" fmla="*/ 511 h 3965"/>
                  <a:gd name="T40" fmla="*/ 2755 w 4043"/>
                  <a:gd name="T41" fmla="*/ 576 h 3965"/>
                  <a:gd name="T42" fmla="*/ 2768 w 4043"/>
                  <a:gd name="T43" fmla="*/ 642 h 3965"/>
                  <a:gd name="T44" fmla="*/ 2804 w 4043"/>
                  <a:gd name="T45" fmla="*/ 696 h 3965"/>
                  <a:gd name="T46" fmla="*/ 2858 w 4043"/>
                  <a:gd name="T47" fmla="*/ 732 h 3965"/>
                  <a:gd name="T48" fmla="*/ 2924 w 4043"/>
                  <a:gd name="T49" fmla="*/ 746 h 3965"/>
                  <a:gd name="T50" fmla="*/ 2991 w 4043"/>
                  <a:gd name="T51" fmla="*/ 732 h 3965"/>
                  <a:gd name="T52" fmla="*/ 3045 w 4043"/>
                  <a:gd name="T53" fmla="*/ 696 h 3965"/>
                  <a:gd name="T54" fmla="*/ 3081 w 4043"/>
                  <a:gd name="T55" fmla="*/ 642 h 3965"/>
                  <a:gd name="T56" fmla="*/ 3094 w 4043"/>
                  <a:gd name="T57" fmla="*/ 576 h 3965"/>
                  <a:gd name="T58" fmla="*/ 3081 w 4043"/>
                  <a:gd name="T59" fmla="*/ 511 h 3965"/>
                  <a:gd name="T60" fmla="*/ 3045 w 4043"/>
                  <a:gd name="T61" fmla="*/ 456 h 3965"/>
                  <a:gd name="T62" fmla="*/ 2991 w 4043"/>
                  <a:gd name="T63" fmla="*/ 419 h 3965"/>
                  <a:gd name="T64" fmla="*/ 2924 w 4043"/>
                  <a:gd name="T65" fmla="*/ 406 h 3965"/>
                  <a:gd name="T66" fmla="*/ 3924 w 4043"/>
                  <a:gd name="T67" fmla="*/ 0 h 3965"/>
                  <a:gd name="T68" fmla="*/ 3984 w 4043"/>
                  <a:gd name="T69" fmla="*/ 18 h 3965"/>
                  <a:gd name="T70" fmla="*/ 4027 w 4043"/>
                  <a:gd name="T71" fmla="*/ 60 h 3965"/>
                  <a:gd name="T72" fmla="*/ 4043 w 4043"/>
                  <a:gd name="T73" fmla="*/ 120 h 3965"/>
                  <a:gd name="T74" fmla="*/ 4026 w 4043"/>
                  <a:gd name="T75" fmla="*/ 1778 h 3965"/>
                  <a:gd name="T76" fmla="*/ 3943 w 4043"/>
                  <a:gd name="T77" fmla="*/ 1795 h 3965"/>
                  <a:gd name="T78" fmla="*/ 3874 w 4043"/>
                  <a:gd name="T79" fmla="*/ 1841 h 3965"/>
                  <a:gd name="T80" fmla="*/ 3809 w 4043"/>
                  <a:gd name="T81" fmla="*/ 1868 h 3965"/>
                  <a:gd name="T82" fmla="*/ 3744 w 4043"/>
                  <a:gd name="T83" fmla="*/ 1878 h 3965"/>
                  <a:gd name="T84" fmla="*/ 3686 w 4043"/>
                  <a:gd name="T85" fmla="*/ 1908 h 3965"/>
                  <a:gd name="T86" fmla="*/ 357 w 4043"/>
                  <a:gd name="T87" fmla="*/ 1095 h 3965"/>
                  <a:gd name="T88" fmla="*/ 2587 w 4043"/>
                  <a:gd name="T89" fmla="*/ 3608 h 3965"/>
                  <a:gd name="T90" fmla="*/ 2585 w 4043"/>
                  <a:gd name="T91" fmla="*/ 3839 h 3965"/>
                  <a:gd name="T92" fmla="*/ 2602 w 4043"/>
                  <a:gd name="T93" fmla="*/ 3926 h 3965"/>
                  <a:gd name="T94" fmla="*/ 119 w 4043"/>
                  <a:gd name="T95" fmla="*/ 3965 h 3965"/>
                  <a:gd name="T96" fmla="*/ 59 w 4043"/>
                  <a:gd name="T97" fmla="*/ 3949 h 3965"/>
                  <a:gd name="T98" fmla="*/ 16 w 4043"/>
                  <a:gd name="T99" fmla="*/ 3906 h 3965"/>
                  <a:gd name="T100" fmla="*/ 0 w 4043"/>
                  <a:gd name="T101" fmla="*/ 3846 h 3965"/>
                  <a:gd name="T102" fmla="*/ 4 w 4043"/>
                  <a:gd name="T103" fmla="*/ 88 h 3965"/>
                  <a:gd name="T104" fmla="*/ 34 w 4043"/>
                  <a:gd name="T105" fmla="*/ 36 h 3965"/>
                  <a:gd name="T106" fmla="*/ 87 w 4043"/>
                  <a:gd name="T107" fmla="*/ 5 h 3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43" h="3965">
                    <a:moveTo>
                      <a:pt x="3457" y="406"/>
                    </a:moveTo>
                    <a:lnTo>
                      <a:pt x="3423" y="409"/>
                    </a:lnTo>
                    <a:lnTo>
                      <a:pt x="3391" y="419"/>
                    </a:lnTo>
                    <a:lnTo>
                      <a:pt x="3363" y="435"/>
                    </a:lnTo>
                    <a:lnTo>
                      <a:pt x="3337" y="456"/>
                    </a:lnTo>
                    <a:lnTo>
                      <a:pt x="3317" y="481"/>
                    </a:lnTo>
                    <a:lnTo>
                      <a:pt x="3301" y="511"/>
                    </a:lnTo>
                    <a:lnTo>
                      <a:pt x="3291" y="542"/>
                    </a:lnTo>
                    <a:lnTo>
                      <a:pt x="3287" y="576"/>
                    </a:lnTo>
                    <a:lnTo>
                      <a:pt x="3291" y="611"/>
                    </a:lnTo>
                    <a:lnTo>
                      <a:pt x="3301" y="642"/>
                    </a:lnTo>
                    <a:lnTo>
                      <a:pt x="3317" y="671"/>
                    </a:lnTo>
                    <a:lnTo>
                      <a:pt x="3337" y="696"/>
                    </a:lnTo>
                    <a:lnTo>
                      <a:pt x="3363" y="716"/>
                    </a:lnTo>
                    <a:lnTo>
                      <a:pt x="3391" y="732"/>
                    </a:lnTo>
                    <a:lnTo>
                      <a:pt x="3423" y="742"/>
                    </a:lnTo>
                    <a:lnTo>
                      <a:pt x="3457" y="746"/>
                    </a:lnTo>
                    <a:lnTo>
                      <a:pt x="3491" y="742"/>
                    </a:lnTo>
                    <a:lnTo>
                      <a:pt x="3524" y="732"/>
                    </a:lnTo>
                    <a:lnTo>
                      <a:pt x="3553" y="716"/>
                    </a:lnTo>
                    <a:lnTo>
                      <a:pt x="3577" y="696"/>
                    </a:lnTo>
                    <a:lnTo>
                      <a:pt x="3598" y="671"/>
                    </a:lnTo>
                    <a:lnTo>
                      <a:pt x="3614" y="642"/>
                    </a:lnTo>
                    <a:lnTo>
                      <a:pt x="3624" y="611"/>
                    </a:lnTo>
                    <a:lnTo>
                      <a:pt x="3627" y="576"/>
                    </a:lnTo>
                    <a:lnTo>
                      <a:pt x="3624" y="542"/>
                    </a:lnTo>
                    <a:lnTo>
                      <a:pt x="3614" y="511"/>
                    </a:lnTo>
                    <a:lnTo>
                      <a:pt x="3598" y="481"/>
                    </a:lnTo>
                    <a:lnTo>
                      <a:pt x="3577" y="456"/>
                    </a:lnTo>
                    <a:lnTo>
                      <a:pt x="3553" y="435"/>
                    </a:lnTo>
                    <a:lnTo>
                      <a:pt x="3524" y="419"/>
                    </a:lnTo>
                    <a:lnTo>
                      <a:pt x="3491" y="409"/>
                    </a:lnTo>
                    <a:lnTo>
                      <a:pt x="3457" y="406"/>
                    </a:lnTo>
                    <a:close/>
                    <a:moveTo>
                      <a:pt x="2924" y="406"/>
                    </a:moveTo>
                    <a:lnTo>
                      <a:pt x="2890" y="409"/>
                    </a:lnTo>
                    <a:lnTo>
                      <a:pt x="2858" y="419"/>
                    </a:lnTo>
                    <a:lnTo>
                      <a:pt x="2830" y="435"/>
                    </a:lnTo>
                    <a:lnTo>
                      <a:pt x="2804" y="456"/>
                    </a:lnTo>
                    <a:lnTo>
                      <a:pt x="2784" y="481"/>
                    </a:lnTo>
                    <a:lnTo>
                      <a:pt x="2768" y="511"/>
                    </a:lnTo>
                    <a:lnTo>
                      <a:pt x="2758" y="542"/>
                    </a:lnTo>
                    <a:lnTo>
                      <a:pt x="2755" y="576"/>
                    </a:lnTo>
                    <a:lnTo>
                      <a:pt x="2758" y="611"/>
                    </a:lnTo>
                    <a:lnTo>
                      <a:pt x="2768" y="642"/>
                    </a:lnTo>
                    <a:lnTo>
                      <a:pt x="2784" y="671"/>
                    </a:lnTo>
                    <a:lnTo>
                      <a:pt x="2804" y="696"/>
                    </a:lnTo>
                    <a:lnTo>
                      <a:pt x="2830" y="716"/>
                    </a:lnTo>
                    <a:lnTo>
                      <a:pt x="2858" y="732"/>
                    </a:lnTo>
                    <a:lnTo>
                      <a:pt x="2890" y="742"/>
                    </a:lnTo>
                    <a:lnTo>
                      <a:pt x="2924" y="746"/>
                    </a:lnTo>
                    <a:lnTo>
                      <a:pt x="2958" y="742"/>
                    </a:lnTo>
                    <a:lnTo>
                      <a:pt x="2991" y="732"/>
                    </a:lnTo>
                    <a:lnTo>
                      <a:pt x="3020" y="716"/>
                    </a:lnTo>
                    <a:lnTo>
                      <a:pt x="3045" y="696"/>
                    </a:lnTo>
                    <a:lnTo>
                      <a:pt x="3065" y="671"/>
                    </a:lnTo>
                    <a:lnTo>
                      <a:pt x="3081" y="642"/>
                    </a:lnTo>
                    <a:lnTo>
                      <a:pt x="3091" y="611"/>
                    </a:lnTo>
                    <a:lnTo>
                      <a:pt x="3094" y="576"/>
                    </a:lnTo>
                    <a:lnTo>
                      <a:pt x="3091" y="542"/>
                    </a:lnTo>
                    <a:lnTo>
                      <a:pt x="3081" y="511"/>
                    </a:lnTo>
                    <a:lnTo>
                      <a:pt x="3065" y="481"/>
                    </a:lnTo>
                    <a:lnTo>
                      <a:pt x="3045" y="456"/>
                    </a:lnTo>
                    <a:lnTo>
                      <a:pt x="3020" y="435"/>
                    </a:lnTo>
                    <a:lnTo>
                      <a:pt x="2991" y="419"/>
                    </a:lnTo>
                    <a:lnTo>
                      <a:pt x="2958" y="409"/>
                    </a:lnTo>
                    <a:lnTo>
                      <a:pt x="2924" y="406"/>
                    </a:lnTo>
                    <a:close/>
                    <a:moveTo>
                      <a:pt x="119" y="0"/>
                    </a:moveTo>
                    <a:lnTo>
                      <a:pt x="3924" y="0"/>
                    </a:lnTo>
                    <a:lnTo>
                      <a:pt x="3956" y="5"/>
                    </a:lnTo>
                    <a:lnTo>
                      <a:pt x="3984" y="18"/>
                    </a:lnTo>
                    <a:lnTo>
                      <a:pt x="4009" y="36"/>
                    </a:lnTo>
                    <a:lnTo>
                      <a:pt x="4027" y="60"/>
                    </a:lnTo>
                    <a:lnTo>
                      <a:pt x="4039" y="88"/>
                    </a:lnTo>
                    <a:lnTo>
                      <a:pt x="4043" y="120"/>
                    </a:lnTo>
                    <a:lnTo>
                      <a:pt x="4043" y="1778"/>
                    </a:lnTo>
                    <a:lnTo>
                      <a:pt x="4026" y="1778"/>
                    </a:lnTo>
                    <a:lnTo>
                      <a:pt x="3983" y="1783"/>
                    </a:lnTo>
                    <a:lnTo>
                      <a:pt x="3943" y="1795"/>
                    </a:lnTo>
                    <a:lnTo>
                      <a:pt x="3907" y="1815"/>
                    </a:lnTo>
                    <a:lnTo>
                      <a:pt x="3874" y="1841"/>
                    </a:lnTo>
                    <a:lnTo>
                      <a:pt x="3849" y="1873"/>
                    </a:lnTo>
                    <a:lnTo>
                      <a:pt x="3809" y="1868"/>
                    </a:lnTo>
                    <a:lnTo>
                      <a:pt x="3776" y="1871"/>
                    </a:lnTo>
                    <a:lnTo>
                      <a:pt x="3744" y="1878"/>
                    </a:lnTo>
                    <a:lnTo>
                      <a:pt x="3713" y="1891"/>
                    </a:lnTo>
                    <a:lnTo>
                      <a:pt x="3686" y="1908"/>
                    </a:lnTo>
                    <a:lnTo>
                      <a:pt x="3686" y="1095"/>
                    </a:lnTo>
                    <a:lnTo>
                      <a:pt x="357" y="1095"/>
                    </a:lnTo>
                    <a:lnTo>
                      <a:pt x="357" y="3608"/>
                    </a:lnTo>
                    <a:lnTo>
                      <a:pt x="2587" y="3608"/>
                    </a:lnTo>
                    <a:lnTo>
                      <a:pt x="2585" y="3640"/>
                    </a:lnTo>
                    <a:lnTo>
                      <a:pt x="2585" y="3839"/>
                    </a:lnTo>
                    <a:lnTo>
                      <a:pt x="2590" y="3885"/>
                    </a:lnTo>
                    <a:lnTo>
                      <a:pt x="2602" y="3926"/>
                    </a:lnTo>
                    <a:lnTo>
                      <a:pt x="2622" y="3965"/>
                    </a:lnTo>
                    <a:lnTo>
                      <a:pt x="119" y="3965"/>
                    </a:lnTo>
                    <a:lnTo>
                      <a:pt x="87" y="3961"/>
                    </a:lnTo>
                    <a:lnTo>
                      <a:pt x="59" y="3949"/>
                    </a:lnTo>
                    <a:lnTo>
                      <a:pt x="34" y="3931"/>
                    </a:lnTo>
                    <a:lnTo>
                      <a:pt x="16" y="3906"/>
                    </a:lnTo>
                    <a:lnTo>
                      <a:pt x="4" y="3878"/>
                    </a:lnTo>
                    <a:lnTo>
                      <a:pt x="0" y="3846"/>
                    </a:lnTo>
                    <a:lnTo>
                      <a:pt x="0" y="120"/>
                    </a:lnTo>
                    <a:lnTo>
                      <a:pt x="4" y="88"/>
                    </a:lnTo>
                    <a:lnTo>
                      <a:pt x="16" y="60"/>
                    </a:lnTo>
                    <a:lnTo>
                      <a:pt x="34" y="36"/>
                    </a:lnTo>
                    <a:lnTo>
                      <a:pt x="59" y="18"/>
                    </a:lnTo>
                    <a:lnTo>
                      <a:pt x="87" y="5"/>
                    </a:lnTo>
                    <a:lnTo>
                      <a:pt x="1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3" name="Freeform 160"/>
              <p:cNvSpPr>
                <a:spLocks noEditPoints="1"/>
              </p:cNvSpPr>
              <p:nvPr/>
            </p:nvSpPr>
            <p:spPr bwMode="auto">
              <a:xfrm>
                <a:off x="4491" y="2507"/>
                <a:ext cx="895" cy="895"/>
              </a:xfrm>
              <a:custGeom>
                <a:avLst/>
                <a:gdLst>
                  <a:gd name="T0" fmla="*/ 727 w 1791"/>
                  <a:gd name="T1" fmla="*/ 498 h 1790"/>
                  <a:gd name="T2" fmla="*/ 554 w 1791"/>
                  <a:gd name="T3" fmla="*/ 632 h 1790"/>
                  <a:gd name="T4" fmla="*/ 469 w 1791"/>
                  <a:gd name="T5" fmla="*/ 836 h 1790"/>
                  <a:gd name="T6" fmla="*/ 499 w 1791"/>
                  <a:gd name="T7" fmla="*/ 1062 h 1790"/>
                  <a:gd name="T8" fmla="*/ 632 w 1791"/>
                  <a:gd name="T9" fmla="*/ 1236 h 1790"/>
                  <a:gd name="T10" fmla="*/ 837 w 1791"/>
                  <a:gd name="T11" fmla="*/ 1322 h 1790"/>
                  <a:gd name="T12" fmla="*/ 1063 w 1791"/>
                  <a:gd name="T13" fmla="*/ 1292 h 1790"/>
                  <a:gd name="T14" fmla="*/ 1236 w 1791"/>
                  <a:gd name="T15" fmla="*/ 1158 h 1790"/>
                  <a:gd name="T16" fmla="*/ 1323 w 1791"/>
                  <a:gd name="T17" fmla="*/ 953 h 1790"/>
                  <a:gd name="T18" fmla="*/ 1293 w 1791"/>
                  <a:gd name="T19" fmla="*/ 728 h 1790"/>
                  <a:gd name="T20" fmla="*/ 1159 w 1791"/>
                  <a:gd name="T21" fmla="*/ 553 h 1790"/>
                  <a:gd name="T22" fmla="*/ 955 w 1791"/>
                  <a:gd name="T23" fmla="*/ 468 h 1790"/>
                  <a:gd name="T24" fmla="*/ 1052 w 1791"/>
                  <a:gd name="T25" fmla="*/ 3 h 1790"/>
                  <a:gd name="T26" fmla="*/ 1139 w 1791"/>
                  <a:gd name="T27" fmla="*/ 73 h 1790"/>
                  <a:gd name="T28" fmla="*/ 1192 w 1791"/>
                  <a:gd name="T29" fmla="*/ 180 h 1790"/>
                  <a:gd name="T30" fmla="*/ 1303 w 1791"/>
                  <a:gd name="T31" fmla="*/ 142 h 1790"/>
                  <a:gd name="T32" fmla="*/ 1416 w 1791"/>
                  <a:gd name="T33" fmla="*/ 155 h 1790"/>
                  <a:gd name="T34" fmla="*/ 1649 w 1791"/>
                  <a:gd name="T35" fmla="*/ 402 h 1790"/>
                  <a:gd name="T36" fmla="*/ 1636 w 1791"/>
                  <a:gd name="T37" fmla="*/ 513 h 1790"/>
                  <a:gd name="T38" fmla="*/ 1625 w 1791"/>
                  <a:gd name="T39" fmla="*/ 638 h 1790"/>
                  <a:gd name="T40" fmla="*/ 1741 w 1791"/>
                  <a:gd name="T41" fmla="*/ 666 h 1790"/>
                  <a:gd name="T42" fmla="*/ 1791 w 1791"/>
                  <a:gd name="T43" fmla="*/ 769 h 1790"/>
                  <a:gd name="T44" fmla="*/ 1762 w 1791"/>
                  <a:gd name="T45" fmla="*/ 1104 h 1790"/>
                  <a:gd name="T46" fmla="*/ 1659 w 1791"/>
                  <a:gd name="T47" fmla="*/ 1152 h 1790"/>
                  <a:gd name="T48" fmla="*/ 1618 w 1791"/>
                  <a:gd name="T49" fmla="*/ 1252 h 1790"/>
                  <a:gd name="T50" fmla="*/ 1655 w 1791"/>
                  <a:gd name="T51" fmla="*/ 1361 h 1790"/>
                  <a:gd name="T52" fmla="*/ 1439 w 1791"/>
                  <a:gd name="T53" fmla="*/ 1617 h 1790"/>
                  <a:gd name="T54" fmla="*/ 1332 w 1791"/>
                  <a:gd name="T55" fmla="*/ 1655 h 1790"/>
                  <a:gd name="T56" fmla="*/ 1229 w 1791"/>
                  <a:gd name="T57" fmla="*/ 1592 h 1790"/>
                  <a:gd name="T58" fmla="*/ 1149 w 1791"/>
                  <a:gd name="T59" fmla="*/ 1688 h 1790"/>
                  <a:gd name="T60" fmla="*/ 1079 w 1791"/>
                  <a:gd name="T61" fmla="*/ 1777 h 1790"/>
                  <a:gd name="T62" fmla="*/ 740 w 1791"/>
                  <a:gd name="T63" fmla="*/ 1787 h 1790"/>
                  <a:gd name="T64" fmla="*/ 652 w 1791"/>
                  <a:gd name="T65" fmla="*/ 1717 h 1790"/>
                  <a:gd name="T66" fmla="*/ 600 w 1791"/>
                  <a:gd name="T67" fmla="*/ 1609 h 1790"/>
                  <a:gd name="T68" fmla="*/ 487 w 1791"/>
                  <a:gd name="T69" fmla="*/ 1648 h 1790"/>
                  <a:gd name="T70" fmla="*/ 374 w 1791"/>
                  <a:gd name="T71" fmla="*/ 1635 h 1790"/>
                  <a:gd name="T72" fmla="*/ 141 w 1791"/>
                  <a:gd name="T73" fmla="*/ 1389 h 1790"/>
                  <a:gd name="T74" fmla="*/ 154 w 1791"/>
                  <a:gd name="T75" fmla="*/ 1276 h 1790"/>
                  <a:gd name="T76" fmla="*/ 167 w 1791"/>
                  <a:gd name="T77" fmla="*/ 1152 h 1790"/>
                  <a:gd name="T78" fmla="*/ 50 w 1791"/>
                  <a:gd name="T79" fmla="*/ 1124 h 1790"/>
                  <a:gd name="T80" fmla="*/ 0 w 1791"/>
                  <a:gd name="T81" fmla="*/ 1021 h 1790"/>
                  <a:gd name="T82" fmla="*/ 29 w 1791"/>
                  <a:gd name="T83" fmla="*/ 686 h 1790"/>
                  <a:gd name="T84" fmla="*/ 133 w 1791"/>
                  <a:gd name="T85" fmla="*/ 638 h 1790"/>
                  <a:gd name="T86" fmla="*/ 174 w 1791"/>
                  <a:gd name="T87" fmla="*/ 538 h 1790"/>
                  <a:gd name="T88" fmla="*/ 136 w 1791"/>
                  <a:gd name="T89" fmla="*/ 429 h 1790"/>
                  <a:gd name="T90" fmla="*/ 351 w 1791"/>
                  <a:gd name="T91" fmla="*/ 173 h 1790"/>
                  <a:gd name="T92" fmla="*/ 459 w 1791"/>
                  <a:gd name="T93" fmla="*/ 135 h 1790"/>
                  <a:gd name="T94" fmla="*/ 562 w 1791"/>
                  <a:gd name="T95" fmla="*/ 197 h 1790"/>
                  <a:gd name="T96" fmla="*/ 642 w 1791"/>
                  <a:gd name="T97" fmla="*/ 102 h 1790"/>
                  <a:gd name="T98" fmla="*/ 712 w 1791"/>
                  <a:gd name="T99" fmla="*/ 13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91" h="1790">
                    <a:moveTo>
                      <a:pt x="896" y="463"/>
                    </a:moveTo>
                    <a:lnTo>
                      <a:pt x="837" y="468"/>
                    </a:lnTo>
                    <a:lnTo>
                      <a:pt x="780" y="479"/>
                    </a:lnTo>
                    <a:lnTo>
                      <a:pt x="727" y="498"/>
                    </a:lnTo>
                    <a:lnTo>
                      <a:pt x="677" y="523"/>
                    </a:lnTo>
                    <a:lnTo>
                      <a:pt x="632" y="553"/>
                    </a:lnTo>
                    <a:lnTo>
                      <a:pt x="590" y="590"/>
                    </a:lnTo>
                    <a:lnTo>
                      <a:pt x="554" y="632"/>
                    </a:lnTo>
                    <a:lnTo>
                      <a:pt x="523" y="678"/>
                    </a:lnTo>
                    <a:lnTo>
                      <a:pt x="499" y="728"/>
                    </a:lnTo>
                    <a:lnTo>
                      <a:pt x="480" y="781"/>
                    </a:lnTo>
                    <a:lnTo>
                      <a:pt x="469" y="836"/>
                    </a:lnTo>
                    <a:lnTo>
                      <a:pt x="464" y="895"/>
                    </a:lnTo>
                    <a:lnTo>
                      <a:pt x="469" y="953"/>
                    </a:lnTo>
                    <a:lnTo>
                      <a:pt x="480" y="1009"/>
                    </a:lnTo>
                    <a:lnTo>
                      <a:pt x="499" y="1062"/>
                    </a:lnTo>
                    <a:lnTo>
                      <a:pt x="523" y="1112"/>
                    </a:lnTo>
                    <a:lnTo>
                      <a:pt x="554" y="1158"/>
                    </a:lnTo>
                    <a:lnTo>
                      <a:pt x="590" y="1199"/>
                    </a:lnTo>
                    <a:lnTo>
                      <a:pt x="632" y="1236"/>
                    </a:lnTo>
                    <a:lnTo>
                      <a:pt x="677" y="1268"/>
                    </a:lnTo>
                    <a:lnTo>
                      <a:pt x="727" y="1292"/>
                    </a:lnTo>
                    <a:lnTo>
                      <a:pt x="780" y="1311"/>
                    </a:lnTo>
                    <a:lnTo>
                      <a:pt x="837" y="1322"/>
                    </a:lnTo>
                    <a:lnTo>
                      <a:pt x="896" y="1326"/>
                    </a:lnTo>
                    <a:lnTo>
                      <a:pt x="955" y="1322"/>
                    </a:lnTo>
                    <a:lnTo>
                      <a:pt x="1010" y="1311"/>
                    </a:lnTo>
                    <a:lnTo>
                      <a:pt x="1063" y="1292"/>
                    </a:lnTo>
                    <a:lnTo>
                      <a:pt x="1113" y="1268"/>
                    </a:lnTo>
                    <a:lnTo>
                      <a:pt x="1159" y="1236"/>
                    </a:lnTo>
                    <a:lnTo>
                      <a:pt x="1200" y="1199"/>
                    </a:lnTo>
                    <a:lnTo>
                      <a:pt x="1236" y="1158"/>
                    </a:lnTo>
                    <a:lnTo>
                      <a:pt x="1268" y="1112"/>
                    </a:lnTo>
                    <a:lnTo>
                      <a:pt x="1293" y="1062"/>
                    </a:lnTo>
                    <a:lnTo>
                      <a:pt x="1310" y="1009"/>
                    </a:lnTo>
                    <a:lnTo>
                      <a:pt x="1323" y="953"/>
                    </a:lnTo>
                    <a:lnTo>
                      <a:pt x="1326" y="895"/>
                    </a:lnTo>
                    <a:lnTo>
                      <a:pt x="1323" y="836"/>
                    </a:lnTo>
                    <a:lnTo>
                      <a:pt x="1310" y="781"/>
                    </a:lnTo>
                    <a:lnTo>
                      <a:pt x="1293" y="728"/>
                    </a:lnTo>
                    <a:lnTo>
                      <a:pt x="1268" y="678"/>
                    </a:lnTo>
                    <a:lnTo>
                      <a:pt x="1236" y="632"/>
                    </a:lnTo>
                    <a:lnTo>
                      <a:pt x="1200" y="590"/>
                    </a:lnTo>
                    <a:lnTo>
                      <a:pt x="1159" y="553"/>
                    </a:lnTo>
                    <a:lnTo>
                      <a:pt x="1113" y="523"/>
                    </a:lnTo>
                    <a:lnTo>
                      <a:pt x="1063" y="498"/>
                    </a:lnTo>
                    <a:lnTo>
                      <a:pt x="1010" y="479"/>
                    </a:lnTo>
                    <a:lnTo>
                      <a:pt x="955" y="468"/>
                    </a:lnTo>
                    <a:lnTo>
                      <a:pt x="896" y="463"/>
                    </a:lnTo>
                    <a:close/>
                    <a:moveTo>
                      <a:pt x="770" y="0"/>
                    </a:moveTo>
                    <a:lnTo>
                      <a:pt x="1020" y="0"/>
                    </a:lnTo>
                    <a:lnTo>
                      <a:pt x="1052" y="3"/>
                    </a:lnTo>
                    <a:lnTo>
                      <a:pt x="1079" y="13"/>
                    </a:lnTo>
                    <a:lnTo>
                      <a:pt x="1103" y="29"/>
                    </a:lnTo>
                    <a:lnTo>
                      <a:pt x="1125" y="49"/>
                    </a:lnTo>
                    <a:lnTo>
                      <a:pt x="1139" y="73"/>
                    </a:lnTo>
                    <a:lnTo>
                      <a:pt x="1149" y="102"/>
                    </a:lnTo>
                    <a:lnTo>
                      <a:pt x="1153" y="132"/>
                    </a:lnTo>
                    <a:lnTo>
                      <a:pt x="1153" y="166"/>
                    </a:lnTo>
                    <a:lnTo>
                      <a:pt x="1192" y="180"/>
                    </a:lnTo>
                    <a:lnTo>
                      <a:pt x="1229" y="197"/>
                    </a:lnTo>
                    <a:lnTo>
                      <a:pt x="1253" y="173"/>
                    </a:lnTo>
                    <a:lnTo>
                      <a:pt x="1276" y="155"/>
                    </a:lnTo>
                    <a:lnTo>
                      <a:pt x="1303" y="142"/>
                    </a:lnTo>
                    <a:lnTo>
                      <a:pt x="1332" y="135"/>
                    </a:lnTo>
                    <a:lnTo>
                      <a:pt x="1360" y="135"/>
                    </a:lnTo>
                    <a:lnTo>
                      <a:pt x="1389" y="142"/>
                    </a:lnTo>
                    <a:lnTo>
                      <a:pt x="1416" y="155"/>
                    </a:lnTo>
                    <a:lnTo>
                      <a:pt x="1439" y="173"/>
                    </a:lnTo>
                    <a:lnTo>
                      <a:pt x="1618" y="350"/>
                    </a:lnTo>
                    <a:lnTo>
                      <a:pt x="1636" y="375"/>
                    </a:lnTo>
                    <a:lnTo>
                      <a:pt x="1649" y="402"/>
                    </a:lnTo>
                    <a:lnTo>
                      <a:pt x="1655" y="429"/>
                    </a:lnTo>
                    <a:lnTo>
                      <a:pt x="1655" y="459"/>
                    </a:lnTo>
                    <a:lnTo>
                      <a:pt x="1649" y="488"/>
                    </a:lnTo>
                    <a:lnTo>
                      <a:pt x="1636" y="513"/>
                    </a:lnTo>
                    <a:lnTo>
                      <a:pt x="1618" y="538"/>
                    </a:lnTo>
                    <a:lnTo>
                      <a:pt x="1593" y="562"/>
                    </a:lnTo>
                    <a:lnTo>
                      <a:pt x="1609" y="599"/>
                    </a:lnTo>
                    <a:lnTo>
                      <a:pt x="1625" y="638"/>
                    </a:lnTo>
                    <a:lnTo>
                      <a:pt x="1659" y="638"/>
                    </a:lnTo>
                    <a:lnTo>
                      <a:pt x="1689" y="640"/>
                    </a:lnTo>
                    <a:lnTo>
                      <a:pt x="1716" y="651"/>
                    </a:lnTo>
                    <a:lnTo>
                      <a:pt x="1741" y="666"/>
                    </a:lnTo>
                    <a:lnTo>
                      <a:pt x="1762" y="686"/>
                    </a:lnTo>
                    <a:lnTo>
                      <a:pt x="1778" y="712"/>
                    </a:lnTo>
                    <a:lnTo>
                      <a:pt x="1788" y="739"/>
                    </a:lnTo>
                    <a:lnTo>
                      <a:pt x="1791" y="769"/>
                    </a:lnTo>
                    <a:lnTo>
                      <a:pt x="1791" y="1021"/>
                    </a:lnTo>
                    <a:lnTo>
                      <a:pt x="1788" y="1051"/>
                    </a:lnTo>
                    <a:lnTo>
                      <a:pt x="1778" y="1079"/>
                    </a:lnTo>
                    <a:lnTo>
                      <a:pt x="1762" y="1104"/>
                    </a:lnTo>
                    <a:lnTo>
                      <a:pt x="1741" y="1124"/>
                    </a:lnTo>
                    <a:lnTo>
                      <a:pt x="1716" y="1139"/>
                    </a:lnTo>
                    <a:lnTo>
                      <a:pt x="1689" y="1149"/>
                    </a:lnTo>
                    <a:lnTo>
                      <a:pt x="1659" y="1152"/>
                    </a:lnTo>
                    <a:lnTo>
                      <a:pt x="1625" y="1152"/>
                    </a:lnTo>
                    <a:lnTo>
                      <a:pt x="1609" y="1191"/>
                    </a:lnTo>
                    <a:lnTo>
                      <a:pt x="1593" y="1228"/>
                    </a:lnTo>
                    <a:lnTo>
                      <a:pt x="1618" y="1252"/>
                    </a:lnTo>
                    <a:lnTo>
                      <a:pt x="1636" y="1276"/>
                    </a:lnTo>
                    <a:lnTo>
                      <a:pt x="1649" y="1304"/>
                    </a:lnTo>
                    <a:lnTo>
                      <a:pt x="1655" y="1331"/>
                    </a:lnTo>
                    <a:lnTo>
                      <a:pt x="1655" y="1361"/>
                    </a:lnTo>
                    <a:lnTo>
                      <a:pt x="1649" y="1389"/>
                    </a:lnTo>
                    <a:lnTo>
                      <a:pt x="1636" y="1415"/>
                    </a:lnTo>
                    <a:lnTo>
                      <a:pt x="1618" y="1439"/>
                    </a:lnTo>
                    <a:lnTo>
                      <a:pt x="1439" y="1617"/>
                    </a:lnTo>
                    <a:lnTo>
                      <a:pt x="1416" y="1635"/>
                    </a:lnTo>
                    <a:lnTo>
                      <a:pt x="1389" y="1648"/>
                    </a:lnTo>
                    <a:lnTo>
                      <a:pt x="1360" y="1655"/>
                    </a:lnTo>
                    <a:lnTo>
                      <a:pt x="1332" y="1655"/>
                    </a:lnTo>
                    <a:lnTo>
                      <a:pt x="1303" y="1648"/>
                    </a:lnTo>
                    <a:lnTo>
                      <a:pt x="1276" y="1635"/>
                    </a:lnTo>
                    <a:lnTo>
                      <a:pt x="1253" y="1617"/>
                    </a:lnTo>
                    <a:lnTo>
                      <a:pt x="1229" y="1592"/>
                    </a:lnTo>
                    <a:lnTo>
                      <a:pt x="1192" y="1609"/>
                    </a:lnTo>
                    <a:lnTo>
                      <a:pt x="1153" y="1624"/>
                    </a:lnTo>
                    <a:lnTo>
                      <a:pt x="1153" y="1658"/>
                    </a:lnTo>
                    <a:lnTo>
                      <a:pt x="1149" y="1688"/>
                    </a:lnTo>
                    <a:lnTo>
                      <a:pt x="1139" y="1717"/>
                    </a:lnTo>
                    <a:lnTo>
                      <a:pt x="1125" y="1741"/>
                    </a:lnTo>
                    <a:lnTo>
                      <a:pt x="1103" y="1761"/>
                    </a:lnTo>
                    <a:lnTo>
                      <a:pt x="1079" y="1777"/>
                    </a:lnTo>
                    <a:lnTo>
                      <a:pt x="1052" y="1787"/>
                    </a:lnTo>
                    <a:lnTo>
                      <a:pt x="1020" y="1790"/>
                    </a:lnTo>
                    <a:lnTo>
                      <a:pt x="770" y="1790"/>
                    </a:lnTo>
                    <a:lnTo>
                      <a:pt x="740" y="1787"/>
                    </a:lnTo>
                    <a:lnTo>
                      <a:pt x="712" y="1777"/>
                    </a:lnTo>
                    <a:lnTo>
                      <a:pt x="687" y="1761"/>
                    </a:lnTo>
                    <a:lnTo>
                      <a:pt x="667" y="1741"/>
                    </a:lnTo>
                    <a:lnTo>
                      <a:pt x="652" y="1717"/>
                    </a:lnTo>
                    <a:lnTo>
                      <a:pt x="642" y="1688"/>
                    </a:lnTo>
                    <a:lnTo>
                      <a:pt x="637" y="1658"/>
                    </a:lnTo>
                    <a:lnTo>
                      <a:pt x="637" y="1624"/>
                    </a:lnTo>
                    <a:lnTo>
                      <a:pt x="600" y="1609"/>
                    </a:lnTo>
                    <a:lnTo>
                      <a:pt x="562" y="1592"/>
                    </a:lnTo>
                    <a:lnTo>
                      <a:pt x="537" y="1617"/>
                    </a:lnTo>
                    <a:lnTo>
                      <a:pt x="514" y="1635"/>
                    </a:lnTo>
                    <a:lnTo>
                      <a:pt x="487" y="1648"/>
                    </a:lnTo>
                    <a:lnTo>
                      <a:pt x="459" y="1655"/>
                    </a:lnTo>
                    <a:lnTo>
                      <a:pt x="430" y="1655"/>
                    </a:lnTo>
                    <a:lnTo>
                      <a:pt x="401" y="1648"/>
                    </a:lnTo>
                    <a:lnTo>
                      <a:pt x="374" y="1635"/>
                    </a:lnTo>
                    <a:lnTo>
                      <a:pt x="351" y="1617"/>
                    </a:lnTo>
                    <a:lnTo>
                      <a:pt x="174" y="1439"/>
                    </a:lnTo>
                    <a:lnTo>
                      <a:pt x="154" y="1415"/>
                    </a:lnTo>
                    <a:lnTo>
                      <a:pt x="141" y="1389"/>
                    </a:lnTo>
                    <a:lnTo>
                      <a:pt x="136" y="1361"/>
                    </a:lnTo>
                    <a:lnTo>
                      <a:pt x="136" y="1331"/>
                    </a:lnTo>
                    <a:lnTo>
                      <a:pt x="141" y="1304"/>
                    </a:lnTo>
                    <a:lnTo>
                      <a:pt x="154" y="1276"/>
                    </a:lnTo>
                    <a:lnTo>
                      <a:pt x="174" y="1252"/>
                    </a:lnTo>
                    <a:lnTo>
                      <a:pt x="199" y="1228"/>
                    </a:lnTo>
                    <a:lnTo>
                      <a:pt x="181" y="1191"/>
                    </a:lnTo>
                    <a:lnTo>
                      <a:pt x="167" y="1152"/>
                    </a:lnTo>
                    <a:lnTo>
                      <a:pt x="133" y="1152"/>
                    </a:lnTo>
                    <a:lnTo>
                      <a:pt x="101" y="1149"/>
                    </a:lnTo>
                    <a:lnTo>
                      <a:pt x="74" y="1139"/>
                    </a:lnTo>
                    <a:lnTo>
                      <a:pt x="50" y="1124"/>
                    </a:lnTo>
                    <a:lnTo>
                      <a:pt x="29" y="1104"/>
                    </a:lnTo>
                    <a:lnTo>
                      <a:pt x="14" y="1079"/>
                    </a:lnTo>
                    <a:lnTo>
                      <a:pt x="4" y="1051"/>
                    </a:lnTo>
                    <a:lnTo>
                      <a:pt x="0" y="1021"/>
                    </a:lnTo>
                    <a:lnTo>
                      <a:pt x="0" y="769"/>
                    </a:lnTo>
                    <a:lnTo>
                      <a:pt x="4" y="739"/>
                    </a:lnTo>
                    <a:lnTo>
                      <a:pt x="14" y="712"/>
                    </a:lnTo>
                    <a:lnTo>
                      <a:pt x="29" y="686"/>
                    </a:lnTo>
                    <a:lnTo>
                      <a:pt x="50" y="666"/>
                    </a:lnTo>
                    <a:lnTo>
                      <a:pt x="74" y="651"/>
                    </a:lnTo>
                    <a:lnTo>
                      <a:pt x="101" y="640"/>
                    </a:lnTo>
                    <a:lnTo>
                      <a:pt x="133" y="638"/>
                    </a:lnTo>
                    <a:lnTo>
                      <a:pt x="167" y="638"/>
                    </a:lnTo>
                    <a:lnTo>
                      <a:pt x="181" y="599"/>
                    </a:lnTo>
                    <a:lnTo>
                      <a:pt x="199" y="562"/>
                    </a:lnTo>
                    <a:lnTo>
                      <a:pt x="174" y="538"/>
                    </a:lnTo>
                    <a:lnTo>
                      <a:pt x="154" y="513"/>
                    </a:lnTo>
                    <a:lnTo>
                      <a:pt x="141" y="488"/>
                    </a:lnTo>
                    <a:lnTo>
                      <a:pt x="136" y="459"/>
                    </a:lnTo>
                    <a:lnTo>
                      <a:pt x="136" y="429"/>
                    </a:lnTo>
                    <a:lnTo>
                      <a:pt x="141" y="402"/>
                    </a:lnTo>
                    <a:lnTo>
                      <a:pt x="154" y="375"/>
                    </a:lnTo>
                    <a:lnTo>
                      <a:pt x="174" y="350"/>
                    </a:lnTo>
                    <a:lnTo>
                      <a:pt x="351" y="173"/>
                    </a:lnTo>
                    <a:lnTo>
                      <a:pt x="376" y="155"/>
                    </a:lnTo>
                    <a:lnTo>
                      <a:pt x="401" y="142"/>
                    </a:lnTo>
                    <a:lnTo>
                      <a:pt x="430" y="135"/>
                    </a:lnTo>
                    <a:lnTo>
                      <a:pt x="459" y="135"/>
                    </a:lnTo>
                    <a:lnTo>
                      <a:pt x="487" y="142"/>
                    </a:lnTo>
                    <a:lnTo>
                      <a:pt x="514" y="155"/>
                    </a:lnTo>
                    <a:lnTo>
                      <a:pt x="537" y="173"/>
                    </a:lnTo>
                    <a:lnTo>
                      <a:pt x="562" y="197"/>
                    </a:lnTo>
                    <a:lnTo>
                      <a:pt x="600" y="180"/>
                    </a:lnTo>
                    <a:lnTo>
                      <a:pt x="637" y="166"/>
                    </a:lnTo>
                    <a:lnTo>
                      <a:pt x="637" y="132"/>
                    </a:lnTo>
                    <a:lnTo>
                      <a:pt x="642" y="102"/>
                    </a:lnTo>
                    <a:lnTo>
                      <a:pt x="652" y="73"/>
                    </a:lnTo>
                    <a:lnTo>
                      <a:pt x="667" y="49"/>
                    </a:lnTo>
                    <a:lnTo>
                      <a:pt x="687" y="29"/>
                    </a:lnTo>
                    <a:lnTo>
                      <a:pt x="712" y="13"/>
                    </a:lnTo>
                    <a:lnTo>
                      <a:pt x="740" y="3"/>
                    </a:lnTo>
                    <a:lnTo>
                      <a:pt x="7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4" name="Freeform 161"/>
              <p:cNvSpPr>
                <a:spLocks noEditPoints="1"/>
              </p:cNvSpPr>
              <p:nvPr/>
            </p:nvSpPr>
            <p:spPr bwMode="auto">
              <a:xfrm>
                <a:off x="5171" y="3325"/>
                <a:ext cx="710" cy="709"/>
              </a:xfrm>
              <a:custGeom>
                <a:avLst/>
                <a:gdLst>
                  <a:gd name="T0" fmla="*/ 602 w 1421"/>
                  <a:gd name="T1" fmla="*/ 385 h 1419"/>
                  <a:gd name="T2" fmla="*/ 469 w 1421"/>
                  <a:gd name="T3" fmla="*/ 467 h 1419"/>
                  <a:gd name="T4" fmla="*/ 386 w 1421"/>
                  <a:gd name="T5" fmla="*/ 602 h 1419"/>
                  <a:gd name="T6" fmla="*/ 373 w 1421"/>
                  <a:gd name="T7" fmla="*/ 765 h 1419"/>
                  <a:gd name="T8" fmla="*/ 435 w 1421"/>
                  <a:gd name="T9" fmla="*/ 912 h 1419"/>
                  <a:gd name="T10" fmla="*/ 553 w 1421"/>
                  <a:gd name="T11" fmla="*/ 1013 h 1419"/>
                  <a:gd name="T12" fmla="*/ 711 w 1421"/>
                  <a:gd name="T13" fmla="*/ 1051 h 1419"/>
                  <a:gd name="T14" fmla="*/ 868 w 1421"/>
                  <a:gd name="T15" fmla="*/ 1013 h 1419"/>
                  <a:gd name="T16" fmla="*/ 986 w 1421"/>
                  <a:gd name="T17" fmla="*/ 912 h 1419"/>
                  <a:gd name="T18" fmla="*/ 1048 w 1421"/>
                  <a:gd name="T19" fmla="*/ 765 h 1419"/>
                  <a:gd name="T20" fmla="*/ 1035 w 1421"/>
                  <a:gd name="T21" fmla="*/ 602 h 1419"/>
                  <a:gd name="T22" fmla="*/ 952 w 1421"/>
                  <a:gd name="T23" fmla="*/ 467 h 1419"/>
                  <a:gd name="T24" fmla="*/ 819 w 1421"/>
                  <a:gd name="T25" fmla="*/ 385 h 1419"/>
                  <a:gd name="T26" fmla="*/ 611 w 1421"/>
                  <a:gd name="T27" fmla="*/ 0 h 1419"/>
                  <a:gd name="T28" fmla="*/ 864 w 1421"/>
                  <a:gd name="T29" fmla="*/ 14 h 1419"/>
                  <a:gd name="T30" fmla="*/ 911 w 1421"/>
                  <a:gd name="T31" fmla="*/ 76 h 1419"/>
                  <a:gd name="T32" fmla="*/ 975 w 1421"/>
                  <a:gd name="T33" fmla="*/ 156 h 1419"/>
                  <a:gd name="T34" fmla="*/ 1032 w 1421"/>
                  <a:gd name="T35" fmla="*/ 113 h 1419"/>
                  <a:gd name="T36" fmla="*/ 1085 w 1421"/>
                  <a:gd name="T37" fmla="*/ 107 h 1419"/>
                  <a:gd name="T38" fmla="*/ 1142 w 1421"/>
                  <a:gd name="T39" fmla="*/ 137 h 1419"/>
                  <a:gd name="T40" fmla="*/ 1311 w 1421"/>
                  <a:gd name="T41" fmla="*/ 326 h 1419"/>
                  <a:gd name="T42" fmla="*/ 1299 w 1421"/>
                  <a:gd name="T43" fmla="*/ 403 h 1419"/>
                  <a:gd name="T44" fmla="*/ 1288 w 1421"/>
                  <a:gd name="T45" fmla="*/ 505 h 1419"/>
                  <a:gd name="T46" fmla="*/ 1368 w 1421"/>
                  <a:gd name="T47" fmla="*/ 519 h 1419"/>
                  <a:gd name="T48" fmla="*/ 1417 w 1421"/>
                  <a:gd name="T49" fmla="*/ 582 h 1419"/>
                  <a:gd name="T50" fmla="*/ 1417 w 1421"/>
                  <a:gd name="T51" fmla="*/ 836 h 1419"/>
                  <a:gd name="T52" fmla="*/ 1368 w 1421"/>
                  <a:gd name="T53" fmla="*/ 899 h 1419"/>
                  <a:gd name="T54" fmla="*/ 1288 w 1421"/>
                  <a:gd name="T55" fmla="*/ 913 h 1419"/>
                  <a:gd name="T56" fmla="*/ 1299 w 1421"/>
                  <a:gd name="T57" fmla="*/ 1015 h 1419"/>
                  <a:gd name="T58" fmla="*/ 1311 w 1421"/>
                  <a:gd name="T59" fmla="*/ 1093 h 1419"/>
                  <a:gd name="T60" fmla="*/ 1142 w 1421"/>
                  <a:gd name="T61" fmla="*/ 1282 h 1419"/>
                  <a:gd name="T62" fmla="*/ 1068 w 1421"/>
                  <a:gd name="T63" fmla="*/ 1312 h 1419"/>
                  <a:gd name="T64" fmla="*/ 994 w 1421"/>
                  <a:gd name="T65" fmla="*/ 1282 h 1419"/>
                  <a:gd name="T66" fmla="*/ 915 w 1421"/>
                  <a:gd name="T67" fmla="*/ 1315 h 1419"/>
                  <a:gd name="T68" fmla="*/ 884 w 1421"/>
                  <a:gd name="T69" fmla="*/ 1388 h 1419"/>
                  <a:gd name="T70" fmla="*/ 811 w 1421"/>
                  <a:gd name="T71" fmla="*/ 1419 h 1419"/>
                  <a:gd name="T72" fmla="*/ 558 w 1421"/>
                  <a:gd name="T73" fmla="*/ 1405 h 1419"/>
                  <a:gd name="T74" fmla="*/ 511 w 1421"/>
                  <a:gd name="T75" fmla="*/ 1342 h 1419"/>
                  <a:gd name="T76" fmla="*/ 446 w 1421"/>
                  <a:gd name="T77" fmla="*/ 1262 h 1419"/>
                  <a:gd name="T78" fmla="*/ 379 w 1421"/>
                  <a:gd name="T79" fmla="*/ 1309 h 1419"/>
                  <a:gd name="T80" fmla="*/ 302 w 1421"/>
                  <a:gd name="T81" fmla="*/ 1299 h 1419"/>
                  <a:gd name="T82" fmla="*/ 122 w 1421"/>
                  <a:gd name="T83" fmla="*/ 1119 h 1419"/>
                  <a:gd name="T84" fmla="*/ 110 w 1421"/>
                  <a:gd name="T85" fmla="*/ 1041 h 1419"/>
                  <a:gd name="T86" fmla="*/ 158 w 1421"/>
                  <a:gd name="T87" fmla="*/ 973 h 1419"/>
                  <a:gd name="T88" fmla="*/ 78 w 1421"/>
                  <a:gd name="T89" fmla="*/ 911 h 1419"/>
                  <a:gd name="T90" fmla="*/ 15 w 1421"/>
                  <a:gd name="T91" fmla="*/ 862 h 1419"/>
                  <a:gd name="T92" fmla="*/ 0 w 1421"/>
                  <a:gd name="T93" fmla="*/ 610 h 1419"/>
                  <a:gd name="T94" fmla="*/ 32 w 1421"/>
                  <a:gd name="T95" fmla="*/ 536 h 1419"/>
                  <a:gd name="T96" fmla="*/ 106 w 1421"/>
                  <a:gd name="T97" fmla="*/ 505 h 1419"/>
                  <a:gd name="T98" fmla="*/ 139 w 1421"/>
                  <a:gd name="T99" fmla="*/ 426 h 1419"/>
                  <a:gd name="T100" fmla="*/ 108 w 1421"/>
                  <a:gd name="T101" fmla="*/ 352 h 1419"/>
                  <a:gd name="T102" fmla="*/ 139 w 1421"/>
                  <a:gd name="T103" fmla="*/ 277 h 1419"/>
                  <a:gd name="T104" fmla="*/ 326 w 1421"/>
                  <a:gd name="T105" fmla="*/ 110 h 1419"/>
                  <a:gd name="T106" fmla="*/ 405 w 1421"/>
                  <a:gd name="T107" fmla="*/ 120 h 1419"/>
                  <a:gd name="T108" fmla="*/ 506 w 1421"/>
                  <a:gd name="T109" fmla="*/ 132 h 1419"/>
                  <a:gd name="T110" fmla="*/ 521 w 1421"/>
                  <a:gd name="T111" fmla="*/ 52 h 1419"/>
                  <a:gd name="T112" fmla="*/ 583 w 1421"/>
                  <a:gd name="T113" fmla="*/ 3 h 1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21" h="1419">
                    <a:moveTo>
                      <a:pt x="711" y="367"/>
                    </a:moveTo>
                    <a:lnTo>
                      <a:pt x="655" y="372"/>
                    </a:lnTo>
                    <a:lnTo>
                      <a:pt x="602" y="385"/>
                    </a:lnTo>
                    <a:lnTo>
                      <a:pt x="553" y="406"/>
                    </a:lnTo>
                    <a:lnTo>
                      <a:pt x="509" y="433"/>
                    </a:lnTo>
                    <a:lnTo>
                      <a:pt x="469" y="467"/>
                    </a:lnTo>
                    <a:lnTo>
                      <a:pt x="435" y="508"/>
                    </a:lnTo>
                    <a:lnTo>
                      <a:pt x="406" y="552"/>
                    </a:lnTo>
                    <a:lnTo>
                      <a:pt x="386" y="602"/>
                    </a:lnTo>
                    <a:lnTo>
                      <a:pt x="373" y="653"/>
                    </a:lnTo>
                    <a:lnTo>
                      <a:pt x="369" y="709"/>
                    </a:lnTo>
                    <a:lnTo>
                      <a:pt x="373" y="765"/>
                    </a:lnTo>
                    <a:lnTo>
                      <a:pt x="386" y="818"/>
                    </a:lnTo>
                    <a:lnTo>
                      <a:pt x="406" y="866"/>
                    </a:lnTo>
                    <a:lnTo>
                      <a:pt x="435" y="912"/>
                    </a:lnTo>
                    <a:lnTo>
                      <a:pt x="469" y="951"/>
                    </a:lnTo>
                    <a:lnTo>
                      <a:pt x="509" y="985"/>
                    </a:lnTo>
                    <a:lnTo>
                      <a:pt x="553" y="1013"/>
                    </a:lnTo>
                    <a:lnTo>
                      <a:pt x="602" y="1033"/>
                    </a:lnTo>
                    <a:lnTo>
                      <a:pt x="655" y="1046"/>
                    </a:lnTo>
                    <a:lnTo>
                      <a:pt x="711" y="1051"/>
                    </a:lnTo>
                    <a:lnTo>
                      <a:pt x="766" y="1046"/>
                    </a:lnTo>
                    <a:lnTo>
                      <a:pt x="819" y="1033"/>
                    </a:lnTo>
                    <a:lnTo>
                      <a:pt x="868" y="1013"/>
                    </a:lnTo>
                    <a:lnTo>
                      <a:pt x="912" y="985"/>
                    </a:lnTo>
                    <a:lnTo>
                      <a:pt x="952" y="951"/>
                    </a:lnTo>
                    <a:lnTo>
                      <a:pt x="986" y="912"/>
                    </a:lnTo>
                    <a:lnTo>
                      <a:pt x="1014" y="866"/>
                    </a:lnTo>
                    <a:lnTo>
                      <a:pt x="1035" y="818"/>
                    </a:lnTo>
                    <a:lnTo>
                      <a:pt x="1048" y="765"/>
                    </a:lnTo>
                    <a:lnTo>
                      <a:pt x="1052" y="709"/>
                    </a:lnTo>
                    <a:lnTo>
                      <a:pt x="1048" y="653"/>
                    </a:lnTo>
                    <a:lnTo>
                      <a:pt x="1035" y="602"/>
                    </a:lnTo>
                    <a:lnTo>
                      <a:pt x="1014" y="552"/>
                    </a:lnTo>
                    <a:lnTo>
                      <a:pt x="986" y="508"/>
                    </a:lnTo>
                    <a:lnTo>
                      <a:pt x="952" y="467"/>
                    </a:lnTo>
                    <a:lnTo>
                      <a:pt x="912" y="433"/>
                    </a:lnTo>
                    <a:lnTo>
                      <a:pt x="868" y="406"/>
                    </a:lnTo>
                    <a:lnTo>
                      <a:pt x="819" y="385"/>
                    </a:lnTo>
                    <a:lnTo>
                      <a:pt x="766" y="372"/>
                    </a:lnTo>
                    <a:lnTo>
                      <a:pt x="711" y="367"/>
                    </a:lnTo>
                    <a:close/>
                    <a:moveTo>
                      <a:pt x="611" y="0"/>
                    </a:moveTo>
                    <a:lnTo>
                      <a:pt x="811" y="0"/>
                    </a:lnTo>
                    <a:lnTo>
                      <a:pt x="838" y="3"/>
                    </a:lnTo>
                    <a:lnTo>
                      <a:pt x="864" y="14"/>
                    </a:lnTo>
                    <a:lnTo>
                      <a:pt x="884" y="30"/>
                    </a:lnTo>
                    <a:lnTo>
                      <a:pt x="901" y="52"/>
                    </a:lnTo>
                    <a:lnTo>
                      <a:pt x="911" y="76"/>
                    </a:lnTo>
                    <a:lnTo>
                      <a:pt x="915" y="104"/>
                    </a:lnTo>
                    <a:lnTo>
                      <a:pt x="915" y="132"/>
                    </a:lnTo>
                    <a:lnTo>
                      <a:pt x="975" y="156"/>
                    </a:lnTo>
                    <a:lnTo>
                      <a:pt x="994" y="137"/>
                    </a:lnTo>
                    <a:lnTo>
                      <a:pt x="1014" y="122"/>
                    </a:lnTo>
                    <a:lnTo>
                      <a:pt x="1032" y="113"/>
                    </a:lnTo>
                    <a:lnTo>
                      <a:pt x="1052" y="107"/>
                    </a:lnTo>
                    <a:lnTo>
                      <a:pt x="1069" y="107"/>
                    </a:lnTo>
                    <a:lnTo>
                      <a:pt x="1085" y="107"/>
                    </a:lnTo>
                    <a:lnTo>
                      <a:pt x="1095" y="110"/>
                    </a:lnTo>
                    <a:lnTo>
                      <a:pt x="1121" y="120"/>
                    </a:lnTo>
                    <a:lnTo>
                      <a:pt x="1142" y="137"/>
                    </a:lnTo>
                    <a:lnTo>
                      <a:pt x="1282" y="277"/>
                    </a:lnTo>
                    <a:lnTo>
                      <a:pt x="1299" y="300"/>
                    </a:lnTo>
                    <a:lnTo>
                      <a:pt x="1311" y="326"/>
                    </a:lnTo>
                    <a:lnTo>
                      <a:pt x="1314" y="352"/>
                    </a:lnTo>
                    <a:lnTo>
                      <a:pt x="1311" y="379"/>
                    </a:lnTo>
                    <a:lnTo>
                      <a:pt x="1299" y="403"/>
                    </a:lnTo>
                    <a:lnTo>
                      <a:pt x="1282" y="426"/>
                    </a:lnTo>
                    <a:lnTo>
                      <a:pt x="1264" y="445"/>
                    </a:lnTo>
                    <a:lnTo>
                      <a:pt x="1288" y="505"/>
                    </a:lnTo>
                    <a:lnTo>
                      <a:pt x="1315" y="505"/>
                    </a:lnTo>
                    <a:lnTo>
                      <a:pt x="1344" y="509"/>
                    </a:lnTo>
                    <a:lnTo>
                      <a:pt x="1368" y="519"/>
                    </a:lnTo>
                    <a:lnTo>
                      <a:pt x="1389" y="536"/>
                    </a:lnTo>
                    <a:lnTo>
                      <a:pt x="1407" y="558"/>
                    </a:lnTo>
                    <a:lnTo>
                      <a:pt x="1417" y="582"/>
                    </a:lnTo>
                    <a:lnTo>
                      <a:pt x="1421" y="610"/>
                    </a:lnTo>
                    <a:lnTo>
                      <a:pt x="1421" y="809"/>
                    </a:lnTo>
                    <a:lnTo>
                      <a:pt x="1417" y="836"/>
                    </a:lnTo>
                    <a:lnTo>
                      <a:pt x="1407" y="862"/>
                    </a:lnTo>
                    <a:lnTo>
                      <a:pt x="1389" y="883"/>
                    </a:lnTo>
                    <a:lnTo>
                      <a:pt x="1368" y="899"/>
                    </a:lnTo>
                    <a:lnTo>
                      <a:pt x="1344" y="911"/>
                    </a:lnTo>
                    <a:lnTo>
                      <a:pt x="1315" y="913"/>
                    </a:lnTo>
                    <a:lnTo>
                      <a:pt x="1288" y="913"/>
                    </a:lnTo>
                    <a:lnTo>
                      <a:pt x="1264" y="973"/>
                    </a:lnTo>
                    <a:lnTo>
                      <a:pt x="1282" y="993"/>
                    </a:lnTo>
                    <a:lnTo>
                      <a:pt x="1299" y="1015"/>
                    </a:lnTo>
                    <a:lnTo>
                      <a:pt x="1311" y="1041"/>
                    </a:lnTo>
                    <a:lnTo>
                      <a:pt x="1314" y="1066"/>
                    </a:lnTo>
                    <a:lnTo>
                      <a:pt x="1311" y="1093"/>
                    </a:lnTo>
                    <a:lnTo>
                      <a:pt x="1299" y="1119"/>
                    </a:lnTo>
                    <a:lnTo>
                      <a:pt x="1282" y="1141"/>
                    </a:lnTo>
                    <a:lnTo>
                      <a:pt x="1142" y="1282"/>
                    </a:lnTo>
                    <a:lnTo>
                      <a:pt x="1119" y="1299"/>
                    </a:lnTo>
                    <a:lnTo>
                      <a:pt x="1095" y="1309"/>
                    </a:lnTo>
                    <a:lnTo>
                      <a:pt x="1068" y="1312"/>
                    </a:lnTo>
                    <a:lnTo>
                      <a:pt x="1042" y="1309"/>
                    </a:lnTo>
                    <a:lnTo>
                      <a:pt x="1016" y="1299"/>
                    </a:lnTo>
                    <a:lnTo>
                      <a:pt x="994" y="1282"/>
                    </a:lnTo>
                    <a:lnTo>
                      <a:pt x="975" y="1262"/>
                    </a:lnTo>
                    <a:lnTo>
                      <a:pt x="915" y="1288"/>
                    </a:lnTo>
                    <a:lnTo>
                      <a:pt x="915" y="1315"/>
                    </a:lnTo>
                    <a:lnTo>
                      <a:pt x="911" y="1342"/>
                    </a:lnTo>
                    <a:lnTo>
                      <a:pt x="901" y="1368"/>
                    </a:lnTo>
                    <a:lnTo>
                      <a:pt x="884" y="1388"/>
                    </a:lnTo>
                    <a:lnTo>
                      <a:pt x="864" y="1405"/>
                    </a:lnTo>
                    <a:lnTo>
                      <a:pt x="838" y="1415"/>
                    </a:lnTo>
                    <a:lnTo>
                      <a:pt x="811" y="1419"/>
                    </a:lnTo>
                    <a:lnTo>
                      <a:pt x="611" y="1419"/>
                    </a:lnTo>
                    <a:lnTo>
                      <a:pt x="583" y="1415"/>
                    </a:lnTo>
                    <a:lnTo>
                      <a:pt x="558" y="1405"/>
                    </a:lnTo>
                    <a:lnTo>
                      <a:pt x="538" y="1388"/>
                    </a:lnTo>
                    <a:lnTo>
                      <a:pt x="521" y="1368"/>
                    </a:lnTo>
                    <a:lnTo>
                      <a:pt x="511" y="1342"/>
                    </a:lnTo>
                    <a:lnTo>
                      <a:pt x="506" y="1315"/>
                    </a:lnTo>
                    <a:lnTo>
                      <a:pt x="506" y="1288"/>
                    </a:lnTo>
                    <a:lnTo>
                      <a:pt x="446" y="1262"/>
                    </a:lnTo>
                    <a:lnTo>
                      <a:pt x="428" y="1282"/>
                    </a:lnTo>
                    <a:lnTo>
                      <a:pt x="405" y="1299"/>
                    </a:lnTo>
                    <a:lnTo>
                      <a:pt x="379" y="1309"/>
                    </a:lnTo>
                    <a:lnTo>
                      <a:pt x="353" y="1312"/>
                    </a:lnTo>
                    <a:lnTo>
                      <a:pt x="326" y="1309"/>
                    </a:lnTo>
                    <a:lnTo>
                      <a:pt x="302" y="1299"/>
                    </a:lnTo>
                    <a:lnTo>
                      <a:pt x="279" y="1282"/>
                    </a:lnTo>
                    <a:lnTo>
                      <a:pt x="139" y="1141"/>
                    </a:lnTo>
                    <a:lnTo>
                      <a:pt x="122" y="1119"/>
                    </a:lnTo>
                    <a:lnTo>
                      <a:pt x="110" y="1093"/>
                    </a:lnTo>
                    <a:lnTo>
                      <a:pt x="108" y="1066"/>
                    </a:lnTo>
                    <a:lnTo>
                      <a:pt x="110" y="1041"/>
                    </a:lnTo>
                    <a:lnTo>
                      <a:pt x="122" y="1015"/>
                    </a:lnTo>
                    <a:lnTo>
                      <a:pt x="139" y="993"/>
                    </a:lnTo>
                    <a:lnTo>
                      <a:pt x="158" y="973"/>
                    </a:lnTo>
                    <a:lnTo>
                      <a:pt x="133" y="913"/>
                    </a:lnTo>
                    <a:lnTo>
                      <a:pt x="106" y="913"/>
                    </a:lnTo>
                    <a:lnTo>
                      <a:pt x="78" y="911"/>
                    </a:lnTo>
                    <a:lnTo>
                      <a:pt x="53" y="899"/>
                    </a:lnTo>
                    <a:lnTo>
                      <a:pt x="32" y="883"/>
                    </a:lnTo>
                    <a:lnTo>
                      <a:pt x="15" y="862"/>
                    </a:lnTo>
                    <a:lnTo>
                      <a:pt x="5" y="836"/>
                    </a:lnTo>
                    <a:lnTo>
                      <a:pt x="0" y="809"/>
                    </a:lnTo>
                    <a:lnTo>
                      <a:pt x="0" y="610"/>
                    </a:lnTo>
                    <a:lnTo>
                      <a:pt x="5" y="582"/>
                    </a:lnTo>
                    <a:lnTo>
                      <a:pt x="15" y="558"/>
                    </a:lnTo>
                    <a:lnTo>
                      <a:pt x="32" y="536"/>
                    </a:lnTo>
                    <a:lnTo>
                      <a:pt x="53" y="519"/>
                    </a:lnTo>
                    <a:lnTo>
                      <a:pt x="78" y="509"/>
                    </a:lnTo>
                    <a:lnTo>
                      <a:pt x="106" y="505"/>
                    </a:lnTo>
                    <a:lnTo>
                      <a:pt x="133" y="505"/>
                    </a:lnTo>
                    <a:lnTo>
                      <a:pt x="158" y="445"/>
                    </a:lnTo>
                    <a:lnTo>
                      <a:pt x="139" y="426"/>
                    </a:lnTo>
                    <a:lnTo>
                      <a:pt x="122" y="403"/>
                    </a:lnTo>
                    <a:lnTo>
                      <a:pt x="110" y="379"/>
                    </a:lnTo>
                    <a:lnTo>
                      <a:pt x="108" y="352"/>
                    </a:lnTo>
                    <a:lnTo>
                      <a:pt x="110" y="326"/>
                    </a:lnTo>
                    <a:lnTo>
                      <a:pt x="122" y="300"/>
                    </a:lnTo>
                    <a:lnTo>
                      <a:pt x="139" y="277"/>
                    </a:lnTo>
                    <a:lnTo>
                      <a:pt x="279" y="137"/>
                    </a:lnTo>
                    <a:lnTo>
                      <a:pt x="302" y="120"/>
                    </a:lnTo>
                    <a:lnTo>
                      <a:pt x="326" y="110"/>
                    </a:lnTo>
                    <a:lnTo>
                      <a:pt x="353" y="106"/>
                    </a:lnTo>
                    <a:lnTo>
                      <a:pt x="379" y="110"/>
                    </a:lnTo>
                    <a:lnTo>
                      <a:pt x="405" y="120"/>
                    </a:lnTo>
                    <a:lnTo>
                      <a:pt x="428" y="137"/>
                    </a:lnTo>
                    <a:lnTo>
                      <a:pt x="446" y="156"/>
                    </a:lnTo>
                    <a:lnTo>
                      <a:pt x="506" y="132"/>
                    </a:lnTo>
                    <a:lnTo>
                      <a:pt x="506" y="104"/>
                    </a:lnTo>
                    <a:lnTo>
                      <a:pt x="511" y="76"/>
                    </a:lnTo>
                    <a:lnTo>
                      <a:pt x="521" y="52"/>
                    </a:lnTo>
                    <a:lnTo>
                      <a:pt x="538" y="30"/>
                    </a:lnTo>
                    <a:lnTo>
                      <a:pt x="558" y="14"/>
                    </a:lnTo>
                    <a:lnTo>
                      <a:pt x="583" y="3"/>
                    </a:lnTo>
                    <a:lnTo>
                      <a:pt x="6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65" name="Freeform 162"/>
              <p:cNvSpPr>
                <a:spLocks noEditPoints="1"/>
              </p:cNvSpPr>
              <p:nvPr/>
            </p:nvSpPr>
            <p:spPr bwMode="auto">
              <a:xfrm>
                <a:off x="5571" y="2763"/>
                <a:ext cx="598" cy="598"/>
              </a:xfrm>
              <a:custGeom>
                <a:avLst/>
                <a:gdLst>
                  <a:gd name="T0" fmla="*/ 506 w 1194"/>
                  <a:gd name="T1" fmla="*/ 324 h 1196"/>
                  <a:gd name="T2" fmla="*/ 393 w 1194"/>
                  <a:gd name="T3" fmla="*/ 394 h 1196"/>
                  <a:gd name="T4" fmla="*/ 324 w 1194"/>
                  <a:gd name="T5" fmla="*/ 507 h 1196"/>
                  <a:gd name="T6" fmla="*/ 313 w 1194"/>
                  <a:gd name="T7" fmla="*/ 644 h 1196"/>
                  <a:gd name="T8" fmla="*/ 364 w 1194"/>
                  <a:gd name="T9" fmla="*/ 767 h 1196"/>
                  <a:gd name="T10" fmla="*/ 464 w 1194"/>
                  <a:gd name="T11" fmla="*/ 853 h 1196"/>
                  <a:gd name="T12" fmla="*/ 597 w 1194"/>
                  <a:gd name="T13" fmla="*/ 886 h 1196"/>
                  <a:gd name="T14" fmla="*/ 729 w 1194"/>
                  <a:gd name="T15" fmla="*/ 853 h 1196"/>
                  <a:gd name="T16" fmla="*/ 829 w 1194"/>
                  <a:gd name="T17" fmla="*/ 767 h 1196"/>
                  <a:gd name="T18" fmla="*/ 881 w 1194"/>
                  <a:gd name="T19" fmla="*/ 644 h 1196"/>
                  <a:gd name="T20" fmla="*/ 870 w 1194"/>
                  <a:gd name="T21" fmla="*/ 507 h 1196"/>
                  <a:gd name="T22" fmla="*/ 800 w 1194"/>
                  <a:gd name="T23" fmla="*/ 394 h 1196"/>
                  <a:gd name="T24" fmla="*/ 689 w 1194"/>
                  <a:gd name="T25" fmla="*/ 324 h 1196"/>
                  <a:gd name="T26" fmla="*/ 513 w 1194"/>
                  <a:gd name="T27" fmla="*/ 0 h 1196"/>
                  <a:gd name="T28" fmla="*/ 726 w 1194"/>
                  <a:gd name="T29" fmla="*/ 11 h 1196"/>
                  <a:gd name="T30" fmla="*/ 766 w 1194"/>
                  <a:gd name="T31" fmla="*/ 64 h 1196"/>
                  <a:gd name="T32" fmla="*/ 820 w 1194"/>
                  <a:gd name="T33" fmla="*/ 131 h 1196"/>
                  <a:gd name="T34" fmla="*/ 876 w 1194"/>
                  <a:gd name="T35" fmla="*/ 93 h 1196"/>
                  <a:gd name="T36" fmla="*/ 941 w 1194"/>
                  <a:gd name="T37" fmla="*/ 101 h 1196"/>
                  <a:gd name="T38" fmla="*/ 1093 w 1194"/>
                  <a:gd name="T39" fmla="*/ 253 h 1196"/>
                  <a:gd name="T40" fmla="*/ 1102 w 1194"/>
                  <a:gd name="T41" fmla="*/ 319 h 1196"/>
                  <a:gd name="T42" fmla="*/ 1063 w 1194"/>
                  <a:gd name="T43" fmla="*/ 376 h 1196"/>
                  <a:gd name="T44" fmla="*/ 1130 w 1194"/>
                  <a:gd name="T45" fmla="*/ 429 h 1196"/>
                  <a:gd name="T46" fmla="*/ 1183 w 1194"/>
                  <a:gd name="T47" fmla="*/ 469 h 1196"/>
                  <a:gd name="T48" fmla="*/ 1194 w 1194"/>
                  <a:gd name="T49" fmla="*/ 682 h 1196"/>
                  <a:gd name="T50" fmla="*/ 1169 w 1194"/>
                  <a:gd name="T51" fmla="*/ 743 h 1196"/>
                  <a:gd name="T52" fmla="*/ 1106 w 1194"/>
                  <a:gd name="T53" fmla="*/ 770 h 1196"/>
                  <a:gd name="T54" fmla="*/ 1079 w 1194"/>
                  <a:gd name="T55" fmla="*/ 836 h 1196"/>
                  <a:gd name="T56" fmla="*/ 1104 w 1194"/>
                  <a:gd name="T57" fmla="*/ 899 h 1196"/>
                  <a:gd name="T58" fmla="*/ 1079 w 1194"/>
                  <a:gd name="T59" fmla="*/ 962 h 1196"/>
                  <a:gd name="T60" fmla="*/ 920 w 1194"/>
                  <a:gd name="T61" fmla="*/ 1103 h 1196"/>
                  <a:gd name="T62" fmla="*/ 854 w 1194"/>
                  <a:gd name="T63" fmla="*/ 1095 h 1196"/>
                  <a:gd name="T64" fmla="*/ 769 w 1194"/>
                  <a:gd name="T65" fmla="*/ 1085 h 1196"/>
                  <a:gd name="T66" fmla="*/ 757 w 1194"/>
                  <a:gd name="T67" fmla="*/ 1152 h 1196"/>
                  <a:gd name="T68" fmla="*/ 704 w 1194"/>
                  <a:gd name="T69" fmla="*/ 1192 h 1196"/>
                  <a:gd name="T70" fmla="*/ 490 w 1194"/>
                  <a:gd name="T71" fmla="*/ 1192 h 1196"/>
                  <a:gd name="T72" fmla="*/ 437 w 1194"/>
                  <a:gd name="T73" fmla="*/ 1152 h 1196"/>
                  <a:gd name="T74" fmla="*/ 426 w 1194"/>
                  <a:gd name="T75" fmla="*/ 1085 h 1196"/>
                  <a:gd name="T76" fmla="*/ 340 w 1194"/>
                  <a:gd name="T77" fmla="*/ 1095 h 1196"/>
                  <a:gd name="T78" fmla="*/ 274 w 1194"/>
                  <a:gd name="T79" fmla="*/ 1103 h 1196"/>
                  <a:gd name="T80" fmla="*/ 115 w 1194"/>
                  <a:gd name="T81" fmla="*/ 962 h 1196"/>
                  <a:gd name="T82" fmla="*/ 90 w 1194"/>
                  <a:gd name="T83" fmla="*/ 899 h 1196"/>
                  <a:gd name="T84" fmla="*/ 115 w 1194"/>
                  <a:gd name="T85" fmla="*/ 836 h 1196"/>
                  <a:gd name="T86" fmla="*/ 87 w 1194"/>
                  <a:gd name="T87" fmla="*/ 770 h 1196"/>
                  <a:gd name="T88" fmla="*/ 25 w 1194"/>
                  <a:gd name="T89" fmla="*/ 743 h 1196"/>
                  <a:gd name="T90" fmla="*/ 0 w 1194"/>
                  <a:gd name="T91" fmla="*/ 682 h 1196"/>
                  <a:gd name="T92" fmla="*/ 11 w 1194"/>
                  <a:gd name="T93" fmla="*/ 469 h 1196"/>
                  <a:gd name="T94" fmla="*/ 64 w 1194"/>
                  <a:gd name="T95" fmla="*/ 429 h 1196"/>
                  <a:gd name="T96" fmla="*/ 131 w 1194"/>
                  <a:gd name="T97" fmla="*/ 376 h 1196"/>
                  <a:gd name="T98" fmla="*/ 93 w 1194"/>
                  <a:gd name="T99" fmla="*/ 319 h 1196"/>
                  <a:gd name="T100" fmla="*/ 101 w 1194"/>
                  <a:gd name="T101" fmla="*/ 253 h 1196"/>
                  <a:gd name="T102" fmla="*/ 253 w 1194"/>
                  <a:gd name="T103" fmla="*/ 101 h 1196"/>
                  <a:gd name="T104" fmla="*/ 318 w 1194"/>
                  <a:gd name="T105" fmla="*/ 93 h 1196"/>
                  <a:gd name="T106" fmla="*/ 374 w 1194"/>
                  <a:gd name="T107" fmla="*/ 131 h 1196"/>
                  <a:gd name="T108" fmla="*/ 428 w 1194"/>
                  <a:gd name="T109" fmla="*/ 64 h 1196"/>
                  <a:gd name="T110" fmla="*/ 468 w 1194"/>
                  <a:gd name="T111" fmla="*/ 11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94" h="1196">
                    <a:moveTo>
                      <a:pt x="597" y="310"/>
                    </a:moveTo>
                    <a:lnTo>
                      <a:pt x="550" y="313"/>
                    </a:lnTo>
                    <a:lnTo>
                      <a:pt x="506" y="324"/>
                    </a:lnTo>
                    <a:lnTo>
                      <a:pt x="464" y="341"/>
                    </a:lnTo>
                    <a:lnTo>
                      <a:pt x="427" y="366"/>
                    </a:lnTo>
                    <a:lnTo>
                      <a:pt x="393" y="394"/>
                    </a:lnTo>
                    <a:lnTo>
                      <a:pt x="364" y="427"/>
                    </a:lnTo>
                    <a:lnTo>
                      <a:pt x="341" y="466"/>
                    </a:lnTo>
                    <a:lnTo>
                      <a:pt x="324" y="507"/>
                    </a:lnTo>
                    <a:lnTo>
                      <a:pt x="313" y="552"/>
                    </a:lnTo>
                    <a:lnTo>
                      <a:pt x="308" y="597"/>
                    </a:lnTo>
                    <a:lnTo>
                      <a:pt x="313" y="644"/>
                    </a:lnTo>
                    <a:lnTo>
                      <a:pt x="324" y="689"/>
                    </a:lnTo>
                    <a:lnTo>
                      <a:pt x="341" y="730"/>
                    </a:lnTo>
                    <a:lnTo>
                      <a:pt x="364" y="767"/>
                    </a:lnTo>
                    <a:lnTo>
                      <a:pt x="393" y="802"/>
                    </a:lnTo>
                    <a:lnTo>
                      <a:pt x="427" y="830"/>
                    </a:lnTo>
                    <a:lnTo>
                      <a:pt x="464" y="853"/>
                    </a:lnTo>
                    <a:lnTo>
                      <a:pt x="506" y="870"/>
                    </a:lnTo>
                    <a:lnTo>
                      <a:pt x="550" y="882"/>
                    </a:lnTo>
                    <a:lnTo>
                      <a:pt x="597" y="886"/>
                    </a:lnTo>
                    <a:lnTo>
                      <a:pt x="644" y="882"/>
                    </a:lnTo>
                    <a:lnTo>
                      <a:pt x="689" y="870"/>
                    </a:lnTo>
                    <a:lnTo>
                      <a:pt x="729" y="853"/>
                    </a:lnTo>
                    <a:lnTo>
                      <a:pt x="767" y="830"/>
                    </a:lnTo>
                    <a:lnTo>
                      <a:pt x="800" y="802"/>
                    </a:lnTo>
                    <a:lnTo>
                      <a:pt x="829" y="767"/>
                    </a:lnTo>
                    <a:lnTo>
                      <a:pt x="853" y="730"/>
                    </a:lnTo>
                    <a:lnTo>
                      <a:pt x="870" y="689"/>
                    </a:lnTo>
                    <a:lnTo>
                      <a:pt x="881" y="644"/>
                    </a:lnTo>
                    <a:lnTo>
                      <a:pt x="884" y="597"/>
                    </a:lnTo>
                    <a:lnTo>
                      <a:pt x="881" y="552"/>
                    </a:lnTo>
                    <a:lnTo>
                      <a:pt x="870" y="507"/>
                    </a:lnTo>
                    <a:lnTo>
                      <a:pt x="853" y="466"/>
                    </a:lnTo>
                    <a:lnTo>
                      <a:pt x="829" y="427"/>
                    </a:lnTo>
                    <a:lnTo>
                      <a:pt x="800" y="394"/>
                    </a:lnTo>
                    <a:lnTo>
                      <a:pt x="767" y="366"/>
                    </a:lnTo>
                    <a:lnTo>
                      <a:pt x="729" y="341"/>
                    </a:lnTo>
                    <a:lnTo>
                      <a:pt x="689" y="324"/>
                    </a:lnTo>
                    <a:lnTo>
                      <a:pt x="644" y="313"/>
                    </a:lnTo>
                    <a:lnTo>
                      <a:pt x="597" y="310"/>
                    </a:lnTo>
                    <a:close/>
                    <a:moveTo>
                      <a:pt x="513" y="0"/>
                    </a:moveTo>
                    <a:lnTo>
                      <a:pt x="681" y="0"/>
                    </a:lnTo>
                    <a:lnTo>
                      <a:pt x="704" y="3"/>
                    </a:lnTo>
                    <a:lnTo>
                      <a:pt x="726" y="11"/>
                    </a:lnTo>
                    <a:lnTo>
                      <a:pt x="743" y="26"/>
                    </a:lnTo>
                    <a:lnTo>
                      <a:pt x="757" y="43"/>
                    </a:lnTo>
                    <a:lnTo>
                      <a:pt x="766" y="64"/>
                    </a:lnTo>
                    <a:lnTo>
                      <a:pt x="769" y="88"/>
                    </a:lnTo>
                    <a:lnTo>
                      <a:pt x="769" y="111"/>
                    </a:lnTo>
                    <a:lnTo>
                      <a:pt x="820" y="131"/>
                    </a:lnTo>
                    <a:lnTo>
                      <a:pt x="836" y="116"/>
                    </a:lnTo>
                    <a:lnTo>
                      <a:pt x="854" y="101"/>
                    </a:lnTo>
                    <a:lnTo>
                      <a:pt x="876" y="93"/>
                    </a:lnTo>
                    <a:lnTo>
                      <a:pt x="899" y="90"/>
                    </a:lnTo>
                    <a:lnTo>
                      <a:pt x="920" y="93"/>
                    </a:lnTo>
                    <a:lnTo>
                      <a:pt x="941" y="101"/>
                    </a:lnTo>
                    <a:lnTo>
                      <a:pt x="960" y="116"/>
                    </a:lnTo>
                    <a:lnTo>
                      <a:pt x="1079" y="234"/>
                    </a:lnTo>
                    <a:lnTo>
                      <a:pt x="1093" y="253"/>
                    </a:lnTo>
                    <a:lnTo>
                      <a:pt x="1102" y="274"/>
                    </a:lnTo>
                    <a:lnTo>
                      <a:pt x="1104" y="297"/>
                    </a:lnTo>
                    <a:lnTo>
                      <a:pt x="1102" y="319"/>
                    </a:lnTo>
                    <a:lnTo>
                      <a:pt x="1093" y="340"/>
                    </a:lnTo>
                    <a:lnTo>
                      <a:pt x="1079" y="359"/>
                    </a:lnTo>
                    <a:lnTo>
                      <a:pt x="1063" y="376"/>
                    </a:lnTo>
                    <a:lnTo>
                      <a:pt x="1083" y="426"/>
                    </a:lnTo>
                    <a:lnTo>
                      <a:pt x="1106" y="426"/>
                    </a:lnTo>
                    <a:lnTo>
                      <a:pt x="1130" y="429"/>
                    </a:lnTo>
                    <a:lnTo>
                      <a:pt x="1152" y="437"/>
                    </a:lnTo>
                    <a:lnTo>
                      <a:pt x="1169" y="451"/>
                    </a:lnTo>
                    <a:lnTo>
                      <a:pt x="1183" y="469"/>
                    </a:lnTo>
                    <a:lnTo>
                      <a:pt x="1192" y="490"/>
                    </a:lnTo>
                    <a:lnTo>
                      <a:pt x="1194" y="514"/>
                    </a:lnTo>
                    <a:lnTo>
                      <a:pt x="1194" y="682"/>
                    </a:lnTo>
                    <a:lnTo>
                      <a:pt x="1192" y="704"/>
                    </a:lnTo>
                    <a:lnTo>
                      <a:pt x="1183" y="726"/>
                    </a:lnTo>
                    <a:lnTo>
                      <a:pt x="1169" y="743"/>
                    </a:lnTo>
                    <a:lnTo>
                      <a:pt x="1152" y="757"/>
                    </a:lnTo>
                    <a:lnTo>
                      <a:pt x="1130" y="766"/>
                    </a:lnTo>
                    <a:lnTo>
                      <a:pt x="1106" y="770"/>
                    </a:lnTo>
                    <a:lnTo>
                      <a:pt x="1083" y="770"/>
                    </a:lnTo>
                    <a:lnTo>
                      <a:pt x="1063" y="820"/>
                    </a:lnTo>
                    <a:lnTo>
                      <a:pt x="1079" y="836"/>
                    </a:lnTo>
                    <a:lnTo>
                      <a:pt x="1093" y="854"/>
                    </a:lnTo>
                    <a:lnTo>
                      <a:pt x="1102" y="876"/>
                    </a:lnTo>
                    <a:lnTo>
                      <a:pt x="1104" y="899"/>
                    </a:lnTo>
                    <a:lnTo>
                      <a:pt x="1102" y="922"/>
                    </a:lnTo>
                    <a:lnTo>
                      <a:pt x="1093" y="942"/>
                    </a:lnTo>
                    <a:lnTo>
                      <a:pt x="1079" y="962"/>
                    </a:lnTo>
                    <a:lnTo>
                      <a:pt x="960" y="1079"/>
                    </a:lnTo>
                    <a:lnTo>
                      <a:pt x="941" y="1095"/>
                    </a:lnTo>
                    <a:lnTo>
                      <a:pt x="920" y="1103"/>
                    </a:lnTo>
                    <a:lnTo>
                      <a:pt x="899" y="1106"/>
                    </a:lnTo>
                    <a:lnTo>
                      <a:pt x="876" y="1103"/>
                    </a:lnTo>
                    <a:lnTo>
                      <a:pt x="854" y="1095"/>
                    </a:lnTo>
                    <a:lnTo>
                      <a:pt x="836" y="1079"/>
                    </a:lnTo>
                    <a:lnTo>
                      <a:pt x="820" y="1063"/>
                    </a:lnTo>
                    <a:lnTo>
                      <a:pt x="769" y="1085"/>
                    </a:lnTo>
                    <a:lnTo>
                      <a:pt x="769" y="1107"/>
                    </a:lnTo>
                    <a:lnTo>
                      <a:pt x="766" y="1130"/>
                    </a:lnTo>
                    <a:lnTo>
                      <a:pt x="757" y="1152"/>
                    </a:lnTo>
                    <a:lnTo>
                      <a:pt x="743" y="1169"/>
                    </a:lnTo>
                    <a:lnTo>
                      <a:pt x="726" y="1183"/>
                    </a:lnTo>
                    <a:lnTo>
                      <a:pt x="704" y="1192"/>
                    </a:lnTo>
                    <a:lnTo>
                      <a:pt x="681" y="1196"/>
                    </a:lnTo>
                    <a:lnTo>
                      <a:pt x="513" y="1196"/>
                    </a:lnTo>
                    <a:lnTo>
                      <a:pt x="490" y="1192"/>
                    </a:lnTo>
                    <a:lnTo>
                      <a:pt x="468" y="1183"/>
                    </a:lnTo>
                    <a:lnTo>
                      <a:pt x="451" y="1169"/>
                    </a:lnTo>
                    <a:lnTo>
                      <a:pt x="437" y="1152"/>
                    </a:lnTo>
                    <a:lnTo>
                      <a:pt x="428" y="1130"/>
                    </a:lnTo>
                    <a:lnTo>
                      <a:pt x="426" y="1107"/>
                    </a:lnTo>
                    <a:lnTo>
                      <a:pt x="426" y="1085"/>
                    </a:lnTo>
                    <a:lnTo>
                      <a:pt x="374" y="1063"/>
                    </a:lnTo>
                    <a:lnTo>
                      <a:pt x="358" y="1079"/>
                    </a:lnTo>
                    <a:lnTo>
                      <a:pt x="340" y="1095"/>
                    </a:lnTo>
                    <a:lnTo>
                      <a:pt x="318" y="1103"/>
                    </a:lnTo>
                    <a:lnTo>
                      <a:pt x="296" y="1106"/>
                    </a:lnTo>
                    <a:lnTo>
                      <a:pt x="274" y="1103"/>
                    </a:lnTo>
                    <a:lnTo>
                      <a:pt x="253" y="1095"/>
                    </a:lnTo>
                    <a:lnTo>
                      <a:pt x="234" y="1079"/>
                    </a:lnTo>
                    <a:lnTo>
                      <a:pt x="115" y="962"/>
                    </a:lnTo>
                    <a:lnTo>
                      <a:pt x="101" y="942"/>
                    </a:lnTo>
                    <a:lnTo>
                      <a:pt x="93" y="922"/>
                    </a:lnTo>
                    <a:lnTo>
                      <a:pt x="90" y="899"/>
                    </a:lnTo>
                    <a:lnTo>
                      <a:pt x="93" y="876"/>
                    </a:lnTo>
                    <a:lnTo>
                      <a:pt x="101" y="854"/>
                    </a:lnTo>
                    <a:lnTo>
                      <a:pt x="115" y="836"/>
                    </a:lnTo>
                    <a:lnTo>
                      <a:pt x="131" y="820"/>
                    </a:lnTo>
                    <a:lnTo>
                      <a:pt x="110" y="770"/>
                    </a:lnTo>
                    <a:lnTo>
                      <a:pt x="87" y="770"/>
                    </a:lnTo>
                    <a:lnTo>
                      <a:pt x="64" y="766"/>
                    </a:lnTo>
                    <a:lnTo>
                      <a:pt x="43" y="757"/>
                    </a:lnTo>
                    <a:lnTo>
                      <a:pt x="25" y="743"/>
                    </a:lnTo>
                    <a:lnTo>
                      <a:pt x="11" y="726"/>
                    </a:lnTo>
                    <a:lnTo>
                      <a:pt x="3" y="704"/>
                    </a:lnTo>
                    <a:lnTo>
                      <a:pt x="0" y="682"/>
                    </a:lnTo>
                    <a:lnTo>
                      <a:pt x="0" y="514"/>
                    </a:lnTo>
                    <a:lnTo>
                      <a:pt x="3" y="490"/>
                    </a:lnTo>
                    <a:lnTo>
                      <a:pt x="11" y="469"/>
                    </a:lnTo>
                    <a:lnTo>
                      <a:pt x="25" y="451"/>
                    </a:lnTo>
                    <a:lnTo>
                      <a:pt x="43" y="437"/>
                    </a:lnTo>
                    <a:lnTo>
                      <a:pt x="64" y="429"/>
                    </a:lnTo>
                    <a:lnTo>
                      <a:pt x="87" y="426"/>
                    </a:lnTo>
                    <a:lnTo>
                      <a:pt x="110" y="426"/>
                    </a:lnTo>
                    <a:lnTo>
                      <a:pt x="131" y="376"/>
                    </a:lnTo>
                    <a:lnTo>
                      <a:pt x="115" y="359"/>
                    </a:lnTo>
                    <a:lnTo>
                      <a:pt x="101" y="340"/>
                    </a:lnTo>
                    <a:lnTo>
                      <a:pt x="93" y="319"/>
                    </a:lnTo>
                    <a:lnTo>
                      <a:pt x="90" y="297"/>
                    </a:lnTo>
                    <a:lnTo>
                      <a:pt x="93" y="274"/>
                    </a:lnTo>
                    <a:lnTo>
                      <a:pt x="101" y="253"/>
                    </a:lnTo>
                    <a:lnTo>
                      <a:pt x="115" y="234"/>
                    </a:lnTo>
                    <a:lnTo>
                      <a:pt x="234" y="116"/>
                    </a:lnTo>
                    <a:lnTo>
                      <a:pt x="253" y="101"/>
                    </a:lnTo>
                    <a:lnTo>
                      <a:pt x="274" y="93"/>
                    </a:lnTo>
                    <a:lnTo>
                      <a:pt x="296" y="90"/>
                    </a:lnTo>
                    <a:lnTo>
                      <a:pt x="318" y="93"/>
                    </a:lnTo>
                    <a:lnTo>
                      <a:pt x="340" y="101"/>
                    </a:lnTo>
                    <a:lnTo>
                      <a:pt x="358" y="116"/>
                    </a:lnTo>
                    <a:lnTo>
                      <a:pt x="374" y="131"/>
                    </a:lnTo>
                    <a:lnTo>
                      <a:pt x="426" y="111"/>
                    </a:lnTo>
                    <a:lnTo>
                      <a:pt x="426" y="88"/>
                    </a:lnTo>
                    <a:lnTo>
                      <a:pt x="428" y="64"/>
                    </a:lnTo>
                    <a:lnTo>
                      <a:pt x="437" y="43"/>
                    </a:lnTo>
                    <a:lnTo>
                      <a:pt x="451" y="26"/>
                    </a:lnTo>
                    <a:lnTo>
                      <a:pt x="468" y="11"/>
                    </a:lnTo>
                    <a:lnTo>
                      <a:pt x="490" y="3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66" name="Group 165"/>
          <p:cNvGrpSpPr/>
          <p:nvPr/>
        </p:nvGrpSpPr>
        <p:grpSpPr>
          <a:xfrm>
            <a:off x="147993" y="6027959"/>
            <a:ext cx="727877" cy="515892"/>
            <a:chOff x="1249818" y="5235335"/>
            <a:chExt cx="727877" cy="515892"/>
          </a:xfrm>
        </p:grpSpPr>
        <p:sp>
          <p:nvSpPr>
            <p:cNvPr id="167" name="Freeform 4831"/>
            <p:cNvSpPr>
              <a:spLocks noEditPoints="1"/>
            </p:cNvSpPr>
            <p:nvPr/>
          </p:nvSpPr>
          <p:spPr bwMode="auto">
            <a:xfrm>
              <a:off x="1470864" y="5235335"/>
              <a:ext cx="273263" cy="147454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8" name="Rectangle 17"/>
            <p:cNvSpPr>
              <a:spLocks/>
            </p:cNvSpPr>
            <p:nvPr/>
          </p:nvSpPr>
          <p:spPr bwMode="auto">
            <a:xfrm>
              <a:off x="1249818" y="5474228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Бизнес-партнеры</a:t>
              </a:r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147993" y="5391512"/>
            <a:ext cx="727877" cy="472072"/>
            <a:chOff x="163212" y="5096992"/>
            <a:chExt cx="727877" cy="472072"/>
          </a:xfrm>
        </p:grpSpPr>
        <p:sp>
          <p:nvSpPr>
            <p:cNvPr id="170" name="Rectangle 17"/>
            <p:cNvSpPr>
              <a:spLocks/>
            </p:cNvSpPr>
            <p:nvPr/>
          </p:nvSpPr>
          <p:spPr bwMode="auto">
            <a:xfrm>
              <a:off x="163212" y="5292065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Рыночные данные</a:t>
              </a:r>
            </a:p>
          </p:txBody>
        </p:sp>
        <p:grpSp>
          <p:nvGrpSpPr>
            <p:cNvPr id="171" name="Group 165"/>
            <p:cNvGrpSpPr>
              <a:grpSpLocks noChangeAspect="1"/>
            </p:cNvGrpSpPr>
            <p:nvPr/>
          </p:nvGrpSpPr>
          <p:grpSpPr bwMode="auto">
            <a:xfrm>
              <a:off x="377865" y="5096992"/>
              <a:ext cx="253587" cy="198314"/>
              <a:chOff x="-1919" y="3510"/>
              <a:chExt cx="679" cy="531"/>
            </a:xfrm>
            <a:solidFill>
              <a:schemeClr val="bg1"/>
            </a:solidFill>
          </p:grpSpPr>
          <p:sp>
            <p:nvSpPr>
              <p:cNvPr id="172" name="Freeform 167"/>
              <p:cNvSpPr>
                <a:spLocks/>
              </p:cNvSpPr>
              <p:nvPr/>
            </p:nvSpPr>
            <p:spPr bwMode="auto">
              <a:xfrm>
                <a:off x="-1803" y="3980"/>
                <a:ext cx="447" cy="61"/>
              </a:xfrm>
              <a:custGeom>
                <a:avLst/>
                <a:gdLst>
                  <a:gd name="T0" fmla="*/ 154 w 2237"/>
                  <a:gd name="T1" fmla="*/ 0 h 304"/>
                  <a:gd name="T2" fmla="*/ 2082 w 2237"/>
                  <a:gd name="T3" fmla="*/ 0 h 304"/>
                  <a:gd name="T4" fmla="*/ 2113 w 2237"/>
                  <a:gd name="T5" fmla="*/ 3 h 304"/>
                  <a:gd name="T6" fmla="*/ 2142 w 2237"/>
                  <a:gd name="T7" fmla="*/ 12 h 304"/>
                  <a:gd name="T8" fmla="*/ 2168 w 2237"/>
                  <a:gd name="T9" fmla="*/ 27 h 304"/>
                  <a:gd name="T10" fmla="*/ 2191 w 2237"/>
                  <a:gd name="T11" fmla="*/ 45 h 304"/>
                  <a:gd name="T12" fmla="*/ 2210 w 2237"/>
                  <a:gd name="T13" fmla="*/ 68 h 304"/>
                  <a:gd name="T14" fmla="*/ 2224 w 2237"/>
                  <a:gd name="T15" fmla="*/ 93 h 304"/>
                  <a:gd name="T16" fmla="*/ 2234 w 2237"/>
                  <a:gd name="T17" fmla="*/ 122 h 304"/>
                  <a:gd name="T18" fmla="*/ 2237 w 2237"/>
                  <a:gd name="T19" fmla="*/ 153 h 304"/>
                  <a:gd name="T20" fmla="*/ 2234 w 2237"/>
                  <a:gd name="T21" fmla="*/ 183 h 304"/>
                  <a:gd name="T22" fmla="*/ 2224 w 2237"/>
                  <a:gd name="T23" fmla="*/ 212 h 304"/>
                  <a:gd name="T24" fmla="*/ 2210 w 2237"/>
                  <a:gd name="T25" fmla="*/ 237 h 304"/>
                  <a:gd name="T26" fmla="*/ 2191 w 2237"/>
                  <a:gd name="T27" fmla="*/ 260 h 304"/>
                  <a:gd name="T28" fmla="*/ 2168 w 2237"/>
                  <a:gd name="T29" fmla="*/ 278 h 304"/>
                  <a:gd name="T30" fmla="*/ 2142 w 2237"/>
                  <a:gd name="T31" fmla="*/ 293 h 304"/>
                  <a:gd name="T32" fmla="*/ 2113 w 2237"/>
                  <a:gd name="T33" fmla="*/ 301 h 304"/>
                  <a:gd name="T34" fmla="*/ 2082 w 2237"/>
                  <a:gd name="T35" fmla="*/ 304 h 304"/>
                  <a:gd name="T36" fmla="*/ 154 w 2237"/>
                  <a:gd name="T37" fmla="*/ 304 h 304"/>
                  <a:gd name="T38" fmla="*/ 123 w 2237"/>
                  <a:gd name="T39" fmla="*/ 301 h 304"/>
                  <a:gd name="T40" fmla="*/ 93 w 2237"/>
                  <a:gd name="T41" fmla="*/ 293 h 304"/>
                  <a:gd name="T42" fmla="*/ 68 w 2237"/>
                  <a:gd name="T43" fmla="*/ 278 h 304"/>
                  <a:gd name="T44" fmla="*/ 45 w 2237"/>
                  <a:gd name="T45" fmla="*/ 260 h 304"/>
                  <a:gd name="T46" fmla="*/ 26 w 2237"/>
                  <a:gd name="T47" fmla="*/ 237 h 304"/>
                  <a:gd name="T48" fmla="*/ 11 w 2237"/>
                  <a:gd name="T49" fmla="*/ 212 h 304"/>
                  <a:gd name="T50" fmla="*/ 3 w 2237"/>
                  <a:gd name="T51" fmla="*/ 183 h 304"/>
                  <a:gd name="T52" fmla="*/ 0 w 2237"/>
                  <a:gd name="T53" fmla="*/ 153 h 304"/>
                  <a:gd name="T54" fmla="*/ 3 w 2237"/>
                  <a:gd name="T55" fmla="*/ 122 h 304"/>
                  <a:gd name="T56" fmla="*/ 11 w 2237"/>
                  <a:gd name="T57" fmla="*/ 93 h 304"/>
                  <a:gd name="T58" fmla="*/ 26 w 2237"/>
                  <a:gd name="T59" fmla="*/ 68 h 304"/>
                  <a:gd name="T60" fmla="*/ 45 w 2237"/>
                  <a:gd name="T61" fmla="*/ 45 h 304"/>
                  <a:gd name="T62" fmla="*/ 68 w 2237"/>
                  <a:gd name="T63" fmla="*/ 27 h 304"/>
                  <a:gd name="T64" fmla="*/ 93 w 2237"/>
                  <a:gd name="T65" fmla="*/ 12 h 304"/>
                  <a:gd name="T66" fmla="*/ 123 w 2237"/>
                  <a:gd name="T67" fmla="*/ 3 h 304"/>
                  <a:gd name="T68" fmla="*/ 154 w 2237"/>
                  <a:gd name="T69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37" h="304">
                    <a:moveTo>
                      <a:pt x="154" y="0"/>
                    </a:moveTo>
                    <a:lnTo>
                      <a:pt x="2082" y="0"/>
                    </a:lnTo>
                    <a:lnTo>
                      <a:pt x="2113" y="3"/>
                    </a:lnTo>
                    <a:lnTo>
                      <a:pt x="2142" y="12"/>
                    </a:lnTo>
                    <a:lnTo>
                      <a:pt x="2168" y="27"/>
                    </a:lnTo>
                    <a:lnTo>
                      <a:pt x="2191" y="45"/>
                    </a:lnTo>
                    <a:lnTo>
                      <a:pt x="2210" y="68"/>
                    </a:lnTo>
                    <a:lnTo>
                      <a:pt x="2224" y="93"/>
                    </a:lnTo>
                    <a:lnTo>
                      <a:pt x="2234" y="122"/>
                    </a:lnTo>
                    <a:lnTo>
                      <a:pt x="2237" y="153"/>
                    </a:lnTo>
                    <a:lnTo>
                      <a:pt x="2234" y="183"/>
                    </a:lnTo>
                    <a:lnTo>
                      <a:pt x="2224" y="212"/>
                    </a:lnTo>
                    <a:lnTo>
                      <a:pt x="2210" y="237"/>
                    </a:lnTo>
                    <a:lnTo>
                      <a:pt x="2191" y="260"/>
                    </a:lnTo>
                    <a:lnTo>
                      <a:pt x="2168" y="278"/>
                    </a:lnTo>
                    <a:lnTo>
                      <a:pt x="2142" y="293"/>
                    </a:lnTo>
                    <a:lnTo>
                      <a:pt x="2113" y="301"/>
                    </a:lnTo>
                    <a:lnTo>
                      <a:pt x="2082" y="304"/>
                    </a:lnTo>
                    <a:lnTo>
                      <a:pt x="154" y="304"/>
                    </a:lnTo>
                    <a:lnTo>
                      <a:pt x="123" y="301"/>
                    </a:lnTo>
                    <a:lnTo>
                      <a:pt x="93" y="293"/>
                    </a:lnTo>
                    <a:lnTo>
                      <a:pt x="68" y="278"/>
                    </a:lnTo>
                    <a:lnTo>
                      <a:pt x="45" y="260"/>
                    </a:lnTo>
                    <a:lnTo>
                      <a:pt x="26" y="237"/>
                    </a:lnTo>
                    <a:lnTo>
                      <a:pt x="11" y="212"/>
                    </a:lnTo>
                    <a:lnTo>
                      <a:pt x="3" y="183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5" y="45"/>
                    </a:lnTo>
                    <a:lnTo>
                      <a:pt x="68" y="27"/>
                    </a:lnTo>
                    <a:lnTo>
                      <a:pt x="93" y="12"/>
                    </a:lnTo>
                    <a:lnTo>
                      <a:pt x="123" y="3"/>
                    </a:lnTo>
                    <a:lnTo>
                      <a:pt x="1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3" name="Freeform 168"/>
              <p:cNvSpPr>
                <a:spLocks/>
              </p:cNvSpPr>
              <p:nvPr/>
            </p:nvSpPr>
            <p:spPr bwMode="auto">
              <a:xfrm>
                <a:off x="-1811" y="3730"/>
                <a:ext cx="46" cy="121"/>
              </a:xfrm>
              <a:custGeom>
                <a:avLst/>
                <a:gdLst>
                  <a:gd name="T0" fmla="*/ 117 w 232"/>
                  <a:gd name="T1" fmla="*/ 0 h 607"/>
                  <a:gd name="T2" fmla="*/ 143 w 232"/>
                  <a:gd name="T3" fmla="*/ 3 h 607"/>
                  <a:gd name="T4" fmla="*/ 168 w 232"/>
                  <a:gd name="T5" fmla="*/ 12 h 607"/>
                  <a:gd name="T6" fmla="*/ 190 w 232"/>
                  <a:gd name="T7" fmla="*/ 25 h 607"/>
                  <a:gd name="T8" fmla="*/ 207 w 232"/>
                  <a:gd name="T9" fmla="*/ 43 h 607"/>
                  <a:gd name="T10" fmla="*/ 221 w 232"/>
                  <a:gd name="T11" fmla="*/ 64 h 607"/>
                  <a:gd name="T12" fmla="*/ 229 w 232"/>
                  <a:gd name="T13" fmla="*/ 88 h 607"/>
                  <a:gd name="T14" fmla="*/ 232 w 232"/>
                  <a:gd name="T15" fmla="*/ 114 h 607"/>
                  <a:gd name="T16" fmla="*/ 232 w 232"/>
                  <a:gd name="T17" fmla="*/ 494 h 607"/>
                  <a:gd name="T18" fmla="*/ 229 w 232"/>
                  <a:gd name="T19" fmla="*/ 520 h 607"/>
                  <a:gd name="T20" fmla="*/ 221 w 232"/>
                  <a:gd name="T21" fmla="*/ 544 h 607"/>
                  <a:gd name="T22" fmla="*/ 207 w 232"/>
                  <a:gd name="T23" fmla="*/ 565 h 607"/>
                  <a:gd name="T24" fmla="*/ 190 w 232"/>
                  <a:gd name="T25" fmla="*/ 583 h 607"/>
                  <a:gd name="T26" fmla="*/ 168 w 232"/>
                  <a:gd name="T27" fmla="*/ 596 h 607"/>
                  <a:gd name="T28" fmla="*/ 143 w 232"/>
                  <a:gd name="T29" fmla="*/ 605 h 607"/>
                  <a:gd name="T30" fmla="*/ 117 w 232"/>
                  <a:gd name="T31" fmla="*/ 607 h 607"/>
                  <a:gd name="T32" fmla="*/ 90 w 232"/>
                  <a:gd name="T33" fmla="*/ 605 h 607"/>
                  <a:gd name="T34" fmla="*/ 66 w 232"/>
                  <a:gd name="T35" fmla="*/ 596 h 607"/>
                  <a:gd name="T36" fmla="*/ 44 w 232"/>
                  <a:gd name="T37" fmla="*/ 583 h 607"/>
                  <a:gd name="T38" fmla="*/ 26 w 232"/>
                  <a:gd name="T39" fmla="*/ 565 h 607"/>
                  <a:gd name="T40" fmla="*/ 13 w 232"/>
                  <a:gd name="T41" fmla="*/ 544 h 607"/>
                  <a:gd name="T42" fmla="*/ 4 w 232"/>
                  <a:gd name="T43" fmla="*/ 520 h 607"/>
                  <a:gd name="T44" fmla="*/ 0 w 232"/>
                  <a:gd name="T45" fmla="*/ 494 h 607"/>
                  <a:gd name="T46" fmla="*/ 0 w 232"/>
                  <a:gd name="T47" fmla="*/ 114 h 607"/>
                  <a:gd name="T48" fmla="*/ 4 w 232"/>
                  <a:gd name="T49" fmla="*/ 88 h 607"/>
                  <a:gd name="T50" fmla="*/ 13 w 232"/>
                  <a:gd name="T51" fmla="*/ 64 h 607"/>
                  <a:gd name="T52" fmla="*/ 26 w 232"/>
                  <a:gd name="T53" fmla="*/ 43 h 607"/>
                  <a:gd name="T54" fmla="*/ 44 w 232"/>
                  <a:gd name="T55" fmla="*/ 25 h 607"/>
                  <a:gd name="T56" fmla="*/ 66 w 232"/>
                  <a:gd name="T57" fmla="*/ 12 h 607"/>
                  <a:gd name="T58" fmla="*/ 90 w 232"/>
                  <a:gd name="T59" fmla="*/ 3 h 607"/>
                  <a:gd name="T60" fmla="*/ 117 w 232"/>
                  <a:gd name="T61" fmla="*/ 0 h 6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2" h="607">
                    <a:moveTo>
                      <a:pt x="117" y="0"/>
                    </a:moveTo>
                    <a:lnTo>
                      <a:pt x="143" y="3"/>
                    </a:lnTo>
                    <a:lnTo>
                      <a:pt x="168" y="12"/>
                    </a:lnTo>
                    <a:lnTo>
                      <a:pt x="190" y="25"/>
                    </a:lnTo>
                    <a:lnTo>
                      <a:pt x="207" y="43"/>
                    </a:lnTo>
                    <a:lnTo>
                      <a:pt x="221" y="64"/>
                    </a:lnTo>
                    <a:lnTo>
                      <a:pt x="229" y="88"/>
                    </a:lnTo>
                    <a:lnTo>
                      <a:pt x="232" y="114"/>
                    </a:lnTo>
                    <a:lnTo>
                      <a:pt x="232" y="494"/>
                    </a:lnTo>
                    <a:lnTo>
                      <a:pt x="229" y="520"/>
                    </a:lnTo>
                    <a:lnTo>
                      <a:pt x="221" y="544"/>
                    </a:lnTo>
                    <a:lnTo>
                      <a:pt x="207" y="565"/>
                    </a:lnTo>
                    <a:lnTo>
                      <a:pt x="190" y="583"/>
                    </a:lnTo>
                    <a:lnTo>
                      <a:pt x="168" y="596"/>
                    </a:lnTo>
                    <a:lnTo>
                      <a:pt x="143" y="605"/>
                    </a:lnTo>
                    <a:lnTo>
                      <a:pt x="117" y="607"/>
                    </a:lnTo>
                    <a:lnTo>
                      <a:pt x="90" y="605"/>
                    </a:lnTo>
                    <a:lnTo>
                      <a:pt x="66" y="596"/>
                    </a:lnTo>
                    <a:lnTo>
                      <a:pt x="44" y="583"/>
                    </a:lnTo>
                    <a:lnTo>
                      <a:pt x="26" y="565"/>
                    </a:lnTo>
                    <a:lnTo>
                      <a:pt x="13" y="544"/>
                    </a:lnTo>
                    <a:lnTo>
                      <a:pt x="4" y="520"/>
                    </a:lnTo>
                    <a:lnTo>
                      <a:pt x="0" y="494"/>
                    </a:lnTo>
                    <a:lnTo>
                      <a:pt x="0" y="114"/>
                    </a:lnTo>
                    <a:lnTo>
                      <a:pt x="4" y="88"/>
                    </a:lnTo>
                    <a:lnTo>
                      <a:pt x="13" y="64"/>
                    </a:lnTo>
                    <a:lnTo>
                      <a:pt x="26" y="43"/>
                    </a:lnTo>
                    <a:lnTo>
                      <a:pt x="44" y="25"/>
                    </a:lnTo>
                    <a:lnTo>
                      <a:pt x="66" y="12"/>
                    </a:lnTo>
                    <a:lnTo>
                      <a:pt x="90" y="3"/>
                    </a:lnTo>
                    <a:lnTo>
                      <a:pt x="11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4" name="Freeform 169"/>
              <p:cNvSpPr>
                <a:spLocks/>
              </p:cNvSpPr>
              <p:nvPr/>
            </p:nvSpPr>
            <p:spPr bwMode="auto">
              <a:xfrm>
                <a:off x="-1734" y="3699"/>
                <a:ext cx="46" cy="152"/>
              </a:xfrm>
              <a:custGeom>
                <a:avLst/>
                <a:gdLst>
                  <a:gd name="T0" fmla="*/ 116 w 232"/>
                  <a:gd name="T1" fmla="*/ 0 h 759"/>
                  <a:gd name="T2" fmla="*/ 142 w 232"/>
                  <a:gd name="T3" fmla="*/ 3 h 759"/>
                  <a:gd name="T4" fmla="*/ 167 w 232"/>
                  <a:gd name="T5" fmla="*/ 12 h 759"/>
                  <a:gd name="T6" fmla="*/ 188 w 232"/>
                  <a:gd name="T7" fmla="*/ 25 h 759"/>
                  <a:gd name="T8" fmla="*/ 207 w 232"/>
                  <a:gd name="T9" fmla="*/ 43 h 759"/>
                  <a:gd name="T10" fmla="*/ 220 w 232"/>
                  <a:gd name="T11" fmla="*/ 64 h 759"/>
                  <a:gd name="T12" fmla="*/ 229 w 232"/>
                  <a:gd name="T13" fmla="*/ 88 h 759"/>
                  <a:gd name="T14" fmla="*/ 232 w 232"/>
                  <a:gd name="T15" fmla="*/ 115 h 759"/>
                  <a:gd name="T16" fmla="*/ 232 w 232"/>
                  <a:gd name="T17" fmla="*/ 646 h 759"/>
                  <a:gd name="T18" fmla="*/ 229 w 232"/>
                  <a:gd name="T19" fmla="*/ 672 h 759"/>
                  <a:gd name="T20" fmla="*/ 220 w 232"/>
                  <a:gd name="T21" fmla="*/ 696 h 759"/>
                  <a:gd name="T22" fmla="*/ 207 w 232"/>
                  <a:gd name="T23" fmla="*/ 717 h 759"/>
                  <a:gd name="T24" fmla="*/ 188 w 232"/>
                  <a:gd name="T25" fmla="*/ 735 h 759"/>
                  <a:gd name="T26" fmla="*/ 167 w 232"/>
                  <a:gd name="T27" fmla="*/ 748 h 759"/>
                  <a:gd name="T28" fmla="*/ 142 w 232"/>
                  <a:gd name="T29" fmla="*/ 757 h 759"/>
                  <a:gd name="T30" fmla="*/ 116 w 232"/>
                  <a:gd name="T31" fmla="*/ 759 h 759"/>
                  <a:gd name="T32" fmla="*/ 89 w 232"/>
                  <a:gd name="T33" fmla="*/ 757 h 759"/>
                  <a:gd name="T34" fmla="*/ 66 w 232"/>
                  <a:gd name="T35" fmla="*/ 748 h 759"/>
                  <a:gd name="T36" fmla="*/ 44 w 232"/>
                  <a:gd name="T37" fmla="*/ 735 h 759"/>
                  <a:gd name="T38" fmla="*/ 26 w 232"/>
                  <a:gd name="T39" fmla="*/ 717 h 759"/>
                  <a:gd name="T40" fmla="*/ 13 w 232"/>
                  <a:gd name="T41" fmla="*/ 696 h 759"/>
                  <a:gd name="T42" fmla="*/ 3 w 232"/>
                  <a:gd name="T43" fmla="*/ 672 h 759"/>
                  <a:gd name="T44" fmla="*/ 0 w 232"/>
                  <a:gd name="T45" fmla="*/ 646 h 759"/>
                  <a:gd name="T46" fmla="*/ 0 w 232"/>
                  <a:gd name="T47" fmla="*/ 115 h 759"/>
                  <a:gd name="T48" fmla="*/ 3 w 232"/>
                  <a:gd name="T49" fmla="*/ 88 h 759"/>
                  <a:gd name="T50" fmla="*/ 13 w 232"/>
                  <a:gd name="T51" fmla="*/ 64 h 759"/>
                  <a:gd name="T52" fmla="*/ 26 w 232"/>
                  <a:gd name="T53" fmla="*/ 43 h 759"/>
                  <a:gd name="T54" fmla="*/ 44 w 232"/>
                  <a:gd name="T55" fmla="*/ 25 h 759"/>
                  <a:gd name="T56" fmla="*/ 66 w 232"/>
                  <a:gd name="T57" fmla="*/ 12 h 759"/>
                  <a:gd name="T58" fmla="*/ 89 w 232"/>
                  <a:gd name="T59" fmla="*/ 3 h 759"/>
                  <a:gd name="T60" fmla="*/ 116 w 232"/>
                  <a:gd name="T61" fmla="*/ 0 h 7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2" h="759">
                    <a:moveTo>
                      <a:pt x="116" y="0"/>
                    </a:moveTo>
                    <a:lnTo>
                      <a:pt x="142" y="3"/>
                    </a:lnTo>
                    <a:lnTo>
                      <a:pt x="167" y="12"/>
                    </a:lnTo>
                    <a:lnTo>
                      <a:pt x="188" y="25"/>
                    </a:lnTo>
                    <a:lnTo>
                      <a:pt x="207" y="43"/>
                    </a:lnTo>
                    <a:lnTo>
                      <a:pt x="220" y="64"/>
                    </a:lnTo>
                    <a:lnTo>
                      <a:pt x="229" y="88"/>
                    </a:lnTo>
                    <a:lnTo>
                      <a:pt x="232" y="115"/>
                    </a:lnTo>
                    <a:lnTo>
                      <a:pt x="232" y="646"/>
                    </a:lnTo>
                    <a:lnTo>
                      <a:pt x="229" y="672"/>
                    </a:lnTo>
                    <a:lnTo>
                      <a:pt x="220" y="696"/>
                    </a:lnTo>
                    <a:lnTo>
                      <a:pt x="207" y="717"/>
                    </a:lnTo>
                    <a:lnTo>
                      <a:pt x="188" y="735"/>
                    </a:lnTo>
                    <a:lnTo>
                      <a:pt x="167" y="748"/>
                    </a:lnTo>
                    <a:lnTo>
                      <a:pt x="142" y="757"/>
                    </a:lnTo>
                    <a:lnTo>
                      <a:pt x="116" y="759"/>
                    </a:lnTo>
                    <a:lnTo>
                      <a:pt x="89" y="757"/>
                    </a:lnTo>
                    <a:lnTo>
                      <a:pt x="66" y="748"/>
                    </a:lnTo>
                    <a:lnTo>
                      <a:pt x="44" y="735"/>
                    </a:lnTo>
                    <a:lnTo>
                      <a:pt x="26" y="717"/>
                    </a:lnTo>
                    <a:lnTo>
                      <a:pt x="13" y="696"/>
                    </a:lnTo>
                    <a:lnTo>
                      <a:pt x="3" y="672"/>
                    </a:lnTo>
                    <a:lnTo>
                      <a:pt x="0" y="646"/>
                    </a:lnTo>
                    <a:lnTo>
                      <a:pt x="0" y="115"/>
                    </a:lnTo>
                    <a:lnTo>
                      <a:pt x="3" y="88"/>
                    </a:lnTo>
                    <a:lnTo>
                      <a:pt x="13" y="64"/>
                    </a:lnTo>
                    <a:lnTo>
                      <a:pt x="26" y="43"/>
                    </a:lnTo>
                    <a:lnTo>
                      <a:pt x="44" y="25"/>
                    </a:lnTo>
                    <a:lnTo>
                      <a:pt x="66" y="12"/>
                    </a:lnTo>
                    <a:lnTo>
                      <a:pt x="89" y="3"/>
                    </a:lnTo>
                    <a:lnTo>
                      <a:pt x="11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5" name="Freeform 170"/>
              <p:cNvSpPr>
                <a:spLocks/>
              </p:cNvSpPr>
              <p:nvPr/>
            </p:nvSpPr>
            <p:spPr bwMode="auto">
              <a:xfrm>
                <a:off x="-1657" y="3669"/>
                <a:ext cx="46" cy="182"/>
              </a:xfrm>
              <a:custGeom>
                <a:avLst/>
                <a:gdLst>
                  <a:gd name="T0" fmla="*/ 115 w 230"/>
                  <a:gd name="T1" fmla="*/ 0 h 911"/>
                  <a:gd name="T2" fmla="*/ 141 w 230"/>
                  <a:gd name="T3" fmla="*/ 3 h 911"/>
                  <a:gd name="T4" fmla="*/ 166 w 230"/>
                  <a:gd name="T5" fmla="*/ 12 h 911"/>
                  <a:gd name="T6" fmla="*/ 187 w 230"/>
                  <a:gd name="T7" fmla="*/ 25 h 911"/>
                  <a:gd name="T8" fmla="*/ 206 w 230"/>
                  <a:gd name="T9" fmla="*/ 43 h 911"/>
                  <a:gd name="T10" fmla="*/ 219 w 230"/>
                  <a:gd name="T11" fmla="*/ 64 h 911"/>
                  <a:gd name="T12" fmla="*/ 227 w 230"/>
                  <a:gd name="T13" fmla="*/ 88 h 911"/>
                  <a:gd name="T14" fmla="*/ 230 w 230"/>
                  <a:gd name="T15" fmla="*/ 114 h 911"/>
                  <a:gd name="T16" fmla="*/ 230 w 230"/>
                  <a:gd name="T17" fmla="*/ 798 h 911"/>
                  <a:gd name="T18" fmla="*/ 227 w 230"/>
                  <a:gd name="T19" fmla="*/ 824 h 911"/>
                  <a:gd name="T20" fmla="*/ 219 w 230"/>
                  <a:gd name="T21" fmla="*/ 848 h 911"/>
                  <a:gd name="T22" fmla="*/ 206 w 230"/>
                  <a:gd name="T23" fmla="*/ 869 h 911"/>
                  <a:gd name="T24" fmla="*/ 187 w 230"/>
                  <a:gd name="T25" fmla="*/ 887 h 911"/>
                  <a:gd name="T26" fmla="*/ 166 w 230"/>
                  <a:gd name="T27" fmla="*/ 900 h 911"/>
                  <a:gd name="T28" fmla="*/ 141 w 230"/>
                  <a:gd name="T29" fmla="*/ 909 h 911"/>
                  <a:gd name="T30" fmla="*/ 115 w 230"/>
                  <a:gd name="T31" fmla="*/ 911 h 911"/>
                  <a:gd name="T32" fmla="*/ 88 w 230"/>
                  <a:gd name="T33" fmla="*/ 909 h 911"/>
                  <a:gd name="T34" fmla="*/ 64 w 230"/>
                  <a:gd name="T35" fmla="*/ 900 h 911"/>
                  <a:gd name="T36" fmla="*/ 42 w 230"/>
                  <a:gd name="T37" fmla="*/ 887 h 911"/>
                  <a:gd name="T38" fmla="*/ 25 w 230"/>
                  <a:gd name="T39" fmla="*/ 869 h 911"/>
                  <a:gd name="T40" fmla="*/ 11 w 230"/>
                  <a:gd name="T41" fmla="*/ 848 h 911"/>
                  <a:gd name="T42" fmla="*/ 3 w 230"/>
                  <a:gd name="T43" fmla="*/ 824 h 911"/>
                  <a:gd name="T44" fmla="*/ 0 w 230"/>
                  <a:gd name="T45" fmla="*/ 798 h 911"/>
                  <a:gd name="T46" fmla="*/ 0 w 230"/>
                  <a:gd name="T47" fmla="*/ 114 h 911"/>
                  <a:gd name="T48" fmla="*/ 3 w 230"/>
                  <a:gd name="T49" fmla="*/ 88 h 911"/>
                  <a:gd name="T50" fmla="*/ 11 w 230"/>
                  <a:gd name="T51" fmla="*/ 64 h 911"/>
                  <a:gd name="T52" fmla="*/ 25 w 230"/>
                  <a:gd name="T53" fmla="*/ 43 h 911"/>
                  <a:gd name="T54" fmla="*/ 42 w 230"/>
                  <a:gd name="T55" fmla="*/ 25 h 911"/>
                  <a:gd name="T56" fmla="*/ 64 w 230"/>
                  <a:gd name="T57" fmla="*/ 12 h 911"/>
                  <a:gd name="T58" fmla="*/ 88 w 230"/>
                  <a:gd name="T59" fmla="*/ 3 h 911"/>
                  <a:gd name="T60" fmla="*/ 115 w 230"/>
                  <a:gd name="T61" fmla="*/ 0 h 9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0" h="911">
                    <a:moveTo>
                      <a:pt x="115" y="0"/>
                    </a:moveTo>
                    <a:lnTo>
                      <a:pt x="141" y="3"/>
                    </a:lnTo>
                    <a:lnTo>
                      <a:pt x="166" y="12"/>
                    </a:lnTo>
                    <a:lnTo>
                      <a:pt x="187" y="25"/>
                    </a:lnTo>
                    <a:lnTo>
                      <a:pt x="206" y="43"/>
                    </a:lnTo>
                    <a:lnTo>
                      <a:pt x="219" y="64"/>
                    </a:lnTo>
                    <a:lnTo>
                      <a:pt x="227" y="88"/>
                    </a:lnTo>
                    <a:lnTo>
                      <a:pt x="230" y="114"/>
                    </a:lnTo>
                    <a:lnTo>
                      <a:pt x="230" y="798"/>
                    </a:lnTo>
                    <a:lnTo>
                      <a:pt x="227" y="824"/>
                    </a:lnTo>
                    <a:lnTo>
                      <a:pt x="219" y="848"/>
                    </a:lnTo>
                    <a:lnTo>
                      <a:pt x="206" y="869"/>
                    </a:lnTo>
                    <a:lnTo>
                      <a:pt x="187" y="887"/>
                    </a:lnTo>
                    <a:lnTo>
                      <a:pt x="166" y="900"/>
                    </a:lnTo>
                    <a:lnTo>
                      <a:pt x="141" y="909"/>
                    </a:lnTo>
                    <a:lnTo>
                      <a:pt x="115" y="911"/>
                    </a:lnTo>
                    <a:lnTo>
                      <a:pt x="88" y="909"/>
                    </a:lnTo>
                    <a:lnTo>
                      <a:pt x="64" y="900"/>
                    </a:lnTo>
                    <a:lnTo>
                      <a:pt x="42" y="887"/>
                    </a:lnTo>
                    <a:lnTo>
                      <a:pt x="25" y="869"/>
                    </a:lnTo>
                    <a:lnTo>
                      <a:pt x="11" y="848"/>
                    </a:lnTo>
                    <a:lnTo>
                      <a:pt x="3" y="824"/>
                    </a:lnTo>
                    <a:lnTo>
                      <a:pt x="0" y="798"/>
                    </a:lnTo>
                    <a:lnTo>
                      <a:pt x="0" y="114"/>
                    </a:lnTo>
                    <a:lnTo>
                      <a:pt x="3" y="88"/>
                    </a:lnTo>
                    <a:lnTo>
                      <a:pt x="11" y="64"/>
                    </a:lnTo>
                    <a:lnTo>
                      <a:pt x="25" y="43"/>
                    </a:lnTo>
                    <a:lnTo>
                      <a:pt x="42" y="25"/>
                    </a:lnTo>
                    <a:lnTo>
                      <a:pt x="64" y="12"/>
                    </a:lnTo>
                    <a:lnTo>
                      <a:pt x="88" y="3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6" name="Freeform 171"/>
              <p:cNvSpPr>
                <a:spLocks/>
              </p:cNvSpPr>
              <p:nvPr/>
            </p:nvSpPr>
            <p:spPr bwMode="auto">
              <a:xfrm>
                <a:off x="-1919" y="3510"/>
                <a:ext cx="679" cy="440"/>
              </a:xfrm>
              <a:custGeom>
                <a:avLst/>
                <a:gdLst>
                  <a:gd name="T0" fmla="*/ 3240 w 3394"/>
                  <a:gd name="T1" fmla="*/ 0 h 2203"/>
                  <a:gd name="T2" fmla="*/ 3300 w 3394"/>
                  <a:gd name="T3" fmla="*/ 11 h 2203"/>
                  <a:gd name="T4" fmla="*/ 3349 w 3394"/>
                  <a:gd name="T5" fmla="*/ 44 h 2203"/>
                  <a:gd name="T6" fmla="*/ 3382 w 3394"/>
                  <a:gd name="T7" fmla="*/ 92 h 2203"/>
                  <a:gd name="T8" fmla="*/ 3394 w 3394"/>
                  <a:gd name="T9" fmla="*/ 152 h 2203"/>
                  <a:gd name="T10" fmla="*/ 3187 w 3394"/>
                  <a:gd name="T11" fmla="*/ 1669 h 2203"/>
                  <a:gd name="T12" fmla="*/ 3245 w 3394"/>
                  <a:gd name="T13" fmla="*/ 1543 h 2203"/>
                  <a:gd name="T14" fmla="*/ 3281 w 3394"/>
                  <a:gd name="T15" fmla="*/ 1409 h 2203"/>
                  <a:gd name="T16" fmla="*/ 3294 w 3394"/>
                  <a:gd name="T17" fmla="*/ 1271 h 2203"/>
                  <a:gd name="T18" fmla="*/ 3282 w 3394"/>
                  <a:gd name="T19" fmla="*/ 1139 h 2203"/>
                  <a:gd name="T20" fmla="*/ 3251 w 3394"/>
                  <a:gd name="T21" fmla="*/ 1012 h 2203"/>
                  <a:gd name="T22" fmla="*/ 3199 w 3394"/>
                  <a:gd name="T23" fmla="*/ 894 h 2203"/>
                  <a:gd name="T24" fmla="*/ 3128 w 3394"/>
                  <a:gd name="T25" fmla="*/ 783 h 2203"/>
                  <a:gd name="T26" fmla="*/ 3085 w 3394"/>
                  <a:gd name="T27" fmla="*/ 304 h 2203"/>
                  <a:gd name="T28" fmla="*/ 309 w 3394"/>
                  <a:gd name="T29" fmla="*/ 1899 h 2203"/>
                  <a:gd name="T30" fmla="*/ 1989 w 3394"/>
                  <a:gd name="T31" fmla="*/ 1937 h 2203"/>
                  <a:gd name="T32" fmla="*/ 2097 w 3394"/>
                  <a:gd name="T33" fmla="*/ 2001 h 2203"/>
                  <a:gd name="T34" fmla="*/ 2214 w 3394"/>
                  <a:gd name="T35" fmla="*/ 2048 h 2203"/>
                  <a:gd name="T36" fmla="*/ 2338 w 3394"/>
                  <a:gd name="T37" fmla="*/ 2077 h 2203"/>
                  <a:gd name="T38" fmla="*/ 2465 w 3394"/>
                  <a:gd name="T39" fmla="*/ 2086 h 2203"/>
                  <a:gd name="T40" fmla="*/ 2607 w 3394"/>
                  <a:gd name="T41" fmla="*/ 2074 h 2203"/>
                  <a:gd name="T42" fmla="*/ 2743 w 3394"/>
                  <a:gd name="T43" fmla="*/ 2039 h 2203"/>
                  <a:gd name="T44" fmla="*/ 2871 w 3394"/>
                  <a:gd name="T45" fmla="*/ 1980 h 2203"/>
                  <a:gd name="T46" fmla="*/ 3089 w 3394"/>
                  <a:gd name="T47" fmla="*/ 2195 h 2203"/>
                  <a:gd name="T48" fmla="*/ 3098 w 3394"/>
                  <a:gd name="T49" fmla="*/ 2203 h 2203"/>
                  <a:gd name="T50" fmla="*/ 124 w 3394"/>
                  <a:gd name="T51" fmla="*/ 2199 h 2203"/>
                  <a:gd name="T52" fmla="*/ 69 w 3394"/>
                  <a:gd name="T53" fmla="*/ 2177 h 2203"/>
                  <a:gd name="T54" fmla="*/ 26 w 3394"/>
                  <a:gd name="T55" fmla="*/ 2135 h 2203"/>
                  <a:gd name="T56" fmla="*/ 3 w 3394"/>
                  <a:gd name="T57" fmla="*/ 2081 h 2203"/>
                  <a:gd name="T58" fmla="*/ 0 w 3394"/>
                  <a:gd name="T59" fmla="*/ 152 h 2203"/>
                  <a:gd name="T60" fmla="*/ 12 w 3394"/>
                  <a:gd name="T61" fmla="*/ 93 h 2203"/>
                  <a:gd name="T62" fmla="*/ 46 w 3394"/>
                  <a:gd name="T63" fmla="*/ 44 h 2203"/>
                  <a:gd name="T64" fmla="*/ 95 w 3394"/>
                  <a:gd name="T65" fmla="*/ 11 h 2203"/>
                  <a:gd name="T66" fmla="*/ 155 w 3394"/>
                  <a:gd name="T67" fmla="*/ 0 h 2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394" h="2203">
                    <a:moveTo>
                      <a:pt x="155" y="0"/>
                    </a:moveTo>
                    <a:lnTo>
                      <a:pt x="3240" y="0"/>
                    </a:lnTo>
                    <a:lnTo>
                      <a:pt x="3271" y="3"/>
                    </a:lnTo>
                    <a:lnTo>
                      <a:pt x="3300" y="11"/>
                    </a:lnTo>
                    <a:lnTo>
                      <a:pt x="3326" y="26"/>
                    </a:lnTo>
                    <a:lnTo>
                      <a:pt x="3349" y="44"/>
                    </a:lnTo>
                    <a:lnTo>
                      <a:pt x="3368" y="67"/>
                    </a:lnTo>
                    <a:lnTo>
                      <a:pt x="3382" y="92"/>
                    </a:lnTo>
                    <a:lnTo>
                      <a:pt x="3391" y="121"/>
                    </a:lnTo>
                    <a:lnTo>
                      <a:pt x="3394" y="152"/>
                    </a:lnTo>
                    <a:lnTo>
                      <a:pt x="3394" y="1874"/>
                    </a:lnTo>
                    <a:lnTo>
                      <a:pt x="3187" y="1669"/>
                    </a:lnTo>
                    <a:lnTo>
                      <a:pt x="3219" y="1608"/>
                    </a:lnTo>
                    <a:lnTo>
                      <a:pt x="3245" y="1543"/>
                    </a:lnTo>
                    <a:lnTo>
                      <a:pt x="3266" y="1478"/>
                    </a:lnTo>
                    <a:lnTo>
                      <a:pt x="3281" y="1409"/>
                    </a:lnTo>
                    <a:lnTo>
                      <a:pt x="3291" y="1341"/>
                    </a:lnTo>
                    <a:lnTo>
                      <a:pt x="3294" y="1271"/>
                    </a:lnTo>
                    <a:lnTo>
                      <a:pt x="3291" y="1205"/>
                    </a:lnTo>
                    <a:lnTo>
                      <a:pt x="3282" y="1139"/>
                    </a:lnTo>
                    <a:lnTo>
                      <a:pt x="3269" y="1075"/>
                    </a:lnTo>
                    <a:lnTo>
                      <a:pt x="3251" y="1012"/>
                    </a:lnTo>
                    <a:lnTo>
                      <a:pt x="3227" y="952"/>
                    </a:lnTo>
                    <a:lnTo>
                      <a:pt x="3199" y="894"/>
                    </a:lnTo>
                    <a:lnTo>
                      <a:pt x="3166" y="836"/>
                    </a:lnTo>
                    <a:lnTo>
                      <a:pt x="3128" y="783"/>
                    </a:lnTo>
                    <a:lnTo>
                      <a:pt x="3085" y="732"/>
                    </a:lnTo>
                    <a:lnTo>
                      <a:pt x="3085" y="304"/>
                    </a:lnTo>
                    <a:lnTo>
                      <a:pt x="309" y="304"/>
                    </a:lnTo>
                    <a:lnTo>
                      <a:pt x="309" y="1899"/>
                    </a:lnTo>
                    <a:lnTo>
                      <a:pt x="1938" y="1899"/>
                    </a:lnTo>
                    <a:lnTo>
                      <a:pt x="1989" y="1937"/>
                    </a:lnTo>
                    <a:lnTo>
                      <a:pt x="2042" y="1971"/>
                    </a:lnTo>
                    <a:lnTo>
                      <a:pt x="2097" y="2001"/>
                    </a:lnTo>
                    <a:lnTo>
                      <a:pt x="2155" y="2027"/>
                    </a:lnTo>
                    <a:lnTo>
                      <a:pt x="2214" y="2048"/>
                    </a:lnTo>
                    <a:lnTo>
                      <a:pt x="2275" y="2064"/>
                    </a:lnTo>
                    <a:lnTo>
                      <a:pt x="2338" y="2077"/>
                    </a:lnTo>
                    <a:lnTo>
                      <a:pt x="2401" y="2084"/>
                    </a:lnTo>
                    <a:lnTo>
                      <a:pt x="2465" y="2086"/>
                    </a:lnTo>
                    <a:lnTo>
                      <a:pt x="2537" y="2083"/>
                    </a:lnTo>
                    <a:lnTo>
                      <a:pt x="2607" y="2074"/>
                    </a:lnTo>
                    <a:lnTo>
                      <a:pt x="2675" y="2059"/>
                    </a:lnTo>
                    <a:lnTo>
                      <a:pt x="2743" y="2039"/>
                    </a:lnTo>
                    <a:lnTo>
                      <a:pt x="2808" y="2012"/>
                    </a:lnTo>
                    <a:lnTo>
                      <a:pt x="2871" y="1980"/>
                    </a:lnTo>
                    <a:lnTo>
                      <a:pt x="3085" y="2191"/>
                    </a:lnTo>
                    <a:lnTo>
                      <a:pt x="3089" y="2195"/>
                    </a:lnTo>
                    <a:lnTo>
                      <a:pt x="3094" y="2198"/>
                    </a:lnTo>
                    <a:lnTo>
                      <a:pt x="3098" y="2203"/>
                    </a:lnTo>
                    <a:lnTo>
                      <a:pt x="155" y="2203"/>
                    </a:lnTo>
                    <a:lnTo>
                      <a:pt x="124" y="2199"/>
                    </a:lnTo>
                    <a:lnTo>
                      <a:pt x="95" y="2190"/>
                    </a:lnTo>
                    <a:lnTo>
                      <a:pt x="69" y="2177"/>
                    </a:lnTo>
                    <a:lnTo>
                      <a:pt x="46" y="2158"/>
                    </a:lnTo>
                    <a:lnTo>
                      <a:pt x="26" y="2135"/>
                    </a:lnTo>
                    <a:lnTo>
                      <a:pt x="12" y="2109"/>
                    </a:lnTo>
                    <a:lnTo>
                      <a:pt x="3" y="2081"/>
                    </a:lnTo>
                    <a:lnTo>
                      <a:pt x="0" y="2051"/>
                    </a:lnTo>
                    <a:lnTo>
                      <a:pt x="0" y="152"/>
                    </a:lnTo>
                    <a:lnTo>
                      <a:pt x="3" y="121"/>
                    </a:lnTo>
                    <a:lnTo>
                      <a:pt x="12" y="93"/>
                    </a:lnTo>
                    <a:lnTo>
                      <a:pt x="26" y="67"/>
                    </a:lnTo>
                    <a:lnTo>
                      <a:pt x="46" y="44"/>
                    </a:lnTo>
                    <a:lnTo>
                      <a:pt x="69" y="26"/>
                    </a:lnTo>
                    <a:lnTo>
                      <a:pt x="95" y="11"/>
                    </a:lnTo>
                    <a:lnTo>
                      <a:pt x="124" y="3"/>
                    </a:lnTo>
                    <a:lnTo>
                      <a:pt x="1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7" name="Freeform 172"/>
              <p:cNvSpPr>
                <a:spLocks noEditPoints="1"/>
              </p:cNvSpPr>
              <p:nvPr/>
            </p:nvSpPr>
            <p:spPr bwMode="auto">
              <a:xfrm>
                <a:off x="-1561" y="3631"/>
                <a:ext cx="304" cy="299"/>
              </a:xfrm>
              <a:custGeom>
                <a:avLst/>
                <a:gdLst>
                  <a:gd name="T0" fmla="*/ 568 w 1520"/>
                  <a:gd name="T1" fmla="*/ 146 h 1495"/>
                  <a:gd name="T2" fmla="*/ 422 w 1520"/>
                  <a:gd name="T3" fmla="*/ 198 h 1495"/>
                  <a:gd name="T4" fmla="*/ 295 w 1520"/>
                  <a:gd name="T5" fmla="*/ 291 h 1495"/>
                  <a:gd name="T6" fmla="*/ 202 w 1520"/>
                  <a:gd name="T7" fmla="*/ 415 h 1495"/>
                  <a:gd name="T8" fmla="*/ 149 w 1520"/>
                  <a:gd name="T9" fmla="*/ 560 h 1495"/>
                  <a:gd name="T10" fmla="*/ 141 w 1520"/>
                  <a:gd name="T11" fmla="*/ 715 h 1495"/>
                  <a:gd name="T12" fmla="*/ 179 w 1520"/>
                  <a:gd name="T13" fmla="*/ 865 h 1495"/>
                  <a:gd name="T14" fmla="*/ 260 w 1520"/>
                  <a:gd name="T15" fmla="*/ 997 h 1495"/>
                  <a:gd name="T16" fmla="*/ 377 w 1520"/>
                  <a:gd name="T17" fmla="*/ 1101 h 1495"/>
                  <a:gd name="T18" fmla="*/ 518 w 1520"/>
                  <a:gd name="T19" fmla="*/ 1168 h 1495"/>
                  <a:gd name="T20" fmla="*/ 673 w 1520"/>
                  <a:gd name="T21" fmla="*/ 1190 h 1495"/>
                  <a:gd name="T22" fmla="*/ 829 w 1520"/>
                  <a:gd name="T23" fmla="*/ 1168 h 1495"/>
                  <a:gd name="T24" fmla="*/ 971 w 1520"/>
                  <a:gd name="T25" fmla="*/ 1101 h 1495"/>
                  <a:gd name="T26" fmla="*/ 1088 w 1520"/>
                  <a:gd name="T27" fmla="*/ 997 h 1495"/>
                  <a:gd name="T28" fmla="*/ 1168 w 1520"/>
                  <a:gd name="T29" fmla="*/ 865 h 1495"/>
                  <a:gd name="T30" fmla="*/ 1207 w 1520"/>
                  <a:gd name="T31" fmla="*/ 715 h 1495"/>
                  <a:gd name="T32" fmla="*/ 1198 w 1520"/>
                  <a:gd name="T33" fmla="*/ 560 h 1495"/>
                  <a:gd name="T34" fmla="*/ 1146 w 1520"/>
                  <a:gd name="T35" fmla="*/ 415 h 1495"/>
                  <a:gd name="T36" fmla="*/ 1053 w 1520"/>
                  <a:gd name="T37" fmla="*/ 291 h 1495"/>
                  <a:gd name="T38" fmla="*/ 926 w 1520"/>
                  <a:gd name="T39" fmla="*/ 198 h 1495"/>
                  <a:gd name="T40" fmla="*/ 779 w 1520"/>
                  <a:gd name="T41" fmla="*/ 146 h 1495"/>
                  <a:gd name="T42" fmla="*/ 673 w 1520"/>
                  <a:gd name="T43" fmla="*/ 0 h 1495"/>
                  <a:gd name="T44" fmla="*/ 849 w 1520"/>
                  <a:gd name="T45" fmla="*/ 23 h 1495"/>
                  <a:gd name="T46" fmla="*/ 1010 w 1520"/>
                  <a:gd name="T47" fmla="*/ 88 h 1495"/>
                  <a:gd name="T48" fmla="*/ 1151 w 1520"/>
                  <a:gd name="T49" fmla="*/ 195 h 1495"/>
                  <a:gd name="T50" fmla="*/ 1258 w 1520"/>
                  <a:gd name="T51" fmla="*/ 332 h 1495"/>
                  <a:gd name="T52" fmla="*/ 1324 w 1520"/>
                  <a:gd name="T53" fmla="*/ 490 h 1495"/>
                  <a:gd name="T54" fmla="*/ 1347 w 1520"/>
                  <a:gd name="T55" fmla="*/ 663 h 1495"/>
                  <a:gd name="T56" fmla="*/ 1322 w 1520"/>
                  <a:gd name="T57" fmla="*/ 841 h 1495"/>
                  <a:gd name="T58" fmla="*/ 1251 w 1520"/>
                  <a:gd name="T59" fmla="*/ 1004 h 1495"/>
                  <a:gd name="T60" fmla="*/ 1211 w 1520"/>
                  <a:gd name="T61" fmla="*/ 1132 h 1495"/>
                  <a:gd name="T62" fmla="*/ 1256 w 1520"/>
                  <a:gd name="T63" fmla="*/ 1142 h 1495"/>
                  <a:gd name="T64" fmla="*/ 1511 w 1520"/>
                  <a:gd name="T65" fmla="*/ 1395 h 1495"/>
                  <a:gd name="T66" fmla="*/ 1517 w 1520"/>
                  <a:gd name="T67" fmla="*/ 1445 h 1495"/>
                  <a:gd name="T68" fmla="*/ 1485 w 1520"/>
                  <a:gd name="T69" fmla="*/ 1487 h 1495"/>
                  <a:gd name="T70" fmla="*/ 1433 w 1520"/>
                  <a:gd name="T71" fmla="*/ 1493 h 1495"/>
                  <a:gd name="T72" fmla="*/ 1170 w 1520"/>
                  <a:gd name="T73" fmla="*/ 1248 h 1495"/>
                  <a:gd name="T74" fmla="*/ 1151 w 1520"/>
                  <a:gd name="T75" fmla="*/ 1208 h 1495"/>
                  <a:gd name="T76" fmla="*/ 1070 w 1520"/>
                  <a:gd name="T77" fmla="*/ 1198 h 1495"/>
                  <a:gd name="T78" fmla="*/ 911 w 1520"/>
                  <a:gd name="T79" fmla="*/ 1283 h 1495"/>
                  <a:gd name="T80" fmla="*/ 735 w 1520"/>
                  <a:gd name="T81" fmla="*/ 1323 h 1495"/>
                  <a:gd name="T82" fmla="*/ 556 w 1520"/>
                  <a:gd name="T83" fmla="*/ 1316 h 1495"/>
                  <a:gd name="T84" fmla="*/ 390 w 1520"/>
                  <a:gd name="T85" fmla="*/ 1264 h 1495"/>
                  <a:gd name="T86" fmla="*/ 242 w 1520"/>
                  <a:gd name="T87" fmla="*/ 1172 h 1495"/>
                  <a:gd name="T88" fmla="*/ 122 w 1520"/>
                  <a:gd name="T89" fmla="*/ 1043 h 1495"/>
                  <a:gd name="T90" fmla="*/ 40 w 1520"/>
                  <a:gd name="T91" fmla="*/ 890 h 1495"/>
                  <a:gd name="T92" fmla="*/ 3 w 1520"/>
                  <a:gd name="T93" fmla="*/ 722 h 1495"/>
                  <a:gd name="T94" fmla="*/ 10 w 1520"/>
                  <a:gd name="T95" fmla="*/ 547 h 1495"/>
                  <a:gd name="T96" fmla="*/ 63 w 1520"/>
                  <a:gd name="T97" fmla="*/ 383 h 1495"/>
                  <a:gd name="T98" fmla="*/ 157 w 1520"/>
                  <a:gd name="T99" fmla="*/ 238 h 1495"/>
                  <a:gd name="T100" fmla="*/ 288 w 1520"/>
                  <a:gd name="T101" fmla="*/ 119 h 1495"/>
                  <a:gd name="T102" fmla="*/ 443 w 1520"/>
                  <a:gd name="T103" fmla="*/ 40 h 1495"/>
                  <a:gd name="T104" fmla="*/ 614 w 1520"/>
                  <a:gd name="T105" fmla="*/ 2 h 1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20" h="1495">
                    <a:moveTo>
                      <a:pt x="673" y="136"/>
                    </a:moveTo>
                    <a:lnTo>
                      <a:pt x="620" y="138"/>
                    </a:lnTo>
                    <a:lnTo>
                      <a:pt x="568" y="146"/>
                    </a:lnTo>
                    <a:lnTo>
                      <a:pt x="518" y="159"/>
                    </a:lnTo>
                    <a:lnTo>
                      <a:pt x="469" y="176"/>
                    </a:lnTo>
                    <a:lnTo>
                      <a:pt x="422" y="198"/>
                    </a:lnTo>
                    <a:lnTo>
                      <a:pt x="377" y="224"/>
                    </a:lnTo>
                    <a:lnTo>
                      <a:pt x="335" y="255"/>
                    </a:lnTo>
                    <a:lnTo>
                      <a:pt x="295" y="291"/>
                    </a:lnTo>
                    <a:lnTo>
                      <a:pt x="260" y="330"/>
                    </a:lnTo>
                    <a:lnTo>
                      <a:pt x="229" y="371"/>
                    </a:lnTo>
                    <a:lnTo>
                      <a:pt x="202" y="415"/>
                    </a:lnTo>
                    <a:lnTo>
                      <a:pt x="179" y="462"/>
                    </a:lnTo>
                    <a:lnTo>
                      <a:pt x="161" y="510"/>
                    </a:lnTo>
                    <a:lnTo>
                      <a:pt x="149" y="560"/>
                    </a:lnTo>
                    <a:lnTo>
                      <a:pt x="141" y="611"/>
                    </a:lnTo>
                    <a:lnTo>
                      <a:pt x="138" y="663"/>
                    </a:lnTo>
                    <a:lnTo>
                      <a:pt x="141" y="715"/>
                    </a:lnTo>
                    <a:lnTo>
                      <a:pt x="149" y="767"/>
                    </a:lnTo>
                    <a:lnTo>
                      <a:pt x="161" y="817"/>
                    </a:lnTo>
                    <a:lnTo>
                      <a:pt x="179" y="865"/>
                    </a:lnTo>
                    <a:lnTo>
                      <a:pt x="202" y="911"/>
                    </a:lnTo>
                    <a:lnTo>
                      <a:pt x="229" y="955"/>
                    </a:lnTo>
                    <a:lnTo>
                      <a:pt x="260" y="997"/>
                    </a:lnTo>
                    <a:lnTo>
                      <a:pt x="295" y="1036"/>
                    </a:lnTo>
                    <a:lnTo>
                      <a:pt x="335" y="1071"/>
                    </a:lnTo>
                    <a:lnTo>
                      <a:pt x="377" y="1101"/>
                    </a:lnTo>
                    <a:lnTo>
                      <a:pt x="422" y="1128"/>
                    </a:lnTo>
                    <a:lnTo>
                      <a:pt x="469" y="1150"/>
                    </a:lnTo>
                    <a:lnTo>
                      <a:pt x="518" y="1168"/>
                    </a:lnTo>
                    <a:lnTo>
                      <a:pt x="568" y="1180"/>
                    </a:lnTo>
                    <a:lnTo>
                      <a:pt x="620" y="1187"/>
                    </a:lnTo>
                    <a:lnTo>
                      <a:pt x="673" y="1190"/>
                    </a:lnTo>
                    <a:lnTo>
                      <a:pt x="726" y="1187"/>
                    </a:lnTo>
                    <a:lnTo>
                      <a:pt x="779" y="1180"/>
                    </a:lnTo>
                    <a:lnTo>
                      <a:pt x="829" y="1168"/>
                    </a:lnTo>
                    <a:lnTo>
                      <a:pt x="879" y="1150"/>
                    </a:lnTo>
                    <a:lnTo>
                      <a:pt x="926" y="1128"/>
                    </a:lnTo>
                    <a:lnTo>
                      <a:pt x="971" y="1101"/>
                    </a:lnTo>
                    <a:lnTo>
                      <a:pt x="1013" y="1071"/>
                    </a:lnTo>
                    <a:lnTo>
                      <a:pt x="1053" y="1036"/>
                    </a:lnTo>
                    <a:lnTo>
                      <a:pt x="1088" y="997"/>
                    </a:lnTo>
                    <a:lnTo>
                      <a:pt x="1119" y="955"/>
                    </a:lnTo>
                    <a:lnTo>
                      <a:pt x="1146" y="911"/>
                    </a:lnTo>
                    <a:lnTo>
                      <a:pt x="1168" y="865"/>
                    </a:lnTo>
                    <a:lnTo>
                      <a:pt x="1186" y="817"/>
                    </a:lnTo>
                    <a:lnTo>
                      <a:pt x="1198" y="767"/>
                    </a:lnTo>
                    <a:lnTo>
                      <a:pt x="1207" y="715"/>
                    </a:lnTo>
                    <a:lnTo>
                      <a:pt x="1209" y="663"/>
                    </a:lnTo>
                    <a:lnTo>
                      <a:pt x="1207" y="611"/>
                    </a:lnTo>
                    <a:lnTo>
                      <a:pt x="1198" y="560"/>
                    </a:lnTo>
                    <a:lnTo>
                      <a:pt x="1186" y="510"/>
                    </a:lnTo>
                    <a:lnTo>
                      <a:pt x="1168" y="462"/>
                    </a:lnTo>
                    <a:lnTo>
                      <a:pt x="1146" y="415"/>
                    </a:lnTo>
                    <a:lnTo>
                      <a:pt x="1119" y="371"/>
                    </a:lnTo>
                    <a:lnTo>
                      <a:pt x="1088" y="330"/>
                    </a:lnTo>
                    <a:lnTo>
                      <a:pt x="1053" y="291"/>
                    </a:lnTo>
                    <a:lnTo>
                      <a:pt x="1013" y="255"/>
                    </a:lnTo>
                    <a:lnTo>
                      <a:pt x="971" y="224"/>
                    </a:lnTo>
                    <a:lnTo>
                      <a:pt x="926" y="198"/>
                    </a:lnTo>
                    <a:lnTo>
                      <a:pt x="879" y="176"/>
                    </a:lnTo>
                    <a:lnTo>
                      <a:pt x="829" y="159"/>
                    </a:lnTo>
                    <a:lnTo>
                      <a:pt x="779" y="146"/>
                    </a:lnTo>
                    <a:lnTo>
                      <a:pt x="726" y="138"/>
                    </a:lnTo>
                    <a:lnTo>
                      <a:pt x="673" y="136"/>
                    </a:lnTo>
                    <a:close/>
                    <a:moveTo>
                      <a:pt x="673" y="0"/>
                    </a:moveTo>
                    <a:lnTo>
                      <a:pt x="734" y="2"/>
                    </a:lnTo>
                    <a:lnTo>
                      <a:pt x="792" y="10"/>
                    </a:lnTo>
                    <a:lnTo>
                      <a:pt x="849" y="23"/>
                    </a:lnTo>
                    <a:lnTo>
                      <a:pt x="904" y="40"/>
                    </a:lnTo>
                    <a:lnTo>
                      <a:pt x="958" y="61"/>
                    </a:lnTo>
                    <a:lnTo>
                      <a:pt x="1010" y="88"/>
                    </a:lnTo>
                    <a:lnTo>
                      <a:pt x="1059" y="119"/>
                    </a:lnTo>
                    <a:lnTo>
                      <a:pt x="1106" y="155"/>
                    </a:lnTo>
                    <a:lnTo>
                      <a:pt x="1151" y="195"/>
                    </a:lnTo>
                    <a:lnTo>
                      <a:pt x="1190" y="238"/>
                    </a:lnTo>
                    <a:lnTo>
                      <a:pt x="1226" y="284"/>
                    </a:lnTo>
                    <a:lnTo>
                      <a:pt x="1258" y="332"/>
                    </a:lnTo>
                    <a:lnTo>
                      <a:pt x="1285" y="383"/>
                    </a:lnTo>
                    <a:lnTo>
                      <a:pt x="1306" y="436"/>
                    </a:lnTo>
                    <a:lnTo>
                      <a:pt x="1324" y="490"/>
                    </a:lnTo>
                    <a:lnTo>
                      <a:pt x="1337" y="547"/>
                    </a:lnTo>
                    <a:lnTo>
                      <a:pt x="1345" y="604"/>
                    </a:lnTo>
                    <a:lnTo>
                      <a:pt x="1347" y="663"/>
                    </a:lnTo>
                    <a:lnTo>
                      <a:pt x="1344" y="724"/>
                    </a:lnTo>
                    <a:lnTo>
                      <a:pt x="1337" y="783"/>
                    </a:lnTo>
                    <a:lnTo>
                      <a:pt x="1322" y="841"/>
                    </a:lnTo>
                    <a:lnTo>
                      <a:pt x="1303" y="898"/>
                    </a:lnTo>
                    <a:lnTo>
                      <a:pt x="1279" y="952"/>
                    </a:lnTo>
                    <a:lnTo>
                      <a:pt x="1251" y="1004"/>
                    </a:lnTo>
                    <a:lnTo>
                      <a:pt x="1217" y="1053"/>
                    </a:lnTo>
                    <a:lnTo>
                      <a:pt x="1179" y="1100"/>
                    </a:lnTo>
                    <a:lnTo>
                      <a:pt x="1211" y="1132"/>
                    </a:lnTo>
                    <a:lnTo>
                      <a:pt x="1226" y="1132"/>
                    </a:lnTo>
                    <a:lnTo>
                      <a:pt x="1241" y="1135"/>
                    </a:lnTo>
                    <a:lnTo>
                      <a:pt x="1256" y="1142"/>
                    </a:lnTo>
                    <a:lnTo>
                      <a:pt x="1268" y="1151"/>
                    </a:lnTo>
                    <a:lnTo>
                      <a:pt x="1500" y="1381"/>
                    </a:lnTo>
                    <a:lnTo>
                      <a:pt x="1511" y="1395"/>
                    </a:lnTo>
                    <a:lnTo>
                      <a:pt x="1517" y="1411"/>
                    </a:lnTo>
                    <a:lnTo>
                      <a:pt x="1520" y="1428"/>
                    </a:lnTo>
                    <a:lnTo>
                      <a:pt x="1517" y="1445"/>
                    </a:lnTo>
                    <a:lnTo>
                      <a:pt x="1511" y="1462"/>
                    </a:lnTo>
                    <a:lnTo>
                      <a:pt x="1500" y="1476"/>
                    </a:lnTo>
                    <a:lnTo>
                      <a:pt x="1485" y="1487"/>
                    </a:lnTo>
                    <a:lnTo>
                      <a:pt x="1469" y="1493"/>
                    </a:lnTo>
                    <a:lnTo>
                      <a:pt x="1451" y="1495"/>
                    </a:lnTo>
                    <a:lnTo>
                      <a:pt x="1433" y="1493"/>
                    </a:lnTo>
                    <a:lnTo>
                      <a:pt x="1417" y="1487"/>
                    </a:lnTo>
                    <a:lnTo>
                      <a:pt x="1402" y="1476"/>
                    </a:lnTo>
                    <a:lnTo>
                      <a:pt x="1170" y="1248"/>
                    </a:lnTo>
                    <a:lnTo>
                      <a:pt x="1160" y="1235"/>
                    </a:lnTo>
                    <a:lnTo>
                      <a:pt x="1154" y="1222"/>
                    </a:lnTo>
                    <a:lnTo>
                      <a:pt x="1151" y="1208"/>
                    </a:lnTo>
                    <a:lnTo>
                      <a:pt x="1151" y="1192"/>
                    </a:lnTo>
                    <a:lnTo>
                      <a:pt x="1118" y="1161"/>
                    </a:lnTo>
                    <a:lnTo>
                      <a:pt x="1070" y="1198"/>
                    </a:lnTo>
                    <a:lnTo>
                      <a:pt x="1020" y="1231"/>
                    </a:lnTo>
                    <a:lnTo>
                      <a:pt x="967" y="1260"/>
                    </a:lnTo>
                    <a:lnTo>
                      <a:pt x="911" y="1283"/>
                    </a:lnTo>
                    <a:lnTo>
                      <a:pt x="854" y="1302"/>
                    </a:lnTo>
                    <a:lnTo>
                      <a:pt x="796" y="1315"/>
                    </a:lnTo>
                    <a:lnTo>
                      <a:pt x="735" y="1323"/>
                    </a:lnTo>
                    <a:lnTo>
                      <a:pt x="673" y="1326"/>
                    </a:lnTo>
                    <a:lnTo>
                      <a:pt x="614" y="1323"/>
                    </a:lnTo>
                    <a:lnTo>
                      <a:pt x="556" y="1316"/>
                    </a:lnTo>
                    <a:lnTo>
                      <a:pt x="499" y="1304"/>
                    </a:lnTo>
                    <a:lnTo>
                      <a:pt x="443" y="1287"/>
                    </a:lnTo>
                    <a:lnTo>
                      <a:pt x="390" y="1264"/>
                    </a:lnTo>
                    <a:lnTo>
                      <a:pt x="338" y="1238"/>
                    </a:lnTo>
                    <a:lnTo>
                      <a:pt x="288" y="1207"/>
                    </a:lnTo>
                    <a:lnTo>
                      <a:pt x="242" y="1172"/>
                    </a:lnTo>
                    <a:lnTo>
                      <a:pt x="197" y="1132"/>
                    </a:lnTo>
                    <a:lnTo>
                      <a:pt x="157" y="1089"/>
                    </a:lnTo>
                    <a:lnTo>
                      <a:pt x="122" y="1043"/>
                    </a:lnTo>
                    <a:lnTo>
                      <a:pt x="90" y="994"/>
                    </a:lnTo>
                    <a:lnTo>
                      <a:pt x="63" y="943"/>
                    </a:lnTo>
                    <a:lnTo>
                      <a:pt x="40" y="890"/>
                    </a:lnTo>
                    <a:lnTo>
                      <a:pt x="23" y="835"/>
                    </a:lnTo>
                    <a:lnTo>
                      <a:pt x="10" y="779"/>
                    </a:lnTo>
                    <a:lnTo>
                      <a:pt x="3" y="722"/>
                    </a:lnTo>
                    <a:lnTo>
                      <a:pt x="0" y="663"/>
                    </a:lnTo>
                    <a:lnTo>
                      <a:pt x="3" y="604"/>
                    </a:lnTo>
                    <a:lnTo>
                      <a:pt x="10" y="547"/>
                    </a:lnTo>
                    <a:lnTo>
                      <a:pt x="23" y="490"/>
                    </a:lnTo>
                    <a:lnTo>
                      <a:pt x="40" y="436"/>
                    </a:lnTo>
                    <a:lnTo>
                      <a:pt x="63" y="383"/>
                    </a:lnTo>
                    <a:lnTo>
                      <a:pt x="90" y="332"/>
                    </a:lnTo>
                    <a:lnTo>
                      <a:pt x="122" y="284"/>
                    </a:lnTo>
                    <a:lnTo>
                      <a:pt x="157" y="238"/>
                    </a:lnTo>
                    <a:lnTo>
                      <a:pt x="197" y="195"/>
                    </a:lnTo>
                    <a:lnTo>
                      <a:pt x="242" y="155"/>
                    </a:lnTo>
                    <a:lnTo>
                      <a:pt x="288" y="119"/>
                    </a:lnTo>
                    <a:lnTo>
                      <a:pt x="338" y="88"/>
                    </a:lnTo>
                    <a:lnTo>
                      <a:pt x="390" y="61"/>
                    </a:lnTo>
                    <a:lnTo>
                      <a:pt x="443" y="40"/>
                    </a:lnTo>
                    <a:lnTo>
                      <a:pt x="499" y="23"/>
                    </a:lnTo>
                    <a:lnTo>
                      <a:pt x="556" y="10"/>
                    </a:lnTo>
                    <a:lnTo>
                      <a:pt x="614" y="2"/>
                    </a:lnTo>
                    <a:lnTo>
                      <a:pt x="6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66" name="Rectangle 65"/>
          <p:cNvSpPr/>
          <p:nvPr/>
        </p:nvSpPr>
        <p:spPr bwMode="ltGray">
          <a:xfrm>
            <a:off x="6174395" y="-2"/>
            <a:ext cx="2969606" cy="39752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  <a:latin typeface="+mj-lt"/>
              </a:rPr>
              <a:t>Банковские услуги, телекоммуникации, розница, энергетика, транспорт</a:t>
            </a:r>
            <a:endParaRPr lang="ru-RU" sz="9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8693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47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8684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 bwMode="ltGray">
          <a:xfrm rot="16200000">
            <a:off x="-962306" y="959802"/>
            <a:ext cx="2948475" cy="102887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Rectangle 113"/>
          <p:cNvSpPr/>
          <p:nvPr/>
        </p:nvSpPr>
        <p:spPr bwMode="ltGray">
          <a:xfrm rot="16200000">
            <a:off x="-1442832" y="4388802"/>
            <a:ext cx="3909527" cy="10288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359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17"/>
          <p:cNvSpPr>
            <a:spLocks/>
          </p:cNvSpPr>
          <p:nvPr/>
        </p:nvSpPr>
        <p:spPr bwMode="auto">
          <a:xfrm>
            <a:off x="142451" y="544679"/>
            <a:ext cx="73896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Обработка в режиме реального времени</a:t>
            </a:r>
          </a:p>
        </p:txBody>
      </p:sp>
      <p:sp>
        <p:nvSpPr>
          <p:cNvPr id="41" name="Rectangle 17"/>
          <p:cNvSpPr>
            <a:spLocks/>
          </p:cNvSpPr>
          <p:nvPr/>
        </p:nvSpPr>
        <p:spPr bwMode="auto">
          <a:xfrm>
            <a:off x="84105" y="304800"/>
            <a:ext cx="8556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Подход</a:t>
            </a:r>
            <a:endParaRPr lang="ru-RU" sz="971" i="1" dirty="0">
              <a:solidFill>
                <a:schemeClr val="bg1"/>
              </a:solidFill>
              <a:latin typeface="+mj-lt"/>
              <a:ea typeface="ＭＳ Ｐゴシック" charset="0"/>
              <a:cs typeface="ＭＳ Ｐゴシック" charset="0"/>
              <a:sym typeface="Helvetica Neue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142451" y="1115418"/>
            <a:ext cx="7389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Машинное обучение</a:t>
            </a:r>
          </a:p>
        </p:txBody>
      </p:sp>
      <p:sp>
        <p:nvSpPr>
          <p:cNvPr id="115" name="Rectangle 114"/>
          <p:cNvSpPr/>
          <p:nvPr/>
        </p:nvSpPr>
        <p:spPr bwMode="ltGray">
          <a:xfrm>
            <a:off x="1320495" y="4434873"/>
            <a:ext cx="2252946" cy="1607811"/>
          </a:xfrm>
          <a:prstGeom prst="rect">
            <a:avLst/>
          </a:prstGeom>
          <a:solidFill>
            <a:srgbClr val="A7A49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050" dirty="0" smtClean="0">
                <a:solidFill>
                  <a:schemeClr val="bg1"/>
                </a:solidFill>
                <a:latin typeface="+mj-lt"/>
              </a:rPr>
              <a:t>Связь товаров</a:t>
            </a:r>
          </a:p>
        </p:txBody>
      </p:sp>
      <p:sp>
        <p:nvSpPr>
          <p:cNvPr id="116" name="Rectangle 115"/>
          <p:cNvSpPr/>
          <p:nvPr/>
        </p:nvSpPr>
        <p:spPr bwMode="ltGray">
          <a:xfrm>
            <a:off x="6197013" y="4434546"/>
            <a:ext cx="2253194" cy="1608138"/>
          </a:xfrm>
          <a:prstGeom prst="rect">
            <a:avLst/>
          </a:prstGeom>
          <a:solidFill>
            <a:srgbClr val="A7A49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050" dirty="0" smtClean="0">
                <a:solidFill>
                  <a:schemeClr val="bg1"/>
                </a:solidFill>
                <a:latin typeface="+mj-lt"/>
              </a:rPr>
              <a:t>Покупатели этого товара</a:t>
            </a:r>
            <a:r>
              <a:rPr>
                <a:solidFill>
                  <a:schemeClr val="bg1"/>
                </a:solidFill>
                <a:latin typeface="+mj-lt"/>
              </a:rPr>
              <a:t/>
            </a:r>
            <a:br>
              <a:rPr>
                <a:solidFill>
                  <a:schemeClr val="bg1"/>
                </a:solidFill>
                <a:latin typeface="+mj-lt"/>
              </a:rPr>
            </a:br>
            <a:r>
              <a:rPr lang="ru-RU" sz="1050" dirty="0" smtClean="0">
                <a:solidFill>
                  <a:schemeClr val="bg1"/>
                </a:solidFill>
                <a:latin typeface="+mj-lt"/>
              </a:rPr>
              <a:t>также купили</a:t>
            </a:r>
          </a:p>
        </p:txBody>
      </p:sp>
      <p:sp>
        <p:nvSpPr>
          <p:cNvPr id="117" name="Rectangle 116"/>
          <p:cNvSpPr/>
          <p:nvPr/>
        </p:nvSpPr>
        <p:spPr bwMode="ltGray">
          <a:xfrm>
            <a:off x="3758630" y="4434546"/>
            <a:ext cx="2253194" cy="1608138"/>
          </a:xfrm>
          <a:prstGeom prst="rect">
            <a:avLst/>
          </a:prstGeom>
          <a:solidFill>
            <a:srgbClr val="A7A49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050" dirty="0" smtClean="0">
                <a:solidFill>
                  <a:schemeClr val="bg1"/>
                </a:solidFill>
                <a:latin typeface="+mj-lt"/>
              </a:rPr>
              <a:t>Корзина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6188294" y="2504348"/>
            <a:ext cx="283180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... что улучшает персонализацию</a:t>
            </a: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вашего предложения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1312040" y="3863277"/>
            <a:ext cx="722471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sz="1500" i="1" dirty="0" smtClean="0">
                <a:solidFill>
                  <a:schemeClr val="bg1"/>
                </a:solidFill>
                <a:latin typeface="+mj-lt"/>
              </a:rPr>
              <a:t>Рекомендательные системы позволяют уловить потребности клиента и тем самым повысить текущие продажи</a:t>
            </a:r>
          </a:p>
        </p:txBody>
      </p:sp>
      <p:grpSp>
        <p:nvGrpSpPr>
          <p:cNvPr id="126" name="Group 125"/>
          <p:cNvGrpSpPr/>
          <p:nvPr/>
        </p:nvGrpSpPr>
        <p:grpSpPr>
          <a:xfrm>
            <a:off x="6441238" y="1303683"/>
            <a:ext cx="2230689" cy="977693"/>
            <a:chOff x="5811115" y="3023997"/>
            <a:chExt cx="2230689" cy="977693"/>
          </a:xfrm>
        </p:grpSpPr>
        <p:grpSp>
          <p:nvGrpSpPr>
            <p:cNvPr id="127" name="Group 126"/>
            <p:cNvGrpSpPr/>
            <p:nvPr/>
          </p:nvGrpSpPr>
          <p:grpSpPr>
            <a:xfrm>
              <a:off x="5811115" y="3023997"/>
              <a:ext cx="379765" cy="977693"/>
              <a:chOff x="1817688" y="465138"/>
              <a:chExt cx="298450" cy="768350"/>
            </a:xfrm>
            <a:solidFill>
              <a:schemeClr val="tx2">
                <a:lumMod val="20000"/>
                <a:lumOff val="80000"/>
              </a:schemeClr>
            </a:solidFill>
          </p:grpSpPr>
          <p:sp>
            <p:nvSpPr>
              <p:cNvPr id="150" name="Freeform 18"/>
              <p:cNvSpPr>
                <a:spLocks/>
              </p:cNvSpPr>
              <p:nvPr/>
            </p:nvSpPr>
            <p:spPr bwMode="auto">
              <a:xfrm>
                <a:off x="1903413" y="465138"/>
                <a:ext cx="127000" cy="127000"/>
              </a:xfrm>
              <a:custGeom>
                <a:avLst/>
                <a:gdLst>
                  <a:gd name="T0" fmla="*/ 40 w 80"/>
                  <a:gd name="T1" fmla="*/ 80 h 80"/>
                  <a:gd name="T2" fmla="*/ 40 w 80"/>
                  <a:gd name="T3" fmla="*/ 80 h 80"/>
                  <a:gd name="T4" fmla="*/ 48 w 80"/>
                  <a:gd name="T5" fmla="*/ 78 h 80"/>
                  <a:gd name="T6" fmla="*/ 56 w 80"/>
                  <a:gd name="T7" fmla="*/ 76 h 80"/>
                  <a:gd name="T8" fmla="*/ 62 w 80"/>
                  <a:gd name="T9" fmla="*/ 72 h 80"/>
                  <a:gd name="T10" fmla="*/ 68 w 80"/>
                  <a:gd name="T11" fmla="*/ 68 h 80"/>
                  <a:gd name="T12" fmla="*/ 72 w 80"/>
                  <a:gd name="T13" fmla="*/ 62 h 80"/>
                  <a:gd name="T14" fmla="*/ 76 w 80"/>
                  <a:gd name="T15" fmla="*/ 56 h 80"/>
                  <a:gd name="T16" fmla="*/ 78 w 80"/>
                  <a:gd name="T17" fmla="*/ 48 h 80"/>
                  <a:gd name="T18" fmla="*/ 80 w 80"/>
                  <a:gd name="T19" fmla="*/ 40 h 80"/>
                  <a:gd name="T20" fmla="*/ 80 w 80"/>
                  <a:gd name="T21" fmla="*/ 40 h 80"/>
                  <a:gd name="T22" fmla="*/ 78 w 80"/>
                  <a:gd name="T23" fmla="*/ 32 h 80"/>
                  <a:gd name="T24" fmla="*/ 76 w 80"/>
                  <a:gd name="T25" fmla="*/ 24 h 80"/>
                  <a:gd name="T26" fmla="*/ 72 w 80"/>
                  <a:gd name="T27" fmla="*/ 18 h 80"/>
                  <a:gd name="T28" fmla="*/ 68 w 80"/>
                  <a:gd name="T29" fmla="*/ 12 h 80"/>
                  <a:gd name="T30" fmla="*/ 62 w 80"/>
                  <a:gd name="T31" fmla="*/ 6 h 80"/>
                  <a:gd name="T32" fmla="*/ 56 w 80"/>
                  <a:gd name="T33" fmla="*/ 2 h 80"/>
                  <a:gd name="T34" fmla="*/ 48 w 80"/>
                  <a:gd name="T35" fmla="*/ 0 h 80"/>
                  <a:gd name="T36" fmla="*/ 40 w 80"/>
                  <a:gd name="T37" fmla="*/ 0 h 80"/>
                  <a:gd name="T38" fmla="*/ 40 w 80"/>
                  <a:gd name="T39" fmla="*/ 0 h 80"/>
                  <a:gd name="T40" fmla="*/ 32 w 80"/>
                  <a:gd name="T41" fmla="*/ 0 h 80"/>
                  <a:gd name="T42" fmla="*/ 24 w 80"/>
                  <a:gd name="T43" fmla="*/ 2 h 80"/>
                  <a:gd name="T44" fmla="*/ 16 w 80"/>
                  <a:gd name="T45" fmla="*/ 6 h 80"/>
                  <a:gd name="T46" fmla="*/ 12 w 80"/>
                  <a:gd name="T47" fmla="*/ 12 h 80"/>
                  <a:gd name="T48" fmla="*/ 6 w 80"/>
                  <a:gd name="T49" fmla="*/ 18 h 80"/>
                  <a:gd name="T50" fmla="*/ 2 w 80"/>
                  <a:gd name="T51" fmla="*/ 24 h 80"/>
                  <a:gd name="T52" fmla="*/ 0 w 80"/>
                  <a:gd name="T53" fmla="*/ 32 h 80"/>
                  <a:gd name="T54" fmla="*/ 0 w 80"/>
                  <a:gd name="T55" fmla="*/ 40 h 80"/>
                  <a:gd name="T56" fmla="*/ 0 w 80"/>
                  <a:gd name="T57" fmla="*/ 40 h 80"/>
                  <a:gd name="T58" fmla="*/ 0 w 80"/>
                  <a:gd name="T59" fmla="*/ 48 h 80"/>
                  <a:gd name="T60" fmla="*/ 2 w 80"/>
                  <a:gd name="T61" fmla="*/ 56 h 80"/>
                  <a:gd name="T62" fmla="*/ 6 w 80"/>
                  <a:gd name="T63" fmla="*/ 62 h 80"/>
                  <a:gd name="T64" fmla="*/ 12 w 80"/>
                  <a:gd name="T65" fmla="*/ 68 h 80"/>
                  <a:gd name="T66" fmla="*/ 16 w 80"/>
                  <a:gd name="T67" fmla="*/ 72 h 80"/>
                  <a:gd name="T68" fmla="*/ 24 w 80"/>
                  <a:gd name="T69" fmla="*/ 76 h 80"/>
                  <a:gd name="T70" fmla="*/ 32 w 80"/>
                  <a:gd name="T71" fmla="*/ 78 h 80"/>
                  <a:gd name="T72" fmla="*/ 40 w 80"/>
                  <a:gd name="T73" fmla="*/ 80 h 80"/>
                  <a:gd name="T74" fmla="*/ 40 w 80"/>
                  <a:gd name="T7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80"/>
                    </a:moveTo>
                    <a:lnTo>
                      <a:pt x="40" y="80"/>
                    </a:lnTo>
                    <a:lnTo>
                      <a:pt x="48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6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6" y="6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6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40" y="80"/>
                    </a:lnTo>
                    <a:lnTo>
                      <a:pt x="40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1" name="Line 19"/>
              <p:cNvSpPr>
                <a:spLocks noChangeShapeType="1"/>
              </p:cNvSpPr>
              <p:nvPr/>
            </p:nvSpPr>
            <p:spPr bwMode="auto">
              <a:xfrm>
                <a:off x="1966913" y="528638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2" name="Line 20"/>
              <p:cNvSpPr>
                <a:spLocks noChangeShapeType="1"/>
              </p:cNvSpPr>
              <p:nvPr/>
            </p:nvSpPr>
            <p:spPr bwMode="auto">
              <a:xfrm>
                <a:off x="1966913" y="528638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3" name="Freeform 21"/>
              <p:cNvSpPr>
                <a:spLocks/>
              </p:cNvSpPr>
              <p:nvPr/>
            </p:nvSpPr>
            <p:spPr bwMode="auto">
              <a:xfrm>
                <a:off x="1817688" y="604838"/>
                <a:ext cx="298450" cy="628650"/>
              </a:xfrm>
              <a:custGeom>
                <a:avLst/>
                <a:gdLst>
                  <a:gd name="T0" fmla="*/ 50 w 188"/>
                  <a:gd name="T1" fmla="*/ 0 h 396"/>
                  <a:gd name="T2" fmla="*/ 30 w 188"/>
                  <a:gd name="T3" fmla="*/ 4 h 396"/>
                  <a:gd name="T4" fmla="*/ 14 w 188"/>
                  <a:gd name="T5" fmla="*/ 16 h 396"/>
                  <a:gd name="T6" fmla="*/ 4 w 188"/>
                  <a:gd name="T7" fmla="*/ 32 h 396"/>
                  <a:gd name="T8" fmla="*/ 0 w 188"/>
                  <a:gd name="T9" fmla="*/ 52 h 396"/>
                  <a:gd name="T10" fmla="*/ 0 w 188"/>
                  <a:gd name="T11" fmla="*/ 176 h 396"/>
                  <a:gd name="T12" fmla="*/ 4 w 188"/>
                  <a:gd name="T13" fmla="*/ 190 h 396"/>
                  <a:gd name="T14" fmla="*/ 16 w 188"/>
                  <a:gd name="T15" fmla="*/ 194 h 396"/>
                  <a:gd name="T16" fmla="*/ 28 w 188"/>
                  <a:gd name="T17" fmla="*/ 190 h 396"/>
                  <a:gd name="T18" fmla="*/ 34 w 188"/>
                  <a:gd name="T19" fmla="*/ 176 h 396"/>
                  <a:gd name="T20" fmla="*/ 42 w 188"/>
                  <a:gd name="T21" fmla="*/ 64 h 396"/>
                  <a:gd name="T22" fmla="*/ 42 w 188"/>
                  <a:gd name="T23" fmla="*/ 372 h 396"/>
                  <a:gd name="T24" fmla="*/ 50 w 188"/>
                  <a:gd name="T25" fmla="*/ 390 h 396"/>
                  <a:gd name="T26" fmla="*/ 66 w 188"/>
                  <a:gd name="T27" fmla="*/ 396 h 396"/>
                  <a:gd name="T28" fmla="*/ 82 w 188"/>
                  <a:gd name="T29" fmla="*/ 388 h 396"/>
                  <a:gd name="T30" fmla="*/ 90 w 188"/>
                  <a:gd name="T31" fmla="*/ 372 h 396"/>
                  <a:gd name="T32" fmla="*/ 98 w 188"/>
                  <a:gd name="T33" fmla="*/ 192 h 396"/>
                  <a:gd name="T34" fmla="*/ 98 w 188"/>
                  <a:gd name="T35" fmla="*/ 372 h 396"/>
                  <a:gd name="T36" fmla="*/ 104 w 188"/>
                  <a:gd name="T37" fmla="*/ 388 h 396"/>
                  <a:gd name="T38" fmla="*/ 120 w 188"/>
                  <a:gd name="T39" fmla="*/ 396 h 396"/>
                  <a:gd name="T40" fmla="*/ 136 w 188"/>
                  <a:gd name="T41" fmla="*/ 390 h 396"/>
                  <a:gd name="T42" fmla="*/ 144 w 188"/>
                  <a:gd name="T43" fmla="*/ 372 h 396"/>
                  <a:gd name="T44" fmla="*/ 152 w 188"/>
                  <a:gd name="T45" fmla="*/ 64 h 396"/>
                  <a:gd name="T46" fmla="*/ 152 w 188"/>
                  <a:gd name="T47" fmla="*/ 176 h 396"/>
                  <a:gd name="T48" fmla="*/ 158 w 188"/>
                  <a:gd name="T49" fmla="*/ 190 h 396"/>
                  <a:gd name="T50" fmla="*/ 170 w 188"/>
                  <a:gd name="T51" fmla="*/ 194 h 396"/>
                  <a:gd name="T52" fmla="*/ 182 w 188"/>
                  <a:gd name="T53" fmla="*/ 190 h 396"/>
                  <a:gd name="T54" fmla="*/ 188 w 188"/>
                  <a:gd name="T55" fmla="*/ 176 h 396"/>
                  <a:gd name="T56" fmla="*/ 188 w 188"/>
                  <a:gd name="T57" fmla="*/ 54 h 396"/>
                  <a:gd name="T58" fmla="*/ 184 w 188"/>
                  <a:gd name="T59" fmla="*/ 34 h 396"/>
                  <a:gd name="T60" fmla="*/ 172 w 188"/>
                  <a:gd name="T61" fmla="*/ 18 h 396"/>
                  <a:gd name="T62" fmla="*/ 156 w 188"/>
                  <a:gd name="T63" fmla="*/ 6 h 396"/>
                  <a:gd name="T64" fmla="*/ 136 w 188"/>
                  <a:gd name="T65" fmla="*/ 0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8" h="3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2"/>
                    </a:lnTo>
                    <a:lnTo>
                      <a:pt x="30" y="4"/>
                    </a:lnTo>
                    <a:lnTo>
                      <a:pt x="22" y="10"/>
                    </a:lnTo>
                    <a:lnTo>
                      <a:pt x="14" y="16"/>
                    </a:lnTo>
                    <a:lnTo>
                      <a:pt x="8" y="24"/>
                    </a:lnTo>
                    <a:lnTo>
                      <a:pt x="4" y="32"/>
                    </a:lnTo>
                    <a:lnTo>
                      <a:pt x="0" y="42"/>
                    </a:lnTo>
                    <a:lnTo>
                      <a:pt x="0" y="52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84"/>
                    </a:lnTo>
                    <a:lnTo>
                      <a:pt x="4" y="190"/>
                    </a:lnTo>
                    <a:lnTo>
                      <a:pt x="10" y="192"/>
                    </a:lnTo>
                    <a:lnTo>
                      <a:pt x="16" y="194"/>
                    </a:lnTo>
                    <a:lnTo>
                      <a:pt x="24" y="192"/>
                    </a:lnTo>
                    <a:lnTo>
                      <a:pt x="28" y="190"/>
                    </a:lnTo>
                    <a:lnTo>
                      <a:pt x="32" y="184"/>
                    </a:lnTo>
                    <a:lnTo>
                      <a:pt x="34" y="176"/>
                    </a:lnTo>
                    <a:lnTo>
                      <a:pt x="34" y="64"/>
                    </a:lnTo>
                    <a:lnTo>
                      <a:pt x="42" y="64"/>
                    </a:lnTo>
                    <a:lnTo>
                      <a:pt x="42" y="372"/>
                    </a:lnTo>
                    <a:lnTo>
                      <a:pt x="42" y="372"/>
                    </a:lnTo>
                    <a:lnTo>
                      <a:pt x="44" y="382"/>
                    </a:lnTo>
                    <a:lnTo>
                      <a:pt x="50" y="390"/>
                    </a:lnTo>
                    <a:lnTo>
                      <a:pt x="58" y="394"/>
                    </a:lnTo>
                    <a:lnTo>
                      <a:pt x="66" y="396"/>
                    </a:lnTo>
                    <a:lnTo>
                      <a:pt x="74" y="394"/>
                    </a:lnTo>
                    <a:lnTo>
                      <a:pt x="82" y="388"/>
                    </a:lnTo>
                    <a:lnTo>
                      <a:pt x="88" y="382"/>
                    </a:lnTo>
                    <a:lnTo>
                      <a:pt x="90" y="372"/>
                    </a:lnTo>
                    <a:lnTo>
                      <a:pt x="90" y="192"/>
                    </a:lnTo>
                    <a:lnTo>
                      <a:pt x="98" y="192"/>
                    </a:lnTo>
                    <a:lnTo>
                      <a:pt x="98" y="372"/>
                    </a:lnTo>
                    <a:lnTo>
                      <a:pt x="98" y="372"/>
                    </a:lnTo>
                    <a:lnTo>
                      <a:pt x="100" y="382"/>
                    </a:lnTo>
                    <a:lnTo>
                      <a:pt x="104" y="388"/>
                    </a:lnTo>
                    <a:lnTo>
                      <a:pt x="112" y="394"/>
                    </a:lnTo>
                    <a:lnTo>
                      <a:pt x="120" y="396"/>
                    </a:lnTo>
                    <a:lnTo>
                      <a:pt x="130" y="394"/>
                    </a:lnTo>
                    <a:lnTo>
                      <a:pt x="136" y="390"/>
                    </a:lnTo>
                    <a:lnTo>
                      <a:pt x="142" y="382"/>
                    </a:lnTo>
                    <a:lnTo>
                      <a:pt x="144" y="372"/>
                    </a:lnTo>
                    <a:lnTo>
                      <a:pt x="144" y="64"/>
                    </a:lnTo>
                    <a:lnTo>
                      <a:pt x="152" y="64"/>
                    </a:lnTo>
                    <a:lnTo>
                      <a:pt x="152" y="176"/>
                    </a:lnTo>
                    <a:lnTo>
                      <a:pt x="152" y="176"/>
                    </a:lnTo>
                    <a:lnTo>
                      <a:pt x="154" y="184"/>
                    </a:lnTo>
                    <a:lnTo>
                      <a:pt x="158" y="190"/>
                    </a:lnTo>
                    <a:lnTo>
                      <a:pt x="164" y="192"/>
                    </a:lnTo>
                    <a:lnTo>
                      <a:pt x="170" y="194"/>
                    </a:lnTo>
                    <a:lnTo>
                      <a:pt x="176" y="192"/>
                    </a:lnTo>
                    <a:lnTo>
                      <a:pt x="182" y="190"/>
                    </a:lnTo>
                    <a:lnTo>
                      <a:pt x="186" y="184"/>
                    </a:lnTo>
                    <a:lnTo>
                      <a:pt x="188" y="176"/>
                    </a:lnTo>
                    <a:lnTo>
                      <a:pt x="188" y="54"/>
                    </a:lnTo>
                    <a:lnTo>
                      <a:pt x="188" y="54"/>
                    </a:lnTo>
                    <a:lnTo>
                      <a:pt x="186" y="44"/>
                    </a:lnTo>
                    <a:lnTo>
                      <a:pt x="184" y="34"/>
                    </a:lnTo>
                    <a:lnTo>
                      <a:pt x="178" y="24"/>
                    </a:lnTo>
                    <a:lnTo>
                      <a:pt x="172" y="18"/>
                    </a:lnTo>
                    <a:lnTo>
                      <a:pt x="166" y="10"/>
                    </a:lnTo>
                    <a:lnTo>
                      <a:pt x="156" y="6"/>
                    </a:lnTo>
                    <a:lnTo>
                      <a:pt x="146" y="2"/>
                    </a:lnTo>
                    <a:lnTo>
                      <a:pt x="136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28" name="Group 127"/>
            <p:cNvGrpSpPr/>
            <p:nvPr/>
          </p:nvGrpSpPr>
          <p:grpSpPr>
            <a:xfrm>
              <a:off x="6273846" y="3023997"/>
              <a:ext cx="379765" cy="977693"/>
              <a:chOff x="1817688" y="465138"/>
              <a:chExt cx="298450" cy="768350"/>
            </a:xfrm>
            <a:solidFill>
              <a:schemeClr val="bg1"/>
            </a:solidFill>
          </p:grpSpPr>
          <p:sp>
            <p:nvSpPr>
              <p:cNvPr id="146" name="Freeform 18"/>
              <p:cNvSpPr>
                <a:spLocks/>
              </p:cNvSpPr>
              <p:nvPr/>
            </p:nvSpPr>
            <p:spPr bwMode="auto">
              <a:xfrm>
                <a:off x="1903413" y="465138"/>
                <a:ext cx="127000" cy="127000"/>
              </a:xfrm>
              <a:custGeom>
                <a:avLst/>
                <a:gdLst>
                  <a:gd name="T0" fmla="*/ 40 w 80"/>
                  <a:gd name="T1" fmla="*/ 80 h 80"/>
                  <a:gd name="T2" fmla="*/ 40 w 80"/>
                  <a:gd name="T3" fmla="*/ 80 h 80"/>
                  <a:gd name="T4" fmla="*/ 48 w 80"/>
                  <a:gd name="T5" fmla="*/ 78 h 80"/>
                  <a:gd name="T6" fmla="*/ 56 w 80"/>
                  <a:gd name="T7" fmla="*/ 76 h 80"/>
                  <a:gd name="T8" fmla="*/ 62 w 80"/>
                  <a:gd name="T9" fmla="*/ 72 h 80"/>
                  <a:gd name="T10" fmla="*/ 68 w 80"/>
                  <a:gd name="T11" fmla="*/ 68 h 80"/>
                  <a:gd name="T12" fmla="*/ 72 w 80"/>
                  <a:gd name="T13" fmla="*/ 62 h 80"/>
                  <a:gd name="T14" fmla="*/ 76 w 80"/>
                  <a:gd name="T15" fmla="*/ 56 h 80"/>
                  <a:gd name="T16" fmla="*/ 78 w 80"/>
                  <a:gd name="T17" fmla="*/ 48 h 80"/>
                  <a:gd name="T18" fmla="*/ 80 w 80"/>
                  <a:gd name="T19" fmla="*/ 40 h 80"/>
                  <a:gd name="T20" fmla="*/ 80 w 80"/>
                  <a:gd name="T21" fmla="*/ 40 h 80"/>
                  <a:gd name="T22" fmla="*/ 78 w 80"/>
                  <a:gd name="T23" fmla="*/ 32 h 80"/>
                  <a:gd name="T24" fmla="*/ 76 w 80"/>
                  <a:gd name="T25" fmla="*/ 24 h 80"/>
                  <a:gd name="T26" fmla="*/ 72 w 80"/>
                  <a:gd name="T27" fmla="*/ 18 h 80"/>
                  <a:gd name="T28" fmla="*/ 68 w 80"/>
                  <a:gd name="T29" fmla="*/ 12 h 80"/>
                  <a:gd name="T30" fmla="*/ 62 w 80"/>
                  <a:gd name="T31" fmla="*/ 6 h 80"/>
                  <a:gd name="T32" fmla="*/ 56 w 80"/>
                  <a:gd name="T33" fmla="*/ 2 h 80"/>
                  <a:gd name="T34" fmla="*/ 48 w 80"/>
                  <a:gd name="T35" fmla="*/ 0 h 80"/>
                  <a:gd name="T36" fmla="*/ 40 w 80"/>
                  <a:gd name="T37" fmla="*/ 0 h 80"/>
                  <a:gd name="T38" fmla="*/ 40 w 80"/>
                  <a:gd name="T39" fmla="*/ 0 h 80"/>
                  <a:gd name="T40" fmla="*/ 32 w 80"/>
                  <a:gd name="T41" fmla="*/ 0 h 80"/>
                  <a:gd name="T42" fmla="*/ 24 w 80"/>
                  <a:gd name="T43" fmla="*/ 2 h 80"/>
                  <a:gd name="T44" fmla="*/ 16 w 80"/>
                  <a:gd name="T45" fmla="*/ 6 h 80"/>
                  <a:gd name="T46" fmla="*/ 12 w 80"/>
                  <a:gd name="T47" fmla="*/ 12 h 80"/>
                  <a:gd name="T48" fmla="*/ 6 w 80"/>
                  <a:gd name="T49" fmla="*/ 18 h 80"/>
                  <a:gd name="T50" fmla="*/ 2 w 80"/>
                  <a:gd name="T51" fmla="*/ 24 h 80"/>
                  <a:gd name="T52" fmla="*/ 0 w 80"/>
                  <a:gd name="T53" fmla="*/ 32 h 80"/>
                  <a:gd name="T54" fmla="*/ 0 w 80"/>
                  <a:gd name="T55" fmla="*/ 40 h 80"/>
                  <a:gd name="T56" fmla="*/ 0 w 80"/>
                  <a:gd name="T57" fmla="*/ 40 h 80"/>
                  <a:gd name="T58" fmla="*/ 0 w 80"/>
                  <a:gd name="T59" fmla="*/ 48 h 80"/>
                  <a:gd name="T60" fmla="*/ 2 w 80"/>
                  <a:gd name="T61" fmla="*/ 56 h 80"/>
                  <a:gd name="T62" fmla="*/ 6 w 80"/>
                  <a:gd name="T63" fmla="*/ 62 h 80"/>
                  <a:gd name="T64" fmla="*/ 12 w 80"/>
                  <a:gd name="T65" fmla="*/ 68 h 80"/>
                  <a:gd name="T66" fmla="*/ 16 w 80"/>
                  <a:gd name="T67" fmla="*/ 72 h 80"/>
                  <a:gd name="T68" fmla="*/ 24 w 80"/>
                  <a:gd name="T69" fmla="*/ 76 h 80"/>
                  <a:gd name="T70" fmla="*/ 32 w 80"/>
                  <a:gd name="T71" fmla="*/ 78 h 80"/>
                  <a:gd name="T72" fmla="*/ 40 w 80"/>
                  <a:gd name="T73" fmla="*/ 80 h 80"/>
                  <a:gd name="T74" fmla="*/ 40 w 80"/>
                  <a:gd name="T7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80"/>
                    </a:moveTo>
                    <a:lnTo>
                      <a:pt x="40" y="80"/>
                    </a:lnTo>
                    <a:lnTo>
                      <a:pt x="48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6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6" y="6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6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40" y="80"/>
                    </a:lnTo>
                    <a:lnTo>
                      <a:pt x="40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7" name="Line 19"/>
              <p:cNvSpPr>
                <a:spLocks noChangeShapeType="1"/>
              </p:cNvSpPr>
              <p:nvPr/>
            </p:nvSpPr>
            <p:spPr bwMode="auto">
              <a:xfrm>
                <a:off x="1966913" y="528638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8" name="Line 20"/>
              <p:cNvSpPr>
                <a:spLocks noChangeShapeType="1"/>
              </p:cNvSpPr>
              <p:nvPr/>
            </p:nvSpPr>
            <p:spPr bwMode="auto">
              <a:xfrm>
                <a:off x="1966913" y="528638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9" name="Freeform 21"/>
              <p:cNvSpPr>
                <a:spLocks/>
              </p:cNvSpPr>
              <p:nvPr/>
            </p:nvSpPr>
            <p:spPr bwMode="auto">
              <a:xfrm>
                <a:off x="1817688" y="604838"/>
                <a:ext cx="298450" cy="628650"/>
              </a:xfrm>
              <a:custGeom>
                <a:avLst/>
                <a:gdLst>
                  <a:gd name="T0" fmla="*/ 50 w 188"/>
                  <a:gd name="T1" fmla="*/ 0 h 396"/>
                  <a:gd name="T2" fmla="*/ 30 w 188"/>
                  <a:gd name="T3" fmla="*/ 4 h 396"/>
                  <a:gd name="T4" fmla="*/ 14 w 188"/>
                  <a:gd name="T5" fmla="*/ 16 h 396"/>
                  <a:gd name="T6" fmla="*/ 4 w 188"/>
                  <a:gd name="T7" fmla="*/ 32 h 396"/>
                  <a:gd name="T8" fmla="*/ 0 w 188"/>
                  <a:gd name="T9" fmla="*/ 52 h 396"/>
                  <a:gd name="T10" fmla="*/ 0 w 188"/>
                  <a:gd name="T11" fmla="*/ 176 h 396"/>
                  <a:gd name="T12" fmla="*/ 4 w 188"/>
                  <a:gd name="T13" fmla="*/ 190 h 396"/>
                  <a:gd name="T14" fmla="*/ 16 w 188"/>
                  <a:gd name="T15" fmla="*/ 194 h 396"/>
                  <a:gd name="T16" fmla="*/ 28 w 188"/>
                  <a:gd name="T17" fmla="*/ 190 h 396"/>
                  <a:gd name="T18" fmla="*/ 34 w 188"/>
                  <a:gd name="T19" fmla="*/ 176 h 396"/>
                  <a:gd name="T20" fmla="*/ 42 w 188"/>
                  <a:gd name="T21" fmla="*/ 64 h 396"/>
                  <a:gd name="T22" fmla="*/ 42 w 188"/>
                  <a:gd name="T23" fmla="*/ 372 h 396"/>
                  <a:gd name="T24" fmla="*/ 50 w 188"/>
                  <a:gd name="T25" fmla="*/ 390 h 396"/>
                  <a:gd name="T26" fmla="*/ 66 w 188"/>
                  <a:gd name="T27" fmla="*/ 396 h 396"/>
                  <a:gd name="T28" fmla="*/ 82 w 188"/>
                  <a:gd name="T29" fmla="*/ 388 h 396"/>
                  <a:gd name="T30" fmla="*/ 90 w 188"/>
                  <a:gd name="T31" fmla="*/ 372 h 396"/>
                  <a:gd name="T32" fmla="*/ 98 w 188"/>
                  <a:gd name="T33" fmla="*/ 192 h 396"/>
                  <a:gd name="T34" fmla="*/ 98 w 188"/>
                  <a:gd name="T35" fmla="*/ 372 h 396"/>
                  <a:gd name="T36" fmla="*/ 104 w 188"/>
                  <a:gd name="T37" fmla="*/ 388 h 396"/>
                  <a:gd name="T38" fmla="*/ 120 w 188"/>
                  <a:gd name="T39" fmla="*/ 396 h 396"/>
                  <a:gd name="T40" fmla="*/ 136 w 188"/>
                  <a:gd name="T41" fmla="*/ 390 h 396"/>
                  <a:gd name="T42" fmla="*/ 144 w 188"/>
                  <a:gd name="T43" fmla="*/ 372 h 396"/>
                  <a:gd name="T44" fmla="*/ 152 w 188"/>
                  <a:gd name="T45" fmla="*/ 64 h 396"/>
                  <a:gd name="T46" fmla="*/ 152 w 188"/>
                  <a:gd name="T47" fmla="*/ 176 h 396"/>
                  <a:gd name="T48" fmla="*/ 158 w 188"/>
                  <a:gd name="T49" fmla="*/ 190 h 396"/>
                  <a:gd name="T50" fmla="*/ 170 w 188"/>
                  <a:gd name="T51" fmla="*/ 194 h 396"/>
                  <a:gd name="T52" fmla="*/ 182 w 188"/>
                  <a:gd name="T53" fmla="*/ 190 h 396"/>
                  <a:gd name="T54" fmla="*/ 188 w 188"/>
                  <a:gd name="T55" fmla="*/ 176 h 396"/>
                  <a:gd name="T56" fmla="*/ 188 w 188"/>
                  <a:gd name="T57" fmla="*/ 54 h 396"/>
                  <a:gd name="T58" fmla="*/ 184 w 188"/>
                  <a:gd name="T59" fmla="*/ 34 h 396"/>
                  <a:gd name="T60" fmla="*/ 172 w 188"/>
                  <a:gd name="T61" fmla="*/ 18 h 396"/>
                  <a:gd name="T62" fmla="*/ 156 w 188"/>
                  <a:gd name="T63" fmla="*/ 6 h 396"/>
                  <a:gd name="T64" fmla="*/ 136 w 188"/>
                  <a:gd name="T65" fmla="*/ 0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8" h="3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2"/>
                    </a:lnTo>
                    <a:lnTo>
                      <a:pt x="30" y="4"/>
                    </a:lnTo>
                    <a:lnTo>
                      <a:pt x="22" y="10"/>
                    </a:lnTo>
                    <a:lnTo>
                      <a:pt x="14" y="16"/>
                    </a:lnTo>
                    <a:lnTo>
                      <a:pt x="8" y="24"/>
                    </a:lnTo>
                    <a:lnTo>
                      <a:pt x="4" y="32"/>
                    </a:lnTo>
                    <a:lnTo>
                      <a:pt x="0" y="42"/>
                    </a:lnTo>
                    <a:lnTo>
                      <a:pt x="0" y="52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84"/>
                    </a:lnTo>
                    <a:lnTo>
                      <a:pt x="4" y="190"/>
                    </a:lnTo>
                    <a:lnTo>
                      <a:pt x="10" y="192"/>
                    </a:lnTo>
                    <a:lnTo>
                      <a:pt x="16" y="194"/>
                    </a:lnTo>
                    <a:lnTo>
                      <a:pt x="24" y="192"/>
                    </a:lnTo>
                    <a:lnTo>
                      <a:pt x="28" y="190"/>
                    </a:lnTo>
                    <a:lnTo>
                      <a:pt x="32" y="184"/>
                    </a:lnTo>
                    <a:lnTo>
                      <a:pt x="34" y="176"/>
                    </a:lnTo>
                    <a:lnTo>
                      <a:pt x="34" y="64"/>
                    </a:lnTo>
                    <a:lnTo>
                      <a:pt x="42" y="64"/>
                    </a:lnTo>
                    <a:lnTo>
                      <a:pt x="42" y="372"/>
                    </a:lnTo>
                    <a:lnTo>
                      <a:pt x="42" y="372"/>
                    </a:lnTo>
                    <a:lnTo>
                      <a:pt x="44" y="382"/>
                    </a:lnTo>
                    <a:lnTo>
                      <a:pt x="50" y="390"/>
                    </a:lnTo>
                    <a:lnTo>
                      <a:pt x="58" y="394"/>
                    </a:lnTo>
                    <a:lnTo>
                      <a:pt x="66" y="396"/>
                    </a:lnTo>
                    <a:lnTo>
                      <a:pt x="74" y="394"/>
                    </a:lnTo>
                    <a:lnTo>
                      <a:pt x="82" y="388"/>
                    </a:lnTo>
                    <a:lnTo>
                      <a:pt x="88" y="382"/>
                    </a:lnTo>
                    <a:lnTo>
                      <a:pt x="90" y="372"/>
                    </a:lnTo>
                    <a:lnTo>
                      <a:pt x="90" y="192"/>
                    </a:lnTo>
                    <a:lnTo>
                      <a:pt x="98" y="192"/>
                    </a:lnTo>
                    <a:lnTo>
                      <a:pt x="98" y="372"/>
                    </a:lnTo>
                    <a:lnTo>
                      <a:pt x="98" y="372"/>
                    </a:lnTo>
                    <a:lnTo>
                      <a:pt x="100" y="382"/>
                    </a:lnTo>
                    <a:lnTo>
                      <a:pt x="104" y="388"/>
                    </a:lnTo>
                    <a:lnTo>
                      <a:pt x="112" y="394"/>
                    </a:lnTo>
                    <a:lnTo>
                      <a:pt x="120" y="396"/>
                    </a:lnTo>
                    <a:lnTo>
                      <a:pt x="130" y="394"/>
                    </a:lnTo>
                    <a:lnTo>
                      <a:pt x="136" y="390"/>
                    </a:lnTo>
                    <a:lnTo>
                      <a:pt x="142" y="382"/>
                    </a:lnTo>
                    <a:lnTo>
                      <a:pt x="144" y="372"/>
                    </a:lnTo>
                    <a:lnTo>
                      <a:pt x="144" y="64"/>
                    </a:lnTo>
                    <a:lnTo>
                      <a:pt x="152" y="64"/>
                    </a:lnTo>
                    <a:lnTo>
                      <a:pt x="152" y="176"/>
                    </a:lnTo>
                    <a:lnTo>
                      <a:pt x="152" y="176"/>
                    </a:lnTo>
                    <a:lnTo>
                      <a:pt x="154" y="184"/>
                    </a:lnTo>
                    <a:lnTo>
                      <a:pt x="158" y="190"/>
                    </a:lnTo>
                    <a:lnTo>
                      <a:pt x="164" y="192"/>
                    </a:lnTo>
                    <a:lnTo>
                      <a:pt x="170" y="194"/>
                    </a:lnTo>
                    <a:lnTo>
                      <a:pt x="176" y="192"/>
                    </a:lnTo>
                    <a:lnTo>
                      <a:pt x="182" y="190"/>
                    </a:lnTo>
                    <a:lnTo>
                      <a:pt x="186" y="184"/>
                    </a:lnTo>
                    <a:lnTo>
                      <a:pt x="188" y="176"/>
                    </a:lnTo>
                    <a:lnTo>
                      <a:pt x="188" y="54"/>
                    </a:lnTo>
                    <a:lnTo>
                      <a:pt x="188" y="54"/>
                    </a:lnTo>
                    <a:lnTo>
                      <a:pt x="186" y="44"/>
                    </a:lnTo>
                    <a:lnTo>
                      <a:pt x="184" y="34"/>
                    </a:lnTo>
                    <a:lnTo>
                      <a:pt x="178" y="24"/>
                    </a:lnTo>
                    <a:lnTo>
                      <a:pt x="172" y="18"/>
                    </a:lnTo>
                    <a:lnTo>
                      <a:pt x="166" y="10"/>
                    </a:lnTo>
                    <a:lnTo>
                      <a:pt x="156" y="6"/>
                    </a:lnTo>
                    <a:lnTo>
                      <a:pt x="146" y="2"/>
                    </a:lnTo>
                    <a:lnTo>
                      <a:pt x="136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31" name="Group 130"/>
            <p:cNvGrpSpPr/>
            <p:nvPr/>
          </p:nvGrpSpPr>
          <p:grpSpPr>
            <a:xfrm>
              <a:off x="6736577" y="3023997"/>
              <a:ext cx="379765" cy="977693"/>
              <a:chOff x="1817688" y="465138"/>
              <a:chExt cx="298450" cy="768350"/>
            </a:xfrm>
            <a:solidFill>
              <a:schemeClr val="accent5">
                <a:lumMod val="20000"/>
                <a:lumOff val="80000"/>
              </a:schemeClr>
            </a:solidFill>
          </p:grpSpPr>
          <p:sp>
            <p:nvSpPr>
              <p:cNvPr id="142" name="Freeform 18"/>
              <p:cNvSpPr>
                <a:spLocks/>
              </p:cNvSpPr>
              <p:nvPr/>
            </p:nvSpPr>
            <p:spPr bwMode="auto">
              <a:xfrm>
                <a:off x="1903413" y="465138"/>
                <a:ext cx="127000" cy="127000"/>
              </a:xfrm>
              <a:custGeom>
                <a:avLst/>
                <a:gdLst>
                  <a:gd name="T0" fmla="*/ 40 w 80"/>
                  <a:gd name="T1" fmla="*/ 80 h 80"/>
                  <a:gd name="T2" fmla="*/ 40 w 80"/>
                  <a:gd name="T3" fmla="*/ 80 h 80"/>
                  <a:gd name="T4" fmla="*/ 48 w 80"/>
                  <a:gd name="T5" fmla="*/ 78 h 80"/>
                  <a:gd name="T6" fmla="*/ 56 w 80"/>
                  <a:gd name="T7" fmla="*/ 76 h 80"/>
                  <a:gd name="T8" fmla="*/ 62 w 80"/>
                  <a:gd name="T9" fmla="*/ 72 h 80"/>
                  <a:gd name="T10" fmla="*/ 68 w 80"/>
                  <a:gd name="T11" fmla="*/ 68 h 80"/>
                  <a:gd name="T12" fmla="*/ 72 w 80"/>
                  <a:gd name="T13" fmla="*/ 62 h 80"/>
                  <a:gd name="T14" fmla="*/ 76 w 80"/>
                  <a:gd name="T15" fmla="*/ 56 h 80"/>
                  <a:gd name="T16" fmla="*/ 78 w 80"/>
                  <a:gd name="T17" fmla="*/ 48 h 80"/>
                  <a:gd name="T18" fmla="*/ 80 w 80"/>
                  <a:gd name="T19" fmla="*/ 40 h 80"/>
                  <a:gd name="T20" fmla="*/ 80 w 80"/>
                  <a:gd name="T21" fmla="*/ 40 h 80"/>
                  <a:gd name="T22" fmla="*/ 78 w 80"/>
                  <a:gd name="T23" fmla="*/ 32 h 80"/>
                  <a:gd name="T24" fmla="*/ 76 w 80"/>
                  <a:gd name="T25" fmla="*/ 24 h 80"/>
                  <a:gd name="T26" fmla="*/ 72 w 80"/>
                  <a:gd name="T27" fmla="*/ 18 h 80"/>
                  <a:gd name="T28" fmla="*/ 68 w 80"/>
                  <a:gd name="T29" fmla="*/ 12 h 80"/>
                  <a:gd name="T30" fmla="*/ 62 w 80"/>
                  <a:gd name="T31" fmla="*/ 6 h 80"/>
                  <a:gd name="T32" fmla="*/ 56 w 80"/>
                  <a:gd name="T33" fmla="*/ 2 h 80"/>
                  <a:gd name="T34" fmla="*/ 48 w 80"/>
                  <a:gd name="T35" fmla="*/ 0 h 80"/>
                  <a:gd name="T36" fmla="*/ 40 w 80"/>
                  <a:gd name="T37" fmla="*/ 0 h 80"/>
                  <a:gd name="T38" fmla="*/ 40 w 80"/>
                  <a:gd name="T39" fmla="*/ 0 h 80"/>
                  <a:gd name="T40" fmla="*/ 32 w 80"/>
                  <a:gd name="T41" fmla="*/ 0 h 80"/>
                  <a:gd name="T42" fmla="*/ 24 w 80"/>
                  <a:gd name="T43" fmla="*/ 2 h 80"/>
                  <a:gd name="T44" fmla="*/ 16 w 80"/>
                  <a:gd name="T45" fmla="*/ 6 h 80"/>
                  <a:gd name="T46" fmla="*/ 12 w 80"/>
                  <a:gd name="T47" fmla="*/ 12 h 80"/>
                  <a:gd name="T48" fmla="*/ 6 w 80"/>
                  <a:gd name="T49" fmla="*/ 18 h 80"/>
                  <a:gd name="T50" fmla="*/ 2 w 80"/>
                  <a:gd name="T51" fmla="*/ 24 h 80"/>
                  <a:gd name="T52" fmla="*/ 0 w 80"/>
                  <a:gd name="T53" fmla="*/ 32 h 80"/>
                  <a:gd name="T54" fmla="*/ 0 w 80"/>
                  <a:gd name="T55" fmla="*/ 40 h 80"/>
                  <a:gd name="T56" fmla="*/ 0 w 80"/>
                  <a:gd name="T57" fmla="*/ 40 h 80"/>
                  <a:gd name="T58" fmla="*/ 0 w 80"/>
                  <a:gd name="T59" fmla="*/ 48 h 80"/>
                  <a:gd name="T60" fmla="*/ 2 w 80"/>
                  <a:gd name="T61" fmla="*/ 56 h 80"/>
                  <a:gd name="T62" fmla="*/ 6 w 80"/>
                  <a:gd name="T63" fmla="*/ 62 h 80"/>
                  <a:gd name="T64" fmla="*/ 12 w 80"/>
                  <a:gd name="T65" fmla="*/ 68 h 80"/>
                  <a:gd name="T66" fmla="*/ 16 w 80"/>
                  <a:gd name="T67" fmla="*/ 72 h 80"/>
                  <a:gd name="T68" fmla="*/ 24 w 80"/>
                  <a:gd name="T69" fmla="*/ 76 h 80"/>
                  <a:gd name="T70" fmla="*/ 32 w 80"/>
                  <a:gd name="T71" fmla="*/ 78 h 80"/>
                  <a:gd name="T72" fmla="*/ 40 w 80"/>
                  <a:gd name="T73" fmla="*/ 80 h 80"/>
                  <a:gd name="T74" fmla="*/ 40 w 80"/>
                  <a:gd name="T7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80"/>
                    </a:moveTo>
                    <a:lnTo>
                      <a:pt x="40" y="80"/>
                    </a:lnTo>
                    <a:lnTo>
                      <a:pt x="48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6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6" y="6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6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40" y="80"/>
                    </a:lnTo>
                    <a:lnTo>
                      <a:pt x="40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3" name="Line 19"/>
              <p:cNvSpPr>
                <a:spLocks noChangeShapeType="1"/>
              </p:cNvSpPr>
              <p:nvPr/>
            </p:nvSpPr>
            <p:spPr bwMode="auto">
              <a:xfrm>
                <a:off x="1966913" y="528638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4" name="Line 20"/>
              <p:cNvSpPr>
                <a:spLocks noChangeShapeType="1"/>
              </p:cNvSpPr>
              <p:nvPr/>
            </p:nvSpPr>
            <p:spPr bwMode="auto">
              <a:xfrm>
                <a:off x="1966913" y="528638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5" name="Freeform 21"/>
              <p:cNvSpPr>
                <a:spLocks/>
              </p:cNvSpPr>
              <p:nvPr/>
            </p:nvSpPr>
            <p:spPr bwMode="auto">
              <a:xfrm>
                <a:off x="1817688" y="604838"/>
                <a:ext cx="298450" cy="628650"/>
              </a:xfrm>
              <a:custGeom>
                <a:avLst/>
                <a:gdLst>
                  <a:gd name="T0" fmla="*/ 50 w 188"/>
                  <a:gd name="T1" fmla="*/ 0 h 396"/>
                  <a:gd name="T2" fmla="*/ 30 w 188"/>
                  <a:gd name="T3" fmla="*/ 4 h 396"/>
                  <a:gd name="T4" fmla="*/ 14 w 188"/>
                  <a:gd name="T5" fmla="*/ 16 h 396"/>
                  <a:gd name="T6" fmla="*/ 4 w 188"/>
                  <a:gd name="T7" fmla="*/ 32 h 396"/>
                  <a:gd name="T8" fmla="*/ 0 w 188"/>
                  <a:gd name="T9" fmla="*/ 52 h 396"/>
                  <a:gd name="T10" fmla="*/ 0 w 188"/>
                  <a:gd name="T11" fmla="*/ 176 h 396"/>
                  <a:gd name="T12" fmla="*/ 4 w 188"/>
                  <a:gd name="T13" fmla="*/ 190 h 396"/>
                  <a:gd name="T14" fmla="*/ 16 w 188"/>
                  <a:gd name="T15" fmla="*/ 194 h 396"/>
                  <a:gd name="T16" fmla="*/ 28 w 188"/>
                  <a:gd name="T17" fmla="*/ 190 h 396"/>
                  <a:gd name="T18" fmla="*/ 34 w 188"/>
                  <a:gd name="T19" fmla="*/ 176 h 396"/>
                  <a:gd name="T20" fmla="*/ 42 w 188"/>
                  <a:gd name="T21" fmla="*/ 64 h 396"/>
                  <a:gd name="T22" fmla="*/ 42 w 188"/>
                  <a:gd name="T23" fmla="*/ 372 h 396"/>
                  <a:gd name="T24" fmla="*/ 50 w 188"/>
                  <a:gd name="T25" fmla="*/ 390 h 396"/>
                  <a:gd name="T26" fmla="*/ 66 w 188"/>
                  <a:gd name="T27" fmla="*/ 396 h 396"/>
                  <a:gd name="T28" fmla="*/ 82 w 188"/>
                  <a:gd name="T29" fmla="*/ 388 h 396"/>
                  <a:gd name="T30" fmla="*/ 90 w 188"/>
                  <a:gd name="T31" fmla="*/ 372 h 396"/>
                  <a:gd name="T32" fmla="*/ 98 w 188"/>
                  <a:gd name="T33" fmla="*/ 192 h 396"/>
                  <a:gd name="T34" fmla="*/ 98 w 188"/>
                  <a:gd name="T35" fmla="*/ 372 h 396"/>
                  <a:gd name="T36" fmla="*/ 104 w 188"/>
                  <a:gd name="T37" fmla="*/ 388 h 396"/>
                  <a:gd name="T38" fmla="*/ 120 w 188"/>
                  <a:gd name="T39" fmla="*/ 396 h 396"/>
                  <a:gd name="T40" fmla="*/ 136 w 188"/>
                  <a:gd name="T41" fmla="*/ 390 h 396"/>
                  <a:gd name="T42" fmla="*/ 144 w 188"/>
                  <a:gd name="T43" fmla="*/ 372 h 396"/>
                  <a:gd name="T44" fmla="*/ 152 w 188"/>
                  <a:gd name="T45" fmla="*/ 64 h 396"/>
                  <a:gd name="T46" fmla="*/ 152 w 188"/>
                  <a:gd name="T47" fmla="*/ 176 h 396"/>
                  <a:gd name="T48" fmla="*/ 158 w 188"/>
                  <a:gd name="T49" fmla="*/ 190 h 396"/>
                  <a:gd name="T50" fmla="*/ 170 w 188"/>
                  <a:gd name="T51" fmla="*/ 194 h 396"/>
                  <a:gd name="T52" fmla="*/ 182 w 188"/>
                  <a:gd name="T53" fmla="*/ 190 h 396"/>
                  <a:gd name="T54" fmla="*/ 188 w 188"/>
                  <a:gd name="T55" fmla="*/ 176 h 396"/>
                  <a:gd name="T56" fmla="*/ 188 w 188"/>
                  <a:gd name="T57" fmla="*/ 54 h 396"/>
                  <a:gd name="T58" fmla="*/ 184 w 188"/>
                  <a:gd name="T59" fmla="*/ 34 h 396"/>
                  <a:gd name="T60" fmla="*/ 172 w 188"/>
                  <a:gd name="T61" fmla="*/ 18 h 396"/>
                  <a:gd name="T62" fmla="*/ 156 w 188"/>
                  <a:gd name="T63" fmla="*/ 6 h 396"/>
                  <a:gd name="T64" fmla="*/ 136 w 188"/>
                  <a:gd name="T65" fmla="*/ 0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8" h="3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2"/>
                    </a:lnTo>
                    <a:lnTo>
                      <a:pt x="30" y="4"/>
                    </a:lnTo>
                    <a:lnTo>
                      <a:pt x="22" y="10"/>
                    </a:lnTo>
                    <a:lnTo>
                      <a:pt x="14" y="16"/>
                    </a:lnTo>
                    <a:lnTo>
                      <a:pt x="8" y="24"/>
                    </a:lnTo>
                    <a:lnTo>
                      <a:pt x="4" y="32"/>
                    </a:lnTo>
                    <a:lnTo>
                      <a:pt x="0" y="42"/>
                    </a:lnTo>
                    <a:lnTo>
                      <a:pt x="0" y="52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84"/>
                    </a:lnTo>
                    <a:lnTo>
                      <a:pt x="4" y="190"/>
                    </a:lnTo>
                    <a:lnTo>
                      <a:pt x="10" y="192"/>
                    </a:lnTo>
                    <a:lnTo>
                      <a:pt x="16" y="194"/>
                    </a:lnTo>
                    <a:lnTo>
                      <a:pt x="24" y="192"/>
                    </a:lnTo>
                    <a:lnTo>
                      <a:pt x="28" y="190"/>
                    </a:lnTo>
                    <a:lnTo>
                      <a:pt x="32" y="184"/>
                    </a:lnTo>
                    <a:lnTo>
                      <a:pt x="34" y="176"/>
                    </a:lnTo>
                    <a:lnTo>
                      <a:pt x="34" y="64"/>
                    </a:lnTo>
                    <a:lnTo>
                      <a:pt x="42" y="64"/>
                    </a:lnTo>
                    <a:lnTo>
                      <a:pt x="42" y="372"/>
                    </a:lnTo>
                    <a:lnTo>
                      <a:pt x="42" y="372"/>
                    </a:lnTo>
                    <a:lnTo>
                      <a:pt x="44" y="382"/>
                    </a:lnTo>
                    <a:lnTo>
                      <a:pt x="50" y="390"/>
                    </a:lnTo>
                    <a:lnTo>
                      <a:pt x="58" y="394"/>
                    </a:lnTo>
                    <a:lnTo>
                      <a:pt x="66" y="396"/>
                    </a:lnTo>
                    <a:lnTo>
                      <a:pt x="74" y="394"/>
                    </a:lnTo>
                    <a:lnTo>
                      <a:pt x="82" y="388"/>
                    </a:lnTo>
                    <a:lnTo>
                      <a:pt x="88" y="382"/>
                    </a:lnTo>
                    <a:lnTo>
                      <a:pt x="90" y="372"/>
                    </a:lnTo>
                    <a:lnTo>
                      <a:pt x="90" y="192"/>
                    </a:lnTo>
                    <a:lnTo>
                      <a:pt x="98" y="192"/>
                    </a:lnTo>
                    <a:lnTo>
                      <a:pt x="98" y="372"/>
                    </a:lnTo>
                    <a:lnTo>
                      <a:pt x="98" y="372"/>
                    </a:lnTo>
                    <a:lnTo>
                      <a:pt x="100" y="382"/>
                    </a:lnTo>
                    <a:lnTo>
                      <a:pt x="104" y="388"/>
                    </a:lnTo>
                    <a:lnTo>
                      <a:pt x="112" y="394"/>
                    </a:lnTo>
                    <a:lnTo>
                      <a:pt x="120" y="396"/>
                    </a:lnTo>
                    <a:lnTo>
                      <a:pt x="130" y="394"/>
                    </a:lnTo>
                    <a:lnTo>
                      <a:pt x="136" y="390"/>
                    </a:lnTo>
                    <a:lnTo>
                      <a:pt x="142" y="382"/>
                    </a:lnTo>
                    <a:lnTo>
                      <a:pt x="144" y="372"/>
                    </a:lnTo>
                    <a:lnTo>
                      <a:pt x="144" y="64"/>
                    </a:lnTo>
                    <a:lnTo>
                      <a:pt x="152" y="64"/>
                    </a:lnTo>
                    <a:lnTo>
                      <a:pt x="152" y="176"/>
                    </a:lnTo>
                    <a:lnTo>
                      <a:pt x="152" y="176"/>
                    </a:lnTo>
                    <a:lnTo>
                      <a:pt x="154" y="184"/>
                    </a:lnTo>
                    <a:lnTo>
                      <a:pt x="158" y="190"/>
                    </a:lnTo>
                    <a:lnTo>
                      <a:pt x="164" y="192"/>
                    </a:lnTo>
                    <a:lnTo>
                      <a:pt x="170" y="194"/>
                    </a:lnTo>
                    <a:lnTo>
                      <a:pt x="176" y="192"/>
                    </a:lnTo>
                    <a:lnTo>
                      <a:pt x="182" y="190"/>
                    </a:lnTo>
                    <a:lnTo>
                      <a:pt x="186" y="184"/>
                    </a:lnTo>
                    <a:lnTo>
                      <a:pt x="188" y="176"/>
                    </a:lnTo>
                    <a:lnTo>
                      <a:pt x="188" y="54"/>
                    </a:lnTo>
                    <a:lnTo>
                      <a:pt x="188" y="54"/>
                    </a:lnTo>
                    <a:lnTo>
                      <a:pt x="186" y="44"/>
                    </a:lnTo>
                    <a:lnTo>
                      <a:pt x="184" y="34"/>
                    </a:lnTo>
                    <a:lnTo>
                      <a:pt x="178" y="24"/>
                    </a:lnTo>
                    <a:lnTo>
                      <a:pt x="172" y="18"/>
                    </a:lnTo>
                    <a:lnTo>
                      <a:pt x="166" y="10"/>
                    </a:lnTo>
                    <a:lnTo>
                      <a:pt x="156" y="6"/>
                    </a:lnTo>
                    <a:lnTo>
                      <a:pt x="146" y="2"/>
                    </a:lnTo>
                    <a:lnTo>
                      <a:pt x="136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32" name="Group 131"/>
            <p:cNvGrpSpPr/>
            <p:nvPr/>
          </p:nvGrpSpPr>
          <p:grpSpPr>
            <a:xfrm>
              <a:off x="7199308" y="3023997"/>
              <a:ext cx="379765" cy="977693"/>
              <a:chOff x="1817688" y="465138"/>
              <a:chExt cx="298450" cy="768350"/>
            </a:xfrm>
            <a:solidFill>
              <a:schemeClr val="accent5">
                <a:lumMod val="40000"/>
                <a:lumOff val="60000"/>
              </a:schemeClr>
            </a:solidFill>
          </p:grpSpPr>
          <p:sp>
            <p:nvSpPr>
              <p:cNvPr id="138" name="Freeform 18"/>
              <p:cNvSpPr>
                <a:spLocks/>
              </p:cNvSpPr>
              <p:nvPr/>
            </p:nvSpPr>
            <p:spPr bwMode="auto">
              <a:xfrm>
                <a:off x="1903413" y="465138"/>
                <a:ext cx="127000" cy="127000"/>
              </a:xfrm>
              <a:custGeom>
                <a:avLst/>
                <a:gdLst>
                  <a:gd name="T0" fmla="*/ 40 w 80"/>
                  <a:gd name="T1" fmla="*/ 80 h 80"/>
                  <a:gd name="T2" fmla="*/ 40 w 80"/>
                  <a:gd name="T3" fmla="*/ 80 h 80"/>
                  <a:gd name="T4" fmla="*/ 48 w 80"/>
                  <a:gd name="T5" fmla="*/ 78 h 80"/>
                  <a:gd name="T6" fmla="*/ 56 w 80"/>
                  <a:gd name="T7" fmla="*/ 76 h 80"/>
                  <a:gd name="T8" fmla="*/ 62 w 80"/>
                  <a:gd name="T9" fmla="*/ 72 h 80"/>
                  <a:gd name="T10" fmla="*/ 68 w 80"/>
                  <a:gd name="T11" fmla="*/ 68 h 80"/>
                  <a:gd name="T12" fmla="*/ 72 w 80"/>
                  <a:gd name="T13" fmla="*/ 62 h 80"/>
                  <a:gd name="T14" fmla="*/ 76 w 80"/>
                  <a:gd name="T15" fmla="*/ 56 h 80"/>
                  <a:gd name="T16" fmla="*/ 78 w 80"/>
                  <a:gd name="T17" fmla="*/ 48 h 80"/>
                  <a:gd name="T18" fmla="*/ 80 w 80"/>
                  <a:gd name="T19" fmla="*/ 40 h 80"/>
                  <a:gd name="T20" fmla="*/ 80 w 80"/>
                  <a:gd name="T21" fmla="*/ 40 h 80"/>
                  <a:gd name="T22" fmla="*/ 78 w 80"/>
                  <a:gd name="T23" fmla="*/ 32 h 80"/>
                  <a:gd name="T24" fmla="*/ 76 w 80"/>
                  <a:gd name="T25" fmla="*/ 24 h 80"/>
                  <a:gd name="T26" fmla="*/ 72 w 80"/>
                  <a:gd name="T27" fmla="*/ 18 h 80"/>
                  <a:gd name="T28" fmla="*/ 68 w 80"/>
                  <a:gd name="T29" fmla="*/ 12 h 80"/>
                  <a:gd name="T30" fmla="*/ 62 w 80"/>
                  <a:gd name="T31" fmla="*/ 6 h 80"/>
                  <a:gd name="T32" fmla="*/ 56 w 80"/>
                  <a:gd name="T33" fmla="*/ 2 h 80"/>
                  <a:gd name="T34" fmla="*/ 48 w 80"/>
                  <a:gd name="T35" fmla="*/ 0 h 80"/>
                  <a:gd name="T36" fmla="*/ 40 w 80"/>
                  <a:gd name="T37" fmla="*/ 0 h 80"/>
                  <a:gd name="T38" fmla="*/ 40 w 80"/>
                  <a:gd name="T39" fmla="*/ 0 h 80"/>
                  <a:gd name="T40" fmla="*/ 32 w 80"/>
                  <a:gd name="T41" fmla="*/ 0 h 80"/>
                  <a:gd name="T42" fmla="*/ 24 w 80"/>
                  <a:gd name="T43" fmla="*/ 2 h 80"/>
                  <a:gd name="T44" fmla="*/ 16 w 80"/>
                  <a:gd name="T45" fmla="*/ 6 h 80"/>
                  <a:gd name="T46" fmla="*/ 12 w 80"/>
                  <a:gd name="T47" fmla="*/ 12 h 80"/>
                  <a:gd name="T48" fmla="*/ 6 w 80"/>
                  <a:gd name="T49" fmla="*/ 18 h 80"/>
                  <a:gd name="T50" fmla="*/ 2 w 80"/>
                  <a:gd name="T51" fmla="*/ 24 h 80"/>
                  <a:gd name="T52" fmla="*/ 0 w 80"/>
                  <a:gd name="T53" fmla="*/ 32 h 80"/>
                  <a:gd name="T54" fmla="*/ 0 w 80"/>
                  <a:gd name="T55" fmla="*/ 40 h 80"/>
                  <a:gd name="T56" fmla="*/ 0 w 80"/>
                  <a:gd name="T57" fmla="*/ 40 h 80"/>
                  <a:gd name="T58" fmla="*/ 0 w 80"/>
                  <a:gd name="T59" fmla="*/ 48 h 80"/>
                  <a:gd name="T60" fmla="*/ 2 w 80"/>
                  <a:gd name="T61" fmla="*/ 56 h 80"/>
                  <a:gd name="T62" fmla="*/ 6 w 80"/>
                  <a:gd name="T63" fmla="*/ 62 h 80"/>
                  <a:gd name="T64" fmla="*/ 12 w 80"/>
                  <a:gd name="T65" fmla="*/ 68 h 80"/>
                  <a:gd name="T66" fmla="*/ 16 w 80"/>
                  <a:gd name="T67" fmla="*/ 72 h 80"/>
                  <a:gd name="T68" fmla="*/ 24 w 80"/>
                  <a:gd name="T69" fmla="*/ 76 h 80"/>
                  <a:gd name="T70" fmla="*/ 32 w 80"/>
                  <a:gd name="T71" fmla="*/ 78 h 80"/>
                  <a:gd name="T72" fmla="*/ 40 w 80"/>
                  <a:gd name="T73" fmla="*/ 80 h 80"/>
                  <a:gd name="T74" fmla="*/ 40 w 80"/>
                  <a:gd name="T7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80"/>
                    </a:moveTo>
                    <a:lnTo>
                      <a:pt x="40" y="80"/>
                    </a:lnTo>
                    <a:lnTo>
                      <a:pt x="48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6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6" y="6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6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40" y="80"/>
                    </a:lnTo>
                    <a:lnTo>
                      <a:pt x="40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9" name="Line 19"/>
              <p:cNvSpPr>
                <a:spLocks noChangeShapeType="1"/>
              </p:cNvSpPr>
              <p:nvPr/>
            </p:nvSpPr>
            <p:spPr bwMode="auto">
              <a:xfrm>
                <a:off x="1966913" y="528638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0" name="Line 20"/>
              <p:cNvSpPr>
                <a:spLocks noChangeShapeType="1"/>
              </p:cNvSpPr>
              <p:nvPr/>
            </p:nvSpPr>
            <p:spPr bwMode="auto">
              <a:xfrm>
                <a:off x="1966913" y="528638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41" name="Freeform 21"/>
              <p:cNvSpPr>
                <a:spLocks/>
              </p:cNvSpPr>
              <p:nvPr/>
            </p:nvSpPr>
            <p:spPr bwMode="auto">
              <a:xfrm>
                <a:off x="1817688" y="604838"/>
                <a:ext cx="298450" cy="628650"/>
              </a:xfrm>
              <a:custGeom>
                <a:avLst/>
                <a:gdLst>
                  <a:gd name="T0" fmla="*/ 50 w 188"/>
                  <a:gd name="T1" fmla="*/ 0 h 396"/>
                  <a:gd name="T2" fmla="*/ 30 w 188"/>
                  <a:gd name="T3" fmla="*/ 4 h 396"/>
                  <a:gd name="T4" fmla="*/ 14 w 188"/>
                  <a:gd name="T5" fmla="*/ 16 h 396"/>
                  <a:gd name="T6" fmla="*/ 4 w 188"/>
                  <a:gd name="T7" fmla="*/ 32 h 396"/>
                  <a:gd name="T8" fmla="*/ 0 w 188"/>
                  <a:gd name="T9" fmla="*/ 52 h 396"/>
                  <a:gd name="T10" fmla="*/ 0 w 188"/>
                  <a:gd name="T11" fmla="*/ 176 h 396"/>
                  <a:gd name="T12" fmla="*/ 4 w 188"/>
                  <a:gd name="T13" fmla="*/ 190 h 396"/>
                  <a:gd name="T14" fmla="*/ 16 w 188"/>
                  <a:gd name="T15" fmla="*/ 194 h 396"/>
                  <a:gd name="T16" fmla="*/ 28 w 188"/>
                  <a:gd name="T17" fmla="*/ 190 h 396"/>
                  <a:gd name="T18" fmla="*/ 34 w 188"/>
                  <a:gd name="T19" fmla="*/ 176 h 396"/>
                  <a:gd name="T20" fmla="*/ 42 w 188"/>
                  <a:gd name="T21" fmla="*/ 64 h 396"/>
                  <a:gd name="T22" fmla="*/ 42 w 188"/>
                  <a:gd name="T23" fmla="*/ 372 h 396"/>
                  <a:gd name="T24" fmla="*/ 50 w 188"/>
                  <a:gd name="T25" fmla="*/ 390 h 396"/>
                  <a:gd name="T26" fmla="*/ 66 w 188"/>
                  <a:gd name="T27" fmla="*/ 396 h 396"/>
                  <a:gd name="T28" fmla="*/ 82 w 188"/>
                  <a:gd name="T29" fmla="*/ 388 h 396"/>
                  <a:gd name="T30" fmla="*/ 90 w 188"/>
                  <a:gd name="T31" fmla="*/ 372 h 396"/>
                  <a:gd name="T32" fmla="*/ 98 w 188"/>
                  <a:gd name="T33" fmla="*/ 192 h 396"/>
                  <a:gd name="T34" fmla="*/ 98 w 188"/>
                  <a:gd name="T35" fmla="*/ 372 h 396"/>
                  <a:gd name="T36" fmla="*/ 104 w 188"/>
                  <a:gd name="T37" fmla="*/ 388 h 396"/>
                  <a:gd name="T38" fmla="*/ 120 w 188"/>
                  <a:gd name="T39" fmla="*/ 396 h 396"/>
                  <a:gd name="T40" fmla="*/ 136 w 188"/>
                  <a:gd name="T41" fmla="*/ 390 h 396"/>
                  <a:gd name="T42" fmla="*/ 144 w 188"/>
                  <a:gd name="T43" fmla="*/ 372 h 396"/>
                  <a:gd name="T44" fmla="*/ 152 w 188"/>
                  <a:gd name="T45" fmla="*/ 64 h 396"/>
                  <a:gd name="T46" fmla="*/ 152 w 188"/>
                  <a:gd name="T47" fmla="*/ 176 h 396"/>
                  <a:gd name="T48" fmla="*/ 158 w 188"/>
                  <a:gd name="T49" fmla="*/ 190 h 396"/>
                  <a:gd name="T50" fmla="*/ 170 w 188"/>
                  <a:gd name="T51" fmla="*/ 194 h 396"/>
                  <a:gd name="T52" fmla="*/ 182 w 188"/>
                  <a:gd name="T53" fmla="*/ 190 h 396"/>
                  <a:gd name="T54" fmla="*/ 188 w 188"/>
                  <a:gd name="T55" fmla="*/ 176 h 396"/>
                  <a:gd name="T56" fmla="*/ 188 w 188"/>
                  <a:gd name="T57" fmla="*/ 54 h 396"/>
                  <a:gd name="T58" fmla="*/ 184 w 188"/>
                  <a:gd name="T59" fmla="*/ 34 h 396"/>
                  <a:gd name="T60" fmla="*/ 172 w 188"/>
                  <a:gd name="T61" fmla="*/ 18 h 396"/>
                  <a:gd name="T62" fmla="*/ 156 w 188"/>
                  <a:gd name="T63" fmla="*/ 6 h 396"/>
                  <a:gd name="T64" fmla="*/ 136 w 188"/>
                  <a:gd name="T65" fmla="*/ 0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8" h="3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2"/>
                    </a:lnTo>
                    <a:lnTo>
                      <a:pt x="30" y="4"/>
                    </a:lnTo>
                    <a:lnTo>
                      <a:pt x="22" y="10"/>
                    </a:lnTo>
                    <a:lnTo>
                      <a:pt x="14" y="16"/>
                    </a:lnTo>
                    <a:lnTo>
                      <a:pt x="8" y="24"/>
                    </a:lnTo>
                    <a:lnTo>
                      <a:pt x="4" y="32"/>
                    </a:lnTo>
                    <a:lnTo>
                      <a:pt x="0" y="42"/>
                    </a:lnTo>
                    <a:lnTo>
                      <a:pt x="0" y="52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84"/>
                    </a:lnTo>
                    <a:lnTo>
                      <a:pt x="4" y="190"/>
                    </a:lnTo>
                    <a:lnTo>
                      <a:pt x="10" y="192"/>
                    </a:lnTo>
                    <a:lnTo>
                      <a:pt x="16" y="194"/>
                    </a:lnTo>
                    <a:lnTo>
                      <a:pt x="24" y="192"/>
                    </a:lnTo>
                    <a:lnTo>
                      <a:pt x="28" y="190"/>
                    </a:lnTo>
                    <a:lnTo>
                      <a:pt x="32" y="184"/>
                    </a:lnTo>
                    <a:lnTo>
                      <a:pt x="34" y="176"/>
                    </a:lnTo>
                    <a:lnTo>
                      <a:pt x="34" y="64"/>
                    </a:lnTo>
                    <a:lnTo>
                      <a:pt x="42" y="64"/>
                    </a:lnTo>
                    <a:lnTo>
                      <a:pt x="42" y="372"/>
                    </a:lnTo>
                    <a:lnTo>
                      <a:pt x="42" y="372"/>
                    </a:lnTo>
                    <a:lnTo>
                      <a:pt x="44" y="382"/>
                    </a:lnTo>
                    <a:lnTo>
                      <a:pt x="50" y="390"/>
                    </a:lnTo>
                    <a:lnTo>
                      <a:pt x="58" y="394"/>
                    </a:lnTo>
                    <a:lnTo>
                      <a:pt x="66" y="396"/>
                    </a:lnTo>
                    <a:lnTo>
                      <a:pt x="74" y="394"/>
                    </a:lnTo>
                    <a:lnTo>
                      <a:pt x="82" y="388"/>
                    </a:lnTo>
                    <a:lnTo>
                      <a:pt x="88" y="382"/>
                    </a:lnTo>
                    <a:lnTo>
                      <a:pt x="90" y="372"/>
                    </a:lnTo>
                    <a:lnTo>
                      <a:pt x="90" y="192"/>
                    </a:lnTo>
                    <a:lnTo>
                      <a:pt x="98" y="192"/>
                    </a:lnTo>
                    <a:lnTo>
                      <a:pt x="98" y="372"/>
                    </a:lnTo>
                    <a:lnTo>
                      <a:pt x="98" y="372"/>
                    </a:lnTo>
                    <a:lnTo>
                      <a:pt x="100" y="382"/>
                    </a:lnTo>
                    <a:lnTo>
                      <a:pt x="104" y="388"/>
                    </a:lnTo>
                    <a:lnTo>
                      <a:pt x="112" y="394"/>
                    </a:lnTo>
                    <a:lnTo>
                      <a:pt x="120" y="396"/>
                    </a:lnTo>
                    <a:lnTo>
                      <a:pt x="130" y="394"/>
                    </a:lnTo>
                    <a:lnTo>
                      <a:pt x="136" y="390"/>
                    </a:lnTo>
                    <a:lnTo>
                      <a:pt x="142" y="382"/>
                    </a:lnTo>
                    <a:lnTo>
                      <a:pt x="144" y="372"/>
                    </a:lnTo>
                    <a:lnTo>
                      <a:pt x="144" y="64"/>
                    </a:lnTo>
                    <a:lnTo>
                      <a:pt x="152" y="64"/>
                    </a:lnTo>
                    <a:lnTo>
                      <a:pt x="152" y="176"/>
                    </a:lnTo>
                    <a:lnTo>
                      <a:pt x="152" y="176"/>
                    </a:lnTo>
                    <a:lnTo>
                      <a:pt x="154" y="184"/>
                    </a:lnTo>
                    <a:lnTo>
                      <a:pt x="158" y="190"/>
                    </a:lnTo>
                    <a:lnTo>
                      <a:pt x="164" y="192"/>
                    </a:lnTo>
                    <a:lnTo>
                      <a:pt x="170" y="194"/>
                    </a:lnTo>
                    <a:lnTo>
                      <a:pt x="176" y="192"/>
                    </a:lnTo>
                    <a:lnTo>
                      <a:pt x="182" y="190"/>
                    </a:lnTo>
                    <a:lnTo>
                      <a:pt x="186" y="184"/>
                    </a:lnTo>
                    <a:lnTo>
                      <a:pt x="188" y="176"/>
                    </a:lnTo>
                    <a:lnTo>
                      <a:pt x="188" y="54"/>
                    </a:lnTo>
                    <a:lnTo>
                      <a:pt x="188" y="54"/>
                    </a:lnTo>
                    <a:lnTo>
                      <a:pt x="186" y="44"/>
                    </a:lnTo>
                    <a:lnTo>
                      <a:pt x="184" y="34"/>
                    </a:lnTo>
                    <a:lnTo>
                      <a:pt x="178" y="24"/>
                    </a:lnTo>
                    <a:lnTo>
                      <a:pt x="172" y="18"/>
                    </a:lnTo>
                    <a:lnTo>
                      <a:pt x="166" y="10"/>
                    </a:lnTo>
                    <a:lnTo>
                      <a:pt x="156" y="6"/>
                    </a:lnTo>
                    <a:lnTo>
                      <a:pt x="146" y="2"/>
                    </a:lnTo>
                    <a:lnTo>
                      <a:pt x="136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133" name="Group 132"/>
            <p:cNvGrpSpPr/>
            <p:nvPr/>
          </p:nvGrpSpPr>
          <p:grpSpPr>
            <a:xfrm>
              <a:off x="7662039" y="3023997"/>
              <a:ext cx="379765" cy="977693"/>
              <a:chOff x="1817688" y="465138"/>
              <a:chExt cx="298450" cy="768350"/>
            </a:xfrm>
            <a:solidFill>
              <a:schemeClr val="accent5">
                <a:lumMod val="60000"/>
                <a:lumOff val="40000"/>
              </a:schemeClr>
            </a:solidFill>
          </p:grpSpPr>
          <p:sp>
            <p:nvSpPr>
              <p:cNvPr id="134" name="Freeform 18"/>
              <p:cNvSpPr>
                <a:spLocks/>
              </p:cNvSpPr>
              <p:nvPr/>
            </p:nvSpPr>
            <p:spPr bwMode="auto">
              <a:xfrm>
                <a:off x="1903413" y="465138"/>
                <a:ext cx="127000" cy="127000"/>
              </a:xfrm>
              <a:custGeom>
                <a:avLst/>
                <a:gdLst>
                  <a:gd name="T0" fmla="*/ 40 w 80"/>
                  <a:gd name="T1" fmla="*/ 80 h 80"/>
                  <a:gd name="T2" fmla="*/ 40 w 80"/>
                  <a:gd name="T3" fmla="*/ 80 h 80"/>
                  <a:gd name="T4" fmla="*/ 48 w 80"/>
                  <a:gd name="T5" fmla="*/ 78 h 80"/>
                  <a:gd name="T6" fmla="*/ 56 w 80"/>
                  <a:gd name="T7" fmla="*/ 76 h 80"/>
                  <a:gd name="T8" fmla="*/ 62 w 80"/>
                  <a:gd name="T9" fmla="*/ 72 h 80"/>
                  <a:gd name="T10" fmla="*/ 68 w 80"/>
                  <a:gd name="T11" fmla="*/ 68 h 80"/>
                  <a:gd name="T12" fmla="*/ 72 w 80"/>
                  <a:gd name="T13" fmla="*/ 62 h 80"/>
                  <a:gd name="T14" fmla="*/ 76 w 80"/>
                  <a:gd name="T15" fmla="*/ 56 h 80"/>
                  <a:gd name="T16" fmla="*/ 78 w 80"/>
                  <a:gd name="T17" fmla="*/ 48 h 80"/>
                  <a:gd name="T18" fmla="*/ 80 w 80"/>
                  <a:gd name="T19" fmla="*/ 40 h 80"/>
                  <a:gd name="T20" fmla="*/ 80 w 80"/>
                  <a:gd name="T21" fmla="*/ 40 h 80"/>
                  <a:gd name="T22" fmla="*/ 78 w 80"/>
                  <a:gd name="T23" fmla="*/ 32 h 80"/>
                  <a:gd name="T24" fmla="*/ 76 w 80"/>
                  <a:gd name="T25" fmla="*/ 24 h 80"/>
                  <a:gd name="T26" fmla="*/ 72 w 80"/>
                  <a:gd name="T27" fmla="*/ 18 h 80"/>
                  <a:gd name="T28" fmla="*/ 68 w 80"/>
                  <a:gd name="T29" fmla="*/ 12 h 80"/>
                  <a:gd name="T30" fmla="*/ 62 w 80"/>
                  <a:gd name="T31" fmla="*/ 6 h 80"/>
                  <a:gd name="T32" fmla="*/ 56 w 80"/>
                  <a:gd name="T33" fmla="*/ 2 h 80"/>
                  <a:gd name="T34" fmla="*/ 48 w 80"/>
                  <a:gd name="T35" fmla="*/ 0 h 80"/>
                  <a:gd name="T36" fmla="*/ 40 w 80"/>
                  <a:gd name="T37" fmla="*/ 0 h 80"/>
                  <a:gd name="T38" fmla="*/ 40 w 80"/>
                  <a:gd name="T39" fmla="*/ 0 h 80"/>
                  <a:gd name="T40" fmla="*/ 32 w 80"/>
                  <a:gd name="T41" fmla="*/ 0 h 80"/>
                  <a:gd name="T42" fmla="*/ 24 w 80"/>
                  <a:gd name="T43" fmla="*/ 2 h 80"/>
                  <a:gd name="T44" fmla="*/ 16 w 80"/>
                  <a:gd name="T45" fmla="*/ 6 h 80"/>
                  <a:gd name="T46" fmla="*/ 12 w 80"/>
                  <a:gd name="T47" fmla="*/ 12 h 80"/>
                  <a:gd name="T48" fmla="*/ 6 w 80"/>
                  <a:gd name="T49" fmla="*/ 18 h 80"/>
                  <a:gd name="T50" fmla="*/ 2 w 80"/>
                  <a:gd name="T51" fmla="*/ 24 h 80"/>
                  <a:gd name="T52" fmla="*/ 0 w 80"/>
                  <a:gd name="T53" fmla="*/ 32 h 80"/>
                  <a:gd name="T54" fmla="*/ 0 w 80"/>
                  <a:gd name="T55" fmla="*/ 40 h 80"/>
                  <a:gd name="T56" fmla="*/ 0 w 80"/>
                  <a:gd name="T57" fmla="*/ 40 h 80"/>
                  <a:gd name="T58" fmla="*/ 0 w 80"/>
                  <a:gd name="T59" fmla="*/ 48 h 80"/>
                  <a:gd name="T60" fmla="*/ 2 w 80"/>
                  <a:gd name="T61" fmla="*/ 56 h 80"/>
                  <a:gd name="T62" fmla="*/ 6 w 80"/>
                  <a:gd name="T63" fmla="*/ 62 h 80"/>
                  <a:gd name="T64" fmla="*/ 12 w 80"/>
                  <a:gd name="T65" fmla="*/ 68 h 80"/>
                  <a:gd name="T66" fmla="*/ 16 w 80"/>
                  <a:gd name="T67" fmla="*/ 72 h 80"/>
                  <a:gd name="T68" fmla="*/ 24 w 80"/>
                  <a:gd name="T69" fmla="*/ 76 h 80"/>
                  <a:gd name="T70" fmla="*/ 32 w 80"/>
                  <a:gd name="T71" fmla="*/ 78 h 80"/>
                  <a:gd name="T72" fmla="*/ 40 w 80"/>
                  <a:gd name="T73" fmla="*/ 80 h 80"/>
                  <a:gd name="T74" fmla="*/ 40 w 80"/>
                  <a:gd name="T7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80"/>
                    </a:moveTo>
                    <a:lnTo>
                      <a:pt x="40" y="80"/>
                    </a:lnTo>
                    <a:lnTo>
                      <a:pt x="48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6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6" y="6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6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40" y="80"/>
                    </a:lnTo>
                    <a:lnTo>
                      <a:pt x="40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5" name="Line 19"/>
              <p:cNvSpPr>
                <a:spLocks noChangeShapeType="1"/>
              </p:cNvSpPr>
              <p:nvPr/>
            </p:nvSpPr>
            <p:spPr bwMode="auto">
              <a:xfrm>
                <a:off x="1966913" y="528638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6" name="Line 20"/>
              <p:cNvSpPr>
                <a:spLocks noChangeShapeType="1"/>
              </p:cNvSpPr>
              <p:nvPr/>
            </p:nvSpPr>
            <p:spPr bwMode="auto">
              <a:xfrm>
                <a:off x="1966913" y="528638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7" name="Freeform 21"/>
              <p:cNvSpPr>
                <a:spLocks/>
              </p:cNvSpPr>
              <p:nvPr/>
            </p:nvSpPr>
            <p:spPr bwMode="auto">
              <a:xfrm>
                <a:off x="1817688" y="604838"/>
                <a:ext cx="298450" cy="628650"/>
              </a:xfrm>
              <a:custGeom>
                <a:avLst/>
                <a:gdLst>
                  <a:gd name="T0" fmla="*/ 50 w 188"/>
                  <a:gd name="T1" fmla="*/ 0 h 396"/>
                  <a:gd name="T2" fmla="*/ 30 w 188"/>
                  <a:gd name="T3" fmla="*/ 4 h 396"/>
                  <a:gd name="T4" fmla="*/ 14 w 188"/>
                  <a:gd name="T5" fmla="*/ 16 h 396"/>
                  <a:gd name="T6" fmla="*/ 4 w 188"/>
                  <a:gd name="T7" fmla="*/ 32 h 396"/>
                  <a:gd name="T8" fmla="*/ 0 w 188"/>
                  <a:gd name="T9" fmla="*/ 52 h 396"/>
                  <a:gd name="T10" fmla="*/ 0 w 188"/>
                  <a:gd name="T11" fmla="*/ 176 h 396"/>
                  <a:gd name="T12" fmla="*/ 4 w 188"/>
                  <a:gd name="T13" fmla="*/ 190 h 396"/>
                  <a:gd name="T14" fmla="*/ 16 w 188"/>
                  <a:gd name="T15" fmla="*/ 194 h 396"/>
                  <a:gd name="T16" fmla="*/ 28 w 188"/>
                  <a:gd name="T17" fmla="*/ 190 h 396"/>
                  <a:gd name="T18" fmla="*/ 34 w 188"/>
                  <a:gd name="T19" fmla="*/ 176 h 396"/>
                  <a:gd name="T20" fmla="*/ 42 w 188"/>
                  <a:gd name="T21" fmla="*/ 64 h 396"/>
                  <a:gd name="T22" fmla="*/ 42 w 188"/>
                  <a:gd name="T23" fmla="*/ 372 h 396"/>
                  <a:gd name="T24" fmla="*/ 50 w 188"/>
                  <a:gd name="T25" fmla="*/ 390 h 396"/>
                  <a:gd name="T26" fmla="*/ 66 w 188"/>
                  <a:gd name="T27" fmla="*/ 396 h 396"/>
                  <a:gd name="T28" fmla="*/ 82 w 188"/>
                  <a:gd name="T29" fmla="*/ 388 h 396"/>
                  <a:gd name="T30" fmla="*/ 90 w 188"/>
                  <a:gd name="T31" fmla="*/ 372 h 396"/>
                  <a:gd name="T32" fmla="*/ 98 w 188"/>
                  <a:gd name="T33" fmla="*/ 192 h 396"/>
                  <a:gd name="T34" fmla="*/ 98 w 188"/>
                  <a:gd name="T35" fmla="*/ 372 h 396"/>
                  <a:gd name="T36" fmla="*/ 104 w 188"/>
                  <a:gd name="T37" fmla="*/ 388 h 396"/>
                  <a:gd name="T38" fmla="*/ 120 w 188"/>
                  <a:gd name="T39" fmla="*/ 396 h 396"/>
                  <a:gd name="T40" fmla="*/ 136 w 188"/>
                  <a:gd name="T41" fmla="*/ 390 h 396"/>
                  <a:gd name="T42" fmla="*/ 144 w 188"/>
                  <a:gd name="T43" fmla="*/ 372 h 396"/>
                  <a:gd name="T44" fmla="*/ 152 w 188"/>
                  <a:gd name="T45" fmla="*/ 64 h 396"/>
                  <a:gd name="T46" fmla="*/ 152 w 188"/>
                  <a:gd name="T47" fmla="*/ 176 h 396"/>
                  <a:gd name="T48" fmla="*/ 158 w 188"/>
                  <a:gd name="T49" fmla="*/ 190 h 396"/>
                  <a:gd name="T50" fmla="*/ 170 w 188"/>
                  <a:gd name="T51" fmla="*/ 194 h 396"/>
                  <a:gd name="T52" fmla="*/ 182 w 188"/>
                  <a:gd name="T53" fmla="*/ 190 h 396"/>
                  <a:gd name="T54" fmla="*/ 188 w 188"/>
                  <a:gd name="T55" fmla="*/ 176 h 396"/>
                  <a:gd name="T56" fmla="*/ 188 w 188"/>
                  <a:gd name="T57" fmla="*/ 54 h 396"/>
                  <a:gd name="T58" fmla="*/ 184 w 188"/>
                  <a:gd name="T59" fmla="*/ 34 h 396"/>
                  <a:gd name="T60" fmla="*/ 172 w 188"/>
                  <a:gd name="T61" fmla="*/ 18 h 396"/>
                  <a:gd name="T62" fmla="*/ 156 w 188"/>
                  <a:gd name="T63" fmla="*/ 6 h 396"/>
                  <a:gd name="T64" fmla="*/ 136 w 188"/>
                  <a:gd name="T65" fmla="*/ 0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8" h="3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2"/>
                    </a:lnTo>
                    <a:lnTo>
                      <a:pt x="30" y="4"/>
                    </a:lnTo>
                    <a:lnTo>
                      <a:pt x="22" y="10"/>
                    </a:lnTo>
                    <a:lnTo>
                      <a:pt x="14" y="16"/>
                    </a:lnTo>
                    <a:lnTo>
                      <a:pt x="8" y="24"/>
                    </a:lnTo>
                    <a:lnTo>
                      <a:pt x="4" y="32"/>
                    </a:lnTo>
                    <a:lnTo>
                      <a:pt x="0" y="42"/>
                    </a:lnTo>
                    <a:lnTo>
                      <a:pt x="0" y="52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84"/>
                    </a:lnTo>
                    <a:lnTo>
                      <a:pt x="4" y="190"/>
                    </a:lnTo>
                    <a:lnTo>
                      <a:pt x="10" y="192"/>
                    </a:lnTo>
                    <a:lnTo>
                      <a:pt x="16" y="194"/>
                    </a:lnTo>
                    <a:lnTo>
                      <a:pt x="24" y="192"/>
                    </a:lnTo>
                    <a:lnTo>
                      <a:pt x="28" y="190"/>
                    </a:lnTo>
                    <a:lnTo>
                      <a:pt x="32" y="184"/>
                    </a:lnTo>
                    <a:lnTo>
                      <a:pt x="34" y="176"/>
                    </a:lnTo>
                    <a:lnTo>
                      <a:pt x="34" y="64"/>
                    </a:lnTo>
                    <a:lnTo>
                      <a:pt x="42" y="64"/>
                    </a:lnTo>
                    <a:lnTo>
                      <a:pt x="42" y="372"/>
                    </a:lnTo>
                    <a:lnTo>
                      <a:pt x="42" y="372"/>
                    </a:lnTo>
                    <a:lnTo>
                      <a:pt x="44" y="382"/>
                    </a:lnTo>
                    <a:lnTo>
                      <a:pt x="50" y="390"/>
                    </a:lnTo>
                    <a:lnTo>
                      <a:pt x="58" y="394"/>
                    </a:lnTo>
                    <a:lnTo>
                      <a:pt x="66" y="396"/>
                    </a:lnTo>
                    <a:lnTo>
                      <a:pt x="74" y="394"/>
                    </a:lnTo>
                    <a:lnTo>
                      <a:pt x="82" y="388"/>
                    </a:lnTo>
                    <a:lnTo>
                      <a:pt x="88" y="382"/>
                    </a:lnTo>
                    <a:lnTo>
                      <a:pt x="90" y="372"/>
                    </a:lnTo>
                    <a:lnTo>
                      <a:pt x="90" y="192"/>
                    </a:lnTo>
                    <a:lnTo>
                      <a:pt x="98" y="192"/>
                    </a:lnTo>
                    <a:lnTo>
                      <a:pt x="98" y="372"/>
                    </a:lnTo>
                    <a:lnTo>
                      <a:pt x="98" y="372"/>
                    </a:lnTo>
                    <a:lnTo>
                      <a:pt x="100" y="382"/>
                    </a:lnTo>
                    <a:lnTo>
                      <a:pt x="104" y="388"/>
                    </a:lnTo>
                    <a:lnTo>
                      <a:pt x="112" y="394"/>
                    </a:lnTo>
                    <a:lnTo>
                      <a:pt x="120" y="396"/>
                    </a:lnTo>
                    <a:lnTo>
                      <a:pt x="130" y="394"/>
                    </a:lnTo>
                    <a:lnTo>
                      <a:pt x="136" y="390"/>
                    </a:lnTo>
                    <a:lnTo>
                      <a:pt x="142" y="382"/>
                    </a:lnTo>
                    <a:lnTo>
                      <a:pt x="144" y="372"/>
                    </a:lnTo>
                    <a:lnTo>
                      <a:pt x="144" y="64"/>
                    </a:lnTo>
                    <a:lnTo>
                      <a:pt x="152" y="64"/>
                    </a:lnTo>
                    <a:lnTo>
                      <a:pt x="152" y="176"/>
                    </a:lnTo>
                    <a:lnTo>
                      <a:pt x="152" y="176"/>
                    </a:lnTo>
                    <a:lnTo>
                      <a:pt x="154" y="184"/>
                    </a:lnTo>
                    <a:lnTo>
                      <a:pt x="158" y="190"/>
                    </a:lnTo>
                    <a:lnTo>
                      <a:pt x="164" y="192"/>
                    </a:lnTo>
                    <a:lnTo>
                      <a:pt x="170" y="194"/>
                    </a:lnTo>
                    <a:lnTo>
                      <a:pt x="176" y="192"/>
                    </a:lnTo>
                    <a:lnTo>
                      <a:pt x="182" y="190"/>
                    </a:lnTo>
                    <a:lnTo>
                      <a:pt x="186" y="184"/>
                    </a:lnTo>
                    <a:lnTo>
                      <a:pt x="188" y="176"/>
                    </a:lnTo>
                    <a:lnTo>
                      <a:pt x="188" y="54"/>
                    </a:lnTo>
                    <a:lnTo>
                      <a:pt x="188" y="54"/>
                    </a:lnTo>
                    <a:lnTo>
                      <a:pt x="186" y="44"/>
                    </a:lnTo>
                    <a:lnTo>
                      <a:pt x="184" y="34"/>
                    </a:lnTo>
                    <a:lnTo>
                      <a:pt x="178" y="24"/>
                    </a:lnTo>
                    <a:lnTo>
                      <a:pt x="172" y="18"/>
                    </a:lnTo>
                    <a:lnTo>
                      <a:pt x="166" y="10"/>
                    </a:lnTo>
                    <a:lnTo>
                      <a:pt x="156" y="6"/>
                    </a:lnTo>
                    <a:lnTo>
                      <a:pt x="146" y="2"/>
                    </a:lnTo>
                    <a:lnTo>
                      <a:pt x="136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154" name="Freeform 153"/>
          <p:cNvSpPr/>
          <p:nvPr/>
        </p:nvSpPr>
        <p:spPr bwMode="ltGray">
          <a:xfrm flipV="1">
            <a:off x="5135328" y="1711123"/>
            <a:ext cx="1087940" cy="1026612"/>
          </a:xfrm>
          <a:custGeom>
            <a:avLst/>
            <a:gdLst>
              <a:gd name="connsiteX0" fmla="*/ 0 w 1366838"/>
              <a:gd name="connsiteY0" fmla="*/ 0 h 576263"/>
              <a:gd name="connsiteX1" fmla="*/ 1362075 w 1366838"/>
              <a:gd name="connsiteY1" fmla="*/ 571500 h 576263"/>
              <a:gd name="connsiteX2" fmla="*/ 1366838 w 1366838"/>
              <a:gd name="connsiteY2" fmla="*/ 576263 h 576263"/>
              <a:gd name="connsiteX0" fmla="*/ 0 w 1366838"/>
              <a:gd name="connsiteY0" fmla="*/ 0 h 576263"/>
              <a:gd name="connsiteX1" fmla="*/ 1362075 w 1366838"/>
              <a:gd name="connsiteY1" fmla="*/ 571500 h 576263"/>
              <a:gd name="connsiteX2" fmla="*/ 1366838 w 1366838"/>
              <a:gd name="connsiteY2" fmla="*/ 576263 h 576263"/>
              <a:gd name="connsiteX0" fmla="*/ 0 w 1362075"/>
              <a:gd name="connsiteY0" fmla="*/ 0 h 571500"/>
              <a:gd name="connsiteX1" fmla="*/ 1362075 w 1362075"/>
              <a:gd name="connsiteY1" fmla="*/ 571500 h 571500"/>
              <a:gd name="connsiteX0" fmla="*/ 0 w 1362075"/>
              <a:gd name="connsiteY0" fmla="*/ 0 h 588419"/>
              <a:gd name="connsiteX1" fmla="*/ 1362075 w 1362075"/>
              <a:gd name="connsiteY1" fmla="*/ 571500 h 588419"/>
              <a:gd name="connsiteX0" fmla="*/ 0 w 1457325"/>
              <a:gd name="connsiteY0" fmla="*/ 0 h 639420"/>
              <a:gd name="connsiteX1" fmla="*/ 1457325 w 1457325"/>
              <a:gd name="connsiteY1" fmla="*/ 623888 h 639420"/>
              <a:gd name="connsiteX0" fmla="*/ 0 w 1428750"/>
              <a:gd name="connsiteY0" fmla="*/ 0 h 770082"/>
              <a:gd name="connsiteX1" fmla="*/ 1428750 w 1428750"/>
              <a:gd name="connsiteY1" fmla="*/ 757238 h 770082"/>
              <a:gd name="connsiteX0" fmla="*/ 0 w 1428750"/>
              <a:gd name="connsiteY0" fmla="*/ 19 h 767540"/>
              <a:gd name="connsiteX1" fmla="*/ 1428750 w 1428750"/>
              <a:gd name="connsiteY1" fmla="*/ 757257 h 767540"/>
              <a:gd name="connsiteX0" fmla="*/ 0 w 1481137"/>
              <a:gd name="connsiteY0" fmla="*/ 22 h 654645"/>
              <a:gd name="connsiteX1" fmla="*/ 1481137 w 1481137"/>
              <a:gd name="connsiteY1" fmla="*/ 642960 h 654645"/>
              <a:gd name="connsiteX0" fmla="*/ 0 w 1481137"/>
              <a:gd name="connsiteY0" fmla="*/ 37 h 347333"/>
              <a:gd name="connsiteX1" fmla="*/ 1481137 w 1481137"/>
              <a:gd name="connsiteY1" fmla="*/ 328650 h 347333"/>
              <a:gd name="connsiteX0" fmla="*/ 0 w 1481137"/>
              <a:gd name="connsiteY0" fmla="*/ 27 h 414748"/>
              <a:gd name="connsiteX1" fmla="*/ 1481137 w 1481137"/>
              <a:gd name="connsiteY1" fmla="*/ 328640 h 414748"/>
              <a:gd name="connsiteX0" fmla="*/ 0 w 1541612"/>
              <a:gd name="connsiteY0" fmla="*/ 19 h 625315"/>
              <a:gd name="connsiteX1" fmla="*/ 1541612 w 1541612"/>
              <a:gd name="connsiteY1" fmla="*/ 557232 h 625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41612" h="625315">
                <a:moveTo>
                  <a:pt x="0" y="19"/>
                </a:moveTo>
                <a:cubicBezTo>
                  <a:pt x="568325" y="-4743"/>
                  <a:pt x="455386" y="871557"/>
                  <a:pt x="1541612" y="557232"/>
                </a:cubicBezTo>
              </a:path>
            </a:pathLst>
          </a:custGeom>
          <a:noFill/>
          <a:ln w="38100" cap="rnd">
            <a:solidFill>
              <a:srgbClr val="A7A49B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55" name="Group 154"/>
          <p:cNvGrpSpPr/>
          <p:nvPr/>
        </p:nvGrpSpPr>
        <p:grpSpPr>
          <a:xfrm>
            <a:off x="4630813" y="4738206"/>
            <a:ext cx="573753" cy="680649"/>
            <a:chOff x="9504066" y="5415733"/>
            <a:chExt cx="1251020" cy="1484099"/>
          </a:xfrm>
          <a:solidFill>
            <a:schemeClr val="bg1"/>
          </a:solidFill>
        </p:grpSpPr>
        <p:sp>
          <p:nvSpPr>
            <p:cNvPr id="156" name="Freeform 27"/>
            <p:cNvSpPr>
              <a:spLocks noEditPoints="1"/>
            </p:cNvSpPr>
            <p:nvPr/>
          </p:nvSpPr>
          <p:spPr bwMode="auto">
            <a:xfrm>
              <a:off x="9504066" y="5621858"/>
              <a:ext cx="1251020" cy="1277974"/>
            </a:xfrm>
            <a:custGeom>
              <a:avLst/>
              <a:gdLst>
                <a:gd name="T0" fmla="*/ 318 w 3158"/>
                <a:gd name="T1" fmla="*/ 1166 h 3223"/>
                <a:gd name="T2" fmla="*/ 318 w 3158"/>
                <a:gd name="T3" fmla="*/ 2643 h 3223"/>
                <a:gd name="T4" fmla="*/ 2842 w 3158"/>
                <a:gd name="T5" fmla="*/ 2643 h 3223"/>
                <a:gd name="T6" fmla="*/ 2842 w 3158"/>
                <a:gd name="T7" fmla="*/ 1166 h 3223"/>
                <a:gd name="T8" fmla="*/ 318 w 3158"/>
                <a:gd name="T9" fmla="*/ 1166 h 3223"/>
                <a:gd name="T10" fmla="*/ 461 w 3158"/>
                <a:gd name="T11" fmla="*/ 0 h 3223"/>
                <a:gd name="T12" fmla="*/ 2693 w 3158"/>
                <a:gd name="T13" fmla="*/ 0 h 3223"/>
                <a:gd name="T14" fmla="*/ 3127 w 3158"/>
                <a:gd name="T15" fmla="*/ 600 h 3223"/>
                <a:gd name="T16" fmla="*/ 3136 w 3158"/>
                <a:gd name="T17" fmla="*/ 615 h 3223"/>
                <a:gd name="T18" fmla="*/ 3144 w 3158"/>
                <a:gd name="T19" fmla="*/ 633 h 3223"/>
                <a:gd name="T20" fmla="*/ 3150 w 3158"/>
                <a:gd name="T21" fmla="*/ 653 h 3223"/>
                <a:gd name="T22" fmla="*/ 3154 w 3158"/>
                <a:gd name="T23" fmla="*/ 673 h 3223"/>
                <a:gd name="T24" fmla="*/ 3155 w 3158"/>
                <a:gd name="T25" fmla="*/ 690 h 3223"/>
                <a:gd name="T26" fmla="*/ 3155 w 3158"/>
                <a:gd name="T27" fmla="*/ 1008 h 3223"/>
                <a:gd name="T28" fmla="*/ 3158 w 3158"/>
                <a:gd name="T29" fmla="*/ 1008 h 3223"/>
                <a:gd name="T30" fmla="*/ 3158 w 3158"/>
                <a:gd name="T31" fmla="*/ 2777 h 3223"/>
                <a:gd name="T32" fmla="*/ 3154 w 3158"/>
                <a:gd name="T33" fmla="*/ 2777 h 3223"/>
                <a:gd name="T34" fmla="*/ 3154 w 3158"/>
                <a:gd name="T35" fmla="*/ 3076 h 3223"/>
                <a:gd name="T36" fmla="*/ 3151 w 3158"/>
                <a:gd name="T37" fmla="*/ 3105 h 3223"/>
                <a:gd name="T38" fmla="*/ 3143 w 3158"/>
                <a:gd name="T39" fmla="*/ 3133 h 3223"/>
                <a:gd name="T40" fmla="*/ 3129 w 3158"/>
                <a:gd name="T41" fmla="*/ 3158 h 3223"/>
                <a:gd name="T42" fmla="*/ 3111 w 3158"/>
                <a:gd name="T43" fmla="*/ 3180 h 3223"/>
                <a:gd name="T44" fmla="*/ 3088 w 3158"/>
                <a:gd name="T45" fmla="*/ 3198 h 3223"/>
                <a:gd name="T46" fmla="*/ 3063 w 3158"/>
                <a:gd name="T47" fmla="*/ 3212 h 3223"/>
                <a:gd name="T48" fmla="*/ 3036 w 3158"/>
                <a:gd name="T49" fmla="*/ 3220 h 3223"/>
                <a:gd name="T50" fmla="*/ 3007 w 3158"/>
                <a:gd name="T51" fmla="*/ 3223 h 3223"/>
                <a:gd name="T52" fmla="*/ 51 w 3158"/>
                <a:gd name="T53" fmla="*/ 3223 h 3223"/>
                <a:gd name="T54" fmla="*/ 36 w 3158"/>
                <a:gd name="T55" fmla="*/ 3221 h 3223"/>
                <a:gd name="T56" fmla="*/ 23 w 3158"/>
                <a:gd name="T57" fmla="*/ 3213 h 3223"/>
                <a:gd name="T58" fmla="*/ 11 w 3158"/>
                <a:gd name="T59" fmla="*/ 3203 h 3223"/>
                <a:gd name="T60" fmla="*/ 4 w 3158"/>
                <a:gd name="T61" fmla="*/ 3189 h 3223"/>
                <a:gd name="T62" fmla="*/ 2 w 3158"/>
                <a:gd name="T63" fmla="*/ 3173 h 3223"/>
                <a:gd name="T64" fmla="*/ 1 w 3158"/>
                <a:gd name="T65" fmla="*/ 2643 h 3223"/>
                <a:gd name="T66" fmla="*/ 2 w 3158"/>
                <a:gd name="T67" fmla="*/ 2643 h 3223"/>
                <a:gd name="T68" fmla="*/ 2 w 3158"/>
                <a:gd name="T69" fmla="*/ 1166 h 3223"/>
                <a:gd name="T70" fmla="*/ 1 w 3158"/>
                <a:gd name="T71" fmla="*/ 1166 h 3223"/>
                <a:gd name="T72" fmla="*/ 0 w 3158"/>
                <a:gd name="T73" fmla="*/ 690 h 3223"/>
                <a:gd name="T74" fmla="*/ 2 w 3158"/>
                <a:gd name="T75" fmla="*/ 671 h 3223"/>
                <a:gd name="T76" fmla="*/ 6 w 3158"/>
                <a:gd name="T77" fmla="*/ 652 h 3223"/>
                <a:gd name="T78" fmla="*/ 12 w 3158"/>
                <a:gd name="T79" fmla="*/ 633 h 3223"/>
                <a:gd name="T80" fmla="*/ 19 w 3158"/>
                <a:gd name="T81" fmla="*/ 615 h 3223"/>
                <a:gd name="T82" fmla="*/ 28 w 3158"/>
                <a:gd name="T83" fmla="*/ 600 h 3223"/>
                <a:gd name="T84" fmla="*/ 461 w 3158"/>
                <a:gd name="T85" fmla="*/ 0 h 3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8" h="3223">
                  <a:moveTo>
                    <a:pt x="318" y="1166"/>
                  </a:moveTo>
                  <a:lnTo>
                    <a:pt x="318" y="2643"/>
                  </a:lnTo>
                  <a:lnTo>
                    <a:pt x="2842" y="2643"/>
                  </a:lnTo>
                  <a:lnTo>
                    <a:pt x="2842" y="1166"/>
                  </a:lnTo>
                  <a:lnTo>
                    <a:pt x="318" y="1166"/>
                  </a:lnTo>
                  <a:close/>
                  <a:moveTo>
                    <a:pt x="461" y="0"/>
                  </a:moveTo>
                  <a:lnTo>
                    <a:pt x="2693" y="0"/>
                  </a:lnTo>
                  <a:lnTo>
                    <a:pt x="3127" y="600"/>
                  </a:lnTo>
                  <a:lnTo>
                    <a:pt x="3136" y="615"/>
                  </a:lnTo>
                  <a:lnTo>
                    <a:pt x="3144" y="633"/>
                  </a:lnTo>
                  <a:lnTo>
                    <a:pt x="3150" y="653"/>
                  </a:lnTo>
                  <a:lnTo>
                    <a:pt x="3154" y="673"/>
                  </a:lnTo>
                  <a:lnTo>
                    <a:pt x="3155" y="690"/>
                  </a:lnTo>
                  <a:lnTo>
                    <a:pt x="3155" y="1008"/>
                  </a:lnTo>
                  <a:lnTo>
                    <a:pt x="3158" y="1008"/>
                  </a:lnTo>
                  <a:lnTo>
                    <a:pt x="3158" y="2777"/>
                  </a:lnTo>
                  <a:lnTo>
                    <a:pt x="3154" y="2777"/>
                  </a:lnTo>
                  <a:lnTo>
                    <a:pt x="3154" y="3076"/>
                  </a:lnTo>
                  <a:lnTo>
                    <a:pt x="3151" y="3105"/>
                  </a:lnTo>
                  <a:lnTo>
                    <a:pt x="3143" y="3133"/>
                  </a:lnTo>
                  <a:lnTo>
                    <a:pt x="3129" y="3158"/>
                  </a:lnTo>
                  <a:lnTo>
                    <a:pt x="3111" y="3180"/>
                  </a:lnTo>
                  <a:lnTo>
                    <a:pt x="3088" y="3198"/>
                  </a:lnTo>
                  <a:lnTo>
                    <a:pt x="3063" y="3212"/>
                  </a:lnTo>
                  <a:lnTo>
                    <a:pt x="3036" y="3220"/>
                  </a:lnTo>
                  <a:lnTo>
                    <a:pt x="3007" y="3223"/>
                  </a:lnTo>
                  <a:lnTo>
                    <a:pt x="51" y="3223"/>
                  </a:lnTo>
                  <a:lnTo>
                    <a:pt x="36" y="3221"/>
                  </a:lnTo>
                  <a:lnTo>
                    <a:pt x="23" y="3213"/>
                  </a:lnTo>
                  <a:lnTo>
                    <a:pt x="11" y="3203"/>
                  </a:lnTo>
                  <a:lnTo>
                    <a:pt x="4" y="3189"/>
                  </a:lnTo>
                  <a:lnTo>
                    <a:pt x="2" y="3173"/>
                  </a:lnTo>
                  <a:lnTo>
                    <a:pt x="1" y="2643"/>
                  </a:lnTo>
                  <a:lnTo>
                    <a:pt x="2" y="2643"/>
                  </a:lnTo>
                  <a:lnTo>
                    <a:pt x="2" y="1166"/>
                  </a:lnTo>
                  <a:lnTo>
                    <a:pt x="1" y="1166"/>
                  </a:lnTo>
                  <a:lnTo>
                    <a:pt x="0" y="690"/>
                  </a:lnTo>
                  <a:lnTo>
                    <a:pt x="2" y="671"/>
                  </a:lnTo>
                  <a:lnTo>
                    <a:pt x="6" y="652"/>
                  </a:lnTo>
                  <a:lnTo>
                    <a:pt x="12" y="633"/>
                  </a:lnTo>
                  <a:lnTo>
                    <a:pt x="19" y="615"/>
                  </a:lnTo>
                  <a:lnTo>
                    <a:pt x="28" y="600"/>
                  </a:lnTo>
                  <a:lnTo>
                    <a:pt x="4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7" name="Freeform 28"/>
            <p:cNvSpPr>
              <a:spLocks/>
            </p:cNvSpPr>
            <p:nvPr/>
          </p:nvSpPr>
          <p:spPr bwMode="auto">
            <a:xfrm>
              <a:off x="9702263" y="5415733"/>
              <a:ext cx="851455" cy="158558"/>
            </a:xfrm>
            <a:custGeom>
              <a:avLst/>
              <a:gdLst>
                <a:gd name="T0" fmla="*/ 151 w 2146"/>
                <a:gd name="T1" fmla="*/ 0 h 402"/>
                <a:gd name="T2" fmla="*/ 1997 w 2146"/>
                <a:gd name="T3" fmla="*/ 0 h 402"/>
                <a:gd name="T4" fmla="*/ 2027 w 2146"/>
                <a:gd name="T5" fmla="*/ 3 h 402"/>
                <a:gd name="T6" fmla="*/ 2055 w 2146"/>
                <a:gd name="T7" fmla="*/ 11 h 402"/>
                <a:gd name="T8" fmla="*/ 2080 w 2146"/>
                <a:gd name="T9" fmla="*/ 25 h 402"/>
                <a:gd name="T10" fmla="*/ 2102 w 2146"/>
                <a:gd name="T11" fmla="*/ 43 h 402"/>
                <a:gd name="T12" fmla="*/ 2120 w 2146"/>
                <a:gd name="T13" fmla="*/ 66 h 402"/>
                <a:gd name="T14" fmla="*/ 2135 w 2146"/>
                <a:gd name="T15" fmla="*/ 91 h 402"/>
                <a:gd name="T16" fmla="*/ 2142 w 2146"/>
                <a:gd name="T17" fmla="*/ 119 h 402"/>
                <a:gd name="T18" fmla="*/ 2146 w 2146"/>
                <a:gd name="T19" fmla="*/ 149 h 402"/>
                <a:gd name="T20" fmla="*/ 2146 w 2146"/>
                <a:gd name="T21" fmla="*/ 402 h 402"/>
                <a:gd name="T22" fmla="*/ 0 w 2146"/>
                <a:gd name="T23" fmla="*/ 402 h 402"/>
                <a:gd name="T24" fmla="*/ 0 w 2146"/>
                <a:gd name="T25" fmla="*/ 151 h 402"/>
                <a:gd name="T26" fmla="*/ 3 w 2146"/>
                <a:gd name="T27" fmla="*/ 120 h 402"/>
                <a:gd name="T28" fmla="*/ 12 w 2146"/>
                <a:gd name="T29" fmla="*/ 92 h 402"/>
                <a:gd name="T30" fmla="*/ 26 w 2146"/>
                <a:gd name="T31" fmla="*/ 67 h 402"/>
                <a:gd name="T32" fmla="*/ 44 w 2146"/>
                <a:gd name="T33" fmla="*/ 44 h 402"/>
                <a:gd name="T34" fmla="*/ 67 w 2146"/>
                <a:gd name="T35" fmla="*/ 26 h 402"/>
                <a:gd name="T36" fmla="*/ 92 w 2146"/>
                <a:gd name="T37" fmla="*/ 11 h 402"/>
                <a:gd name="T38" fmla="*/ 120 w 2146"/>
                <a:gd name="T39" fmla="*/ 3 h 402"/>
                <a:gd name="T40" fmla="*/ 151 w 2146"/>
                <a:gd name="T41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46" h="402">
                  <a:moveTo>
                    <a:pt x="151" y="0"/>
                  </a:moveTo>
                  <a:lnTo>
                    <a:pt x="1997" y="0"/>
                  </a:lnTo>
                  <a:lnTo>
                    <a:pt x="2027" y="3"/>
                  </a:lnTo>
                  <a:lnTo>
                    <a:pt x="2055" y="11"/>
                  </a:lnTo>
                  <a:lnTo>
                    <a:pt x="2080" y="25"/>
                  </a:lnTo>
                  <a:lnTo>
                    <a:pt x="2102" y="43"/>
                  </a:lnTo>
                  <a:lnTo>
                    <a:pt x="2120" y="66"/>
                  </a:lnTo>
                  <a:lnTo>
                    <a:pt x="2135" y="91"/>
                  </a:lnTo>
                  <a:lnTo>
                    <a:pt x="2142" y="119"/>
                  </a:lnTo>
                  <a:lnTo>
                    <a:pt x="2146" y="149"/>
                  </a:lnTo>
                  <a:lnTo>
                    <a:pt x="2146" y="402"/>
                  </a:lnTo>
                  <a:lnTo>
                    <a:pt x="0" y="402"/>
                  </a:lnTo>
                  <a:lnTo>
                    <a:pt x="0" y="151"/>
                  </a:lnTo>
                  <a:lnTo>
                    <a:pt x="3" y="120"/>
                  </a:lnTo>
                  <a:lnTo>
                    <a:pt x="12" y="92"/>
                  </a:lnTo>
                  <a:lnTo>
                    <a:pt x="26" y="67"/>
                  </a:lnTo>
                  <a:lnTo>
                    <a:pt x="44" y="44"/>
                  </a:lnTo>
                  <a:lnTo>
                    <a:pt x="67" y="26"/>
                  </a:lnTo>
                  <a:lnTo>
                    <a:pt x="92" y="11"/>
                  </a:lnTo>
                  <a:lnTo>
                    <a:pt x="120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8" name="Freeform 29"/>
            <p:cNvSpPr>
              <a:spLocks/>
            </p:cNvSpPr>
            <p:nvPr/>
          </p:nvSpPr>
          <p:spPr bwMode="auto">
            <a:xfrm>
              <a:off x="9691164" y="6240232"/>
              <a:ext cx="260035" cy="271133"/>
            </a:xfrm>
            <a:custGeom>
              <a:avLst/>
              <a:gdLst>
                <a:gd name="T0" fmla="*/ 0 w 660"/>
                <a:gd name="T1" fmla="*/ 0 h 682"/>
                <a:gd name="T2" fmla="*/ 207 w 660"/>
                <a:gd name="T3" fmla="*/ 0 h 682"/>
                <a:gd name="T4" fmla="*/ 331 w 660"/>
                <a:gd name="T5" fmla="*/ 464 h 682"/>
                <a:gd name="T6" fmla="*/ 452 w 660"/>
                <a:gd name="T7" fmla="*/ 0 h 682"/>
                <a:gd name="T8" fmla="*/ 660 w 660"/>
                <a:gd name="T9" fmla="*/ 0 h 682"/>
                <a:gd name="T10" fmla="*/ 660 w 660"/>
                <a:gd name="T11" fmla="*/ 682 h 682"/>
                <a:gd name="T12" fmla="*/ 529 w 660"/>
                <a:gd name="T13" fmla="*/ 682 h 682"/>
                <a:gd name="T14" fmla="*/ 529 w 660"/>
                <a:gd name="T15" fmla="*/ 146 h 682"/>
                <a:gd name="T16" fmla="*/ 395 w 660"/>
                <a:gd name="T17" fmla="*/ 682 h 682"/>
                <a:gd name="T18" fmla="*/ 264 w 660"/>
                <a:gd name="T19" fmla="*/ 682 h 682"/>
                <a:gd name="T20" fmla="*/ 127 w 660"/>
                <a:gd name="T21" fmla="*/ 146 h 682"/>
                <a:gd name="T22" fmla="*/ 127 w 660"/>
                <a:gd name="T23" fmla="*/ 682 h 682"/>
                <a:gd name="T24" fmla="*/ 0 w 660"/>
                <a:gd name="T25" fmla="*/ 682 h 682"/>
                <a:gd name="T26" fmla="*/ 0 w 660"/>
                <a:gd name="T27" fmla="*/ 0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0" h="682">
                  <a:moveTo>
                    <a:pt x="0" y="0"/>
                  </a:moveTo>
                  <a:lnTo>
                    <a:pt x="207" y="0"/>
                  </a:lnTo>
                  <a:lnTo>
                    <a:pt x="331" y="464"/>
                  </a:lnTo>
                  <a:lnTo>
                    <a:pt x="452" y="0"/>
                  </a:lnTo>
                  <a:lnTo>
                    <a:pt x="660" y="0"/>
                  </a:lnTo>
                  <a:lnTo>
                    <a:pt x="660" y="682"/>
                  </a:lnTo>
                  <a:lnTo>
                    <a:pt x="529" y="682"/>
                  </a:lnTo>
                  <a:lnTo>
                    <a:pt x="529" y="146"/>
                  </a:lnTo>
                  <a:lnTo>
                    <a:pt x="395" y="682"/>
                  </a:lnTo>
                  <a:lnTo>
                    <a:pt x="264" y="682"/>
                  </a:lnTo>
                  <a:lnTo>
                    <a:pt x="127" y="146"/>
                  </a:lnTo>
                  <a:lnTo>
                    <a:pt x="127" y="682"/>
                  </a:lnTo>
                  <a:lnTo>
                    <a:pt x="0" y="68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9" name="Rectangle 30"/>
            <p:cNvSpPr>
              <a:spLocks noChangeArrowheads="1"/>
            </p:cNvSpPr>
            <p:nvPr/>
          </p:nvSpPr>
          <p:spPr bwMode="auto">
            <a:xfrm>
              <a:off x="10003523" y="6240232"/>
              <a:ext cx="53910" cy="27113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0" name="Freeform 31"/>
            <p:cNvSpPr>
              <a:spLocks/>
            </p:cNvSpPr>
            <p:nvPr/>
          </p:nvSpPr>
          <p:spPr bwMode="auto">
            <a:xfrm>
              <a:off x="10111342" y="6243404"/>
              <a:ext cx="190269" cy="267962"/>
            </a:xfrm>
            <a:custGeom>
              <a:avLst/>
              <a:gdLst>
                <a:gd name="T0" fmla="*/ 0 w 481"/>
                <a:gd name="T1" fmla="*/ 0 h 674"/>
                <a:gd name="T2" fmla="*/ 137 w 481"/>
                <a:gd name="T3" fmla="*/ 0 h 674"/>
                <a:gd name="T4" fmla="*/ 137 w 481"/>
                <a:gd name="T5" fmla="*/ 559 h 674"/>
                <a:gd name="T6" fmla="*/ 481 w 481"/>
                <a:gd name="T7" fmla="*/ 559 h 674"/>
                <a:gd name="T8" fmla="*/ 481 w 481"/>
                <a:gd name="T9" fmla="*/ 674 h 674"/>
                <a:gd name="T10" fmla="*/ 0 w 481"/>
                <a:gd name="T11" fmla="*/ 674 h 674"/>
                <a:gd name="T12" fmla="*/ 0 w 481"/>
                <a:gd name="T13" fmla="*/ 0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1" h="674">
                  <a:moveTo>
                    <a:pt x="0" y="0"/>
                  </a:moveTo>
                  <a:lnTo>
                    <a:pt x="137" y="0"/>
                  </a:lnTo>
                  <a:lnTo>
                    <a:pt x="137" y="559"/>
                  </a:lnTo>
                  <a:lnTo>
                    <a:pt x="481" y="559"/>
                  </a:lnTo>
                  <a:lnTo>
                    <a:pt x="481" y="674"/>
                  </a:lnTo>
                  <a:lnTo>
                    <a:pt x="0" y="6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1" name="Freeform 32"/>
            <p:cNvSpPr>
              <a:spLocks/>
            </p:cNvSpPr>
            <p:nvPr/>
          </p:nvSpPr>
          <p:spPr bwMode="auto">
            <a:xfrm>
              <a:off x="10341250" y="6240232"/>
              <a:ext cx="242593" cy="271133"/>
            </a:xfrm>
            <a:custGeom>
              <a:avLst/>
              <a:gdLst>
                <a:gd name="T0" fmla="*/ 0 w 613"/>
                <a:gd name="T1" fmla="*/ 0 h 682"/>
                <a:gd name="T2" fmla="*/ 137 w 613"/>
                <a:gd name="T3" fmla="*/ 0 h 682"/>
                <a:gd name="T4" fmla="*/ 137 w 613"/>
                <a:gd name="T5" fmla="*/ 303 h 682"/>
                <a:gd name="T6" fmla="*/ 414 w 613"/>
                <a:gd name="T7" fmla="*/ 0 h 682"/>
                <a:gd name="T8" fmla="*/ 598 w 613"/>
                <a:gd name="T9" fmla="*/ 0 h 682"/>
                <a:gd name="T10" fmla="*/ 343 w 613"/>
                <a:gd name="T11" fmla="*/ 265 h 682"/>
                <a:gd name="T12" fmla="*/ 613 w 613"/>
                <a:gd name="T13" fmla="*/ 682 h 682"/>
                <a:gd name="T14" fmla="*/ 435 w 613"/>
                <a:gd name="T15" fmla="*/ 682 h 682"/>
                <a:gd name="T16" fmla="*/ 249 w 613"/>
                <a:gd name="T17" fmla="*/ 363 h 682"/>
                <a:gd name="T18" fmla="*/ 137 w 613"/>
                <a:gd name="T19" fmla="*/ 475 h 682"/>
                <a:gd name="T20" fmla="*/ 137 w 613"/>
                <a:gd name="T21" fmla="*/ 682 h 682"/>
                <a:gd name="T22" fmla="*/ 0 w 613"/>
                <a:gd name="T23" fmla="*/ 682 h 682"/>
                <a:gd name="T24" fmla="*/ 0 w 613"/>
                <a:gd name="T25" fmla="*/ 0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3" h="682">
                  <a:moveTo>
                    <a:pt x="0" y="0"/>
                  </a:moveTo>
                  <a:lnTo>
                    <a:pt x="137" y="0"/>
                  </a:lnTo>
                  <a:lnTo>
                    <a:pt x="137" y="303"/>
                  </a:lnTo>
                  <a:lnTo>
                    <a:pt x="414" y="0"/>
                  </a:lnTo>
                  <a:lnTo>
                    <a:pt x="598" y="0"/>
                  </a:lnTo>
                  <a:lnTo>
                    <a:pt x="343" y="265"/>
                  </a:lnTo>
                  <a:lnTo>
                    <a:pt x="613" y="682"/>
                  </a:lnTo>
                  <a:lnTo>
                    <a:pt x="435" y="682"/>
                  </a:lnTo>
                  <a:lnTo>
                    <a:pt x="249" y="363"/>
                  </a:lnTo>
                  <a:lnTo>
                    <a:pt x="137" y="475"/>
                  </a:lnTo>
                  <a:lnTo>
                    <a:pt x="137" y="682"/>
                  </a:lnTo>
                  <a:lnTo>
                    <a:pt x="0" y="68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2" name="Group 161"/>
          <p:cNvGrpSpPr/>
          <p:nvPr/>
        </p:nvGrpSpPr>
        <p:grpSpPr>
          <a:xfrm>
            <a:off x="1462546" y="5152548"/>
            <a:ext cx="550512" cy="653078"/>
            <a:chOff x="9504066" y="5415733"/>
            <a:chExt cx="1251020" cy="1484099"/>
          </a:xfrm>
          <a:solidFill>
            <a:schemeClr val="bg1"/>
          </a:solidFill>
        </p:grpSpPr>
        <p:sp>
          <p:nvSpPr>
            <p:cNvPr id="163" name="Freeform 27"/>
            <p:cNvSpPr>
              <a:spLocks noEditPoints="1"/>
            </p:cNvSpPr>
            <p:nvPr/>
          </p:nvSpPr>
          <p:spPr bwMode="auto">
            <a:xfrm>
              <a:off x="9504066" y="5621858"/>
              <a:ext cx="1251020" cy="1277974"/>
            </a:xfrm>
            <a:custGeom>
              <a:avLst/>
              <a:gdLst>
                <a:gd name="T0" fmla="*/ 318 w 3158"/>
                <a:gd name="T1" fmla="*/ 1166 h 3223"/>
                <a:gd name="T2" fmla="*/ 318 w 3158"/>
                <a:gd name="T3" fmla="*/ 2643 h 3223"/>
                <a:gd name="T4" fmla="*/ 2842 w 3158"/>
                <a:gd name="T5" fmla="*/ 2643 h 3223"/>
                <a:gd name="T6" fmla="*/ 2842 w 3158"/>
                <a:gd name="T7" fmla="*/ 1166 h 3223"/>
                <a:gd name="T8" fmla="*/ 318 w 3158"/>
                <a:gd name="T9" fmla="*/ 1166 h 3223"/>
                <a:gd name="T10" fmla="*/ 461 w 3158"/>
                <a:gd name="T11" fmla="*/ 0 h 3223"/>
                <a:gd name="T12" fmla="*/ 2693 w 3158"/>
                <a:gd name="T13" fmla="*/ 0 h 3223"/>
                <a:gd name="T14" fmla="*/ 3127 w 3158"/>
                <a:gd name="T15" fmla="*/ 600 h 3223"/>
                <a:gd name="T16" fmla="*/ 3136 w 3158"/>
                <a:gd name="T17" fmla="*/ 615 h 3223"/>
                <a:gd name="T18" fmla="*/ 3144 w 3158"/>
                <a:gd name="T19" fmla="*/ 633 h 3223"/>
                <a:gd name="T20" fmla="*/ 3150 w 3158"/>
                <a:gd name="T21" fmla="*/ 653 h 3223"/>
                <a:gd name="T22" fmla="*/ 3154 w 3158"/>
                <a:gd name="T23" fmla="*/ 673 h 3223"/>
                <a:gd name="T24" fmla="*/ 3155 w 3158"/>
                <a:gd name="T25" fmla="*/ 690 h 3223"/>
                <a:gd name="T26" fmla="*/ 3155 w 3158"/>
                <a:gd name="T27" fmla="*/ 1008 h 3223"/>
                <a:gd name="T28" fmla="*/ 3158 w 3158"/>
                <a:gd name="T29" fmla="*/ 1008 h 3223"/>
                <a:gd name="T30" fmla="*/ 3158 w 3158"/>
                <a:gd name="T31" fmla="*/ 2777 h 3223"/>
                <a:gd name="T32" fmla="*/ 3154 w 3158"/>
                <a:gd name="T33" fmla="*/ 2777 h 3223"/>
                <a:gd name="T34" fmla="*/ 3154 w 3158"/>
                <a:gd name="T35" fmla="*/ 3076 h 3223"/>
                <a:gd name="T36" fmla="*/ 3151 w 3158"/>
                <a:gd name="T37" fmla="*/ 3105 h 3223"/>
                <a:gd name="T38" fmla="*/ 3143 w 3158"/>
                <a:gd name="T39" fmla="*/ 3133 h 3223"/>
                <a:gd name="T40" fmla="*/ 3129 w 3158"/>
                <a:gd name="T41" fmla="*/ 3158 h 3223"/>
                <a:gd name="T42" fmla="*/ 3111 w 3158"/>
                <a:gd name="T43" fmla="*/ 3180 h 3223"/>
                <a:gd name="T44" fmla="*/ 3088 w 3158"/>
                <a:gd name="T45" fmla="*/ 3198 h 3223"/>
                <a:gd name="T46" fmla="*/ 3063 w 3158"/>
                <a:gd name="T47" fmla="*/ 3212 h 3223"/>
                <a:gd name="T48" fmla="*/ 3036 w 3158"/>
                <a:gd name="T49" fmla="*/ 3220 h 3223"/>
                <a:gd name="T50" fmla="*/ 3007 w 3158"/>
                <a:gd name="T51" fmla="*/ 3223 h 3223"/>
                <a:gd name="T52" fmla="*/ 51 w 3158"/>
                <a:gd name="T53" fmla="*/ 3223 h 3223"/>
                <a:gd name="T54" fmla="*/ 36 w 3158"/>
                <a:gd name="T55" fmla="*/ 3221 h 3223"/>
                <a:gd name="T56" fmla="*/ 23 w 3158"/>
                <a:gd name="T57" fmla="*/ 3213 h 3223"/>
                <a:gd name="T58" fmla="*/ 11 w 3158"/>
                <a:gd name="T59" fmla="*/ 3203 h 3223"/>
                <a:gd name="T60" fmla="*/ 4 w 3158"/>
                <a:gd name="T61" fmla="*/ 3189 h 3223"/>
                <a:gd name="T62" fmla="*/ 2 w 3158"/>
                <a:gd name="T63" fmla="*/ 3173 h 3223"/>
                <a:gd name="T64" fmla="*/ 1 w 3158"/>
                <a:gd name="T65" fmla="*/ 2643 h 3223"/>
                <a:gd name="T66" fmla="*/ 2 w 3158"/>
                <a:gd name="T67" fmla="*/ 2643 h 3223"/>
                <a:gd name="T68" fmla="*/ 2 w 3158"/>
                <a:gd name="T69" fmla="*/ 1166 h 3223"/>
                <a:gd name="T70" fmla="*/ 1 w 3158"/>
                <a:gd name="T71" fmla="*/ 1166 h 3223"/>
                <a:gd name="T72" fmla="*/ 0 w 3158"/>
                <a:gd name="T73" fmla="*/ 690 h 3223"/>
                <a:gd name="T74" fmla="*/ 2 w 3158"/>
                <a:gd name="T75" fmla="*/ 671 h 3223"/>
                <a:gd name="T76" fmla="*/ 6 w 3158"/>
                <a:gd name="T77" fmla="*/ 652 h 3223"/>
                <a:gd name="T78" fmla="*/ 12 w 3158"/>
                <a:gd name="T79" fmla="*/ 633 h 3223"/>
                <a:gd name="T80" fmla="*/ 19 w 3158"/>
                <a:gd name="T81" fmla="*/ 615 h 3223"/>
                <a:gd name="T82" fmla="*/ 28 w 3158"/>
                <a:gd name="T83" fmla="*/ 600 h 3223"/>
                <a:gd name="T84" fmla="*/ 461 w 3158"/>
                <a:gd name="T85" fmla="*/ 0 h 3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8" h="3223">
                  <a:moveTo>
                    <a:pt x="318" y="1166"/>
                  </a:moveTo>
                  <a:lnTo>
                    <a:pt x="318" y="2643"/>
                  </a:lnTo>
                  <a:lnTo>
                    <a:pt x="2842" y="2643"/>
                  </a:lnTo>
                  <a:lnTo>
                    <a:pt x="2842" y="1166"/>
                  </a:lnTo>
                  <a:lnTo>
                    <a:pt x="318" y="1166"/>
                  </a:lnTo>
                  <a:close/>
                  <a:moveTo>
                    <a:pt x="461" y="0"/>
                  </a:moveTo>
                  <a:lnTo>
                    <a:pt x="2693" y="0"/>
                  </a:lnTo>
                  <a:lnTo>
                    <a:pt x="3127" y="600"/>
                  </a:lnTo>
                  <a:lnTo>
                    <a:pt x="3136" y="615"/>
                  </a:lnTo>
                  <a:lnTo>
                    <a:pt x="3144" y="633"/>
                  </a:lnTo>
                  <a:lnTo>
                    <a:pt x="3150" y="653"/>
                  </a:lnTo>
                  <a:lnTo>
                    <a:pt x="3154" y="673"/>
                  </a:lnTo>
                  <a:lnTo>
                    <a:pt x="3155" y="690"/>
                  </a:lnTo>
                  <a:lnTo>
                    <a:pt x="3155" y="1008"/>
                  </a:lnTo>
                  <a:lnTo>
                    <a:pt x="3158" y="1008"/>
                  </a:lnTo>
                  <a:lnTo>
                    <a:pt x="3158" y="2777"/>
                  </a:lnTo>
                  <a:lnTo>
                    <a:pt x="3154" y="2777"/>
                  </a:lnTo>
                  <a:lnTo>
                    <a:pt x="3154" y="3076"/>
                  </a:lnTo>
                  <a:lnTo>
                    <a:pt x="3151" y="3105"/>
                  </a:lnTo>
                  <a:lnTo>
                    <a:pt x="3143" y="3133"/>
                  </a:lnTo>
                  <a:lnTo>
                    <a:pt x="3129" y="3158"/>
                  </a:lnTo>
                  <a:lnTo>
                    <a:pt x="3111" y="3180"/>
                  </a:lnTo>
                  <a:lnTo>
                    <a:pt x="3088" y="3198"/>
                  </a:lnTo>
                  <a:lnTo>
                    <a:pt x="3063" y="3212"/>
                  </a:lnTo>
                  <a:lnTo>
                    <a:pt x="3036" y="3220"/>
                  </a:lnTo>
                  <a:lnTo>
                    <a:pt x="3007" y="3223"/>
                  </a:lnTo>
                  <a:lnTo>
                    <a:pt x="51" y="3223"/>
                  </a:lnTo>
                  <a:lnTo>
                    <a:pt x="36" y="3221"/>
                  </a:lnTo>
                  <a:lnTo>
                    <a:pt x="23" y="3213"/>
                  </a:lnTo>
                  <a:lnTo>
                    <a:pt x="11" y="3203"/>
                  </a:lnTo>
                  <a:lnTo>
                    <a:pt x="4" y="3189"/>
                  </a:lnTo>
                  <a:lnTo>
                    <a:pt x="2" y="3173"/>
                  </a:lnTo>
                  <a:lnTo>
                    <a:pt x="1" y="2643"/>
                  </a:lnTo>
                  <a:lnTo>
                    <a:pt x="2" y="2643"/>
                  </a:lnTo>
                  <a:lnTo>
                    <a:pt x="2" y="1166"/>
                  </a:lnTo>
                  <a:lnTo>
                    <a:pt x="1" y="1166"/>
                  </a:lnTo>
                  <a:lnTo>
                    <a:pt x="0" y="690"/>
                  </a:lnTo>
                  <a:lnTo>
                    <a:pt x="2" y="671"/>
                  </a:lnTo>
                  <a:lnTo>
                    <a:pt x="6" y="652"/>
                  </a:lnTo>
                  <a:lnTo>
                    <a:pt x="12" y="633"/>
                  </a:lnTo>
                  <a:lnTo>
                    <a:pt x="19" y="615"/>
                  </a:lnTo>
                  <a:lnTo>
                    <a:pt x="28" y="600"/>
                  </a:lnTo>
                  <a:lnTo>
                    <a:pt x="4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4" name="Freeform 28"/>
            <p:cNvSpPr>
              <a:spLocks/>
            </p:cNvSpPr>
            <p:nvPr/>
          </p:nvSpPr>
          <p:spPr bwMode="auto">
            <a:xfrm>
              <a:off x="9702263" y="5415733"/>
              <a:ext cx="851455" cy="158558"/>
            </a:xfrm>
            <a:custGeom>
              <a:avLst/>
              <a:gdLst>
                <a:gd name="T0" fmla="*/ 151 w 2146"/>
                <a:gd name="T1" fmla="*/ 0 h 402"/>
                <a:gd name="T2" fmla="*/ 1997 w 2146"/>
                <a:gd name="T3" fmla="*/ 0 h 402"/>
                <a:gd name="T4" fmla="*/ 2027 w 2146"/>
                <a:gd name="T5" fmla="*/ 3 h 402"/>
                <a:gd name="T6" fmla="*/ 2055 w 2146"/>
                <a:gd name="T7" fmla="*/ 11 h 402"/>
                <a:gd name="T8" fmla="*/ 2080 w 2146"/>
                <a:gd name="T9" fmla="*/ 25 h 402"/>
                <a:gd name="T10" fmla="*/ 2102 w 2146"/>
                <a:gd name="T11" fmla="*/ 43 h 402"/>
                <a:gd name="T12" fmla="*/ 2120 w 2146"/>
                <a:gd name="T13" fmla="*/ 66 h 402"/>
                <a:gd name="T14" fmla="*/ 2135 w 2146"/>
                <a:gd name="T15" fmla="*/ 91 h 402"/>
                <a:gd name="T16" fmla="*/ 2142 w 2146"/>
                <a:gd name="T17" fmla="*/ 119 h 402"/>
                <a:gd name="T18" fmla="*/ 2146 w 2146"/>
                <a:gd name="T19" fmla="*/ 149 h 402"/>
                <a:gd name="T20" fmla="*/ 2146 w 2146"/>
                <a:gd name="T21" fmla="*/ 402 h 402"/>
                <a:gd name="T22" fmla="*/ 0 w 2146"/>
                <a:gd name="T23" fmla="*/ 402 h 402"/>
                <a:gd name="T24" fmla="*/ 0 w 2146"/>
                <a:gd name="T25" fmla="*/ 151 h 402"/>
                <a:gd name="T26" fmla="*/ 3 w 2146"/>
                <a:gd name="T27" fmla="*/ 120 h 402"/>
                <a:gd name="T28" fmla="*/ 12 w 2146"/>
                <a:gd name="T29" fmla="*/ 92 h 402"/>
                <a:gd name="T30" fmla="*/ 26 w 2146"/>
                <a:gd name="T31" fmla="*/ 67 h 402"/>
                <a:gd name="T32" fmla="*/ 44 w 2146"/>
                <a:gd name="T33" fmla="*/ 44 h 402"/>
                <a:gd name="T34" fmla="*/ 67 w 2146"/>
                <a:gd name="T35" fmla="*/ 26 h 402"/>
                <a:gd name="T36" fmla="*/ 92 w 2146"/>
                <a:gd name="T37" fmla="*/ 11 h 402"/>
                <a:gd name="T38" fmla="*/ 120 w 2146"/>
                <a:gd name="T39" fmla="*/ 3 h 402"/>
                <a:gd name="T40" fmla="*/ 151 w 2146"/>
                <a:gd name="T41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46" h="402">
                  <a:moveTo>
                    <a:pt x="151" y="0"/>
                  </a:moveTo>
                  <a:lnTo>
                    <a:pt x="1997" y="0"/>
                  </a:lnTo>
                  <a:lnTo>
                    <a:pt x="2027" y="3"/>
                  </a:lnTo>
                  <a:lnTo>
                    <a:pt x="2055" y="11"/>
                  </a:lnTo>
                  <a:lnTo>
                    <a:pt x="2080" y="25"/>
                  </a:lnTo>
                  <a:lnTo>
                    <a:pt x="2102" y="43"/>
                  </a:lnTo>
                  <a:lnTo>
                    <a:pt x="2120" y="66"/>
                  </a:lnTo>
                  <a:lnTo>
                    <a:pt x="2135" y="91"/>
                  </a:lnTo>
                  <a:lnTo>
                    <a:pt x="2142" y="119"/>
                  </a:lnTo>
                  <a:lnTo>
                    <a:pt x="2146" y="149"/>
                  </a:lnTo>
                  <a:lnTo>
                    <a:pt x="2146" y="402"/>
                  </a:lnTo>
                  <a:lnTo>
                    <a:pt x="0" y="402"/>
                  </a:lnTo>
                  <a:lnTo>
                    <a:pt x="0" y="151"/>
                  </a:lnTo>
                  <a:lnTo>
                    <a:pt x="3" y="120"/>
                  </a:lnTo>
                  <a:lnTo>
                    <a:pt x="12" y="92"/>
                  </a:lnTo>
                  <a:lnTo>
                    <a:pt x="26" y="67"/>
                  </a:lnTo>
                  <a:lnTo>
                    <a:pt x="44" y="44"/>
                  </a:lnTo>
                  <a:lnTo>
                    <a:pt x="67" y="26"/>
                  </a:lnTo>
                  <a:lnTo>
                    <a:pt x="92" y="11"/>
                  </a:lnTo>
                  <a:lnTo>
                    <a:pt x="120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5" name="Freeform 29"/>
            <p:cNvSpPr>
              <a:spLocks/>
            </p:cNvSpPr>
            <p:nvPr/>
          </p:nvSpPr>
          <p:spPr bwMode="auto">
            <a:xfrm>
              <a:off x="9691164" y="6240232"/>
              <a:ext cx="260035" cy="271133"/>
            </a:xfrm>
            <a:custGeom>
              <a:avLst/>
              <a:gdLst>
                <a:gd name="T0" fmla="*/ 0 w 660"/>
                <a:gd name="T1" fmla="*/ 0 h 682"/>
                <a:gd name="T2" fmla="*/ 207 w 660"/>
                <a:gd name="T3" fmla="*/ 0 h 682"/>
                <a:gd name="T4" fmla="*/ 331 w 660"/>
                <a:gd name="T5" fmla="*/ 464 h 682"/>
                <a:gd name="T6" fmla="*/ 452 w 660"/>
                <a:gd name="T7" fmla="*/ 0 h 682"/>
                <a:gd name="T8" fmla="*/ 660 w 660"/>
                <a:gd name="T9" fmla="*/ 0 h 682"/>
                <a:gd name="T10" fmla="*/ 660 w 660"/>
                <a:gd name="T11" fmla="*/ 682 h 682"/>
                <a:gd name="T12" fmla="*/ 529 w 660"/>
                <a:gd name="T13" fmla="*/ 682 h 682"/>
                <a:gd name="T14" fmla="*/ 529 w 660"/>
                <a:gd name="T15" fmla="*/ 146 h 682"/>
                <a:gd name="T16" fmla="*/ 395 w 660"/>
                <a:gd name="T17" fmla="*/ 682 h 682"/>
                <a:gd name="T18" fmla="*/ 264 w 660"/>
                <a:gd name="T19" fmla="*/ 682 h 682"/>
                <a:gd name="T20" fmla="*/ 127 w 660"/>
                <a:gd name="T21" fmla="*/ 146 h 682"/>
                <a:gd name="T22" fmla="*/ 127 w 660"/>
                <a:gd name="T23" fmla="*/ 682 h 682"/>
                <a:gd name="T24" fmla="*/ 0 w 660"/>
                <a:gd name="T25" fmla="*/ 682 h 682"/>
                <a:gd name="T26" fmla="*/ 0 w 660"/>
                <a:gd name="T27" fmla="*/ 0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0" h="682">
                  <a:moveTo>
                    <a:pt x="0" y="0"/>
                  </a:moveTo>
                  <a:lnTo>
                    <a:pt x="207" y="0"/>
                  </a:lnTo>
                  <a:lnTo>
                    <a:pt x="331" y="464"/>
                  </a:lnTo>
                  <a:lnTo>
                    <a:pt x="452" y="0"/>
                  </a:lnTo>
                  <a:lnTo>
                    <a:pt x="660" y="0"/>
                  </a:lnTo>
                  <a:lnTo>
                    <a:pt x="660" y="682"/>
                  </a:lnTo>
                  <a:lnTo>
                    <a:pt x="529" y="682"/>
                  </a:lnTo>
                  <a:lnTo>
                    <a:pt x="529" y="146"/>
                  </a:lnTo>
                  <a:lnTo>
                    <a:pt x="395" y="682"/>
                  </a:lnTo>
                  <a:lnTo>
                    <a:pt x="264" y="682"/>
                  </a:lnTo>
                  <a:lnTo>
                    <a:pt x="127" y="146"/>
                  </a:lnTo>
                  <a:lnTo>
                    <a:pt x="127" y="682"/>
                  </a:lnTo>
                  <a:lnTo>
                    <a:pt x="0" y="68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6" name="Rectangle 30"/>
            <p:cNvSpPr>
              <a:spLocks noChangeArrowheads="1"/>
            </p:cNvSpPr>
            <p:nvPr/>
          </p:nvSpPr>
          <p:spPr bwMode="auto">
            <a:xfrm>
              <a:off x="10003523" y="6240232"/>
              <a:ext cx="53910" cy="27113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7" name="Freeform 31"/>
            <p:cNvSpPr>
              <a:spLocks/>
            </p:cNvSpPr>
            <p:nvPr/>
          </p:nvSpPr>
          <p:spPr bwMode="auto">
            <a:xfrm>
              <a:off x="10111342" y="6243404"/>
              <a:ext cx="190269" cy="267962"/>
            </a:xfrm>
            <a:custGeom>
              <a:avLst/>
              <a:gdLst>
                <a:gd name="T0" fmla="*/ 0 w 481"/>
                <a:gd name="T1" fmla="*/ 0 h 674"/>
                <a:gd name="T2" fmla="*/ 137 w 481"/>
                <a:gd name="T3" fmla="*/ 0 h 674"/>
                <a:gd name="T4" fmla="*/ 137 w 481"/>
                <a:gd name="T5" fmla="*/ 559 h 674"/>
                <a:gd name="T6" fmla="*/ 481 w 481"/>
                <a:gd name="T7" fmla="*/ 559 h 674"/>
                <a:gd name="T8" fmla="*/ 481 w 481"/>
                <a:gd name="T9" fmla="*/ 674 h 674"/>
                <a:gd name="T10" fmla="*/ 0 w 481"/>
                <a:gd name="T11" fmla="*/ 674 h 674"/>
                <a:gd name="T12" fmla="*/ 0 w 481"/>
                <a:gd name="T13" fmla="*/ 0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1" h="674">
                  <a:moveTo>
                    <a:pt x="0" y="0"/>
                  </a:moveTo>
                  <a:lnTo>
                    <a:pt x="137" y="0"/>
                  </a:lnTo>
                  <a:lnTo>
                    <a:pt x="137" y="559"/>
                  </a:lnTo>
                  <a:lnTo>
                    <a:pt x="481" y="559"/>
                  </a:lnTo>
                  <a:lnTo>
                    <a:pt x="481" y="674"/>
                  </a:lnTo>
                  <a:lnTo>
                    <a:pt x="0" y="6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8" name="Freeform 32"/>
            <p:cNvSpPr>
              <a:spLocks/>
            </p:cNvSpPr>
            <p:nvPr/>
          </p:nvSpPr>
          <p:spPr bwMode="auto">
            <a:xfrm>
              <a:off x="10341250" y="6240232"/>
              <a:ext cx="242593" cy="271133"/>
            </a:xfrm>
            <a:custGeom>
              <a:avLst/>
              <a:gdLst>
                <a:gd name="T0" fmla="*/ 0 w 613"/>
                <a:gd name="T1" fmla="*/ 0 h 682"/>
                <a:gd name="T2" fmla="*/ 137 w 613"/>
                <a:gd name="T3" fmla="*/ 0 h 682"/>
                <a:gd name="T4" fmla="*/ 137 w 613"/>
                <a:gd name="T5" fmla="*/ 303 h 682"/>
                <a:gd name="T6" fmla="*/ 414 w 613"/>
                <a:gd name="T7" fmla="*/ 0 h 682"/>
                <a:gd name="T8" fmla="*/ 598 w 613"/>
                <a:gd name="T9" fmla="*/ 0 h 682"/>
                <a:gd name="T10" fmla="*/ 343 w 613"/>
                <a:gd name="T11" fmla="*/ 265 h 682"/>
                <a:gd name="T12" fmla="*/ 613 w 613"/>
                <a:gd name="T13" fmla="*/ 682 h 682"/>
                <a:gd name="T14" fmla="*/ 435 w 613"/>
                <a:gd name="T15" fmla="*/ 682 h 682"/>
                <a:gd name="T16" fmla="*/ 249 w 613"/>
                <a:gd name="T17" fmla="*/ 363 h 682"/>
                <a:gd name="T18" fmla="*/ 137 w 613"/>
                <a:gd name="T19" fmla="*/ 475 h 682"/>
                <a:gd name="T20" fmla="*/ 137 w 613"/>
                <a:gd name="T21" fmla="*/ 682 h 682"/>
                <a:gd name="T22" fmla="*/ 0 w 613"/>
                <a:gd name="T23" fmla="*/ 682 h 682"/>
                <a:gd name="T24" fmla="*/ 0 w 613"/>
                <a:gd name="T25" fmla="*/ 0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3" h="682">
                  <a:moveTo>
                    <a:pt x="0" y="0"/>
                  </a:moveTo>
                  <a:lnTo>
                    <a:pt x="137" y="0"/>
                  </a:lnTo>
                  <a:lnTo>
                    <a:pt x="137" y="303"/>
                  </a:lnTo>
                  <a:lnTo>
                    <a:pt x="414" y="0"/>
                  </a:lnTo>
                  <a:lnTo>
                    <a:pt x="598" y="0"/>
                  </a:lnTo>
                  <a:lnTo>
                    <a:pt x="343" y="265"/>
                  </a:lnTo>
                  <a:lnTo>
                    <a:pt x="613" y="682"/>
                  </a:lnTo>
                  <a:lnTo>
                    <a:pt x="435" y="682"/>
                  </a:lnTo>
                  <a:lnTo>
                    <a:pt x="249" y="363"/>
                  </a:lnTo>
                  <a:lnTo>
                    <a:pt x="137" y="475"/>
                  </a:lnTo>
                  <a:lnTo>
                    <a:pt x="137" y="682"/>
                  </a:lnTo>
                  <a:lnTo>
                    <a:pt x="0" y="68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69" name="Freeform 37"/>
          <p:cNvSpPr>
            <a:spLocks noEditPoints="1"/>
          </p:cNvSpPr>
          <p:nvPr/>
        </p:nvSpPr>
        <p:spPr bwMode="auto">
          <a:xfrm>
            <a:off x="2817264" y="5039214"/>
            <a:ext cx="593585" cy="766412"/>
          </a:xfrm>
          <a:custGeom>
            <a:avLst/>
            <a:gdLst>
              <a:gd name="T0" fmla="*/ 501 w 2626"/>
              <a:gd name="T1" fmla="*/ 2476 h 3388"/>
              <a:gd name="T2" fmla="*/ 838 w 2626"/>
              <a:gd name="T3" fmla="*/ 2279 h 3388"/>
              <a:gd name="T4" fmla="*/ 776 w 2626"/>
              <a:gd name="T5" fmla="*/ 2212 h 3388"/>
              <a:gd name="T6" fmla="*/ 1601 w 2626"/>
              <a:gd name="T7" fmla="*/ 1997 h 3388"/>
              <a:gd name="T8" fmla="*/ 1525 w 2626"/>
              <a:gd name="T9" fmla="*/ 2052 h 3388"/>
              <a:gd name="T10" fmla="*/ 1281 w 2626"/>
              <a:gd name="T11" fmla="*/ 2056 h 3388"/>
              <a:gd name="T12" fmla="*/ 1014 w 2626"/>
              <a:gd name="T13" fmla="*/ 2024 h 3388"/>
              <a:gd name="T14" fmla="*/ 934 w 2626"/>
              <a:gd name="T15" fmla="*/ 2144 h 3388"/>
              <a:gd name="T16" fmla="*/ 1045 w 2626"/>
              <a:gd name="T17" fmla="*/ 2270 h 3388"/>
              <a:gd name="T18" fmla="*/ 1311 w 2626"/>
              <a:gd name="T19" fmla="*/ 2223 h 3388"/>
              <a:gd name="T20" fmla="*/ 1541 w 2626"/>
              <a:gd name="T21" fmla="*/ 2069 h 3388"/>
              <a:gd name="T22" fmla="*/ 1870 w 2626"/>
              <a:gd name="T23" fmla="*/ 1725 h 3388"/>
              <a:gd name="T24" fmla="*/ 1753 w 2626"/>
              <a:gd name="T25" fmla="*/ 1789 h 3388"/>
              <a:gd name="T26" fmla="*/ 1467 w 2626"/>
              <a:gd name="T27" fmla="*/ 1748 h 3388"/>
              <a:gd name="T28" fmla="*/ 1249 w 2626"/>
              <a:gd name="T29" fmla="*/ 1767 h 3388"/>
              <a:gd name="T30" fmla="*/ 1211 w 2626"/>
              <a:gd name="T31" fmla="*/ 1900 h 3388"/>
              <a:gd name="T32" fmla="*/ 1379 w 2626"/>
              <a:gd name="T33" fmla="*/ 2001 h 3388"/>
              <a:gd name="T34" fmla="*/ 1650 w 2626"/>
              <a:gd name="T35" fmla="*/ 1910 h 3388"/>
              <a:gd name="T36" fmla="*/ 1848 w 2626"/>
              <a:gd name="T37" fmla="*/ 1756 h 3388"/>
              <a:gd name="T38" fmla="*/ 2120 w 2626"/>
              <a:gd name="T39" fmla="*/ 1468 h 3388"/>
              <a:gd name="T40" fmla="*/ 1960 w 2626"/>
              <a:gd name="T41" fmla="*/ 1528 h 3388"/>
              <a:gd name="T42" fmla="*/ 1658 w 2626"/>
              <a:gd name="T43" fmla="*/ 1464 h 3388"/>
              <a:gd name="T44" fmla="*/ 1487 w 2626"/>
              <a:gd name="T45" fmla="*/ 1527 h 3388"/>
              <a:gd name="T46" fmla="*/ 1489 w 2626"/>
              <a:gd name="T47" fmla="*/ 1662 h 3388"/>
              <a:gd name="T48" fmla="*/ 1708 w 2626"/>
              <a:gd name="T49" fmla="*/ 1724 h 3388"/>
              <a:gd name="T50" fmla="*/ 1974 w 2626"/>
              <a:gd name="T51" fmla="*/ 1601 h 3388"/>
              <a:gd name="T52" fmla="*/ 2134 w 2626"/>
              <a:gd name="T53" fmla="*/ 1459 h 3388"/>
              <a:gd name="T54" fmla="*/ 902 w 2626"/>
              <a:gd name="T55" fmla="*/ 1456 h 3388"/>
              <a:gd name="T56" fmla="*/ 755 w 2626"/>
              <a:gd name="T57" fmla="*/ 1703 h 3388"/>
              <a:gd name="T58" fmla="*/ 735 w 2626"/>
              <a:gd name="T59" fmla="*/ 1970 h 3388"/>
              <a:gd name="T60" fmla="*/ 865 w 2626"/>
              <a:gd name="T61" fmla="*/ 2054 h 3388"/>
              <a:gd name="T62" fmla="*/ 972 w 2626"/>
              <a:gd name="T63" fmla="*/ 1950 h 3388"/>
              <a:gd name="T64" fmla="*/ 923 w 2626"/>
              <a:gd name="T65" fmla="*/ 1659 h 3388"/>
              <a:gd name="T66" fmla="*/ 946 w 2626"/>
              <a:gd name="T67" fmla="*/ 1430 h 3388"/>
              <a:gd name="T68" fmla="*/ 1262 w 2626"/>
              <a:gd name="T69" fmla="*/ 1091 h 3388"/>
              <a:gd name="T70" fmla="*/ 1134 w 2626"/>
              <a:gd name="T71" fmla="*/ 1229 h 3388"/>
              <a:gd name="T72" fmla="*/ 1002 w 2626"/>
              <a:gd name="T73" fmla="*/ 1496 h 3388"/>
              <a:gd name="T74" fmla="*/ 1041 w 2626"/>
              <a:gd name="T75" fmla="*/ 1743 h 3388"/>
              <a:gd name="T76" fmla="*/ 1171 w 2626"/>
              <a:gd name="T77" fmla="*/ 1767 h 3388"/>
              <a:gd name="T78" fmla="*/ 1250 w 2626"/>
              <a:gd name="T79" fmla="*/ 1615 h 3388"/>
              <a:gd name="T80" fmla="*/ 1186 w 2626"/>
              <a:gd name="T81" fmla="*/ 1306 h 3388"/>
              <a:gd name="T82" fmla="*/ 1235 w 2626"/>
              <a:gd name="T83" fmla="*/ 1122 h 3388"/>
              <a:gd name="T84" fmla="*/ 1998 w 2626"/>
              <a:gd name="T85" fmla="*/ 952 h 3388"/>
              <a:gd name="T86" fmla="*/ 1786 w 2626"/>
              <a:gd name="T87" fmla="*/ 1053 h 3388"/>
              <a:gd name="T88" fmla="*/ 1592 w 2626"/>
              <a:gd name="T89" fmla="*/ 1229 h 3388"/>
              <a:gd name="T90" fmla="*/ 1666 w 2626"/>
              <a:gd name="T91" fmla="*/ 1412 h 3388"/>
              <a:gd name="T92" fmla="*/ 1845 w 2626"/>
              <a:gd name="T93" fmla="*/ 1312 h 3388"/>
              <a:gd name="T94" fmla="*/ 1978 w 2626"/>
              <a:gd name="T95" fmla="*/ 1061 h 3388"/>
              <a:gd name="T96" fmla="*/ 1525 w 2626"/>
              <a:gd name="T97" fmla="*/ 821 h 3388"/>
              <a:gd name="T98" fmla="*/ 1404 w 2626"/>
              <a:gd name="T99" fmla="*/ 951 h 3388"/>
              <a:gd name="T100" fmla="*/ 1273 w 2626"/>
              <a:gd name="T101" fmla="*/ 1204 h 3388"/>
              <a:gd name="T102" fmla="*/ 1285 w 2626"/>
              <a:gd name="T103" fmla="*/ 1450 h 3388"/>
              <a:gd name="T104" fmla="*/ 1417 w 2626"/>
              <a:gd name="T105" fmla="*/ 1502 h 3388"/>
              <a:gd name="T106" fmla="*/ 1511 w 2626"/>
              <a:gd name="T107" fmla="*/ 1375 h 3388"/>
              <a:gd name="T108" fmla="*/ 1451 w 2626"/>
              <a:gd name="T109" fmla="*/ 1071 h 3388"/>
              <a:gd name="T110" fmla="*/ 1490 w 2626"/>
              <a:gd name="T111" fmla="*/ 865 h 3388"/>
              <a:gd name="T112" fmla="*/ 2391 w 2626"/>
              <a:gd name="T113" fmla="*/ 401 h 3388"/>
              <a:gd name="T114" fmla="*/ 2614 w 2626"/>
              <a:gd name="T115" fmla="*/ 566 h 3388"/>
              <a:gd name="T116" fmla="*/ 2557 w 2626"/>
              <a:gd name="T117" fmla="*/ 3317 h 3388"/>
              <a:gd name="T118" fmla="*/ 160 w 2626"/>
              <a:gd name="T119" fmla="*/ 3376 h 3388"/>
              <a:gd name="T120" fmla="*/ 0 w 2626"/>
              <a:gd name="T121" fmla="*/ 3149 h 3388"/>
              <a:gd name="T122" fmla="*/ 126 w 2626"/>
              <a:gd name="T123" fmla="*/ 428 h 3388"/>
              <a:gd name="T124" fmla="*/ 142 w 2626"/>
              <a:gd name="T125" fmla="*/ 0 h 3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26" h="3388">
                <a:moveTo>
                  <a:pt x="718" y="2144"/>
                </a:moveTo>
                <a:lnTo>
                  <a:pt x="711" y="2148"/>
                </a:lnTo>
                <a:lnTo>
                  <a:pt x="493" y="2420"/>
                </a:lnTo>
                <a:lnTo>
                  <a:pt x="489" y="2427"/>
                </a:lnTo>
                <a:lnTo>
                  <a:pt x="488" y="2438"/>
                </a:lnTo>
                <a:lnTo>
                  <a:pt x="490" y="2451"/>
                </a:lnTo>
                <a:lnTo>
                  <a:pt x="494" y="2463"/>
                </a:lnTo>
                <a:lnTo>
                  <a:pt x="501" y="2476"/>
                </a:lnTo>
                <a:lnTo>
                  <a:pt x="510" y="2489"/>
                </a:lnTo>
                <a:lnTo>
                  <a:pt x="520" y="2500"/>
                </a:lnTo>
                <a:lnTo>
                  <a:pt x="531" y="2508"/>
                </a:lnTo>
                <a:lnTo>
                  <a:pt x="544" y="2513"/>
                </a:lnTo>
                <a:lnTo>
                  <a:pt x="556" y="2514"/>
                </a:lnTo>
                <a:lnTo>
                  <a:pt x="569" y="2510"/>
                </a:lnTo>
                <a:lnTo>
                  <a:pt x="582" y="2500"/>
                </a:lnTo>
                <a:lnTo>
                  <a:pt x="838" y="2279"/>
                </a:lnTo>
                <a:lnTo>
                  <a:pt x="843" y="2272"/>
                </a:lnTo>
                <a:lnTo>
                  <a:pt x="843" y="2265"/>
                </a:lnTo>
                <a:lnTo>
                  <a:pt x="838" y="2258"/>
                </a:lnTo>
                <a:lnTo>
                  <a:pt x="829" y="2250"/>
                </a:lnTo>
                <a:lnTo>
                  <a:pt x="817" y="2243"/>
                </a:lnTo>
                <a:lnTo>
                  <a:pt x="804" y="2235"/>
                </a:lnTo>
                <a:lnTo>
                  <a:pt x="790" y="2225"/>
                </a:lnTo>
                <a:lnTo>
                  <a:pt x="776" y="2212"/>
                </a:lnTo>
                <a:lnTo>
                  <a:pt x="764" y="2198"/>
                </a:lnTo>
                <a:lnTo>
                  <a:pt x="754" y="2184"/>
                </a:lnTo>
                <a:lnTo>
                  <a:pt x="746" y="2170"/>
                </a:lnTo>
                <a:lnTo>
                  <a:pt x="739" y="2158"/>
                </a:lnTo>
                <a:lnTo>
                  <a:pt x="732" y="2149"/>
                </a:lnTo>
                <a:lnTo>
                  <a:pt x="725" y="2144"/>
                </a:lnTo>
                <a:lnTo>
                  <a:pt x="718" y="2144"/>
                </a:lnTo>
                <a:close/>
                <a:moveTo>
                  <a:pt x="1601" y="1997"/>
                </a:moveTo>
                <a:lnTo>
                  <a:pt x="1600" y="1999"/>
                </a:lnTo>
                <a:lnTo>
                  <a:pt x="1597" y="2002"/>
                </a:lnTo>
                <a:lnTo>
                  <a:pt x="1591" y="2008"/>
                </a:lnTo>
                <a:lnTo>
                  <a:pt x="1583" y="2016"/>
                </a:lnTo>
                <a:lnTo>
                  <a:pt x="1572" y="2025"/>
                </a:lnTo>
                <a:lnTo>
                  <a:pt x="1559" y="2034"/>
                </a:lnTo>
                <a:lnTo>
                  <a:pt x="1543" y="2043"/>
                </a:lnTo>
                <a:lnTo>
                  <a:pt x="1525" y="2052"/>
                </a:lnTo>
                <a:lnTo>
                  <a:pt x="1504" y="2061"/>
                </a:lnTo>
                <a:lnTo>
                  <a:pt x="1480" y="2067"/>
                </a:lnTo>
                <a:lnTo>
                  <a:pt x="1454" y="2072"/>
                </a:lnTo>
                <a:lnTo>
                  <a:pt x="1425" y="2075"/>
                </a:lnTo>
                <a:lnTo>
                  <a:pt x="1393" y="2076"/>
                </a:lnTo>
                <a:lnTo>
                  <a:pt x="1359" y="2073"/>
                </a:lnTo>
                <a:lnTo>
                  <a:pt x="1321" y="2067"/>
                </a:lnTo>
                <a:lnTo>
                  <a:pt x="1281" y="2056"/>
                </a:lnTo>
                <a:lnTo>
                  <a:pt x="1237" y="2041"/>
                </a:lnTo>
                <a:lnTo>
                  <a:pt x="1196" y="2027"/>
                </a:lnTo>
                <a:lnTo>
                  <a:pt x="1158" y="2017"/>
                </a:lnTo>
                <a:lnTo>
                  <a:pt x="1123" y="2011"/>
                </a:lnTo>
                <a:lnTo>
                  <a:pt x="1091" y="2009"/>
                </a:lnTo>
                <a:lnTo>
                  <a:pt x="1062" y="2011"/>
                </a:lnTo>
                <a:lnTo>
                  <a:pt x="1037" y="2015"/>
                </a:lnTo>
                <a:lnTo>
                  <a:pt x="1014" y="2024"/>
                </a:lnTo>
                <a:lnTo>
                  <a:pt x="995" y="2033"/>
                </a:lnTo>
                <a:lnTo>
                  <a:pt x="978" y="2045"/>
                </a:lnTo>
                <a:lnTo>
                  <a:pt x="964" y="2059"/>
                </a:lnTo>
                <a:lnTo>
                  <a:pt x="952" y="2075"/>
                </a:lnTo>
                <a:lnTo>
                  <a:pt x="944" y="2091"/>
                </a:lnTo>
                <a:lnTo>
                  <a:pt x="938" y="2109"/>
                </a:lnTo>
                <a:lnTo>
                  <a:pt x="935" y="2126"/>
                </a:lnTo>
                <a:lnTo>
                  <a:pt x="934" y="2144"/>
                </a:lnTo>
                <a:lnTo>
                  <a:pt x="936" y="2161"/>
                </a:lnTo>
                <a:lnTo>
                  <a:pt x="940" y="2179"/>
                </a:lnTo>
                <a:lnTo>
                  <a:pt x="946" y="2195"/>
                </a:lnTo>
                <a:lnTo>
                  <a:pt x="955" y="2210"/>
                </a:lnTo>
                <a:lnTo>
                  <a:pt x="967" y="2224"/>
                </a:lnTo>
                <a:lnTo>
                  <a:pt x="991" y="2244"/>
                </a:lnTo>
                <a:lnTo>
                  <a:pt x="1017" y="2260"/>
                </a:lnTo>
                <a:lnTo>
                  <a:pt x="1045" y="2270"/>
                </a:lnTo>
                <a:lnTo>
                  <a:pt x="1076" y="2276"/>
                </a:lnTo>
                <a:lnTo>
                  <a:pt x="1107" y="2278"/>
                </a:lnTo>
                <a:lnTo>
                  <a:pt x="1140" y="2276"/>
                </a:lnTo>
                <a:lnTo>
                  <a:pt x="1174" y="2271"/>
                </a:lnTo>
                <a:lnTo>
                  <a:pt x="1208" y="2263"/>
                </a:lnTo>
                <a:lnTo>
                  <a:pt x="1243" y="2251"/>
                </a:lnTo>
                <a:lnTo>
                  <a:pt x="1277" y="2238"/>
                </a:lnTo>
                <a:lnTo>
                  <a:pt x="1311" y="2223"/>
                </a:lnTo>
                <a:lnTo>
                  <a:pt x="1345" y="2206"/>
                </a:lnTo>
                <a:lnTo>
                  <a:pt x="1377" y="2187"/>
                </a:lnTo>
                <a:lnTo>
                  <a:pt x="1409" y="2168"/>
                </a:lnTo>
                <a:lnTo>
                  <a:pt x="1440" y="2148"/>
                </a:lnTo>
                <a:lnTo>
                  <a:pt x="1468" y="2127"/>
                </a:lnTo>
                <a:lnTo>
                  <a:pt x="1495" y="2107"/>
                </a:lnTo>
                <a:lnTo>
                  <a:pt x="1519" y="2087"/>
                </a:lnTo>
                <a:lnTo>
                  <a:pt x="1541" y="2069"/>
                </a:lnTo>
                <a:lnTo>
                  <a:pt x="1560" y="2050"/>
                </a:lnTo>
                <a:lnTo>
                  <a:pt x="1575" y="2034"/>
                </a:lnTo>
                <a:lnTo>
                  <a:pt x="1588" y="2019"/>
                </a:lnTo>
                <a:lnTo>
                  <a:pt x="1597" y="2007"/>
                </a:lnTo>
                <a:lnTo>
                  <a:pt x="1601" y="1997"/>
                </a:lnTo>
                <a:close/>
                <a:moveTo>
                  <a:pt x="1874" y="1720"/>
                </a:moveTo>
                <a:lnTo>
                  <a:pt x="1873" y="1721"/>
                </a:lnTo>
                <a:lnTo>
                  <a:pt x="1870" y="1725"/>
                </a:lnTo>
                <a:lnTo>
                  <a:pt x="1864" y="1731"/>
                </a:lnTo>
                <a:lnTo>
                  <a:pt x="1855" y="1738"/>
                </a:lnTo>
                <a:lnTo>
                  <a:pt x="1845" y="1746"/>
                </a:lnTo>
                <a:lnTo>
                  <a:pt x="1831" y="1756"/>
                </a:lnTo>
                <a:lnTo>
                  <a:pt x="1816" y="1765"/>
                </a:lnTo>
                <a:lnTo>
                  <a:pt x="1797" y="1774"/>
                </a:lnTo>
                <a:lnTo>
                  <a:pt x="1776" y="1782"/>
                </a:lnTo>
                <a:lnTo>
                  <a:pt x="1753" y="1789"/>
                </a:lnTo>
                <a:lnTo>
                  <a:pt x="1726" y="1795"/>
                </a:lnTo>
                <a:lnTo>
                  <a:pt x="1697" y="1797"/>
                </a:lnTo>
                <a:lnTo>
                  <a:pt x="1665" y="1798"/>
                </a:lnTo>
                <a:lnTo>
                  <a:pt x="1631" y="1795"/>
                </a:lnTo>
                <a:lnTo>
                  <a:pt x="1592" y="1788"/>
                </a:lnTo>
                <a:lnTo>
                  <a:pt x="1551" y="1777"/>
                </a:lnTo>
                <a:lnTo>
                  <a:pt x="1508" y="1763"/>
                </a:lnTo>
                <a:lnTo>
                  <a:pt x="1467" y="1748"/>
                </a:lnTo>
                <a:lnTo>
                  <a:pt x="1429" y="1738"/>
                </a:lnTo>
                <a:lnTo>
                  <a:pt x="1394" y="1733"/>
                </a:lnTo>
                <a:lnTo>
                  <a:pt x="1363" y="1731"/>
                </a:lnTo>
                <a:lnTo>
                  <a:pt x="1334" y="1733"/>
                </a:lnTo>
                <a:lnTo>
                  <a:pt x="1309" y="1737"/>
                </a:lnTo>
                <a:lnTo>
                  <a:pt x="1286" y="1744"/>
                </a:lnTo>
                <a:lnTo>
                  <a:pt x="1266" y="1755"/>
                </a:lnTo>
                <a:lnTo>
                  <a:pt x="1249" y="1767"/>
                </a:lnTo>
                <a:lnTo>
                  <a:pt x="1235" y="1781"/>
                </a:lnTo>
                <a:lnTo>
                  <a:pt x="1224" y="1796"/>
                </a:lnTo>
                <a:lnTo>
                  <a:pt x="1216" y="1813"/>
                </a:lnTo>
                <a:lnTo>
                  <a:pt x="1210" y="1830"/>
                </a:lnTo>
                <a:lnTo>
                  <a:pt x="1206" y="1848"/>
                </a:lnTo>
                <a:lnTo>
                  <a:pt x="1206" y="1865"/>
                </a:lnTo>
                <a:lnTo>
                  <a:pt x="1207" y="1883"/>
                </a:lnTo>
                <a:lnTo>
                  <a:pt x="1211" y="1900"/>
                </a:lnTo>
                <a:lnTo>
                  <a:pt x="1218" y="1917"/>
                </a:lnTo>
                <a:lnTo>
                  <a:pt x="1227" y="1932"/>
                </a:lnTo>
                <a:lnTo>
                  <a:pt x="1238" y="1946"/>
                </a:lnTo>
                <a:lnTo>
                  <a:pt x="1262" y="1966"/>
                </a:lnTo>
                <a:lnTo>
                  <a:pt x="1289" y="1981"/>
                </a:lnTo>
                <a:lnTo>
                  <a:pt x="1317" y="1993"/>
                </a:lnTo>
                <a:lnTo>
                  <a:pt x="1347" y="1999"/>
                </a:lnTo>
                <a:lnTo>
                  <a:pt x="1379" y="2001"/>
                </a:lnTo>
                <a:lnTo>
                  <a:pt x="1411" y="1999"/>
                </a:lnTo>
                <a:lnTo>
                  <a:pt x="1445" y="1994"/>
                </a:lnTo>
                <a:lnTo>
                  <a:pt x="1479" y="1986"/>
                </a:lnTo>
                <a:lnTo>
                  <a:pt x="1514" y="1974"/>
                </a:lnTo>
                <a:lnTo>
                  <a:pt x="1548" y="1961"/>
                </a:lnTo>
                <a:lnTo>
                  <a:pt x="1582" y="1946"/>
                </a:lnTo>
                <a:lnTo>
                  <a:pt x="1617" y="1928"/>
                </a:lnTo>
                <a:lnTo>
                  <a:pt x="1650" y="1910"/>
                </a:lnTo>
                <a:lnTo>
                  <a:pt x="1681" y="1890"/>
                </a:lnTo>
                <a:lnTo>
                  <a:pt x="1712" y="1870"/>
                </a:lnTo>
                <a:lnTo>
                  <a:pt x="1740" y="1850"/>
                </a:lnTo>
                <a:lnTo>
                  <a:pt x="1767" y="1830"/>
                </a:lnTo>
                <a:lnTo>
                  <a:pt x="1791" y="1809"/>
                </a:lnTo>
                <a:lnTo>
                  <a:pt x="1813" y="1791"/>
                </a:lnTo>
                <a:lnTo>
                  <a:pt x="1832" y="1772"/>
                </a:lnTo>
                <a:lnTo>
                  <a:pt x="1848" y="1756"/>
                </a:lnTo>
                <a:lnTo>
                  <a:pt x="1861" y="1741"/>
                </a:lnTo>
                <a:lnTo>
                  <a:pt x="1869" y="1729"/>
                </a:lnTo>
                <a:lnTo>
                  <a:pt x="1874" y="1720"/>
                </a:lnTo>
                <a:close/>
                <a:moveTo>
                  <a:pt x="2138" y="1450"/>
                </a:moveTo>
                <a:lnTo>
                  <a:pt x="2137" y="1451"/>
                </a:lnTo>
                <a:lnTo>
                  <a:pt x="2134" y="1455"/>
                </a:lnTo>
                <a:lnTo>
                  <a:pt x="2128" y="1461"/>
                </a:lnTo>
                <a:lnTo>
                  <a:pt x="2120" y="1468"/>
                </a:lnTo>
                <a:lnTo>
                  <a:pt x="2109" y="1476"/>
                </a:lnTo>
                <a:lnTo>
                  <a:pt x="2095" y="1486"/>
                </a:lnTo>
                <a:lnTo>
                  <a:pt x="2080" y="1495"/>
                </a:lnTo>
                <a:lnTo>
                  <a:pt x="2060" y="1504"/>
                </a:lnTo>
                <a:lnTo>
                  <a:pt x="2039" y="1512"/>
                </a:lnTo>
                <a:lnTo>
                  <a:pt x="2015" y="1519"/>
                </a:lnTo>
                <a:lnTo>
                  <a:pt x="1989" y="1525"/>
                </a:lnTo>
                <a:lnTo>
                  <a:pt x="1960" y="1528"/>
                </a:lnTo>
                <a:lnTo>
                  <a:pt x="1928" y="1528"/>
                </a:lnTo>
                <a:lnTo>
                  <a:pt x="1893" y="1526"/>
                </a:lnTo>
                <a:lnTo>
                  <a:pt x="1856" y="1518"/>
                </a:lnTo>
                <a:lnTo>
                  <a:pt x="1816" y="1508"/>
                </a:lnTo>
                <a:lnTo>
                  <a:pt x="1772" y="1493"/>
                </a:lnTo>
                <a:lnTo>
                  <a:pt x="1731" y="1479"/>
                </a:lnTo>
                <a:lnTo>
                  <a:pt x="1693" y="1469"/>
                </a:lnTo>
                <a:lnTo>
                  <a:pt x="1658" y="1464"/>
                </a:lnTo>
                <a:lnTo>
                  <a:pt x="1627" y="1462"/>
                </a:lnTo>
                <a:lnTo>
                  <a:pt x="1597" y="1463"/>
                </a:lnTo>
                <a:lnTo>
                  <a:pt x="1571" y="1468"/>
                </a:lnTo>
                <a:lnTo>
                  <a:pt x="1549" y="1475"/>
                </a:lnTo>
                <a:lnTo>
                  <a:pt x="1529" y="1486"/>
                </a:lnTo>
                <a:lnTo>
                  <a:pt x="1512" y="1498"/>
                </a:lnTo>
                <a:lnTo>
                  <a:pt x="1498" y="1511"/>
                </a:lnTo>
                <a:lnTo>
                  <a:pt x="1487" y="1527"/>
                </a:lnTo>
                <a:lnTo>
                  <a:pt x="1478" y="1543"/>
                </a:lnTo>
                <a:lnTo>
                  <a:pt x="1472" y="1561"/>
                </a:lnTo>
                <a:lnTo>
                  <a:pt x="1469" y="1578"/>
                </a:lnTo>
                <a:lnTo>
                  <a:pt x="1468" y="1596"/>
                </a:lnTo>
                <a:lnTo>
                  <a:pt x="1470" y="1614"/>
                </a:lnTo>
                <a:lnTo>
                  <a:pt x="1474" y="1630"/>
                </a:lnTo>
                <a:lnTo>
                  <a:pt x="1480" y="1647"/>
                </a:lnTo>
                <a:lnTo>
                  <a:pt x="1489" y="1662"/>
                </a:lnTo>
                <a:lnTo>
                  <a:pt x="1500" y="1676"/>
                </a:lnTo>
                <a:lnTo>
                  <a:pt x="1524" y="1696"/>
                </a:lnTo>
                <a:lnTo>
                  <a:pt x="1551" y="1711"/>
                </a:lnTo>
                <a:lnTo>
                  <a:pt x="1579" y="1723"/>
                </a:lnTo>
                <a:lnTo>
                  <a:pt x="1610" y="1729"/>
                </a:lnTo>
                <a:lnTo>
                  <a:pt x="1642" y="1731"/>
                </a:lnTo>
                <a:lnTo>
                  <a:pt x="1675" y="1729"/>
                </a:lnTo>
                <a:lnTo>
                  <a:pt x="1708" y="1724"/>
                </a:lnTo>
                <a:lnTo>
                  <a:pt x="1742" y="1716"/>
                </a:lnTo>
                <a:lnTo>
                  <a:pt x="1777" y="1704"/>
                </a:lnTo>
                <a:lnTo>
                  <a:pt x="1811" y="1691"/>
                </a:lnTo>
                <a:lnTo>
                  <a:pt x="1846" y="1676"/>
                </a:lnTo>
                <a:lnTo>
                  <a:pt x="1879" y="1658"/>
                </a:lnTo>
                <a:lnTo>
                  <a:pt x="1912" y="1640"/>
                </a:lnTo>
                <a:lnTo>
                  <a:pt x="1944" y="1620"/>
                </a:lnTo>
                <a:lnTo>
                  <a:pt x="1974" y="1601"/>
                </a:lnTo>
                <a:lnTo>
                  <a:pt x="2003" y="1580"/>
                </a:lnTo>
                <a:lnTo>
                  <a:pt x="2030" y="1560"/>
                </a:lnTo>
                <a:lnTo>
                  <a:pt x="2054" y="1540"/>
                </a:lnTo>
                <a:lnTo>
                  <a:pt x="2077" y="1520"/>
                </a:lnTo>
                <a:lnTo>
                  <a:pt x="2096" y="1503"/>
                </a:lnTo>
                <a:lnTo>
                  <a:pt x="2112" y="1487"/>
                </a:lnTo>
                <a:lnTo>
                  <a:pt x="2125" y="1471"/>
                </a:lnTo>
                <a:lnTo>
                  <a:pt x="2134" y="1459"/>
                </a:lnTo>
                <a:lnTo>
                  <a:pt x="2138" y="1450"/>
                </a:lnTo>
                <a:close/>
                <a:moveTo>
                  <a:pt x="990" y="1371"/>
                </a:moveTo>
                <a:lnTo>
                  <a:pt x="981" y="1376"/>
                </a:lnTo>
                <a:lnTo>
                  <a:pt x="969" y="1385"/>
                </a:lnTo>
                <a:lnTo>
                  <a:pt x="954" y="1397"/>
                </a:lnTo>
                <a:lnTo>
                  <a:pt x="938" y="1414"/>
                </a:lnTo>
                <a:lnTo>
                  <a:pt x="921" y="1433"/>
                </a:lnTo>
                <a:lnTo>
                  <a:pt x="902" y="1456"/>
                </a:lnTo>
                <a:lnTo>
                  <a:pt x="883" y="1480"/>
                </a:lnTo>
                <a:lnTo>
                  <a:pt x="863" y="1508"/>
                </a:lnTo>
                <a:lnTo>
                  <a:pt x="843" y="1537"/>
                </a:lnTo>
                <a:lnTo>
                  <a:pt x="824" y="1568"/>
                </a:lnTo>
                <a:lnTo>
                  <a:pt x="805" y="1601"/>
                </a:lnTo>
                <a:lnTo>
                  <a:pt x="787" y="1634"/>
                </a:lnTo>
                <a:lnTo>
                  <a:pt x="770" y="1668"/>
                </a:lnTo>
                <a:lnTo>
                  <a:pt x="755" y="1703"/>
                </a:lnTo>
                <a:lnTo>
                  <a:pt x="742" y="1739"/>
                </a:lnTo>
                <a:lnTo>
                  <a:pt x="731" y="1774"/>
                </a:lnTo>
                <a:lnTo>
                  <a:pt x="723" y="1809"/>
                </a:lnTo>
                <a:lnTo>
                  <a:pt x="718" y="1844"/>
                </a:lnTo>
                <a:lnTo>
                  <a:pt x="716" y="1878"/>
                </a:lnTo>
                <a:lnTo>
                  <a:pt x="718" y="1910"/>
                </a:lnTo>
                <a:lnTo>
                  <a:pt x="724" y="1940"/>
                </a:lnTo>
                <a:lnTo>
                  <a:pt x="735" y="1970"/>
                </a:lnTo>
                <a:lnTo>
                  <a:pt x="750" y="1997"/>
                </a:lnTo>
                <a:lnTo>
                  <a:pt x="770" y="2022"/>
                </a:lnTo>
                <a:lnTo>
                  <a:pt x="783" y="2033"/>
                </a:lnTo>
                <a:lnTo>
                  <a:pt x="798" y="2042"/>
                </a:lnTo>
                <a:lnTo>
                  <a:pt x="814" y="2049"/>
                </a:lnTo>
                <a:lnTo>
                  <a:pt x="830" y="2053"/>
                </a:lnTo>
                <a:lnTo>
                  <a:pt x="847" y="2055"/>
                </a:lnTo>
                <a:lnTo>
                  <a:pt x="865" y="2054"/>
                </a:lnTo>
                <a:lnTo>
                  <a:pt x="882" y="2051"/>
                </a:lnTo>
                <a:lnTo>
                  <a:pt x="899" y="2045"/>
                </a:lnTo>
                <a:lnTo>
                  <a:pt x="915" y="2036"/>
                </a:lnTo>
                <a:lnTo>
                  <a:pt x="930" y="2025"/>
                </a:lnTo>
                <a:lnTo>
                  <a:pt x="944" y="2010"/>
                </a:lnTo>
                <a:lnTo>
                  <a:pt x="955" y="1993"/>
                </a:lnTo>
                <a:lnTo>
                  <a:pt x="965" y="1972"/>
                </a:lnTo>
                <a:lnTo>
                  <a:pt x="972" y="1950"/>
                </a:lnTo>
                <a:lnTo>
                  <a:pt x="977" y="1923"/>
                </a:lnTo>
                <a:lnTo>
                  <a:pt x="978" y="1894"/>
                </a:lnTo>
                <a:lnTo>
                  <a:pt x="977" y="1861"/>
                </a:lnTo>
                <a:lnTo>
                  <a:pt x="971" y="1825"/>
                </a:lnTo>
                <a:lnTo>
                  <a:pt x="961" y="1787"/>
                </a:lnTo>
                <a:lnTo>
                  <a:pt x="947" y="1745"/>
                </a:lnTo>
                <a:lnTo>
                  <a:pt x="933" y="1700"/>
                </a:lnTo>
                <a:lnTo>
                  <a:pt x="923" y="1659"/>
                </a:lnTo>
                <a:lnTo>
                  <a:pt x="917" y="1620"/>
                </a:lnTo>
                <a:lnTo>
                  <a:pt x="914" y="1584"/>
                </a:lnTo>
                <a:lnTo>
                  <a:pt x="914" y="1552"/>
                </a:lnTo>
                <a:lnTo>
                  <a:pt x="917" y="1522"/>
                </a:lnTo>
                <a:lnTo>
                  <a:pt x="922" y="1495"/>
                </a:lnTo>
                <a:lnTo>
                  <a:pt x="929" y="1471"/>
                </a:lnTo>
                <a:lnTo>
                  <a:pt x="937" y="1450"/>
                </a:lnTo>
                <a:lnTo>
                  <a:pt x="946" y="1430"/>
                </a:lnTo>
                <a:lnTo>
                  <a:pt x="955" y="1415"/>
                </a:lnTo>
                <a:lnTo>
                  <a:pt x="964" y="1400"/>
                </a:lnTo>
                <a:lnTo>
                  <a:pt x="972" y="1390"/>
                </a:lnTo>
                <a:lnTo>
                  <a:pt x="979" y="1382"/>
                </a:lnTo>
                <a:lnTo>
                  <a:pt x="985" y="1376"/>
                </a:lnTo>
                <a:lnTo>
                  <a:pt x="989" y="1372"/>
                </a:lnTo>
                <a:lnTo>
                  <a:pt x="990" y="1371"/>
                </a:lnTo>
                <a:close/>
                <a:moveTo>
                  <a:pt x="1262" y="1091"/>
                </a:moveTo>
                <a:lnTo>
                  <a:pt x="1252" y="1096"/>
                </a:lnTo>
                <a:lnTo>
                  <a:pt x="1240" y="1106"/>
                </a:lnTo>
                <a:lnTo>
                  <a:pt x="1226" y="1118"/>
                </a:lnTo>
                <a:lnTo>
                  <a:pt x="1210" y="1134"/>
                </a:lnTo>
                <a:lnTo>
                  <a:pt x="1192" y="1154"/>
                </a:lnTo>
                <a:lnTo>
                  <a:pt x="1174" y="1177"/>
                </a:lnTo>
                <a:lnTo>
                  <a:pt x="1154" y="1201"/>
                </a:lnTo>
                <a:lnTo>
                  <a:pt x="1134" y="1229"/>
                </a:lnTo>
                <a:lnTo>
                  <a:pt x="1114" y="1259"/>
                </a:lnTo>
                <a:lnTo>
                  <a:pt x="1094" y="1289"/>
                </a:lnTo>
                <a:lnTo>
                  <a:pt x="1075" y="1322"/>
                </a:lnTo>
                <a:lnTo>
                  <a:pt x="1057" y="1355"/>
                </a:lnTo>
                <a:lnTo>
                  <a:pt x="1041" y="1390"/>
                </a:lnTo>
                <a:lnTo>
                  <a:pt x="1026" y="1425"/>
                </a:lnTo>
                <a:lnTo>
                  <a:pt x="1013" y="1461"/>
                </a:lnTo>
                <a:lnTo>
                  <a:pt x="1002" y="1496"/>
                </a:lnTo>
                <a:lnTo>
                  <a:pt x="994" y="1532"/>
                </a:lnTo>
                <a:lnTo>
                  <a:pt x="989" y="1566"/>
                </a:lnTo>
                <a:lnTo>
                  <a:pt x="987" y="1600"/>
                </a:lnTo>
                <a:lnTo>
                  <a:pt x="989" y="1631"/>
                </a:lnTo>
                <a:lnTo>
                  <a:pt x="995" y="1663"/>
                </a:lnTo>
                <a:lnTo>
                  <a:pt x="1005" y="1692"/>
                </a:lnTo>
                <a:lnTo>
                  <a:pt x="1020" y="1719"/>
                </a:lnTo>
                <a:lnTo>
                  <a:pt x="1041" y="1743"/>
                </a:lnTo>
                <a:lnTo>
                  <a:pt x="1054" y="1756"/>
                </a:lnTo>
                <a:lnTo>
                  <a:pt x="1068" y="1764"/>
                </a:lnTo>
                <a:lnTo>
                  <a:pt x="1084" y="1771"/>
                </a:lnTo>
                <a:lnTo>
                  <a:pt x="1101" y="1775"/>
                </a:lnTo>
                <a:lnTo>
                  <a:pt x="1118" y="1777"/>
                </a:lnTo>
                <a:lnTo>
                  <a:pt x="1135" y="1776"/>
                </a:lnTo>
                <a:lnTo>
                  <a:pt x="1154" y="1773"/>
                </a:lnTo>
                <a:lnTo>
                  <a:pt x="1171" y="1767"/>
                </a:lnTo>
                <a:lnTo>
                  <a:pt x="1187" y="1758"/>
                </a:lnTo>
                <a:lnTo>
                  <a:pt x="1202" y="1746"/>
                </a:lnTo>
                <a:lnTo>
                  <a:pt x="1215" y="1732"/>
                </a:lnTo>
                <a:lnTo>
                  <a:pt x="1227" y="1715"/>
                </a:lnTo>
                <a:lnTo>
                  <a:pt x="1237" y="1694"/>
                </a:lnTo>
                <a:lnTo>
                  <a:pt x="1244" y="1670"/>
                </a:lnTo>
                <a:lnTo>
                  <a:pt x="1249" y="1645"/>
                </a:lnTo>
                <a:lnTo>
                  <a:pt x="1250" y="1615"/>
                </a:lnTo>
                <a:lnTo>
                  <a:pt x="1248" y="1583"/>
                </a:lnTo>
                <a:lnTo>
                  <a:pt x="1243" y="1547"/>
                </a:lnTo>
                <a:lnTo>
                  <a:pt x="1233" y="1508"/>
                </a:lnTo>
                <a:lnTo>
                  <a:pt x="1219" y="1466"/>
                </a:lnTo>
                <a:lnTo>
                  <a:pt x="1205" y="1421"/>
                </a:lnTo>
                <a:lnTo>
                  <a:pt x="1194" y="1380"/>
                </a:lnTo>
                <a:lnTo>
                  <a:pt x="1188" y="1342"/>
                </a:lnTo>
                <a:lnTo>
                  <a:pt x="1186" y="1306"/>
                </a:lnTo>
                <a:lnTo>
                  <a:pt x="1186" y="1273"/>
                </a:lnTo>
                <a:lnTo>
                  <a:pt x="1189" y="1243"/>
                </a:lnTo>
                <a:lnTo>
                  <a:pt x="1194" y="1217"/>
                </a:lnTo>
                <a:lnTo>
                  <a:pt x="1201" y="1192"/>
                </a:lnTo>
                <a:lnTo>
                  <a:pt x="1209" y="1170"/>
                </a:lnTo>
                <a:lnTo>
                  <a:pt x="1217" y="1152"/>
                </a:lnTo>
                <a:lnTo>
                  <a:pt x="1227" y="1135"/>
                </a:lnTo>
                <a:lnTo>
                  <a:pt x="1235" y="1122"/>
                </a:lnTo>
                <a:lnTo>
                  <a:pt x="1244" y="1111"/>
                </a:lnTo>
                <a:lnTo>
                  <a:pt x="1251" y="1103"/>
                </a:lnTo>
                <a:lnTo>
                  <a:pt x="1257" y="1096"/>
                </a:lnTo>
                <a:lnTo>
                  <a:pt x="1261" y="1093"/>
                </a:lnTo>
                <a:lnTo>
                  <a:pt x="1262" y="1091"/>
                </a:lnTo>
                <a:close/>
                <a:moveTo>
                  <a:pt x="2023" y="945"/>
                </a:moveTo>
                <a:lnTo>
                  <a:pt x="2012" y="947"/>
                </a:lnTo>
                <a:lnTo>
                  <a:pt x="1998" y="952"/>
                </a:lnTo>
                <a:lnTo>
                  <a:pt x="1979" y="959"/>
                </a:lnTo>
                <a:lnTo>
                  <a:pt x="1957" y="967"/>
                </a:lnTo>
                <a:lnTo>
                  <a:pt x="1933" y="978"/>
                </a:lnTo>
                <a:lnTo>
                  <a:pt x="1906" y="990"/>
                </a:lnTo>
                <a:lnTo>
                  <a:pt x="1877" y="1004"/>
                </a:lnTo>
                <a:lnTo>
                  <a:pt x="1847" y="1019"/>
                </a:lnTo>
                <a:lnTo>
                  <a:pt x="1816" y="1036"/>
                </a:lnTo>
                <a:lnTo>
                  <a:pt x="1786" y="1053"/>
                </a:lnTo>
                <a:lnTo>
                  <a:pt x="1755" y="1072"/>
                </a:lnTo>
                <a:lnTo>
                  <a:pt x="1725" y="1092"/>
                </a:lnTo>
                <a:lnTo>
                  <a:pt x="1697" y="1113"/>
                </a:lnTo>
                <a:lnTo>
                  <a:pt x="1670" y="1135"/>
                </a:lnTo>
                <a:lnTo>
                  <a:pt x="1646" y="1158"/>
                </a:lnTo>
                <a:lnTo>
                  <a:pt x="1625" y="1181"/>
                </a:lnTo>
                <a:lnTo>
                  <a:pt x="1606" y="1204"/>
                </a:lnTo>
                <a:lnTo>
                  <a:pt x="1592" y="1229"/>
                </a:lnTo>
                <a:lnTo>
                  <a:pt x="1582" y="1254"/>
                </a:lnTo>
                <a:lnTo>
                  <a:pt x="1577" y="1278"/>
                </a:lnTo>
                <a:lnTo>
                  <a:pt x="1578" y="1304"/>
                </a:lnTo>
                <a:lnTo>
                  <a:pt x="1585" y="1329"/>
                </a:lnTo>
                <a:lnTo>
                  <a:pt x="1598" y="1354"/>
                </a:lnTo>
                <a:lnTo>
                  <a:pt x="1620" y="1379"/>
                </a:lnTo>
                <a:lnTo>
                  <a:pt x="1643" y="1398"/>
                </a:lnTo>
                <a:lnTo>
                  <a:pt x="1666" y="1412"/>
                </a:lnTo>
                <a:lnTo>
                  <a:pt x="1690" y="1417"/>
                </a:lnTo>
                <a:lnTo>
                  <a:pt x="1713" y="1417"/>
                </a:lnTo>
                <a:lnTo>
                  <a:pt x="1736" y="1410"/>
                </a:lnTo>
                <a:lnTo>
                  <a:pt x="1759" y="1398"/>
                </a:lnTo>
                <a:lnTo>
                  <a:pt x="1781" y="1383"/>
                </a:lnTo>
                <a:lnTo>
                  <a:pt x="1803" y="1362"/>
                </a:lnTo>
                <a:lnTo>
                  <a:pt x="1825" y="1339"/>
                </a:lnTo>
                <a:lnTo>
                  <a:pt x="1845" y="1312"/>
                </a:lnTo>
                <a:lnTo>
                  <a:pt x="1865" y="1283"/>
                </a:lnTo>
                <a:lnTo>
                  <a:pt x="1885" y="1253"/>
                </a:lnTo>
                <a:lnTo>
                  <a:pt x="1903" y="1220"/>
                </a:lnTo>
                <a:lnTo>
                  <a:pt x="1920" y="1188"/>
                </a:lnTo>
                <a:lnTo>
                  <a:pt x="1937" y="1155"/>
                </a:lnTo>
                <a:lnTo>
                  <a:pt x="1952" y="1122"/>
                </a:lnTo>
                <a:lnTo>
                  <a:pt x="1966" y="1090"/>
                </a:lnTo>
                <a:lnTo>
                  <a:pt x="1978" y="1061"/>
                </a:lnTo>
                <a:lnTo>
                  <a:pt x="1990" y="1034"/>
                </a:lnTo>
                <a:lnTo>
                  <a:pt x="1999" y="1008"/>
                </a:lnTo>
                <a:lnTo>
                  <a:pt x="2007" y="987"/>
                </a:lnTo>
                <a:lnTo>
                  <a:pt x="2014" y="969"/>
                </a:lnTo>
                <a:lnTo>
                  <a:pt x="2019" y="956"/>
                </a:lnTo>
                <a:lnTo>
                  <a:pt x="2022" y="947"/>
                </a:lnTo>
                <a:lnTo>
                  <a:pt x="2023" y="945"/>
                </a:lnTo>
                <a:close/>
                <a:moveTo>
                  <a:pt x="1525" y="821"/>
                </a:moveTo>
                <a:lnTo>
                  <a:pt x="1516" y="826"/>
                </a:lnTo>
                <a:lnTo>
                  <a:pt x="1504" y="835"/>
                </a:lnTo>
                <a:lnTo>
                  <a:pt x="1491" y="847"/>
                </a:lnTo>
                <a:lnTo>
                  <a:pt x="1476" y="862"/>
                </a:lnTo>
                <a:lnTo>
                  <a:pt x="1459" y="881"/>
                </a:lnTo>
                <a:lnTo>
                  <a:pt x="1441" y="901"/>
                </a:lnTo>
                <a:lnTo>
                  <a:pt x="1423" y="925"/>
                </a:lnTo>
                <a:lnTo>
                  <a:pt x="1404" y="951"/>
                </a:lnTo>
                <a:lnTo>
                  <a:pt x="1385" y="978"/>
                </a:lnTo>
                <a:lnTo>
                  <a:pt x="1366" y="1007"/>
                </a:lnTo>
                <a:lnTo>
                  <a:pt x="1348" y="1038"/>
                </a:lnTo>
                <a:lnTo>
                  <a:pt x="1330" y="1070"/>
                </a:lnTo>
                <a:lnTo>
                  <a:pt x="1313" y="1103"/>
                </a:lnTo>
                <a:lnTo>
                  <a:pt x="1298" y="1137"/>
                </a:lnTo>
                <a:lnTo>
                  <a:pt x="1284" y="1170"/>
                </a:lnTo>
                <a:lnTo>
                  <a:pt x="1273" y="1204"/>
                </a:lnTo>
                <a:lnTo>
                  <a:pt x="1263" y="1238"/>
                </a:lnTo>
                <a:lnTo>
                  <a:pt x="1256" y="1272"/>
                </a:lnTo>
                <a:lnTo>
                  <a:pt x="1252" y="1305"/>
                </a:lnTo>
                <a:lnTo>
                  <a:pt x="1251" y="1337"/>
                </a:lnTo>
                <a:lnTo>
                  <a:pt x="1254" y="1368"/>
                </a:lnTo>
                <a:lnTo>
                  <a:pt x="1260" y="1396"/>
                </a:lnTo>
                <a:lnTo>
                  <a:pt x="1271" y="1424"/>
                </a:lnTo>
                <a:lnTo>
                  <a:pt x="1285" y="1450"/>
                </a:lnTo>
                <a:lnTo>
                  <a:pt x="1305" y="1473"/>
                </a:lnTo>
                <a:lnTo>
                  <a:pt x="1318" y="1485"/>
                </a:lnTo>
                <a:lnTo>
                  <a:pt x="1333" y="1494"/>
                </a:lnTo>
                <a:lnTo>
                  <a:pt x="1348" y="1501"/>
                </a:lnTo>
                <a:lnTo>
                  <a:pt x="1365" y="1505"/>
                </a:lnTo>
                <a:lnTo>
                  <a:pt x="1382" y="1507"/>
                </a:lnTo>
                <a:lnTo>
                  <a:pt x="1400" y="1506"/>
                </a:lnTo>
                <a:lnTo>
                  <a:pt x="1417" y="1502"/>
                </a:lnTo>
                <a:lnTo>
                  <a:pt x="1434" y="1496"/>
                </a:lnTo>
                <a:lnTo>
                  <a:pt x="1450" y="1488"/>
                </a:lnTo>
                <a:lnTo>
                  <a:pt x="1464" y="1476"/>
                </a:lnTo>
                <a:lnTo>
                  <a:pt x="1478" y="1462"/>
                </a:lnTo>
                <a:lnTo>
                  <a:pt x="1490" y="1445"/>
                </a:lnTo>
                <a:lnTo>
                  <a:pt x="1499" y="1424"/>
                </a:lnTo>
                <a:lnTo>
                  <a:pt x="1507" y="1400"/>
                </a:lnTo>
                <a:lnTo>
                  <a:pt x="1511" y="1375"/>
                </a:lnTo>
                <a:lnTo>
                  <a:pt x="1513" y="1345"/>
                </a:lnTo>
                <a:lnTo>
                  <a:pt x="1511" y="1312"/>
                </a:lnTo>
                <a:lnTo>
                  <a:pt x="1506" y="1277"/>
                </a:lnTo>
                <a:lnTo>
                  <a:pt x="1496" y="1238"/>
                </a:lnTo>
                <a:lnTo>
                  <a:pt x="1482" y="1195"/>
                </a:lnTo>
                <a:lnTo>
                  <a:pt x="1468" y="1151"/>
                </a:lnTo>
                <a:lnTo>
                  <a:pt x="1458" y="1110"/>
                </a:lnTo>
                <a:lnTo>
                  <a:pt x="1451" y="1071"/>
                </a:lnTo>
                <a:lnTo>
                  <a:pt x="1449" y="1036"/>
                </a:lnTo>
                <a:lnTo>
                  <a:pt x="1449" y="1003"/>
                </a:lnTo>
                <a:lnTo>
                  <a:pt x="1452" y="973"/>
                </a:lnTo>
                <a:lnTo>
                  <a:pt x="1457" y="947"/>
                </a:lnTo>
                <a:lnTo>
                  <a:pt x="1464" y="922"/>
                </a:lnTo>
                <a:lnTo>
                  <a:pt x="1472" y="900"/>
                </a:lnTo>
                <a:lnTo>
                  <a:pt x="1481" y="882"/>
                </a:lnTo>
                <a:lnTo>
                  <a:pt x="1490" y="865"/>
                </a:lnTo>
                <a:lnTo>
                  <a:pt x="1499" y="852"/>
                </a:lnTo>
                <a:lnTo>
                  <a:pt x="1507" y="841"/>
                </a:lnTo>
                <a:lnTo>
                  <a:pt x="1514" y="833"/>
                </a:lnTo>
                <a:lnTo>
                  <a:pt x="1520" y="826"/>
                </a:lnTo>
                <a:lnTo>
                  <a:pt x="1524" y="822"/>
                </a:lnTo>
                <a:lnTo>
                  <a:pt x="1525" y="821"/>
                </a:lnTo>
                <a:close/>
                <a:moveTo>
                  <a:pt x="234" y="401"/>
                </a:moveTo>
                <a:lnTo>
                  <a:pt x="2391" y="401"/>
                </a:lnTo>
                <a:lnTo>
                  <a:pt x="2429" y="405"/>
                </a:lnTo>
                <a:lnTo>
                  <a:pt x="2465" y="414"/>
                </a:lnTo>
                <a:lnTo>
                  <a:pt x="2498" y="428"/>
                </a:lnTo>
                <a:lnTo>
                  <a:pt x="2530" y="448"/>
                </a:lnTo>
                <a:lnTo>
                  <a:pt x="2557" y="472"/>
                </a:lnTo>
                <a:lnTo>
                  <a:pt x="2581" y="500"/>
                </a:lnTo>
                <a:lnTo>
                  <a:pt x="2600" y="532"/>
                </a:lnTo>
                <a:lnTo>
                  <a:pt x="2614" y="566"/>
                </a:lnTo>
                <a:lnTo>
                  <a:pt x="2623" y="603"/>
                </a:lnTo>
                <a:lnTo>
                  <a:pt x="2626" y="642"/>
                </a:lnTo>
                <a:lnTo>
                  <a:pt x="2626" y="3149"/>
                </a:lnTo>
                <a:lnTo>
                  <a:pt x="2623" y="3187"/>
                </a:lnTo>
                <a:lnTo>
                  <a:pt x="2614" y="3224"/>
                </a:lnTo>
                <a:lnTo>
                  <a:pt x="2600" y="3259"/>
                </a:lnTo>
                <a:lnTo>
                  <a:pt x="2581" y="3289"/>
                </a:lnTo>
                <a:lnTo>
                  <a:pt x="2557" y="3317"/>
                </a:lnTo>
                <a:lnTo>
                  <a:pt x="2530" y="3342"/>
                </a:lnTo>
                <a:lnTo>
                  <a:pt x="2498" y="3361"/>
                </a:lnTo>
                <a:lnTo>
                  <a:pt x="2465" y="3376"/>
                </a:lnTo>
                <a:lnTo>
                  <a:pt x="2429" y="3385"/>
                </a:lnTo>
                <a:lnTo>
                  <a:pt x="2391" y="3388"/>
                </a:lnTo>
                <a:lnTo>
                  <a:pt x="234" y="3388"/>
                </a:lnTo>
                <a:lnTo>
                  <a:pt x="196" y="3385"/>
                </a:lnTo>
                <a:lnTo>
                  <a:pt x="160" y="3376"/>
                </a:lnTo>
                <a:lnTo>
                  <a:pt x="126" y="3361"/>
                </a:lnTo>
                <a:lnTo>
                  <a:pt x="96" y="3342"/>
                </a:lnTo>
                <a:lnTo>
                  <a:pt x="69" y="3317"/>
                </a:lnTo>
                <a:lnTo>
                  <a:pt x="45" y="3289"/>
                </a:lnTo>
                <a:lnTo>
                  <a:pt x="26" y="3259"/>
                </a:lnTo>
                <a:lnTo>
                  <a:pt x="12" y="3224"/>
                </a:lnTo>
                <a:lnTo>
                  <a:pt x="3" y="3187"/>
                </a:lnTo>
                <a:lnTo>
                  <a:pt x="0" y="3149"/>
                </a:lnTo>
                <a:lnTo>
                  <a:pt x="0" y="642"/>
                </a:lnTo>
                <a:lnTo>
                  <a:pt x="3" y="603"/>
                </a:lnTo>
                <a:lnTo>
                  <a:pt x="12" y="566"/>
                </a:lnTo>
                <a:lnTo>
                  <a:pt x="26" y="532"/>
                </a:lnTo>
                <a:lnTo>
                  <a:pt x="45" y="500"/>
                </a:lnTo>
                <a:lnTo>
                  <a:pt x="69" y="472"/>
                </a:lnTo>
                <a:lnTo>
                  <a:pt x="96" y="448"/>
                </a:lnTo>
                <a:lnTo>
                  <a:pt x="126" y="428"/>
                </a:lnTo>
                <a:lnTo>
                  <a:pt x="160" y="414"/>
                </a:lnTo>
                <a:lnTo>
                  <a:pt x="196" y="405"/>
                </a:lnTo>
                <a:lnTo>
                  <a:pt x="234" y="401"/>
                </a:lnTo>
                <a:close/>
                <a:moveTo>
                  <a:pt x="142" y="0"/>
                </a:moveTo>
                <a:lnTo>
                  <a:pt x="2483" y="0"/>
                </a:lnTo>
                <a:lnTo>
                  <a:pt x="2483" y="281"/>
                </a:lnTo>
                <a:lnTo>
                  <a:pt x="142" y="281"/>
                </a:lnTo>
                <a:lnTo>
                  <a:pt x="14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70" name="Group 41"/>
          <p:cNvGrpSpPr>
            <a:grpSpLocks noChangeAspect="1"/>
          </p:cNvGrpSpPr>
          <p:nvPr/>
        </p:nvGrpSpPr>
        <p:grpSpPr bwMode="auto">
          <a:xfrm>
            <a:off x="2114811" y="5315980"/>
            <a:ext cx="621157" cy="489646"/>
            <a:chOff x="5903" y="33"/>
            <a:chExt cx="529" cy="417"/>
          </a:xfrm>
          <a:solidFill>
            <a:schemeClr val="bg1"/>
          </a:solidFill>
        </p:grpSpPr>
        <p:sp>
          <p:nvSpPr>
            <p:cNvPr id="171" name="Freeform 43"/>
            <p:cNvSpPr>
              <a:spLocks/>
            </p:cNvSpPr>
            <p:nvPr/>
          </p:nvSpPr>
          <p:spPr bwMode="auto">
            <a:xfrm>
              <a:off x="5903" y="209"/>
              <a:ext cx="443" cy="241"/>
            </a:xfrm>
            <a:custGeom>
              <a:avLst/>
              <a:gdLst>
                <a:gd name="T0" fmla="*/ 0 w 3098"/>
                <a:gd name="T1" fmla="*/ 0 h 1685"/>
                <a:gd name="T2" fmla="*/ 3098 w 3098"/>
                <a:gd name="T3" fmla="*/ 0 h 1685"/>
                <a:gd name="T4" fmla="*/ 3095 w 3098"/>
                <a:gd name="T5" fmla="*/ 107 h 1685"/>
                <a:gd name="T6" fmla="*/ 3084 w 3098"/>
                <a:gd name="T7" fmla="*/ 210 h 1685"/>
                <a:gd name="T8" fmla="*/ 3067 w 3098"/>
                <a:gd name="T9" fmla="*/ 313 h 1685"/>
                <a:gd name="T10" fmla="*/ 3044 w 3098"/>
                <a:gd name="T11" fmla="*/ 411 h 1685"/>
                <a:gd name="T12" fmla="*/ 3014 w 3098"/>
                <a:gd name="T13" fmla="*/ 508 h 1685"/>
                <a:gd name="T14" fmla="*/ 2978 w 3098"/>
                <a:gd name="T15" fmla="*/ 602 h 1685"/>
                <a:gd name="T16" fmla="*/ 2936 w 3098"/>
                <a:gd name="T17" fmla="*/ 694 h 1685"/>
                <a:gd name="T18" fmla="*/ 2889 w 3098"/>
                <a:gd name="T19" fmla="*/ 781 h 1685"/>
                <a:gd name="T20" fmla="*/ 2837 w 3098"/>
                <a:gd name="T21" fmla="*/ 865 h 1685"/>
                <a:gd name="T22" fmla="*/ 2779 w 3098"/>
                <a:gd name="T23" fmla="*/ 946 h 1685"/>
                <a:gd name="T24" fmla="*/ 2717 w 3098"/>
                <a:gd name="T25" fmla="*/ 1023 h 1685"/>
                <a:gd name="T26" fmla="*/ 2650 w 3098"/>
                <a:gd name="T27" fmla="*/ 1095 h 1685"/>
                <a:gd name="T28" fmla="*/ 2578 w 3098"/>
                <a:gd name="T29" fmla="*/ 1162 h 1685"/>
                <a:gd name="T30" fmla="*/ 2502 w 3098"/>
                <a:gd name="T31" fmla="*/ 1226 h 1685"/>
                <a:gd name="T32" fmla="*/ 2422 w 3098"/>
                <a:gd name="T33" fmla="*/ 1284 h 1685"/>
                <a:gd name="T34" fmla="*/ 2339 w 3098"/>
                <a:gd name="T35" fmla="*/ 1338 h 1685"/>
                <a:gd name="T36" fmla="*/ 2252 w 3098"/>
                <a:gd name="T37" fmla="*/ 1387 h 1685"/>
                <a:gd name="T38" fmla="*/ 2162 w 3098"/>
                <a:gd name="T39" fmla="*/ 1428 h 1685"/>
                <a:gd name="T40" fmla="*/ 2069 w 3098"/>
                <a:gd name="T41" fmla="*/ 1466 h 1685"/>
                <a:gd name="T42" fmla="*/ 2069 w 3098"/>
                <a:gd name="T43" fmla="*/ 1685 h 1685"/>
                <a:gd name="T44" fmla="*/ 1030 w 3098"/>
                <a:gd name="T45" fmla="*/ 1685 h 1685"/>
                <a:gd name="T46" fmla="*/ 1030 w 3098"/>
                <a:gd name="T47" fmla="*/ 1466 h 1685"/>
                <a:gd name="T48" fmla="*/ 936 w 3098"/>
                <a:gd name="T49" fmla="*/ 1428 h 1685"/>
                <a:gd name="T50" fmla="*/ 846 w 3098"/>
                <a:gd name="T51" fmla="*/ 1387 h 1685"/>
                <a:gd name="T52" fmla="*/ 760 w 3098"/>
                <a:gd name="T53" fmla="*/ 1338 h 1685"/>
                <a:gd name="T54" fmla="*/ 676 w 3098"/>
                <a:gd name="T55" fmla="*/ 1284 h 1685"/>
                <a:gd name="T56" fmla="*/ 597 w 3098"/>
                <a:gd name="T57" fmla="*/ 1226 h 1685"/>
                <a:gd name="T58" fmla="*/ 520 w 3098"/>
                <a:gd name="T59" fmla="*/ 1162 h 1685"/>
                <a:gd name="T60" fmla="*/ 449 w 3098"/>
                <a:gd name="T61" fmla="*/ 1095 h 1685"/>
                <a:gd name="T62" fmla="*/ 382 w 3098"/>
                <a:gd name="T63" fmla="*/ 1023 h 1685"/>
                <a:gd name="T64" fmla="*/ 319 w 3098"/>
                <a:gd name="T65" fmla="*/ 946 h 1685"/>
                <a:gd name="T66" fmla="*/ 261 w 3098"/>
                <a:gd name="T67" fmla="*/ 865 h 1685"/>
                <a:gd name="T68" fmla="*/ 209 w 3098"/>
                <a:gd name="T69" fmla="*/ 781 h 1685"/>
                <a:gd name="T70" fmla="*/ 162 w 3098"/>
                <a:gd name="T71" fmla="*/ 694 h 1685"/>
                <a:gd name="T72" fmla="*/ 120 w 3098"/>
                <a:gd name="T73" fmla="*/ 602 h 1685"/>
                <a:gd name="T74" fmla="*/ 84 w 3098"/>
                <a:gd name="T75" fmla="*/ 508 h 1685"/>
                <a:gd name="T76" fmla="*/ 54 w 3098"/>
                <a:gd name="T77" fmla="*/ 411 h 1685"/>
                <a:gd name="T78" fmla="*/ 31 w 3098"/>
                <a:gd name="T79" fmla="*/ 313 h 1685"/>
                <a:gd name="T80" fmla="*/ 14 w 3098"/>
                <a:gd name="T81" fmla="*/ 210 h 1685"/>
                <a:gd name="T82" fmla="*/ 3 w 3098"/>
                <a:gd name="T83" fmla="*/ 107 h 1685"/>
                <a:gd name="T84" fmla="*/ 0 w 3098"/>
                <a:gd name="T85" fmla="*/ 0 h 1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98" h="1685">
                  <a:moveTo>
                    <a:pt x="0" y="0"/>
                  </a:moveTo>
                  <a:lnTo>
                    <a:pt x="3098" y="0"/>
                  </a:lnTo>
                  <a:lnTo>
                    <a:pt x="3095" y="107"/>
                  </a:lnTo>
                  <a:lnTo>
                    <a:pt x="3084" y="210"/>
                  </a:lnTo>
                  <a:lnTo>
                    <a:pt x="3067" y="313"/>
                  </a:lnTo>
                  <a:lnTo>
                    <a:pt x="3044" y="411"/>
                  </a:lnTo>
                  <a:lnTo>
                    <a:pt x="3014" y="508"/>
                  </a:lnTo>
                  <a:lnTo>
                    <a:pt x="2978" y="602"/>
                  </a:lnTo>
                  <a:lnTo>
                    <a:pt x="2936" y="694"/>
                  </a:lnTo>
                  <a:lnTo>
                    <a:pt x="2889" y="781"/>
                  </a:lnTo>
                  <a:lnTo>
                    <a:pt x="2837" y="865"/>
                  </a:lnTo>
                  <a:lnTo>
                    <a:pt x="2779" y="946"/>
                  </a:lnTo>
                  <a:lnTo>
                    <a:pt x="2717" y="1023"/>
                  </a:lnTo>
                  <a:lnTo>
                    <a:pt x="2650" y="1095"/>
                  </a:lnTo>
                  <a:lnTo>
                    <a:pt x="2578" y="1162"/>
                  </a:lnTo>
                  <a:lnTo>
                    <a:pt x="2502" y="1226"/>
                  </a:lnTo>
                  <a:lnTo>
                    <a:pt x="2422" y="1284"/>
                  </a:lnTo>
                  <a:lnTo>
                    <a:pt x="2339" y="1338"/>
                  </a:lnTo>
                  <a:lnTo>
                    <a:pt x="2252" y="1387"/>
                  </a:lnTo>
                  <a:lnTo>
                    <a:pt x="2162" y="1428"/>
                  </a:lnTo>
                  <a:lnTo>
                    <a:pt x="2069" y="1466"/>
                  </a:lnTo>
                  <a:lnTo>
                    <a:pt x="2069" y="1685"/>
                  </a:lnTo>
                  <a:lnTo>
                    <a:pt x="1030" y="1685"/>
                  </a:lnTo>
                  <a:lnTo>
                    <a:pt x="1030" y="1466"/>
                  </a:lnTo>
                  <a:lnTo>
                    <a:pt x="936" y="1428"/>
                  </a:lnTo>
                  <a:lnTo>
                    <a:pt x="846" y="1387"/>
                  </a:lnTo>
                  <a:lnTo>
                    <a:pt x="760" y="1338"/>
                  </a:lnTo>
                  <a:lnTo>
                    <a:pt x="676" y="1284"/>
                  </a:lnTo>
                  <a:lnTo>
                    <a:pt x="597" y="1226"/>
                  </a:lnTo>
                  <a:lnTo>
                    <a:pt x="520" y="1162"/>
                  </a:lnTo>
                  <a:lnTo>
                    <a:pt x="449" y="1095"/>
                  </a:lnTo>
                  <a:lnTo>
                    <a:pt x="382" y="1023"/>
                  </a:lnTo>
                  <a:lnTo>
                    <a:pt x="319" y="946"/>
                  </a:lnTo>
                  <a:lnTo>
                    <a:pt x="261" y="865"/>
                  </a:lnTo>
                  <a:lnTo>
                    <a:pt x="209" y="781"/>
                  </a:lnTo>
                  <a:lnTo>
                    <a:pt x="162" y="694"/>
                  </a:lnTo>
                  <a:lnTo>
                    <a:pt x="120" y="602"/>
                  </a:lnTo>
                  <a:lnTo>
                    <a:pt x="84" y="508"/>
                  </a:lnTo>
                  <a:lnTo>
                    <a:pt x="54" y="411"/>
                  </a:lnTo>
                  <a:lnTo>
                    <a:pt x="31" y="313"/>
                  </a:lnTo>
                  <a:lnTo>
                    <a:pt x="14" y="210"/>
                  </a:lnTo>
                  <a:lnTo>
                    <a:pt x="3" y="10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2" name="Freeform 44"/>
            <p:cNvSpPr>
              <a:spLocks/>
            </p:cNvSpPr>
            <p:nvPr/>
          </p:nvSpPr>
          <p:spPr bwMode="auto">
            <a:xfrm>
              <a:off x="6144" y="33"/>
              <a:ext cx="288" cy="158"/>
            </a:xfrm>
            <a:custGeom>
              <a:avLst/>
              <a:gdLst>
                <a:gd name="T0" fmla="*/ 1939 w 2017"/>
                <a:gd name="T1" fmla="*/ 0 h 1106"/>
                <a:gd name="T2" fmla="*/ 2017 w 2017"/>
                <a:gd name="T3" fmla="*/ 101 h 1106"/>
                <a:gd name="T4" fmla="*/ 1004 w 2017"/>
                <a:gd name="T5" fmla="*/ 879 h 1106"/>
                <a:gd name="T6" fmla="*/ 988 w 2017"/>
                <a:gd name="T7" fmla="*/ 894 h 1106"/>
                <a:gd name="T8" fmla="*/ 967 w 2017"/>
                <a:gd name="T9" fmla="*/ 911 h 1106"/>
                <a:gd name="T10" fmla="*/ 943 w 2017"/>
                <a:gd name="T11" fmla="*/ 932 h 1106"/>
                <a:gd name="T12" fmla="*/ 913 w 2017"/>
                <a:gd name="T13" fmla="*/ 955 h 1106"/>
                <a:gd name="T14" fmla="*/ 881 w 2017"/>
                <a:gd name="T15" fmla="*/ 979 h 1106"/>
                <a:gd name="T16" fmla="*/ 844 w 2017"/>
                <a:gd name="T17" fmla="*/ 1002 h 1106"/>
                <a:gd name="T18" fmla="*/ 804 w 2017"/>
                <a:gd name="T19" fmla="*/ 1025 h 1106"/>
                <a:gd name="T20" fmla="*/ 762 w 2017"/>
                <a:gd name="T21" fmla="*/ 1047 h 1106"/>
                <a:gd name="T22" fmla="*/ 715 w 2017"/>
                <a:gd name="T23" fmla="*/ 1066 h 1106"/>
                <a:gd name="T24" fmla="*/ 668 w 2017"/>
                <a:gd name="T25" fmla="*/ 1082 h 1106"/>
                <a:gd name="T26" fmla="*/ 618 w 2017"/>
                <a:gd name="T27" fmla="*/ 1095 h 1106"/>
                <a:gd name="T28" fmla="*/ 566 w 2017"/>
                <a:gd name="T29" fmla="*/ 1103 h 1106"/>
                <a:gd name="T30" fmla="*/ 512 w 2017"/>
                <a:gd name="T31" fmla="*/ 1106 h 1106"/>
                <a:gd name="T32" fmla="*/ 466 w 2017"/>
                <a:gd name="T33" fmla="*/ 1104 h 1106"/>
                <a:gd name="T34" fmla="*/ 421 w 2017"/>
                <a:gd name="T35" fmla="*/ 1098 h 1106"/>
                <a:gd name="T36" fmla="*/ 377 w 2017"/>
                <a:gd name="T37" fmla="*/ 1088 h 1106"/>
                <a:gd name="T38" fmla="*/ 334 w 2017"/>
                <a:gd name="T39" fmla="*/ 1075 h 1106"/>
                <a:gd name="T40" fmla="*/ 292 w 2017"/>
                <a:gd name="T41" fmla="*/ 1060 h 1106"/>
                <a:gd name="T42" fmla="*/ 254 w 2017"/>
                <a:gd name="T43" fmla="*/ 1041 h 1106"/>
                <a:gd name="T44" fmla="*/ 217 w 2017"/>
                <a:gd name="T45" fmla="*/ 1023 h 1106"/>
                <a:gd name="T46" fmla="*/ 183 w 2017"/>
                <a:gd name="T47" fmla="*/ 1003 h 1106"/>
                <a:gd name="T48" fmla="*/ 150 w 2017"/>
                <a:gd name="T49" fmla="*/ 982 h 1106"/>
                <a:gd name="T50" fmla="*/ 120 w 2017"/>
                <a:gd name="T51" fmla="*/ 961 h 1106"/>
                <a:gd name="T52" fmla="*/ 93 w 2017"/>
                <a:gd name="T53" fmla="*/ 941 h 1106"/>
                <a:gd name="T54" fmla="*/ 70 w 2017"/>
                <a:gd name="T55" fmla="*/ 923 h 1106"/>
                <a:gd name="T56" fmla="*/ 50 w 2017"/>
                <a:gd name="T57" fmla="*/ 904 h 1106"/>
                <a:gd name="T58" fmla="*/ 32 w 2017"/>
                <a:gd name="T59" fmla="*/ 889 h 1106"/>
                <a:gd name="T60" fmla="*/ 18 w 2017"/>
                <a:gd name="T61" fmla="*/ 876 h 1106"/>
                <a:gd name="T62" fmla="*/ 8 w 2017"/>
                <a:gd name="T63" fmla="*/ 866 h 1106"/>
                <a:gd name="T64" fmla="*/ 2 w 2017"/>
                <a:gd name="T65" fmla="*/ 860 h 1106"/>
                <a:gd name="T66" fmla="*/ 0 w 2017"/>
                <a:gd name="T67" fmla="*/ 858 h 1106"/>
                <a:gd name="T68" fmla="*/ 819 w 2017"/>
                <a:gd name="T69" fmla="*/ 858 h 1106"/>
                <a:gd name="T70" fmla="*/ 1939 w 2017"/>
                <a:gd name="T71" fmla="*/ 0 h 1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017" h="1106">
                  <a:moveTo>
                    <a:pt x="1939" y="0"/>
                  </a:moveTo>
                  <a:lnTo>
                    <a:pt x="2017" y="101"/>
                  </a:lnTo>
                  <a:lnTo>
                    <a:pt x="1004" y="879"/>
                  </a:lnTo>
                  <a:lnTo>
                    <a:pt x="988" y="894"/>
                  </a:lnTo>
                  <a:lnTo>
                    <a:pt x="967" y="911"/>
                  </a:lnTo>
                  <a:lnTo>
                    <a:pt x="943" y="932"/>
                  </a:lnTo>
                  <a:lnTo>
                    <a:pt x="913" y="955"/>
                  </a:lnTo>
                  <a:lnTo>
                    <a:pt x="881" y="979"/>
                  </a:lnTo>
                  <a:lnTo>
                    <a:pt x="844" y="1002"/>
                  </a:lnTo>
                  <a:lnTo>
                    <a:pt x="804" y="1025"/>
                  </a:lnTo>
                  <a:lnTo>
                    <a:pt x="762" y="1047"/>
                  </a:lnTo>
                  <a:lnTo>
                    <a:pt x="715" y="1066"/>
                  </a:lnTo>
                  <a:lnTo>
                    <a:pt x="668" y="1082"/>
                  </a:lnTo>
                  <a:lnTo>
                    <a:pt x="618" y="1095"/>
                  </a:lnTo>
                  <a:lnTo>
                    <a:pt x="566" y="1103"/>
                  </a:lnTo>
                  <a:lnTo>
                    <a:pt x="512" y="1106"/>
                  </a:lnTo>
                  <a:lnTo>
                    <a:pt x="466" y="1104"/>
                  </a:lnTo>
                  <a:lnTo>
                    <a:pt x="421" y="1098"/>
                  </a:lnTo>
                  <a:lnTo>
                    <a:pt x="377" y="1088"/>
                  </a:lnTo>
                  <a:lnTo>
                    <a:pt x="334" y="1075"/>
                  </a:lnTo>
                  <a:lnTo>
                    <a:pt x="292" y="1060"/>
                  </a:lnTo>
                  <a:lnTo>
                    <a:pt x="254" y="1041"/>
                  </a:lnTo>
                  <a:lnTo>
                    <a:pt x="217" y="1023"/>
                  </a:lnTo>
                  <a:lnTo>
                    <a:pt x="183" y="1003"/>
                  </a:lnTo>
                  <a:lnTo>
                    <a:pt x="150" y="982"/>
                  </a:lnTo>
                  <a:lnTo>
                    <a:pt x="120" y="961"/>
                  </a:lnTo>
                  <a:lnTo>
                    <a:pt x="93" y="941"/>
                  </a:lnTo>
                  <a:lnTo>
                    <a:pt x="70" y="923"/>
                  </a:lnTo>
                  <a:lnTo>
                    <a:pt x="50" y="904"/>
                  </a:lnTo>
                  <a:lnTo>
                    <a:pt x="32" y="889"/>
                  </a:lnTo>
                  <a:lnTo>
                    <a:pt x="18" y="876"/>
                  </a:lnTo>
                  <a:lnTo>
                    <a:pt x="8" y="866"/>
                  </a:lnTo>
                  <a:lnTo>
                    <a:pt x="2" y="860"/>
                  </a:lnTo>
                  <a:lnTo>
                    <a:pt x="0" y="858"/>
                  </a:lnTo>
                  <a:lnTo>
                    <a:pt x="819" y="858"/>
                  </a:lnTo>
                  <a:lnTo>
                    <a:pt x="19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73" name="Freeform 49"/>
          <p:cNvSpPr>
            <a:spLocks/>
          </p:cNvSpPr>
          <p:nvPr/>
        </p:nvSpPr>
        <p:spPr bwMode="auto">
          <a:xfrm>
            <a:off x="2085198" y="4769225"/>
            <a:ext cx="663745" cy="464974"/>
          </a:xfrm>
          <a:custGeom>
            <a:avLst/>
            <a:gdLst>
              <a:gd name="T0" fmla="*/ 2448 w 3396"/>
              <a:gd name="T1" fmla="*/ 57 h 2379"/>
              <a:gd name="T2" fmla="*/ 2963 w 3396"/>
              <a:gd name="T3" fmla="*/ 248 h 2379"/>
              <a:gd name="T4" fmla="*/ 3046 w 3396"/>
              <a:gd name="T5" fmla="*/ 344 h 2379"/>
              <a:gd name="T6" fmla="*/ 3049 w 3396"/>
              <a:gd name="T7" fmla="*/ 869 h 2379"/>
              <a:gd name="T8" fmla="*/ 3072 w 3396"/>
              <a:gd name="T9" fmla="*/ 979 h 2379"/>
              <a:gd name="T10" fmla="*/ 3187 w 3396"/>
              <a:gd name="T11" fmla="*/ 1050 h 2379"/>
              <a:gd name="T12" fmla="*/ 3349 w 3396"/>
              <a:gd name="T13" fmla="*/ 1175 h 2379"/>
              <a:gd name="T14" fmla="*/ 3396 w 3396"/>
              <a:gd name="T15" fmla="*/ 1291 h 2379"/>
              <a:gd name="T16" fmla="*/ 3325 w 3396"/>
              <a:gd name="T17" fmla="*/ 1422 h 2379"/>
              <a:gd name="T18" fmla="*/ 2471 w 3396"/>
              <a:gd name="T19" fmla="*/ 1846 h 2379"/>
              <a:gd name="T20" fmla="*/ 1791 w 3396"/>
              <a:gd name="T21" fmla="*/ 2177 h 2379"/>
              <a:gd name="T22" fmla="*/ 1352 w 3396"/>
              <a:gd name="T23" fmla="*/ 2362 h 2379"/>
              <a:gd name="T24" fmla="*/ 972 w 3396"/>
              <a:gd name="T25" fmla="*/ 2360 h 2379"/>
              <a:gd name="T26" fmla="*/ 576 w 3396"/>
              <a:gd name="T27" fmla="*/ 2212 h 2379"/>
              <a:gd name="T28" fmla="*/ 124 w 3396"/>
              <a:gd name="T29" fmla="*/ 1940 h 2379"/>
              <a:gd name="T30" fmla="*/ 5 w 3396"/>
              <a:gd name="T31" fmla="*/ 1801 h 2379"/>
              <a:gd name="T32" fmla="*/ 36 w 3396"/>
              <a:gd name="T33" fmla="*/ 1652 h 2379"/>
              <a:gd name="T34" fmla="*/ 130 w 3396"/>
              <a:gd name="T35" fmla="*/ 1564 h 2379"/>
              <a:gd name="T36" fmla="*/ 236 w 3396"/>
              <a:gd name="T37" fmla="*/ 1518 h 2379"/>
              <a:gd name="T38" fmla="*/ 327 w 3396"/>
              <a:gd name="T39" fmla="*/ 1409 h 2379"/>
              <a:gd name="T40" fmla="*/ 351 w 3396"/>
              <a:gd name="T41" fmla="*/ 1263 h 2379"/>
              <a:gd name="T42" fmla="*/ 340 w 3396"/>
              <a:gd name="T43" fmla="*/ 997 h 2379"/>
              <a:gd name="T44" fmla="*/ 366 w 3396"/>
              <a:gd name="T45" fmla="*/ 751 h 2379"/>
              <a:gd name="T46" fmla="*/ 467 w 3396"/>
              <a:gd name="T47" fmla="*/ 705 h 2379"/>
              <a:gd name="T48" fmla="*/ 1286 w 3396"/>
              <a:gd name="T49" fmla="*/ 1055 h 2379"/>
              <a:gd name="T50" fmla="*/ 1317 w 3396"/>
              <a:gd name="T51" fmla="*/ 1144 h 2379"/>
              <a:gd name="T52" fmla="*/ 1302 w 3396"/>
              <a:gd name="T53" fmla="*/ 2091 h 2379"/>
              <a:gd name="T54" fmla="*/ 1220 w 3396"/>
              <a:gd name="T55" fmla="*/ 2138 h 2379"/>
              <a:gd name="T56" fmla="*/ 396 w 3396"/>
              <a:gd name="T57" fmla="*/ 1751 h 2379"/>
              <a:gd name="T58" fmla="*/ 345 w 3396"/>
              <a:gd name="T59" fmla="*/ 1671 h 2379"/>
              <a:gd name="T60" fmla="*/ 307 w 3396"/>
              <a:gd name="T61" fmla="*/ 1603 h 2379"/>
              <a:gd name="T62" fmla="*/ 183 w 3396"/>
              <a:gd name="T63" fmla="*/ 1813 h 2379"/>
              <a:gd name="T64" fmla="*/ 457 w 3396"/>
              <a:gd name="T65" fmla="*/ 2007 h 2379"/>
              <a:gd name="T66" fmla="*/ 871 w 3396"/>
              <a:gd name="T67" fmla="*/ 2212 h 2379"/>
              <a:gd name="T68" fmla="*/ 1231 w 3396"/>
              <a:gd name="T69" fmla="*/ 2257 h 2379"/>
              <a:gd name="T70" fmla="*/ 1598 w 3396"/>
              <a:gd name="T71" fmla="*/ 2148 h 2379"/>
              <a:gd name="T72" fmla="*/ 3153 w 3396"/>
              <a:gd name="T73" fmla="*/ 1382 h 2379"/>
              <a:gd name="T74" fmla="*/ 3276 w 3396"/>
              <a:gd name="T75" fmla="*/ 1308 h 2379"/>
              <a:gd name="T76" fmla="*/ 3164 w 3396"/>
              <a:gd name="T77" fmla="*/ 1181 h 2379"/>
              <a:gd name="T78" fmla="*/ 3054 w 3396"/>
              <a:gd name="T79" fmla="*/ 1162 h 2379"/>
              <a:gd name="T80" fmla="*/ 3019 w 3396"/>
              <a:gd name="T81" fmla="*/ 1273 h 2379"/>
              <a:gd name="T82" fmla="*/ 2934 w 3396"/>
              <a:gd name="T83" fmla="*/ 1337 h 2379"/>
              <a:gd name="T84" fmla="*/ 1564 w 3396"/>
              <a:gd name="T85" fmla="*/ 1983 h 2379"/>
              <a:gd name="T86" fmla="*/ 1429 w 3396"/>
              <a:gd name="T87" fmla="*/ 2044 h 2379"/>
              <a:gd name="T88" fmla="*/ 1421 w 3396"/>
              <a:gd name="T89" fmla="*/ 1642 h 2379"/>
              <a:gd name="T90" fmla="*/ 1413 w 3396"/>
              <a:gd name="T91" fmla="*/ 1035 h 2379"/>
              <a:gd name="T92" fmla="*/ 1332 w 3396"/>
              <a:gd name="T93" fmla="*/ 953 h 2379"/>
              <a:gd name="T94" fmla="*/ 845 w 3396"/>
              <a:gd name="T95" fmla="*/ 747 h 2379"/>
              <a:gd name="T96" fmla="*/ 830 w 3396"/>
              <a:gd name="T97" fmla="*/ 544 h 2379"/>
              <a:gd name="T98" fmla="*/ 1557 w 3396"/>
              <a:gd name="T99" fmla="*/ 235 h 2379"/>
              <a:gd name="T100" fmla="*/ 2181 w 3396"/>
              <a:gd name="T101" fmla="*/ 1 h 2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396" h="2379">
                <a:moveTo>
                  <a:pt x="2219" y="0"/>
                </a:moveTo>
                <a:lnTo>
                  <a:pt x="2256" y="4"/>
                </a:lnTo>
                <a:lnTo>
                  <a:pt x="2292" y="9"/>
                </a:lnTo>
                <a:lnTo>
                  <a:pt x="2326" y="18"/>
                </a:lnTo>
                <a:lnTo>
                  <a:pt x="2448" y="57"/>
                </a:lnTo>
                <a:lnTo>
                  <a:pt x="2570" y="101"/>
                </a:lnTo>
                <a:lnTo>
                  <a:pt x="2691" y="147"/>
                </a:lnTo>
                <a:lnTo>
                  <a:pt x="2811" y="192"/>
                </a:lnTo>
                <a:lnTo>
                  <a:pt x="2933" y="235"/>
                </a:lnTo>
                <a:lnTo>
                  <a:pt x="2963" y="248"/>
                </a:lnTo>
                <a:lnTo>
                  <a:pt x="2988" y="261"/>
                </a:lnTo>
                <a:lnTo>
                  <a:pt x="3008" y="278"/>
                </a:lnTo>
                <a:lnTo>
                  <a:pt x="3025" y="297"/>
                </a:lnTo>
                <a:lnTo>
                  <a:pt x="3037" y="319"/>
                </a:lnTo>
                <a:lnTo>
                  <a:pt x="3046" y="344"/>
                </a:lnTo>
                <a:lnTo>
                  <a:pt x="3050" y="371"/>
                </a:lnTo>
                <a:lnTo>
                  <a:pt x="3052" y="402"/>
                </a:lnTo>
                <a:lnTo>
                  <a:pt x="3052" y="558"/>
                </a:lnTo>
                <a:lnTo>
                  <a:pt x="3053" y="714"/>
                </a:lnTo>
                <a:lnTo>
                  <a:pt x="3049" y="869"/>
                </a:lnTo>
                <a:lnTo>
                  <a:pt x="3049" y="895"/>
                </a:lnTo>
                <a:lnTo>
                  <a:pt x="3052" y="919"/>
                </a:lnTo>
                <a:lnTo>
                  <a:pt x="3056" y="941"/>
                </a:lnTo>
                <a:lnTo>
                  <a:pt x="3062" y="961"/>
                </a:lnTo>
                <a:lnTo>
                  <a:pt x="3072" y="979"/>
                </a:lnTo>
                <a:lnTo>
                  <a:pt x="3085" y="996"/>
                </a:lnTo>
                <a:lnTo>
                  <a:pt x="3102" y="1010"/>
                </a:lnTo>
                <a:lnTo>
                  <a:pt x="3123" y="1023"/>
                </a:lnTo>
                <a:lnTo>
                  <a:pt x="3148" y="1033"/>
                </a:lnTo>
                <a:lnTo>
                  <a:pt x="3187" y="1050"/>
                </a:lnTo>
                <a:lnTo>
                  <a:pt x="3223" y="1070"/>
                </a:lnTo>
                <a:lnTo>
                  <a:pt x="3258" y="1094"/>
                </a:lnTo>
                <a:lnTo>
                  <a:pt x="3291" y="1120"/>
                </a:lnTo>
                <a:lnTo>
                  <a:pt x="3323" y="1147"/>
                </a:lnTo>
                <a:lnTo>
                  <a:pt x="3349" y="1175"/>
                </a:lnTo>
                <a:lnTo>
                  <a:pt x="3369" y="1204"/>
                </a:lnTo>
                <a:lnTo>
                  <a:pt x="3383" y="1233"/>
                </a:lnTo>
                <a:lnTo>
                  <a:pt x="3393" y="1262"/>
                </a:lnTo>
                <a:lnTo>
                  <a:pt x="3396" y="1291"/>
                </a:lnTo>
                <a:lnTo>
                  <a:pt x="3396" y="1291"/>
                </a:lnTo>
                <a:lnTo>
                  <a:pt x="3393" y="1319"/>
                </a:lnTo>
                <a:lnTo>
                  <a:pt x="3385" y="1346"/>
                </a:lnTo>
                <a:lnTo>
                  <a:pt x="3370" y="1372"/>
                </a:lnTo>
                <a:lnTo>
                  <a:pt x="3349" y="1398"/>
                </a:lnTo>
                <a:lnTo>
                  <a:pt x="3325" y="1422"/>
                </a:lnTo>
                <a:lnTo>
                  <a:pt x="3293" y="1444"/>
                </a:lnTo>
                <a:lnTo>
                  <a:pt x="3256" y="1465"/>
                </a:lnTo>
                <a:lnTo>
                  <a:pt x="2995" y="1593"/>
                </a:lnTo>
                <a:lnTo>
                  <a:pt x="2733" y="1719"/>
                </a:lnTo>
                <a:lnTo>
                  <a:pt x="2471" y="1846"/>
                </a:lnTo>
                <a:lnTo>
                  <a:pt x="2335" y="1912"/>
                </a:lnTo>
                <a:lnTo>
                  <a:pt x="2198" y="1977"/>
                </a:lnTo>
                <a:lnTo>
                  <a:pt x="2062" y="2043"/>
                </a:lnTo>
                <a:lnTo>
                  <a:pt x="1926" y="2109"/>
                </a:lnTo>
                <a:lnTo>
                  <a:pt x="1791" y="2177"/>
                </a:lnTo>
                <a:lnTo>
                  <a:pt x="1657" y="2249"/>
                </a:lnTo>
                <a:lnTo>
                  <a:pt x="1580" y="2287"/>
                </a:lnTo>
                <a:lnTo>
                  <a:pt x="1504" y="2319"/>
                </a:lnTo>
                <a:lnTo>
                  <a:pt x="1428" y="2344"/>
                </a:lnTo>
                <a:lnTo>
                  <a:pt x="1352" y="2362"/>
                </a:lnTo>
                <a:lnTo>
                  <a:pt x="1275" y="2374"/>
                </a:lnTo>
                <a:lnTo>
                  <a:pt x="1200" y="2379"/>
                </a:lnTo>
                <a:lnTo>
                  <a:pt x="1124" y="2379"/>
                </a:lnTo>
                <a:lnTo>
                  <a:pt x="1048" y="2373"/>
                </a:lnTo>
                <a:lnTo>
                  <a:pt x="972" y="2360"/>
                </a:lnTo>
                <a:lnTo>
                  <a:pt x="897" y="2343"/>
                </a:lnTo>
                <a:lnTo>
                  <a:pt x="822" y="2320"/>
                </a:lnTo>
                <a:lnTo>
                  <a:pt x="746" y="2292"/>
                </a:lnTo>
                <a:lnTo>
                  <a:pt x="671" y="2259"/>
                </a:lnTo>
                <a:lnTo>
                  <a:pt x="576" y="2212"/>
                </a:lnTo>
                <a:lnTo>
                  <a:pt x="484" y="2163"/>
                </a:lnTo>
                <a:lnTo>
                  <a:pt x="393" y="2109"/>
                </a:lnTo>
                <a:lnTo>
                  <a:pt x="302" y="2054"/>
                </a:lnTo>
                <a:lnTo>
                  <a:pt x="212" y="1998"/>
                </a:lnTo>
                <a:lnTo>
                  <a:pt x="124" y="1940"/>
                </a:lnTo>
                <a:lnTo>
                  <a:pt x="88" y="1914"/>
                </a:lnTo>
                <a:lnTo>
                  <a:pt x="58" y="1887"/>
                </a:lnTo>
                <a:lnTo>
                  <a:pt x="34" y="1859"/>
                </a:lnTo>
                <a:lnTo>
                  <a:pt x="17" y="1831"/>
                </a:lnTo>
                <a:lnTo>
                  <a:pt x="5" y="1801"/>
                </a:lnTo>
                <a:lnTo>
                  <a:pt x="0" y="1772"/>
                </a:lnTo>
                <a:lnTo>
                  <a:pt x="0" y="1742"/>
                </a:lnTo>
                <a:lnTo>
                  <a:pt x="6" y="1712"/>
                </a:lnTo>
                <a:lnTo>
                  <a:pt x="19" y="1682"/>
                </a:lnTo>
                <a:lnTo>
                  <a:pt x="36" y="1652"/>
                </a:lnTo>
                <a:lnTo>
                  <a:pt x="61" y="1624"/>
                </a:lnTo>
                <a:lnTo>
                  <a:pt x="90" y="1595"/>
                </a:lnTo>
                <a:lnTo>
                  <a:pt x="126" y="1567"/>
                </a:lnTo>
                <a:lnTo>
                  <a:pt x="128" y="1566"/>
                </a:lnTo>
                <a:lnTo>
                  <a:pt x="130" y="1564"/>
                </a:lnTo>
                <a:lnTo>
                  <a:pt x="133" y="1562"/>
                </a:lnTo>
                <a:lnTo>
                  <a:pt x="135" y="1561"/>
                </a:lnTo>
                <a:lnTo>
                  <a:pt x="173" y="1548"/>
                </a:lnTo>
                <a:lnTo>
                  <a:pt x="206" y="1535"/>
                </a:lnTo>
                <a:lnTo>
                  <a:pt x="236" y="1518"/>
                </a:lnTo>
                <a:lnTo>
                  <a:pt x="261" y="1501"/>
                </a:lnTo>
                <a:lnTo>
                  <a:pt x="283" y="1480"/>
                </a:lnTo>
                <a:lnTo>
                  <a:pt x="300" y="1459"/>
                </a:lnTo>
                <a:lnTo>
                  <a:pt x="315" y="1434"/>
                </a:lnTo>
                <a:lnTo>
                  <a:pt x="327" y="1409"/>
                </a:lnTo>
                <a:lnTo>
                  <a:pt x="336" y="1382"/>
                </a:lnTo>
                <a:lnTo>
                  <a:pt x="342" y="1355"/>
                </a:lnTo>
                <a:lnTo>
                  <a:pt x="346" y="1325"/>
                </a:lnTo>
                <a:lnTo>
                  <a:pt x="350" y="1295"/>
                </a:lnTo>
                <a:lnTo>
                  <a:pt x="351" y="1263"/>
                </a:lnTo>
                <a:lnTo>
                  <a:pt x="350" y="1231"/>
                </a:lnTo>
                <a:lnTo>
                  <a:pt x="348" y="1198"/>
                </a:lnTo>
                <a:lnTo>
                  <a:pt x="345" y="1164"/>
                </a:lnTo>
                <a:lnTo>
                  <a:pt x="341" y="1080"/>
                </a:lnTo>
                <a:lnTo>
                  <a:pt x="340" y="997"/>
                </a:lnTo>
                <a:lnTo>
                  <a:pt x="342" y="912"/>
                </a:lnTo>
                <a:lnTo>
                  <a:pt x="345" y="829"/>
                </a:lnTo>
                <a:lnTo>
                  <a:pt x="348" y="800"/>
                </a:lnTo>
                <a:lnTo>
                  <a:pt x="356" y="773"/>
                </a:lnTo>
                <a:lnTo>
                  <a:pt x="366" y="751"/>
                </a:lnTo>
                <a:lnTo>
                  <a:pt x="381" y="732"/>
                </a:lnTo>
                <a:lnTo>
                  <a:pt x="399" y="718"/>
                </a:lnTo>
                <a:lnTo>
                  <a:pt x="420" y="707"/>
                </a:lnTo>
                <a:lnTo>
                  <a:pt x="442" y="703"/>
                </a:lnTo>
                <a:lnTo>
                  <a:pt x="467" y="705"/>
                </a:lnTo>
                <a:lnTo>
                  <a:pt x="494" y="713"/>
                </a:lnTo>
                <a:lnTo>
                  <a:pt x="756" y="820"/>
                </a:lnTo>
                <a:lnTo>
                  <a:pt x="1015" y="932"/>
                </a:lnTo>
                <a:lnTo>
                  <a:pt x="1274" y="1046"/>
                </a:lnTo>
                <a:lnTo>
                  <a:pt x="1286" y="1055"/>
                </a:lnTo>
                <a:lnTo>
                  <a:pt x="1296" y="1069"/>
                </a:lnTo>
                <a:lnTo>
                  <a:pt x="1304" y="1087"/>
                </a:lnTo>
                <a:lnTo>
                  <a:pt x="1310" y="1106"/>
                </a:lnTo>
                <a:lnTo>
                  <a:pt x="1314" y="1126"/>
                </a:lnTo>
                <a:lnTo>
                  <a:pt x="1317" y="1144"/>
                </a:lnTo>
                <a:lnTo>
                  <a:pt x="1319" y="1581"/>
                </a:lnTo>
                <a:lnTo>
                  <a:pt x="1318" y="2018"/>
                </a:lnTo>
                <a:lnTo>
                  <a:pt x="1315" y="2046"/>
                </a:lnTo>
                <a:lnTo>
                  <a:pt x="1310" y="2070"/>
                </a:lnTo>
                <a:lnTo>
                  <a:pt x="1302" y="2091"/>
                </a:lnTo>
                <a:lnTo>
                  <a:pt x="1291" y="2109"/>
                </a:lnTo>
                <a:lnTo>
                  <a:pt x="1277" y="2122"/>
                </a:lnTo>
                <a:lnTo>
                  <a:pt x="1261" y="2132"/>
                </a:lnTo>
                <a:lnTo>
                  <a:pt x="1241" y="2137"/>
                </a:lnTo>
                <a:lnTo>
                  <a:pt x="1220" y="2138"/>
                </a:lnTo>
                <a:lnTo>
                  <a:pt x="1197" y="2134"/>
                </a:lnTo>
                <a:lnTo>
                  <a:pt x="1171" y="2124"/>
                </a:lnTo>
                <a:lnTo>
                  <a:pt x="910" y="2005"/>
                </a:lnTo>
                <a:lnTo>
                  <a:pt x="653" y="1880"/>
                </a:lnTo>
                <a:lnTo>
                  <a:pt x="396" y="1751"/>
                </a:lnTo>
                <a:lnTo>
                  <a:pt x="382" y="1742"/>
                </a:lnTo>
                <a:lnTo>
                  <a:pt x="372" y="1729"/>
                </a:lnTo>
                <a:lnTo>
                  <a:pt x="362" y="1712"/>
                </a:lnTo>
                <a:lnTo>
                  <a:pt x="354" y="1693"/>
                </a:lnTo>
                <a:lnTo>
                  <a:pt x="345" y="1671"/>
                </a:lnTo>
                <a:lnTo>
                  <a:pt x="337" y="1648"/>
                </a:lnTo>
                <a:lnTo>
                  <a:pt x="328" y="1626"/>
                </a:lnTo>
                <a:lnTo>
                  <a:pt x="318" y="1603"/>
                </a:lnTo>
                <a:lnTo>
                  <a:pt x="313" y="1603"/>
                </a:lnTo>
                <a:lnTo>
                  <a:pt x="307" y="1603"/>
                </a:lnTo>
                <a:lnTo>
                  <a:pt x="301" y="1605"/>
                </a:lnTo>
                <a:lnTo>
                  <a:pt x="209" y="1678"/>
                </a:lnTo>
                <a:lnTo>
                  <a:pt x="120" y="1751"/>
                </a:lnTo>
                <a:lnTo>
                  <a:pt x="151" y="1782"/>
                </a:lnTo>
                <a:lnTo>
                  <a:pt x="183" y="1813"/>
                </a:lnTo>
                <a:lnTo>
                  <a:pt x="213" y="1844"/>
                </a:lnTo>
                <a:lnTo>
                  <a:pt x="246" y="1873"/>
                </a:lnTo>
                <a:lnTo>
                  <a:pt x="281" y="1899"/>
                </a:lnTo>
                <a:lnTo>
                  <a:pt x="369" y="1953"/>
                </a:lnTo>
                <a:lnTo>
                  <a:pt x="457" y="2007"/>
                </a:lnTo>
                <a:lnTo>
                  <a:pt x="545" y="2058"/>
                </a:lnTo>
                <a:lnTo>
                  <a:pt x="635" y="2108"/>
                </a:lnTo>
                <a:lnTo>
                  <a:pt x="727" y="2154"/>
                </a:lnTo>
                <a:lnTo>
                  <a:pt x="799" y="2185"/>
                </a:lnTo>
                <a:lnTo>
                  <a:pt x="871" y="2212"/>
                </a:lnTo>
                <a:lnTo>
                  <a:pt x="942" y="2233"/>
                </a:lnTo>
                <a:lnTo>
                  <a:pt x="1014" y="2247"/>
                </a:lnTo>
                <a:lnTo>
                  <a:pt x="1087" y="2256"/>
                </a:lnTo>
                <a:lnTo>
                  <a:pt x="1159" y="2260"/>
                </a:lnTo>
                <a:lnTo>
                  <a:pt x="1231" y="2257"/>
                </a:lnTo>
                <a:lnTo>
                  <a:pt x="1304" y="2248"/>
                </a:lnTo>
                <a:lnTo>
                  <a:pt x="1376" y="2234"/>
                </a:lnTo>
                <a:lnTo>
                  <a:pt x="1449" y="2212"/>
                </a:lnTo>
                <a:lnTo>
                  <a:pt x="1524" y="2183"/>
                </a:lnTo>
                <a:lnTo>
                  <a:pt x="1598" y="2148"/>
                </a:lnTo>
                <a:lnTo>
                  <a:pt x="1906" y="1990"/>
                </a:lnTo>
                <a:lnTo>
                  <a:pt x="2218" y="1837"/>
                </a:lnTo>
                <a:lnTo>
                  <a:pt x="2529" y="1685"/>
                </a:lnTo>
                <a:lnTo>
                  <a:pt x="2841" y="1535"/>
                </a:lnTo>
                <a:lnTo>
                  <a:pt x="3153" y="1382"/>
                </a:lnTo>
                <a:lnTo>
                  <a:pt x="3175" y="1371"/>
                </a:lnTo>
                <a:lnTo>
                  <a:pt x="3197" y="1358"/>
                </a:lnTo>
                <a:lnTo>
                  <a:pt x="3221" y="1343"/>
                </a:lnTo>
                <a:lnTo>
                  <a:pt x="3247" y="1327"/>
                </a:lnTo>
                <a:lnTo>
                  <a:pt x="3276" y="1308"/>
                </a:lnTo>
                <a:lnTo>
                  <a:pt x="3309" y="1288"/>
                </a:lnTo>
                <a:lnTo>
                  <a:pt x="3271" y="1261"/>
                </a:lnTo>
                <a:lnTo>
                  <a:pt x="3235" y="1234"/>
                </a:lnTo>
                <a:lnTo>
                  <a:pt x="3200" y="1208"/>
                </a:lnTo>
                <a:lnTo>
                  <a:pt x="3164" y="1181"/>
                </a:lnTo>
                <a:lnTo>
                  <a:pt x="3127" y="1155"/>
                </a:lnTo>
                <a:lnTo>
                  <a:pt x="3089" y="1126"/>
                </a:lnTo>
                <a:lnTo>
                  <a:pt x="3046" y="1096"/>
                </a:lnTo>
                <a:lnTo>
                  <a:pt x="3052" y="1130"/>
                </a:lnTo>
                <a:lnTo>
                  <a:pt x="3054" y="1162"/>
                </a:lnTo>
                <a:lnTo>
                  <a:pt x="3053" y="1190"/>
                </a:lnTo>
                <a:lnTo>
                  <a:pt x="3048" y="1214"/>
                </a:lnTo>
                <a:lnTo>
                  <a:pt x="3041" y="1236"/>
                </a:lnTo>
                <a:lnTo>
                  <a:pt x="3031" y="1256"/>
                </a:lnTo>
                <a:lnTo>
                  <a:pt x="3019" y="1273"/>
                </a:lnTo>
                <a:lnTo>
                  <a:pt x="3005" y="1289"/>
                </a:lnTo>
                <a:lnTo>
                  <a:pt x="2990" y="1303"/>
                </a:lnTo>
                <a:lnTo>
                  <a:pt x="2972" y="1315"/>
                </a:lnTo>
                <a:lnTo>
                  <a:pt x="2954" y="1327"/>
                </a:lnTo>
                <a:lnTo>
                  <a:pt x="2934" y="1337"/>
                </a:lnTo>
                <a:lnTo>
                  <a:pt x="2913" y="1347"/>
                </a:lnTo>
                <a:lnTo>
                  <a:pt x="2893" y="1357"/>
                </a:lnTo>
                <a:lnTo>
                  <a:pt x="2872" y="1366"/>
                </a:lnTo>
                <a:lnTo>
                  <a:pt x="2218" y="1674"/>
                </a:lnTo>
                <a:lnTo>
                  <a:pt x="1564" y="1983"/>
                </a:lnTo>
                <a:lnTo>
                  <a:pt x="1540" y="1994"/>
                </a:lnTo>
                <a:lnTo>
                  <a:pt x="1515" y="2005"/>
                </a:lnTo>
                <a:lnTo>
                  <a:pt x="1490" y="2017"/>
                </a:lnTo>
                <a:lnTo>
                  <a:pt x="1461" y="2030"/>
                </a:lnTo>
                <a:lnTo>
                  <a:pt x="1429" y="2044"/>
                </a:lnTo>
                <a:lnTo>
                  <a:pt x="1427" y="2005"/>
                </a:lnTo>
                <a:lnTo>
                  <a:pt x="1425" y="1970"/>
                </a:lnTo>
                <a:lnTo>
                  <a:pt x="1423" y="1938"/>
                </a:lnTo>
                <a:lnTo>
                  <a:pt x="1423" y="1906"/>
                </a:lnTo>
                <a:lnTo>
                  <a:pt x="1421" y="1642"/>
                </a:lnTo>
                <a:lnTo>
                  <a:pt x="1421" y="1379"/>
                </a:lnTo>
                <a:lnTo>
                  <a:pt x="1425" y="1115"/>
                </a:lnTo>
                <a:lnTo>
                  <a:pt x="1424" y="1086"/>
                </a:lnTo>
                <a:lnTo>
                  <a:pt x="1421" y="1059"/>
                </a:lnTo>
                <a:lnTo>
                  <a:pt x="1413" y="1035"/>
                </a:lnTo>
                <a:lnTo>
                  <a:pt x="1404" y="1015"/>
                </a:lnTo>
                <a:lnTo>
                  <a:pt x="1392" y="996"/>
                </a:lnTo>
                <a:lnTo>
                  <a:pt x="1375" y="980"/>
                </a:lnTo>
                <a:lnTo>
                  <a:pt x="1356" y="966"/>
                </a:lnTo>
                <a:lnTo>
                  <a:pt x="1332" y="953"/>
                </a:lnTo>
                <a:lnTo>
                  <a:pt x="1305" y="940"/>
                </a:lnTo>
                <a:lnTo>
                  <a:pt x="1192" y="895"/>
                </a:lnTo>
                <a:lnTo>
                  <a:pt x="1077" y="847"/>
                </a:lnTo>
                <a:lnTo>
                  <a:pt x="963" y="797"/>
                </a:lnTo>
                <a:lnTo>
                  <a:pt x="845" y="747"/>
                </a:lnTo>
                <a:lnTo>
                  <a:pt x="726" y="694"/>
                </a:lnTo>
                <a:lnTo>
                  <a:pt x="602" y="641"/>
                </a:lnTo>
                <a:lnTo>
                  <a:pt x="681" y="607"/>
                </a:lnTo>
                <a:lnTo>
                  <a:pt x="758" y="574"/>
                </a:lnTo>
                <a:lnTo>
                  <a:pt x="830" y="544"/>
                </a:lnTo>
                <a:lnTo>
                  <a:pt x="901" y="514"/>
                </a:lnTo>
                <a:lnTo>
                  <a:pt x="971" y="484"/>
                </a:lnTo>
                <a:lnTo>
                  <a:pt x="1039" y="455"/>
                </a:lnTo>
                <a:lnTo>
                  <a:pt x="1298" y="345"/>
                </a:lnTo>
                <a:lnTo>
                  <a:pt x="1557" y="235"/>
                </a:lnTo>
                <a:lnTo>
                  <a:pt x="1815" y="127"/>
                </a:lnTo>
                <a:lnTo>
                  <a:pt x="2076" y="22"/>
                </a:lnTo>
                <a:lnTo>
                  <a:pt x="2109" y="12"/>
                </a:lnTo>
                <a:lnTo>
                  <a:pt x="2144" y="5"/>
                </a:lnTo>
                <a:lnTo>
                  <a:pt x="2181" y="1"/>
                </a:lnTo>
                <a:lnTo>
                  <a:pt x="2219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3" name="Pentagon 182"/>
          <p:cNvSpPr/>
          <p:nvPr/>
        </p:nvSpPr>
        <p:spPr bwMode="ltGray">
          <a:xfrm>
            <a:off x="1320495" y="6102441"/>
            <a:ext cx="7224713" cy="229404"/>
          </a:xfrm>
          <a:prstGeom prst="homePlate">
            <a:avLst>
              <a:gd name="adj" fmla="val 38042"/>
            </a:avLst>
          </a:prstGeom>
          <a:solidFill>
            <a:srgbClr val="A7A49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74" name="Group 17"/>
          <p:cNvGrpSpPr>
            <a:grpSpLocks noChangeAspect="1"/>
          </p:cNvGrpSpPr>
          <p:nvPr/>
        </p:nvGrpSpPr>
        <p:grpSpPr bwMode="auto">
          <a:xfrm>
            <a:off x="4209968" y="5091941"/>
            <a:ext cx="1221538" cy="1142618"/>
            <a:chOff x="6544" y="3608"/>
            <a:chExt cx="712" cy="666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175" name="Freeform 19"/>
            <p:cNvSpPr>
              <a:spLocks noEditPoints="1"/>
            </p:cNvSpPr>
            <p:nvPr/>
          </p:nvSpPr>
          <p:spPr bwMode="auto">
            <a:xfrm>
              <a:off x="6544" y="3608"/>
              <a:ext cx="712" cy="518"/>
            </a:xfrm>
            <a:custGeom>
              <a:avLst/>
              <a:gdLst>
                <a:gd name="T0" fmla="*/ 2452 w 3561"/>
                <a:gd name="T1" fmla="*/ 1665 h 2590"/>
                <a:gd name="T2" fmla="*/ 3084 w 3561"/>
                <a:gd name="T3" fmla="*/ 1295 h 2590"/>
                <a:gd name="T4" fmla="*/ 1711 w 3561"/>
                <a:gd name="T5" fmla="*/ 1295 h 2590"/>
                <a:gd name="T6" fmla="*/ 2266 w 3561"/>
                <a:gd name="T7" fmla="*/ 1665 h 2590"/>
                <a:gd name="T8" fmla="*/ 1711 w 3561"/>
                <a:gd name="T9" fmla="*/ 1295 h 2590"/>
                <a:gd name="T10" fmla="*/ 1035 w 3561"/>
                <a:gd name="T11" fmla="*/ 1665 h 2590"/>
                <a:gd name="T12" fmla="*/ 1527 w 3561"/>
                <a:gd name="T13" fmla="*/ 1295 h 2590"/>
                <a:gd name="T14" fmla="*/ 2452 w 3561"/>
                <a:gd name="T15" fmla="*/ 740 h 2590"/>
                <a:gd name="T16" fmla="*/ 3110 w 3561"/>
                <a:gd name="T17" fmla="*/ 1110 h 2590"/>
                <a:gd name="T18" fmla="*/ 2452 w 3561"/>
                <a:gd name="T19" fmla="*/ 740 h 2590"/>
                <a:gd name="T20" fmla="*/ 1711 w 3561"/>
                <a:gd name="T21" fmla="*/ 1110 h 2590"/>
                <a:gd name="T22" fmla="*/ 2266 w 3561"/>
                <a:gd name="T23" fmla="*/ 740 h 2590"/>
                <a:gd name="T24" fmla="*/ 881 w 3561"/>
                <a:gd name="T25" fmla="*/ 740 h 2590"/>
                <a:gd name="T26" fmla="*/ 958 w 3561"/>
                <a:gd name="T27" fmla="*/ 1111 h 2590"/>
                <a:gd name="T28" fmla="*/ 1527 w 3561"/>
                <a:gd name="T29" fmla="*/ 1110 h 2590"/>
                <a:gd name="T30" fmla="*/ 881 w 3561"/>
                <a:gd name="T31" fmla="*/ 740 h 2590"/>
                <a:gd name="T32" fmla="*/ 602 w 3561"/>
                <a:gd name="T33" fmla="*/ 0 h 2590"/>
                <a:gd name="T34" fmla="*/ 666 w 3561"/>
                <a:gd name="T35" fmla="*/ 11 h 2590"/>
                <a:gd name="T36" fmla="*/ 721 w 3561"/>
                <a:gd name="T37" fmla="*/ 44 h 2590"/>
                <a:gd name="T38" fmla="*/ 761 w 3561"/>
                <a:gd name="T39" fmla="*/ 92 h 2590"/>
                <a:gd name="T40" fmla="*/ 784 w 3561"/>
                <a:gd name="T41" fmla="*/ 155 h 2590"/>
                <a:gd name="T42" fmla="*/ 3377 w 3561"/>
                <a:gd name="T43" fmla="*/ 370 h 2590"/>
                <a:gd name="T44" fmla="*/ 3439 w 3561"/>
                <a:gd name="T45" fmla="*/ 381 h 2590"/>
                <a:gd name="T46" fmla="*/ 3493 w 3561"/>
                <a:gd name="T47" fmla="*/ 412 h 2590"/>
                <a:gd name="T48" fmla="*/ 3534 w 3561"/>
                <a:gd name="T49" fmla="*/ 459 h 2590"/>
                <a:gd name="T50" fmla="*/ 3558 w 3561"/>
                <a:gd name="T51" fmla="*/ 517 h 2590"/>
                <a:gd name="T52" fmla="*/ 3559 w 3561"/>
                <a:gd name="T53" fmla="*/ 581 h 2590"/>
                <a:gd name="T54" fmla="*/ 3367 w 3561"/>
                <a:gd name="T55" fmla="*/ 1909 h 2590"/>
                <a:gd name="T56" fmla="*/ 3336 w 3561"/>
                <a:gd name="T57" fmla="*/ 1967 h 2590"/>
                <a:gd name="T58" fmla="*/ 3286 w 3561"/>
                <a:gd name="T59" fmla="*/ 2009 h 2590"/>
                <a:gd name="T60" fmla="*/ 3226 w 3561"/>
                <a:gd name="T61" fmla="*/ 2032 h 2590"/>
                <a:gd name="T62" fmla="*/ 1098 w 3561"/>
                <a:gd name="T63" fmla="*/ 2035 h 2590"/>
                <a:gd name="T64" fmla="*/ 3006 w 3561"/>
                <a:gd name="T65" fmla="*/ 2220 h 2590"/>
                <a:gd name="T66" fmla="*/ 3071 w 3561"/>
                <a:gd name="T67" fmla="*/ 2231 h 2590"/>
                <a:gd name="T68" fmla="*/ 3126 w 3561"/>
                <a:gd name="T69" fmla="*/ 2264 h 2590"/>
                <a:gd name="T70" fmla="*/ 3166 w 3561"/>
                <a:gd name="T71" fmla="*/ 2311 h 2590"/>
                <a:gd name="T72" fmla="*/ 3189 w 3561"/>
                <a:gd name="T73" fmla="*/ 2371 h 2590"/>
                <a:gd name="T74" fmla="*/ 3189 w 3561"/>
                <a:gd name="T75" fmla="*/ 2438 h 2590"/>
                <a:gd name="T76" fmla="*/ 3166 w 3561"/>
                <a:gd name="T77" fmla="*/ 2498 h 2590"/>
                <a:gd name="T78" fmla="*/ 3126 w 3561"/>
                <a:gd name="T79" fmla="*/ 2546 h 2590"/>
                <a:gd name="T80" fmla="*/ 3071 w 3561"/>
                <a:gd name="T81" fmla="*/ 2578 h 2590"/>
                <a:gd name="T82" fmla="*/ 3006 w 3561"/>
                <a:gd name="T83" fmla="*/ 2590 h 2590"/>
                <a:gd name="T84" fmla="*/ 947 w 3561"/>
                <a:gd name="T85" fmla="*/ 2588 h 2590"/>
                <a:gd name="T86" fmla="*/ 904 w 3561"/>
                <a:gd name="T87" fmla="*/ 2577 h 2590"/>
                <a:gd name="T88" fmla="*/ 882 w 3561"/>
                <a:gd name="T89" fmla="*/ 2564 h 2590"/>
                <a:gd name="T90" fmla="*/ 847 w 3561"/>
                <a:gd name="T91" fmla="*/ 2540 h 2590"/>
                <a:gd name="T92" fmla="*/ 830 w 3561"/>
                <a:gd name="T93" fmla="*/ 2519 h 2590"/>
                <a:gd name="T94" fmla="*/ 806 w 3561"/>
                <a:gd name="T95" fmla="*/ 2486 h 2590"/>
                <a:gd name="T96" fmla="*/ 797 w 3561"/>
                <a:gd name="T97" fmla="*/ 2458 h 2590"/>
                <a:gd name="T98" fmla="*/ 788 w 3561"/>
                <a:gd name="T99" fmla="*/ 2435 h 2590"/>
                <a:gd name="T100" fmla="*/ 185 w 3561"/>
                <a:gd name="T101" fmla="*/ 370 h 2590"/>
                <a:gd name="T102" fmla="*/ 121 w 3561"/>
                <a:gd name="T103" fmla="*/ 359 h 2590"/>
                <a:gd name="T104" fmla="*/ 66 w 3561"/>
                <a:gd name="T105" fmla="*/ 326 h 2590"/>
                <a:gd name="T106" fmla="*/ 26 w 3561"/>
                <a:gd name="T107" fmla="*/ 278 h 2590"/>
                <a:gd name="T108" fmla="*/ 3 w 3561"/>
                <a:gd name="T109" fmla="*/ 219 h 2590"/>
                <a:gd name="T110" fmla="*/ 3 w 3561"/>
                <a:gd name="T111" fmla="*/ 151 h 2590"/>
                <a:gd name="T112" fmla="*/ 26 w 3561"/>
                <a:gd name="T113" fmla="*/ 92 h 2590"/>
                <a:gd name="T114" fmla="*/ 66 w 3561"/>
                <a:gd name="T115" fmla="*/ 44 h 2590"/>
                <a:gd name="T116" fmla="*/ 121 w 3561"/>
                <a:gd name="T117" fmla="*/ 11 h 2590"/>
                <a:gd name="T118" fmla="*/ 185 w 3561"/>
                <a:gd name="T119" fmla="*/ 0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61" h="2590">
                  <a:moveTo>
                    <a:pt x="2452" y="1295"/>
                  </a:moveTo>
                  <a:lnTo>
                    <a:pt x="2452" y="1665"/>
                  </a:lnTo>
                  <a:lnTo>
                    <a:pt x="3031" y="1665"/>
                  </a:lnTo>
                  <a:lnTo>
                    <a:pt x="3084" y="1295"/>
                  </a:lnTo>
                  <a:lnTo>
                    <a:pt x="2452" y="1295"/>
                  </a:lnTo>
                  <a:close/>
                  <a:moveTo>
                    <a:pt x="1711" y="1295"/>
                  </a:moveTo>
                  <a:lnTo>
                    <a:pt x="1711" y="1665"/>
                  </a:lnTo>
                  <a:lnTo>
                    <a:pt x="2266" y="1665"/>
                  </a:lnTo>
                  <a:lnTo>
                    <a:pt x="2266" y="1295"/>
                  </a:lnTo>
                  <a:lnTo>
                    <a:pt x="1711" y="1295"/>
                  </a:lnTo>
                  <a:close/>
                  <a:moveTo>
                    <a:pt x="974" y="1295"/>
                  </a:moveTo>
                  <a:lnTo>
                    <a:pt x="1035" y="1665"/>
                  </a:lnTo>
                  <a:lnTo>
                    <a:pt x="1527" y="1665"/>
                  </a:lnTo>
                  <a:lnTo>
                    <a:pt x="1527" y="1295"/>
                  </a:lnTo>
                  <a:lnTo>
                    <a:pt x="974" y="1295"/>
                  </a:lnTo>
                  <a:close/>
                  <a:moveTo>
                    <a:pt x="2452" y="740"/>
                  </a:moveTo>
                  <a:lnTo>
                    <a:pt x="2452" y="1110"/>
                  </a:lnTo>
                  <a:lnTo>
                    <a:pt x="3110" y="1110"/>
                  </a:lnTo>
                  <a:lnTo>
                    <a:pt x="3163" y="740"/>
                  </a:lnTo>
                  <a:lnTo>
                    <a:pt x="2452" y="740"/>
                  </a:lnTo>
                  <a:close/>
                  <a:moveTo>
                    <a:pt x="1711" y="740"/>
                  </a:moveTo>
                  <a:lnTo>
                    <a:pt x="1711" y="1110"/>
                  </a:lnTo>
                  <a:lnTo>
                    <a:pt x="2266" y="1110"/>
                  </a:lnTo>
                  <a:lnTo>
                    <a:pt x="2266" y="740"/>
                  </a:lnTo>
                  <a:lnTo>
                    <a:pt x="1711" y="740"/>
                  </a:lnTo>
                  <a:close/>
                  <a:moveTo>
                    <a:pt x="881" y="740"/>
                  </a:moveTo>
                  <a:lnTo>
                    <a:pt x="944" y="1116"/>
                  </a:lnTo>
                  <a:lnTo>
                    <a:pt x="958" y="1111"/>
                  </a:lnTo>
                  <a:lnTo>
                    <a:pt x="971" y="1110"/>
                  </a:lnTo>
                  <a:lnTo>
                    <a:pt x="1527" y="1110"/>
                  </a:lnTo>
                  <a:lnTo>
                    <a:pt x="1527" y="740"/>
                  </a:lnTo>
                  <a:lnTo>
                    <a:pt x="881" y="740"/>
                  </a:lnTo>
                  <a:close/>
                  <a:moveTo>
                    <a:pt x="185" y="0"/>
                  </a:moveTo>
                  <a:lnTo>
                    <a:pt x="602" y="0"/>
                  </a:lnTo>
                  <a:lnTo>
                    <a:pt x="635" y="2"/>
                  </a:lnTo>
                  <a:lnTo>
                    <a:pt x="666" y="11"/>
                  </a:lnTo>
                  <a:lnTo>
                    <a:pt x="695" y="25"/>
                  </a:lnTo>
                  <a:lnTo>
                    <a:pt x="721" y="44"/>
                  </a:lnTo>
                  <a:lnTo>
                    <a:pt x="743" y="66"/>
                  </a:lnTo>
                  <a:lnTo>
                    <a:pt x="761" y="92"/>
                  </a:lnTo>
                  <a:lnTo>
                    <a:pt x="776" y="122"/>
                  </a:lnTo>
                  <a:lnTo>
                    <a:pt x="784" y="155"/>
                  </a:lnTo>
                  <a:lnTo>
                    <a:pt x="820" y="370"/>
                  </a:lnTo>
                  <a:lnTo>
                    <a:pt x="3377" y="370"/>
                  </a:lnTo>
                  <a:lnTo>
                    <a:pt x="3408" y="373"/>
                  </a:lnTo>
                  <a:lnTo>
                    <a:pt x="3439" y="381"/>
                  </a:lnTo>
                  <a:lnTo>
                    <a:pt x="3467" y="394"/>
                  </a:lnTo>
                  <a:lnTo>
                    <a:pt x="3493" y="412"/>
                  </a:lnTo>
                  <a:lnTo>
                    <a:pt x="3516" y="433"/>
                  </a:lnTo>
                  <a:lnTo>
                    <a:pt x="3534" y="459"/>
                  </a:lnTo>
                  <a:lnTo>
                    <a:pt x="3549" y="488"/>
                  </a:lnTo>
                  <a:lnTo>
                    <a:pt x="3558" y="517"/>
                  </a:lnTo>
                  <a:lnTo>
                    <a:pt x="3561" y="548"/>
                  </a:lnTo>
                  <a:lnTo>
                    <a:pt x="3559" y="581"/>
                  </a:lnTo>
                  <a:lnTo>
                    <a:pt x="3375" y="1876"/>
                  </a:lnTo>
                  <a:lnTo>
                    <a:pt x="3367" y="1909"/>
                  </a:lnTo>
                  <a:lnTo>
                    <a:pt x="3354" y="1940"/>
                  </a:lnTo>
                  <a:lnTo>
                    <a:pt x="3336" y="1967"/>
                  </a:lnTo>
                  <a:lnTo>
                    <a:pt x="3312" y="1990"/>
                  </a:lnTo>
                  <a:lnTo>
                    <a:pt x="3286" y="2009"/>
                  </a:lnTo>
                  <a:lnTo>
                    <a:pt x="3257" y="2023"/>
                  </a:lnTo>
                  <a:lnTo>
                    <a:pt x="3226" y="2032"/>
                  </a:lnTo>
                  <a:lnTo>
                    <a:pt x="3191" y="2035"/>
                  </a:lnTo>
                  <a:lnTo>
                    <a:pt x="1098" y="2035"/>
                  </a:lnTo>
                  <a:lnTo>
                    <a:pt x="1128" y="2220"/>
                  </a:lnTo>
                  <a:lnTo>
                    <a:pt x="3006" y="2220"/>
                  </a:lnTo>
                  <a:lnTo>
                    <a:pt x="3040" y="2223"/>
                  </a:lnTo>
                  <a:lnTo>
                    <a:pt x="3071" y="2231"/>
                  </a:lnTo>
                  <a:lnTo>
                    <a:pt x="3100" y="2246"/>
                  </a:lnTo>
                  <a:lnTo>
                    <a:pt x="3126" y="2264"/>
                  </a:lnTo>
                  <a:lnTo>
                    <a:pt x="3148" y="2285"/>
                  </a:lnTo>
                  <a:lnTo>
                    <a:pt x="3166" y="2311"/>
                  </a:lnTo>
                  <a:lnTo>
                    <a:pt x="3180" y="2340"/>
                  </a:lnTo>
                  <a:lnTo>
                    <a:pt x="3189" y="2371"/>
                  </a:lnTo>
                  <a:lnTo>
                    <a:pt x="3191" y="2404"/>
                  </a:lnTo>
                  <a:lnTo>
                    <a:pt x="3189" y="2438"/>
                  </a:lnTo>
                  <a:lnTo>
                    <a:pt x="3180" y="2469"/>
                  </a:lnTo>
                  <a:lnTo>
                    <a:pt x="3166" y="2498"/>
                  </a:lnTo>
                  <a:lnTo>
                    <a:pt x="3148" y="2524"/>
                  </a:lnTo>
                  <a:lnTo>
                    <a:pt x="3126" y="2546"/>
                  </a:lnTo>
                  <a:lnTo>
                    <a:pt x="3100" y="2564"/>
                  </a:lnTo>
                  <a:lnTo>
                    <a:pt x="3071" y="2578"/>
                  </a:lnTo>
                  <a:lnTo>
                    <a:pt x="3040" y="2587"/>
                  </a:lnTo>
                  <a:lnTo>
                    <a:pt x="3006" y="2590"/>
                  </a:lnTo>
                  <a:lnTo>
                    <a:pt x="971" y="2590"/>
                  </a:lnTo>
                  <a:lnTo>
                    <a:pt x="947" y="2588"/>
                  </a:lnTo>
                  <a:lnTo>
                    <a:pt x="925" y="2583"/>
                  </a:lnTo>
                  <a:lnTo>
                    <a:pt x="904" y="2577"/>
                  </a:lnTo>
                  <a:lnTo>
                    <a:pt x="892" y="2571"/>
                  </a:lnTo>
                  <a:lnTo>
                    <a:pt x="882" y="2564"/>
                  </a:lnTo>
                  <a:lnTo>
                    <a:pt x="863" y="2553"/>
                  </a:lnTo>
                  <a:lnTo>
                    <a:pt x="847" y="2540"/>
                  </a:lnTo>
                  <a:lnTo>
                    <a:pt x="838" y="2529"/>
                  </a:lnTo>
                  <a:lnTo>
                    <a:pt x="830" y="2519"/>
                  </a:lnTo>
                  <a:lnTo>
                    <a:pt x="817" y="2504"/>
                  </a:lnTo>
                  <a:lnTo>
                    <a:pt x="806" y="2486"/>
                  </a:lnTo>
                  <a:lnTo>
                    <a:pt x="802" y="2472"/>
                  </a:lnTo>
                  <a:lnTo>
                    <a:pt x="797" y="2458"/>
                  </a:lnTo>
                  <a:lnTo>
                    <a:pt x="793" y="2447"/>
                  </a:lnTo>
                  <a:lnTo>
                    <a:pt x="788" y="2435"/>
                  </a:lnTo>
                  <a:lnTo>
                    <a:pt x="444" y="370"/>
                  </a:lnTo>
                  <a:lnTo>
                    <a:pt x="185" y="370"/>
                  </a:lnTo>
                  <a:lnTo>
                    <a:pt x="152" y="367"/>
                  </a:lnTo>
                  <a:lnTo>
                    <a:pt x="121" y="359"/>
                  </a:lnTo>
                  <a:lnTo>
                    <a:pt x="92" y="345"/>
                  </a:lnTo>
                  <a:lnTo>
                    <a:pt x="66" y="326"/>
                  </a:lnTo>
                  <a:lnTo>
                    <a:pt x="44" y="304"/>
                  </a:lnTo>
                  <a:lnTo>
                    <a:pt x="26" y="278"/>
                  </a:lnTo>
                  <a:lnTo>
                    <a:pt x="11" y="249"/>
                  </a:lnTo>
                  <a:lnTo>
                    <a:pt x="3" y="219"/>
                  </a:lnTo>
                  <a:lnTo>
                    <a:pt x="0" y="185"/>
                  </a:lnTo>
                  <a:lnTo>
                    <a:pt x="3" y="151"/>
                  </a:lnTo>
                  <a:lnTo>
                    <a:pt x="11" y="120"/>
                  </a:lnTo>
                  <a:lnTo>
                    <a:pt x="26" y="92"/>
                  </a:lnTo>
                  <a:lnTo>
                    <a:pt x="44" y="66"/>
                  </a:lnTo>
                  <a:lnTo>
                    <a:pt x="66" y="44"/>
                  </a:lnTo>
                  <a:lnTo>
                    <a:pt x="92" y="25"/>
                  </a:lnTo>
                  <a:lnTo>
                    <a:pt x="121" y="11"/>
                  </a:lnTo>
                  <a:lnTo>
                    <a:pt x="152" y="2"/>
                  </a:lnTo>
                  <a:lnTo>
                    <a:pt x="1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6" name="Freeform 20"/>
            <p:cNvSpPr>
              <a:spLocks/>
            </p:cNvSpPr>
            <p:nvPr/>
          </p:nvSpPr>
          <p:spPr bwMode="auto">
            <a:xfrm>
              <a:off x="6738" y="4163"/>
              <a:ext cx="111" cy="111"/>
            </a:xfrm>
            <a:custGeom>
              <a:avLst/>
              <a:gdLst>
                <a:gd name="T0" fmla="*/ 277 w 556"/>
                <a:gd name="T1" fmla="*/ 0 h 554"/>
                <a:gd name="T2" fmla="*/ 318 w 556"/>
                <a:gd name="T3" fmla="*/ 2 h 554"/>
                <a:gd name="T4" fmla="*/ 358 w 556"/>
                <a:gd name="T5" fmla="*/ 11 h 554"/>
                <a:gd name="T6" fmla="*/ 395 w 556"/>
                <a:gd name="T7" fmla="*/ 26 h 554"/>
                <a:gd name="T8" fmla="*/ 428 w 556"/>
                <a:gd name="T9" fmla="*/ 45 h 554"/>
                <a:gd name="T10" fmla="*/ 460 w 556"/>
                <a:gd name="T11" fmla="*/ 68 h 554"/>
                <a:gd name="T12" fmla="*/ 488 w 556"/>
                <a:gd name="T13" fmla="*/ 95 h 554"/>
                <a:gd name="T14" fmla="*/ 511 w 556"/>
                <a:gd name="T15" fmla="*/ 127 h 554"/>
                <a:gd name="T16" fmla="*/ 530 w 556"/>
                <a:gd name="T17" fmla="*/ 160 h 554"/>
                <a:gd name="T18" fmla="*/ 544 w 556"/>
                <a:gd name="T19" fmla="*/ 197 h 554"/>
                <a:gd name="T20" fmla="*/ 553 w 556"/>
                <a:gd name="T21" fmla="*/ 237 h 554"/>
                <a:gd name="T22" fmla="*/ 556 w 556"/>
                <a:gd name="T23" fmla="*/ 277 h 554"/>
                <a:gd name="T24" fmla="*/ 553 w 556"/>
                <a:gd name="T25" fmla="*/ 318 h 554"/>
                <a:gd name="T26" fmla="*/ 544 w 556"/>
                <a:gd name="T27" fmla="*/ 358 h 554"/>
                <a:gd name="T28" fmla="*/ 530 w 556"/>
                <a:gd name="T29" fmla="*/ 394 h 554"/>
                <a:gd name="T30" fmla="*/ 511 w 556"/>
                <a:gd name="T31" fmla="*/ 428 h 554"/>
                <a:gd name="T32" fmla="*/ 488 w 556"/>
                <a:gd name="T33" fmla="*/ 459 h 554"/>
                <a:gd name="T34" fmla="*/ 460 w 556"/>
                <a:gd name="T35" fmla="*/ 487 h 554"/>
                <a:gd name="T36" fmla="*/ 428 w 556"/>
                <a:gd name="T37" fmla="*/ 510 h 554"/>
                <a:gd name="T38" fmla="*/ 395 w 556"/>
                <a:gd name="T39" fmla="*/ 528 h 554"/>
                <a:gd name="T40" fmla="*/ 358 w 556"/>
                <a:gd name="T41" fmla="*/ 543 h 554"/>
                <a:gd name="T42" fmla="*/ 318 w 556"/>
                <a:gd name="T43" fmla="*/ 552 h 554"/>
                <a:gd name="T44" fmla="*/ 277 w 556"/>
                <a:gd name="T45" fmla="*/ 554 h 554"/>
                <a:gd name="T46" fmla="*/ 237 w 556"/>
                <a:gd name="T47" fmla="*/ 552 h 554"/>
                <a:gd name="T48" fmla="*/ 197 w 556"/>
                <a:gd name="T49" fmla="*/ 543 h 554"/>
                <a:gd name="T50" fmla="*/ 160 w 556"/>
                <a:gd name="T51" fmla="*/ 528 h 554"/>
                <a:gd name="T52" fmla="*/ 127 w 556"/>
                <a:gd name="T53" fmla="*/ 510 h 554"/>
                <a:gd name="T54" fmla="*/ 95 w 556"/>
                <a:gd name="T55" fmla="*/ 487 h 554"/>
                <a:gd name="T56" fmla="*/ 68 w 556"/>
                <a:gd name="T57" fmla="*/ 459 h 554"/>
                <a:gd name="T58" fmla="*/ 45 w 556"/>
                <a:gd name="T59" fmla="*/ 428 h 554"/>
                <a:gd name="T60" fmla="*/ 26 w 556"/>
                <a:gd name="T61" fmla="*/ 394 h 554"/>
                <a:gd name="T62" fmla="*/ 12 w 556"/>
                <a:gd name="T63" fmla="*/ 358 h 554"/>
                <a:gd name="T64" fmla="*/ 3 w 556"/>
                <a:gd name="T65" fmla="*/ 318 h 554"/>
                <a:gd name="T66" fmla="*/ 0 w 556"/>
                <a:gd name="T67" fmla="*/ 277 h 554"/>
                <a:gd name="T68" fmla="*/ 3 w 556"/>
                <a:gd name="T69" fmla="*/ 237 h 554"/>
                <a:gd name="T70" fmla="*/ 12 w 556"/>
                <a:gd name="T71" fmla="*/ 197 h 554"/>
                <a:gd name="T72" fmla="*/ 26 w 556"/>
                <a:gd name="T73" fmla="*/ 160 h 554"/>
                <a:gd name="T74" fmla="*/ 45 w 556"/>
                <a:gd name="T75" fmla="*/ 127 h 554"/>
                <a:gd name="T76" fmla="*/ 68 w 556"/>
                <a:gd name="T77" fmla="*/ 95 h 554"/>
                <a:gd name="T78" fmla="*/ 95 w 556"/>
                <a:gd name="T79" fmla="*/ 68 h 554"/>
                <a:gd name="T80" fmla="*/ 127 w 556"/>
                <a:gd name="T81" fmla="*/ 45 h 554"/>
                <a:gd name="T82" fmla="*/ 160 w 556"/>
                <a:gd name="T83" fmla="*/ 26 h 554"/>
                <a:gd name="T84" fmla="*/ 197 w 556"/>
                <a:gd name="T85" fmla="*/ 11 h 554"/>
                <a:gd name="T86" fmla="*/ 237 w 556"/>
                <a:gd name="T87" fmla="*/ 2 h 554"/>
                <a:gd name="T88" fmla="*/ 277 w 556"/>
                <a:gd name="T89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6" h="554">
                  <a:moveTo>
                    <a:pt x="277" y="0"/>
                  </a:moveTo>
                  <a:lnTo>
                    <a:pt x="318" y="2"/>
                  </a:lnTo>
                  <a:lnTo>
                    <a:pt x="358" y="11"/>
                  </a:lnTo>
                  <a:lnTo>
                    <a:pt x="395" y="26"/>
                  </a:lnTo>
                  <a:lnTo>
                    <a:pt x="428" y="45"/>
                  </a:lnTo>
                  <a:lnTo>
                    <a:pt x="460" y="68"/>
                  </a:lnTo>
                  <a:lnTo>
                    <a:pt x="488" y="95"/>
                  </a:lnTo>
                  <a:lnTo>
                    <a:pt x="511" y="127"/>
                  </a:lnTo>
                  <a:lnTo>
                    <a:pt x="530" y="160"/>
                  </a:lnTo>
                  <a:lnTo>
                    <a:pt x="544" y="197"/>
                  </a:lnTo>
                  <a:lnTo>
                    <a:pt x="553" y="237"/>
                  </a:lnTo>
                  <a:lnTo>
                    <a:pt x="556" y="277"/>
                  </a:lnTo>
                  <a:lnTo>
                    <a:pt x="553" y="318"/>
                  </a:lnTo>
                  <a:lnTo>
                    <a:pt x="544" y="358"/>
                  </a:lnTo>
                  <a:lnTo>
                    <a:pt x="530" y="394"/>
                  </a:lnTo>
                  <a:lnTo>
                    <a:pt x="511" y="428"/>
                  </a:lnTo>
                  <a:lnTo>
                    <a:pt x="488" y="459"/>
                  </a:lnTo>
                  <a:lnTo>
                    <a:pt x="460" y="487"/>
                  </a:lnTo>
                  <a:lnTo>
                    <a:pt x="428" y="510"/>
                  </a:lnTo>
                  <a:lnTo>
                    <a:pt x="395" y="528"/>
                  </a:lnTo>
                  <a:lnTo>
                    <a:pt x="358" y="543"/>
                  </a:lnTo>
                  <a:lnTo>
                    <a:pt x="318" y="552"/>
                  </a:lnTo>
                  <a:lnTo>
                    <a:pt x="277" y="554"/>
                  </a:lnTo>
                  <a:lnTo>
                    <a:pt x="237" y="552"/>
                  </a:lnTo>
                  <a:lnTo>
                    <a:pt x="197" y="543"/>
                  </a:lnTo>
                  <a:lnTo>
                    <a:pt x="160" y="528"/>
                  </a:lnTo>
                  <a:lnTo>
                    <a:pt x="127" y="510"/>
                  </a:lnTo>
                  <a:lnTo>
                    <a:pt x="95" y="487"/>
                  </a:lnTo>
                  <a:lnTo>
                    <a:pt x="68" y="459"/>
                  </a:lnTo>
                  <a:lnTo>
                    <a:pt x="45" y="428"/>
                  </a:lnTo>
                  <a:lnTo>
                    <a:pt x="26" y="394"/>
                  </a:lnTo>
                  <a:lnTo>
                    <a:pt x="12" y="358"/>
                  </a:lnTo>
                  <a:lnTo>
                    <a:pt x="3" y="318"/>
                  </a:lnTo>
                  <a:lnTo>
                    <a:pt x="0" y="277"/>
                  </a:lnTo>
                  <a:lnTo>
                    <a:pt x="3" y="237"/>
                  </a:lnTo>
                  <a:lnTo>
                    <a:pt x="12" y="197"/>
                  </a:lnTo>
                  <a:lnTo>
                    <a:pt x="26" y="160"/>
                  </a:lnTo>
                  <a:lnTo>
                    <a:pt x="45" y="127"/>
                  </a:lnTo>
                  <a:lnTo>
                    <a:pt x="68" y="95"/>
                  </a:lnTo>
                  <a:lnTo>
                    <a:pt x="95" y="68"/>
                  </a:lnTo>
                  <a:lnTo>
                    <a:pt x="127" y="45"/>
                  </a:lnTo>
                  <a:lnTo>
                    <a:pt x="160" y="26"/>
                  </a:lnTo>
                  <a:lnTo>
                    <a:pt x="197" y="11"/>
                  </a:lnTo>
                  <a:lnTo>
                    <a:pt x="237" y="2"/>
                  </a:lnTo>
                  <a:lnTo>
                    <a:pt x="2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7" name="Freeform 21"/>
            <p:cNvSpPr>
              <a:spLocks/>
            </p:cNvSpPr>
            <p:nvPr/>
          </p:nvSpPr>
          <p:spPr bwMode="auto">
            <a:xfrm>
              <a:off x="7071" y="4163"/>
              <a:ext cx="111" cy="111"/>
            </a:xfrm>
            <a:custGeom>
              <a:avLst/>
              <a:gdLst>
                <a:gd name="T0" fmla="*/ 278 w 555"/>
                <a:gd name="T1" fmla="*/ 0 h 554"/>
                <a:gd name="T2" fmla="*/ 320 w 555"/>
                <a:gd name="T3" fmla="*/ 2 h 554"/>
                <a:gd name="T4" fmla="*/ 358 w 555"/>
                <a:gd name="T5" fmla="*/ 11 h 554"/>
                <a:gd name="T6" fmla="*/ 395 w 555"/>
                <a:gd name="T7" fmla="*/ 26 h 554"/>
                <a:gd name="T8" fmla="*/ 429 w 555"/>
                <a:gd name="T9" fmla="*/ 45 h 554"/>
                <a:gd name="T10" fmla="*/ 460 w 555"/>
                <a:gd name="T11" fmla="*/ 68 h 554"/>
                <a:gd name="T12" fmla="*/ 488 w 555"/>
                <a:gd name="T13" fmla="*/ 95 h 554"/>
                <a:gd name="T14" fmla="*/ 511 w 555"/>
                <a:gd name="T15" fmla="*/ 127 h 554"/>
                <a:gd name="T16" fmla="*/ 529 w 555"/>
                <a:gd name="T17" fmla="*/ 160 h 554"/>
                <a:gd name="T18" fmla="*/ 544 w 555"/>
                <a:gd name="T19" fmla="*/ 197 h 554"/>
                <a:gd name="T20" fmla="*/ 553 w 555"/>
                <a:gd name="T21" fmla="*/ 237 h 554"/>
                <a:gd name="T22" fmla="*/ 555 w 555"/>
                <a:gd name="T23" fmla="*/ 277 h 554"/>
                <a:gd name="T24" fmla="*/ 553 w 555"/>
                <a:gd name="T25" fmla="*/ 318 h 554"/>
                <a:gd name="T26" fmla="*/ 544 w 555"/>
                <a:gd name="T27" fmla="*/ 358 h 554"/>
                <a:gd name="T28" fmla="*/ 529 w 555"/>
                <a:gd name="T29" fmla="*/ 394 h 554"/>
                <a:gd name="T30" fmla="*/ 511 w 555"/>
                <a:gd name="T31" fmla="*/ 428 h 554"/>
                <a:gd name="T32" fmla="*/ 488 w 555"/>
                <a:gd name="T33" fmla="*/ 459 h 554"/>
                <a:gd name="T34" fmla="*/ 460 w 555"/>
                <a:gd name="T35" fmla="*/ 487 h 554"/>
                <a:gd name="T36" fmla="*/ 429 w 555"/>
                <a:gd name="T37" fmla="*/ 510 h 554"/>
                <a:gd name="T38" fmla="*/ 395 w 555"/>
                <a:gd name="T39" fmla="*/ 528 h 554"/>
                <a:gd name="T40" fmla="*/ 358 w 555"/>
                <a:gd name="T41" fmla="*/ 543 h 554"/>
                <a:gd name="T42" fmla="*/ 320 w 555"/>
                <a:gd name="T43" fmla="*/ 552 h 554"/>
                <a:gd name="T44" fmla="*/ 278 w 555"/>
                <a:gd name="T45" fmla="*/ 554 h 554"/>
                <a:gd name="T46" fmla="*/ 238 w 555"/>
                <a:gd name="T47" fmla="*/ 552 h 554"/>
                <a:gd name="T48" fmla="*/ 198 w 555"/>
                <a:gd name="T49" fmla="*/ 543 h 554"/>
                <a:gd name="T50" fmla="*/ 161 w 555"/>
                <a:gd name="T51" fmla="*/ 528 h 554"/>
                <a:gd name="T52" fmla="*/ 127 w 555"/>
                <a:gd name="T53" fmla="*/ 510 h 554"/>
                <a:gd name="T54" fmla="*/ 95 w 555"/>
                <a:gd name="T55" fmla="*/ 487 h 554"/>
                <a:gd name="T56" fmla="*/ 68 w 555"/>
                <a:gd name="T57" fmla="*/ 459 h 554"/>
                <a:gd name="T58" fmla="*/ 45 w 555"/>
                <a:gd name="T59" fmla="*/ 428 h 554"/>
                <a:gd name="T60" fmla="*/ 26 w 555"/>
                <a:gd name="T61" fmla="*/ 394 h 554"/>
                <a:gd name="T62" fmla="*/ 11 w 555"/>
                <a:gd name="T63" fmla="*/ 358 h 554"/>
                <a:gd name="T64" fmla="*/ 3 w 555"/>
                <a:gd name="T65" fmla="*/ 318 h 554"/>
                <a:gd name="T66" fmla="*/ 0 w 555"/>
                <a:gd name="T67" fmla="*/ 277 h 554"/>
                <a:gd name="T68" fmla="*/ 3 w 555"/>
                <a:gd name="T69" fmla="*/ 237 h 554"/>
                <a:gd name="T70" fmla="*/ 11 w 555"/>
                <a:gd name="T71" fmla="*/ 197 h 554"/>
                <a:gd name="T72" fmla="*/ 26 w 555"/>
                <a:gd name="T73" fmla="*/ 160 h 554"/>
                <a:gd name="T74" fmla="*/ 45 w 555"/>
                <a:gd name="T75" fmla="*/ 127 h 554"/>
                <a:gd name="T76" fmla="*/ 68 w 555"/>
                <a:gd name="T77" fmla="*/ 95 h 554"/>
                <a:gd name="T78" fmla="*/ 95 w 555"/>
                <a:gd name="T79" fmla="*/ 68 h 554"/>
                <a:gd name="T80" fmla="*/ 127 w 555"/>
                <a:gd name="T81" fmla="*/ 45 h 554"/>
                <a:gd name="T82" fmla="*/ 161 w 555"/>
                <a:gd name="T83" fmla="*/ 26 h 554"/>
                <a:gd name="T84" fmla="*/ 198 w 555"/>
                <a:gd name="T85" fmla="*/ 11 h 554"/>
                <a:gd name="T86" fmla="*/ 238 w 555"/>
                <a:gd name="T87" fmla="*/ 2 h 554"/>
                <a:gd name="T88" fmla="*/ 278 w 555"/>
                <a:gd name="T89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5" h="554">
                  <a:moveTo>
                    <a:pt x="278" y="0"/>
                  </a:moveTo>
                  <a:lnTo>
                    <a:pt x="320" y="2"/>
                  </a:lnTo>
                  <a:lnTo>
                    <a:pt x="358" y="11"/>
                  </a:lnTo>
                  <a:lnTo>
                    <a:pt x="395" y="26"/>
                  </a:lnTo>
                  <a:lnTo>
                    <a:pt x="429" y="45"/>
                  </a:lnTo>
                  <a:lnTo>
                    <a:pt x="460" y="68"/>
                  </a:lnTo>
                  <a:lnTo>
                    <a:pt x="488" y="95"/>
                  </a:lnTo>
                  <a:lnTo>
                    <a:pt x="511" y="127"/>
                  </a:lnTo>
                  <a:lnTo>
                    <a:pt x="529" y="160"/>
                  </a:lnTo>
                  <a:lnTo>
                    <a:pt x="544" y="197"/>
                  </a:lnTo>
                  <a:lnTo>
                    <a:pt x="553" y="237"/>
                  </a:lnTo>
                  <a:lnTo>
                    <a:pt x="555" y="277"/>
                  </a:lnTo>
                  <a:lnTo>
                    <a:pt x="553" y="318"/>
                  </a:lnTo>
                  <a:lnTo>
                    <a:pt x="544" y="358"/>
                  </a:lnTo>
                  <a:lnTo>
                    <a:pt x="529" y="394"/>
                  </a:lnTo>
                  <a:lnTo>
                    <a:pt x="511" y="428"/>
                  </a:lnTo>
                  <a:lnTo>
                    <a:pt x="488" y="459"/>
                  </a:lnTo>
                  <a:lnTo>
                    <a:pt x="460" y="487"/>
                  </a:lnTo>
                  <a:lnTo>
                    <a:pt x="429" y="510"/>
                  </a:lnTo>
                  <a:lnTo>
                    <a:pt x="395" y="528"/>
                  </a:lnTo>
                  <a:lnTo>
                    <a:pt x="358" y="543"/>
                  </a:lnTo>
                  <a:lnTo>
                    <a:pt x="320" y="552"/>
                  </a:lnTo>
                  <a:lnTo>
                    <a:pt x="278" y="554"/>
                  </a:lnTo>
                  <a:lnTo>
                    <a:pt x="238" y="552"/>
                  </a:lnTo>
                  <a:lnTo>
                    <a:pt x="198" y="543"/>
                  </a:lnTo>
                  <a:lnTo>
                    <a:pt x="161" y="528"/>
                  </a:lnTo>
                  <a:lnTo>
                    <a:pt x="127" y="510"/>
                  </a:lnTo>
                  <a:lnTo>
                    <a:pt x="95" y="487"/>
                  </a:lnTo>
                  <a:lnTo>
                    <a:pt x="68" y="459"/>
                  </a:lnTo>
                  <a:lnTo>
                    <a:pt x="45" y="428"/>
                  </a:lnTo>
                  <a:lnTo>
                    <a:pt x="26" y="394"/>
                  </a:lnTo>
                  <a:lnTo>
                    <a:pt x="11" y="358"/>
                  </a:lnTo>
                  <a:lnTo>
                    <a:pt x="3" y="318"/>
                  </a:lnTo>
                  <a:lnTo>
                    <a:pt x="0" y="277"/>
                  </a:lnTo>
                  <a:lnTo>
                    <a:pt x="3" y="237"/>
                  </a:lnTo>
                  <a:lnTo>
                    <a:pt x="11" y="197"/>
                  </a:lnTo>
                  <a:lnTo>
                    <a:pt x="26" y="160"/>
                  </a:lnTo>
                  <a:lnTo>
                    <a:pt x="45" y="127"/>
                  </a:lnTo>
                  <a:lnTo>
                    <a:pt x="68" y="95"/>
                  </a:lnTo>
                  <a:lnTo>
                    <a:pt x="95" y="68"/>
                  </a:lnTo>
                  <a:lnTo>
                    <a:pt x="127" y="45"/>
                  </a:lnTo>
                  <a:lnTo>
                    <a:pt x="161" y="26"/>
                  </a:lnTo>
                  <a:lnTo>
                    <a:pt x="198" y="11"/>
                  </a:lnTo>
                  <a:lnTo>
                    <a:pt x="238" y="2"/>
                  </a:lnTo>
                  <a:lnTo>
                    <a:pt x="27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84" name="Freeform 37"/>
          <p:cNvSpPr>
            <a:spLocks noEditPoints="1"/>
          </p:cNvSpPr>
          <p:nvPr/>
        </p:nvSpPr>
        <p:spPr bwMode="auto">
          <a:xfrm>
            <a:off x="7640360" y="5039214"/>
            <a:ext cx="593585" cy="766412"/>
          </a:xfrm>
          <a:custGeom>
            <a:avLst/>
            <a:gdLst>
              <a:gd name="T0" fmla="*/ 501 w 2626"/>
              <a:gd name="T1" fmla="*/ 2476 h 3388"/>
              <a:gd name="T2" fmla="*/ 838 w 2626"/>
              <a:gd name="T3" fmla="*/ 2279 h 3388"/>
              <a:gd name="T4" fmla="*/ 776 w 2626"/>
              <a:gd name="T5" fmla="*/ 2212 h 3388"/>
              <a:gd name="T6" fmla="*/ 1601 w 2626"/>
              <a:gd name="T7" fmla="*/ 1997 h 3388"/>
              <a:gd name="T8" fmla="*/ 1525 w 2626"/>
              <a:gd name="T9" fmla="*/ 2052 h 3388"/>
              <a:gd name="T10" fmla="*/ 1281 w 2626"/>
              <a:gd name="T11" fmla="*/ 2056 h 3388"/>
              <a:gd name="T12" fmla="*/ 1014 w 2626"/>
              <a:gd name="T13" fmla="*/ 2024 h 3388"/>
              <a:gd name="T14" fmla="*/ 934 w 2626"/>
              <a:gd name="T15" fmla="*/ 2144 h 3388"/>
              <a:gd name="T16" fmla="*/ 1045 w 2626"/>
              <a:gd name="T17" fmla="*/ 2270 h 3388"/>
              <a:gd name="T18" fmla="*/ 1311 w 2626"/>
              <a:gd name="T19" fmla="*/ 2223 h 3388"/>
              <a:gd name="T20" fmla="*/ 1541 w 2626"/>
              <a:gd name="T21" fmla="*/ 2069 h 3388"/>
              <a:gd name="T22" fmla="*/ 1870 w 2626"/>
              <a:gd name="T23" fmla="*/ 1725 h 3388"/>
              <a:gd name="T24" fmla="*/ 1753 w 2626"/>
              <a:gd name="T25" fmla="*/ 1789 h 3388"/>
              <a:gd name="T26" fmla="*/ 1467 w 2626"/>
              <a:gd name="T27" fmla="*/ 1748 h 3388"/>
              <a:gd name="T28" fmla="*/ 1249 w 2626"/>
              <a:gd name="T29" fmla="*/ 1767 h 3388"/>
              <a:gd name="T30" fmla="*/ 1211 w 2626"/>
              <a:gd name="T31" fmla="*/ 1900 h 3388"/>
              <a:gd name="T32" fmla="*/ 1379 w 2626"/>
              <a:gd name="T33" fmla="*/ 2001 h 3388"/>
              <a:gd name="T34" fmla="*/ 1650 w 2626"/>
              <a:gd name="T35" fmla="*/ 1910 h 3388"/>
              <a:gd name="T36" fmla="*/ 1848 w 2626"/>
              <a:gd name="T37" fmla="*/ 1756 h 3388"/>
              <a:gd name="T38" fmla="*/ 2120 w 2626"/>
              <a:gd name="T39" fmla="*/ 1468 h 3388"/>
              <a:gd name="T40" fmla="*/ 1960 w 2626"/>
              <a:gd name="T41" fmla="*/ 1528 h 3388"/>
              <a:gd name="T42" fmla="*/ 1658 w 2626"/>
              <a:gd name="T43" fmla="*/ 1464 h 3388"/>
              <a:gd name="T44" fmla="*/ 1487 w 2626"/>
              <a:gd name="T45" fmla="*/ 1527 h 3388"/>
              <a:gd name="T46" fmla="*/ 1489 w 2626"/>
              <a:gd name="T47" fmla="*/ 1662 h 3388"/>
              <a:gd name="T48" fmla="*/ 1708 w 2626"/>
              <a:gd name="T49" fmla="*/ 1724 h 3388"/>
              <a:gd name="T50" fmla="*/ 1974 w 2626"/>
              <a:gd name="T51" fmla="*/ 1601 h 3388"/>
              <a:gd name="T52" fmla="*/ 2134 w 2626"/>
              <a:gd name="T53" fmla="*/ 1459 h 3388"/>
              <a:gd name="T54" fmla="*/ 902 w 2626"/>
              <a:gd name="T55" fmla="*/ 1456 h 3388"/>
              <a:gd name="T56" fmla="*/ 755 w 2626"/>
              <a:gd name="T57" fmla="*/ 1703 h 3388"/>
              <a:gd name="T58" fmla="*/ 735 w 2626"/>
              <a:gd name="T59" fmla="*/ 1970 h 3388"/>
              <a:gd name="T60" fmla="*/ 865 w 2626"/>
              <a:gd name="T61" fmla="*/ 2054 h 3388"/>
              <a:gd name="T62" fmla="*/ 972 w 2626"/>
              <a:gd name="T63" fmla="*/ 1950 h 3388"/>
              <a:gd name="T64" fmla="*/ 923 w 2626"/>
              <a:gd name="T65" fmla="*/ 1659 h 3388"/>
              <a:gd name="T66" fmla="*/ 946 w 2626"/>
              <a:gd name="T67" fmla="*/ 1430 h 3388"/>
              <a:gd name="T68" fmla="*/ 1262 w 2626"/>
              <a:gd name="T69" fmla="*/ 1091 h 3388"/>
              <a:gd name="T70" fmla="*/ 1134 w 2626"/>
              <a:gd name="T71" fmla="*/ 1229 h 3388"/>
              <a:gd name="T72" fmla="*/ 1002 w 2626"/>
              <a:gd name="T73" fmla="*/ 1496 h 3388"/>
              <a:gd name="T74" fmla="*/ 1041 w 2626"/>
              <a:gd name="T75" fmla="*/ 1743 h 3388"/>
              <a:gd name="T76" fmla="*/ 1171 w 2626"/>
              <a:gd name="T77" fmla="*/ 1767 h 3388"/>
              <a:gd name="T78" fmla="*/ 1250 w 2626"/>
              <a:gd name="T79" fmla="*/ 1615 h 3388"/>
              <a:gd name="T80" fmla="*/ 1186 w 2626"/>
              <a:gd name="T81" fmla="*/ 1306 h 3388"/>
              <a:gd name="T82" fmla="*/ 1235 w 2626"/>
              <a:gd name="T83" fmla="*/ 1122 h 3388"/>
              <a:gd name="T84" fmla="*/ 1998 w 2626"/>
              <a:gd name="T85" fmla="*/ 952 h 3388"/>
              <a:gd name="T86" fmla="*/ 1786 w 2626"/>
              <a:gd name="T87" fmla="*/ 1053 h 3388"/>
              <a:gd name="T88" fmla="*/ 1592 w 2626"/>
              <a:gd name="T89" fmla="*/ 1229 h 3388"/>
              <a:gd name="T90" fmla="*/ 1666 w 2626"/>
              <a:gd name="T91" fmla="*/ 1412 h 3388"/>
              <a:gd name="T92" fmla="*/ 1845 w 2626"/>
              <a:gd name="T93" fmla="*/ 1312 h 3388"/>
              <a:gd name="T94" fmla="*/ 1978 w 2626"/>
              <a:gd name="T95" fmla="*/ 1061 h 3388"/>
              <a:gd name="T96" fmla="*/ 1525 w 2626"/>
              <a:gd name="T97" fmla="*/ 821 h 3388"/>
              <a:gd name="T98" fmla="*/ 1404 w 2626"/>
              <a:gd name="T99" fmla="*/ 951 h 3388"/>
              <a:gd name="T100" fmla="*/ 1273 w 2626"/>
              <a:gd name="T101" fmla="*/ 1204 h 3388"/>
              <a:gd name="T102" fmla="*/ 1285 w 2626"/>
              <a:gd name="T103" fmla="*/ 1450 h 3388"/>
              <a:gd name="T104" fmla="*/ 1417 w 2626"/>
              <a:gd name="T105" fmla="*/ 1502 h 3388"/>
              <a:gd name="T106" fmla="*/ 1511 w 2626"/>
              <a:gd name="T107" fmla="*/ 1375 h 3388"/>
              <a:gd name="T108" fmla="*/ 1451 w 2626"/>
              <a:gd name="T109" fmla="*/ 1071 h 3388"/>
              <a:gd name="T110" fmla="*/ 1490 w 2626"/>
              <a:gd name="T111" fmla="*/ 865 h 3388"/>
              <a:gd name="T112" fmla="*/ 2391 w 2626"/>
              <a:gd name="T113" fmla="*/ 401 h 3388"/>
              <a:gd name="T114" fmla="*/ 2614 w 2626"/>
              <a:gd name="T115" fmla="*/ 566 h 3388"/>
              <a:gd name="T116" fmla="*/ 2557 w 2626"/>
              <a:gd name="T117" fmla="*/ 3317 h 3388"/>
              <a:gd name="T118" fmla="*/ 160 w 2626"/>
              <a:gd name="T119" fmla="*/ 3376 h 3388"/>
              <a:gd name="T120" fmla="*/ 0 w 2626"/>
              <a:gd name="T121" fmla="*/ 3149 h 3388"/>
              <a:gd name="T122" fmla="*/ 126 w 2626"/>
              <a:gd name="T123" fmla="*/ 428 h 3388"/>
              <a:gd name="T124" fmla="*/ 142 w 2626"/>
              <a:gd name="T125" fmla="*/ 0 h 3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26" h="3388">
                <a:moveTo>
                  <a:pt x="718" y="2144"/>
                </a:moveTo>
                <a:lnTo>
                  <a:pt x="711" y="2148"/>
                </a:lnTo>
                <a:lnTo>
                  <a:pt x="493" y="2420"/>
                </a:lnTo>
                <a:lnTo>
                  <a:pt x="489" y="2427"/>
                </a:lnTo>
                <a:lnTo>
                  <a:pt x="488" y="2438"/>
                </a:lnTo>
                <a:lnTo>
                  <a:pt x="490" y="2451"/>
                </a:lnTo>
                <a:lnTo>
                  <a:pt x="494" y="2463"/>
                </a:lnTo>
                <a:lnTo>
                  <a:pt x="501" y="2476"/>
                </a:lnTo>
                <a:lnTo>
                  <a:pt x="510" y="2489"/>
                </a:lnTo>
                <a:lnTo>
                  <a:pt x="520" y="2500"/>
                </a:lnTo>
                <a:lnTo>
                  <a:pt x="531" y="2508"/>
                </a:lnTo>
                <a:lnTo>
                  <a:pt x="544" y="2513"/>
                </a:lnTo>
                <a:lnTo>
                  <a:pt x="556" y="2514"/>
                </a:lnTo>
                <a:lnTo>
                  <a:pt x="569" y="2510"/>
                </a:lnTo>
                <a:lnTo>
                  <a:pt x="582" y="2500"/>
                </a:lnTo>
                <a:lnTo>
                  <a:pt x="838" y="2279"/>
                </a:lnTo>
                <a:lnTo>
                  <a:pt x="843" y="2272"/>
                </a:lnTo>
                <a:lnTo>
                  <a:pt x="843" y="2265"/>
                </a:lnTo>
                <a:lnTo>
                  <a:pt x="838" y="2258"/>
                </a:lnTo>
                <a:lnTo>
                  <a:pt x="829" y="2250"/>
                </a:lnTo>
                <a:lnTo>
                  <a:pt x="817" y="2243"/>
                </a:lnTo>
                <a:lnTo>
                  <a:pt x="804" y="2235"/>
                </a:lnTo>
                <a:lnTo>
                  <a:pt x="790" y="2225"/>
                </a:lnTo>
                <a:lnTo>
                  <a:pt x="776" y="2212"/>
                </a:lnTo>
                <a:lnTo>
                  <a:pt x="764" y="2198"/>
                </a:lnTo>
                <a:lnTo>
                  <a:pt x="754" y="2184"/>
                </a:lnTo>
                <a:lnTo>
                  <a:pt x="746" y="2170"/>
                </a:lnTo>
                <a:lnTo>
                  <a:pt x="739" y="2158"/>
                </a:lnTo>
                <a:lnTo>
                  <a:pt x="732" y="2149"/>
                </a:lnTo>
                <a:lnTo>
                  <a:pt x="725" y="2144"/>
                </a:lnTo>
                <a:lnTo>
                  <a:pt x="718" y="2144"/>
                </a:lnTo>
                <a:close/>
                <a:moveTo>
                  <a:pt x="1601" y="1997"/>
                </a:moveTo>
                <a:lnTo>
                  <a:pt x="1600" y="1999"/>
                </a:lnTo>
                <a:lnTo>
                  <a:pt x="1597" y="2002"/>
                </a:lnTo>
                <a:lnTo>
                  <a:pt x="1591" y="2008"/>
                </a:lnTo>
                <a:lnTo>
                  <a:pt x="1583" y="2016"/>
                </a:lnTo>
                <a:lnTo>
                  <a:pt x="1572" y="2025"/>
                </a:lnTo>
                <a:lnTo>
                  <a:pt x="1559" y="2034"/>
                </a:lnTo>
                <a:lnTo>
                  <a:pt x="1543" y="2043"/>
                </a:lnTo>
                <a:lnTo>
                  <a:pt x="1525" y="2052"/>
                </a:lnTo>
                <a:lnTo>
                  <a:pt x="1504" y="2061"/>
                </a:lnTo>
                <a:lnTo>
                  <a:pt x="1480" y="2067"/>
                </a:lnTo>
                <a:lnTo>
                  <a:pt x="1454" y="2072"/>
                </a:lnTo>
                <a:lnTo>
                  <a:pt x="1425" y="2075"/>
                </a:lnTo>
                <a:lnTo>
                  <a:pt x="1393" y="2076"/>
                </a:lnTo>
                <a:lnTo>
                  <a:pt x="1359" y="2073"/>
                </a:lnTo>
                <a:lnTo>
                  <a:pt x="1321" y="2067"/>
                </a:lnTo>
                <a:lnTo>
                  <a:pt x="1281" y="2056"/>
                </a:lnTo>
                <a:lnTo>
                  <a:pt x="1237" y="2041"/>
                </a:lnTo>
                <a:lnTo>
                  <a:pt x="1196" y="2027"/>
                </a:lnTo>
                <a:lnTo>
                  <a:pt x="1158" y="2017"/>
                </a:lnTo>
                <a:lnTo>
                  <a:pt x="1123" y="2011"/>
                </a:lnTo>
                <a:lnTo>
                  <a:pt x="1091" y="2009"/>
                </a:lnTo>
                <a:lnTo>
                  <a:pt x="1062" y="2011"/>
                </a:lnTo>
                <a:lnTo>
                  <a:pt x="1037" y="2015"/>
                </a:lnTo>
                <a:lnTo>
                  <a:pt x="1014" y="2024"/>
                </a:lnTo>
                <a:lnTo>
                  <a:pt x="995" y="2033"/>
                </a:lnTo>
                <a:lnTo>
                  <a:pt x="978" y="2045"/>
                </a:lnTo>
                <a:lnTo>
                  <a:pt x="964" y="2059"/>
                </a:lnTo>
                <a:lnTo>
                  <a:pt x="952" y="2075"/>
                </a:lnTo>
                <a:lnTo>
                  <a:pt x="944" y="2091"/>
                </a:lnTo>
                <a:lnTo>
                  <a:pt x="938" y="2109"/>
                </a:lnTo>
                <a:lnTo>
                  <a:pt x="935" y="2126"/>
                </a:lnTo>
                <a:lnTo>
                  <a:pt x="934" y="2144"/>
                </a:lnTo>
                <a:lnTo>
                  <a:pt x="936" y="2161"/>
                </a:lnTo>
                <a:lnTo>
                  <a:pt x="940" y="2179"/>
                </a:lnTo>
                <a:lnTo>
                  <a:pt x="946" y="2195"/>
                </a:lnTo>
                <a:lnTo>
                  <a:pt x="955" y="2210"/>
                </a:lnTo>
                <a:lnTo>
                  <a:pt x="967" y="2224"/>
                </a:lnTo>
                <a:lnTo>
                  <a:pt x="991" y="2244"/>
                </a:lnTo>
                <a:lnTo>
                  <a:pt x="1017" y="2260"/>
                </a:lnTo>
                <a:lnTo>
                  <a:pt x="1045" y="2270"/>
                </a:lnTo>
                <a:lnTo>
                  <a:pt x="1076" y="2276"/>
                </a:lnTo>
                <a:lnTo>
                  <a:pt x="1107" y="2278"/>
                </a:lnTo>
                <a:lnTo>
                  <a:pt x="1140" y="2276"/>
                </a:lnTo>
                <a:lnTo>
                  <a:pt x="1174" y="2271"/>
                </a:lnTo>
                <a:lnTo>
                  <a:pt x="1208" y="2263"/>
                </a:lnTo>
                <a:lnTo>
                  <a:pt x="1243" y="2251"/>
                </a:lnTo>
                <a:lnTo>
                  <a:pt x="1277" y="2238"/>
                </a:lnTo>
                <a:lnTo>
                  <a:pt x="1311" y="2223"/>
                </a:lnTo>
                <a:lnTo>
                  <a:pt x="1345" y="2206"/>
                </a:lnTo>
                <a:lnTo>
                  <a:pt x="1377" y="2187"/>
                </a:lnTo>
                <a:lnTo>
                  <a:pt x="1409" y="2168"/>
                </a:lnTo>
                <a:lnTo>
                  <a:pt x="1440" y="2148"/>
                </a:lnTo>
                <a:lnTo>
                  <a:pt x="1468" y="2127"/>
                </a:lnTo>
                <a:lnTo>
                  <a:pt x="1495" y="2107"/>
                </a:lnTo>
                <a:lnTo>
                  <a:pt x="1519" y="2087"/>
                </a:lnTo>
                <a:lnTo>
                  <a:pt x="1541" y="2069"/>
                </a:lnTo>
                <a:lnTo>
                  <a:pt x="1560" y="2050"/>
                </a:lnTo>
                <a:lnTo>
                  <a:pt x="1575" y="2034"/>
                </a:lnTo>
                <a:lnTo>
                  <a:pt x="1588" y="2019"/>
                </a:lnTo>
                <a:lnTo>
                  <a:pt x="1597" y="2007"/>
                </a:lnTo>
                <a:lnTo>
                  <a:pt x="1601" y="1997"/>
                </a:lnTo>
                <a:close/>
                <a:moveTo>
                  <a:pt x="1874" y="1720"/>
                </a:moveTo>
                <a:lnTo>
                  <a:pt x="1873" y="1721"/>
                </a:lnTo>
                <a:lnTo>
                  <a:pt x="1870" y="1725"/>
                </a:lnTo>
                <a:lnTo>
                  <a:pt x="1864" y="1731"/>
                </a:lnTo>
                <a:lnTo>
                  <a:pt x="1855" y="1738"/>
                </a:lnTo>
                <a:lnTo>
                  <a:pt x="1845" y="1746"/>
                </a:lnTo>
                <a:lnTo>
                  <a:pt x="1831" y="1756"/>
                </a:lnTo>
                <a:lnTo>
                  <a:pt x="1816" y="1765"/>
                </a:lnTo>
                <a:lnTo>
                  <a:pt x="1797" y="1774"/>
                </a:lnTo>
                <a:lnTo>
                  <a:pt x="1776" y="1782"/>
                </a:lnTo>
                <a:lnTo>
                  <a:pt x="1753" y="1789"/>
                </a:lnTo>
                <a:lnTo>
                  <a:pt x="1726" y="1795"/>
                </a:lnTo>
                <a:lnTo>
                  <a:pt x="1697" y="1797"/>
                </a:lnTo>
                <a:lnTo>
                  <a:pt x="1665" y="1798"/>
                </a:lnTo>
                <a:lnTo>
                  <a:pt x="1631" y="1795"/>
                </a:lnTo>
                <a:lnTo>
                  <a:pt x="1592" y="1788"/>
                </a:lnTo>
                <a:lnTo>
                  <a:pt x="1551" y="1777"/>
                </a:lnTo>
                <a:lnTo>
                  <a:pt x="1508" y="1763"/>
                </a:lnTo>
                <a:lnTo>
                  <a:pt x="1467" y="1748"/>
                </a:lnTo>
                <a:lnTo>
                  <a:pt x="1429" y="1738"/>
                </a:lnTo>
                <a:lnTo>
                  <a:pt x="1394" y="1733"/>
                </a:lnTo>
                <a:lnTo>
                  <a:pt x="1363" y="1731"/>
                </a:lnTo>
                <a:lnTo>
                  <a:pt x="1334" y="1733"/>
                </a:lnTo>
                <a:lnTo>
                  <a:pt x="1309" y="1737"/>
                </a:lnTo>
                <a:lnTo>
                  <a:pt x="1286" y="1744"/>
                </a:lnTo>
                <a:lnTo>
                  <a:pt x="1266" y="1755"/>
                </a:lnTo>
                <a:lnTo>
                  <a:pt x="1249" y="1767"/>
                </a:lnTo>
                <a:lnTo>
                  <a:pt x="1235" y="1781"/>
                </a:lnTo>
                <a:lnTo>
                  <a:pt x="1224" y="1796"/>
                </a:lnTo>
                <a:lnTo>
                  <a:pt x="1216" y="1813"/>
                </a:lnTo>
                <a:lnTo>
                  <a:pt x="1210" y="1830"/>
                </a:lnTo>
                <a:lnTo>
                  <a:pt x="1206" y="1848"/>
                </a:lnTo>
                <a:lnTo>
                  <a:pt x="1206" y="1865"/>
                </a:lnTo>
                <a:lnTo>
                  <a:pt x="1207" y="1883"/>
                </a:lnTo>
                <a:lnTo>
                  <a:pt x="1211" y="1900"/>
                </a:lnTo>
                <a:lnTo>
                  <a:pt x="1218" y="1917"/>
                </a:lnTo>
                <a:lnTo>
                  <a:pt x="1227" y="1932"/>
                </a:lnTo>
                <a:lnTo>
                  <a:pt x="1238" y="1946"/>
                </a:lnTo>
                <a:lnTo>
                  <a:pt x="1262" y="1966"/>
                </a:lnTo>
                <a:lnTo>
                  <a:pt x="1289" y="1981"/>
                </a:lnTo>
                <a:lnTo>
                  <a:pt x="1317" y="1993"/>
                </a:lnTo>
                <a:lnTo>
                  <a:pt x="1347" y="1999"/>
                </a:lnTo>
                <a:lnTo>
                  <a:pt x="1379" y="2001"/>
                </a:lnTo>
                <a:lnTo>
                  <a:pt x="1411" y="1999"/>
                </a:lnTo>
                <a:lnTo>
                  <a:pt x="1445" y="1994"/>
                </a:lnTo>
                <a:lnTo>
                  <a:pt x="1479" y="1986"/>
                </a:lnTo>
                <a:lnTo>
                  <a:pt x="1514" y="1974"/>
                </a:lnTo>
                <a:lnTo>
                  <a:pt x="1548" y="1961"/>
                </a:lnTo>
                <a:lnTo>
                  <a:pt x="1582" y="1946"/>
                </a:lnTo>
                <a:lnTo>
                  <a:pt x="1617" y="1928"/>
                </a:lnTo>
                <a:lnTo>
                  <a:pt x="1650" y="1910"/>
                </a:lnTo>
                <a:lnTo>
                  <a:pt x="1681" y="1890"/>
                </a:lnTo>
                <a:lnTo>
                  <a:pt x="1712" y="1870"/>
                </a:lnTo>
                <a:lnTo>
                  <a:pt x="1740" y="1850"/>
                </a:lnTo>
                <a:lnTo>
                  <a:pt x="1767" y="1830"/>
                </a:lnTo>
                <a:lnTo>
                  <a:pt x="1791" y="1809"/>
                </a:lnTo>
                <a:lnTo>
                  <a:pt x="1813" y="1791"/>
                </a:lnTo>
                <a:lnTo>
                  <a:pt x="1832" y="1772"/>
                </a:lnTo>
                <a:lnTo>
                  <a:pt x="1848" y="1756"/>
                </a:lnTo>
                <a:lnTo>
                  <a:pt x="1861" y="1741"/>
                </a:lnTo>
                <a:lnTo>
                  <a:pt x="1869" y="1729"/>
                </a:lnTo>
                <a:lnTo>
                  <a:pt x="1874" y="1720"/>
                </a:lnTo>
                <a:close/>
                <a:moveTo>
                  <a:pt x="2138" y="1450"/>
                </a:moveTo>
                <a:lnTo>
                  <a:pt x="2137" y="1451"/>
                </a:lnTo>
                <a:lnTo>
                  <a:pt x="2134" y="1455"/>
                </a:lnTo>
                <a:lnTo>
                  <a:pt x="2128" y="1461"/>
                </a:lnTo>
                <a:lnTo>
                  <a:pt x="2120" y="1468"/>
                </a:lnTo>
                <a:lnTo>
                  <a:pt x="2109" y="1476"/>
                </a:lnTo>
                <a:lnTo>
                  <a:pt x="2095" y="1486"/>
                </a:lnTo>
                <a:lnTo>
                  <a:pt x="2080" y="1495"/>
                </a:lnTo>
                <a:lnTo>
                  <a:pt x="2060" y="1504"/>
                </a:lnTo>
                <a:lnTo>
                  <a:pt x="2039" y="1512"/>
                </a:lnTo>
                <a:lnTo>
                  <a:pt x="2015" y="1519"/>
                </a:lnTo>
                <a:lnTo>
                  <a:pt x="1989" y="1525"/>
                </a:lnTo>
                <a:lnTo>
                  <a:pt x="1960" y="1528"/>
                </a:lnTo>
                <a:lnTo>
                  <a:pt x="1928" y="1528"/>
                </a:lnTo>
                <a:lnTo>
                  <a:pt x="1893" y="1526"/>
                </a:lnTo>
                <a:lnTo>
                  <a:pt x="1856" y="1518"/>
                </a:lnTo>
                <a:lnTo>
                  <a:pt x="1816" y="1508"/>
                </a:lnTo>
                <a:lnTo>
                  <a:pt x="1772" y="1493"/>
                </a:lnTo>
                <a:lnTo>
                  <a:pt x="1731" y="1479"/>
                </a:lnTo>
                <a:lnTo>
                  <a:pt x="1693" y="1469"/>
                </a:lnTo>
                <a:lnTo>
                  <a:pt x="1658" y="1464"/>
                </a:lnTo>
                <a:lnTo>
                  <a:pt x="1627" y="1462"/>
                </a:lnTo>
                <a:lnTo>
                  <a:pt x="1597" y="1463"/>
                </a:lnTo>
                <a:lnTo>
                  <a:pt x="1571" y="1468"/>
                </a:lnTo>
                <a:lnTo>
                  <a:pt x="1549" y="1475"/>
                </a:lnTo>
                <a:lnTo>
                  <a:pt x="1529" y="1486"/>
                </a:lnTo>
                <a:lnTo>
                  <a:pt x="1512" y="1498"/>
                </a:lnTo>
                <a:lnTo>
                  <a:pt x="1498" y="1511"/>
                </a:lnTo>
                <a:lnTo>
                  <a:pt x="1487" y="1527"/>
                </a:lnTo>
                <a:lnTo>
                  <a:pt x="1478" y="1543"/>
                </a:lnTo>
                <a:lnTo>
                  <a:pt x="1472" y="1561"/>
                </a:lnTo>
                <a:lnTo>
                  <a:pt x="1469" y="1578"/>
                </a:lnTo>
                <a:lnTo>
                  <a:pt x="1468" y="1596"/>
                </a:lnTo>
                <a:lnTo>
                  <a:pt x="1470" y="1614"/>
                </a:lnTo>
                <a:lnTo>
                  <a:pt x="1474" y="1630"/>
                </a:lnTo>
                <a:lnTo>
                  <a:pt x="1480" y="1647"/>
                </a:lnTo>
                <a:lnTo>
                  <a:pt x="1489" y="1662"/>
                </a:lnTo>
                <a:lnTo>
                  <a:pt x="1500" y="1676"/>
                </a:lnTo>
                <a:lnTo>
                  <a:pt x="1524" y="1696"/>
                </a:lnTo>
                <a:lnTo>
                  <a:pt x="1551" y="1711"/>
                </a:lnTo>
                <a:lnTo>
                  <a:pt x="1579" y="1723"/>
                </a:lnTo>
                <a:lnTo>
                  <a:pt x="1610" y="1729"/>
                </a:lnTo>
                <a:lnTo>
                  <a:pt x="1642" y="1731"/>
                </a:lnTo>
                <a:lnTo>
                  <a:pt x="1675" y="1729"/>
                </a:lnTo>
                <a:lnTo>
                  <a:pt x="1708" y="1724"/>
                </a:lnTo>
                <a:lnTo>
                  <a:pt x="1742" y="1716"/>
                </a:lnTo>
                <a:lnTo>
                  <a:pt x="1777" y="1704"/>
                </a:lnTo>
                <a:lnTo>
                  <a:pt x="1811" y="1691"/>
                </a:lnTo>
                <a:lnTo>
                  <a:pt x="1846" y="1676"/>
                </a:lnTo>
                <a:lnTo>
                  <a:pt x="1879" y="1658"/>
                </a:lnTo>
                <a:lnTo>
                  <a:pt x="1912" y="1640"/>
                </a:lnTo>
                <a:lnTo>
                  <a:pt x="1944" y="1620"/>
                </a:lnTo>
                <a:lnTo>
                  <a:pt x="1974" y="1601"/>
                </a:lnTo>
                <a:lnTo>
                  <a:pt x="2003" y="1580"/>
                </a:lnTo>
                <a:lnTo>
                  <a:pt x="2030" y="1560"/>
                </a:lnTo>
                <a:lnTo>
                  <a:pt x="2054" y="1540"/>
                </a:lnTo>
                <a:lnTo>
                  <a:pt x="2077" y="1520"/>
                </a:lnTo>
                <a:lnTo>
                  <a:pt x="2096" y="1503"/>
                </a:lnTo>
                <a:lnTo>
                  <a:pt x="2112" y="1487"/>
                </a:lnTo>
                <a:lnTo>
                  <a:pt x="2125" y="1471"/>
                </a:lnTo>
                <a:lnTo>
                  <a:pt x="2134" y="1459"/>
                </a:lnTo>
                <a:lnTo>
                  <a:pt x="2138" y="1450"/>
                </a:lnTo>
                <a:close/>
                <a:moveTo>
                  <a:pt x="990" y="1371"/>
                </a:moveTo>
                <a:lnTo>
                  <a:pt x="981" y="1376"/>
                </a:lnTo>
                <a:lnTo>
                  <a:pt x="969" y="1385"/>
                </a:lnTo>
                <a:lnTo>
                  <a:pt x="954" y="1397"/>
                </a:lnTo>
                <a:lnTo>
                  <a:pt x="938" y="1414"/>
                </a:lnTo>
                <a:lnTo>
                  <a:pt x="921" y="1433"/>
                </a:lnTo>
                <a:lnTo>
                  <a:pt x="902" y="1456"/>
                </a:lnTo>
                <a:lnTo>
                  <a:pt x="883" y="1480"/>
                </a:lnTo>
                <a:lnTo>
                  <a:pt x="863" y="1508"/>
                </a:lnTo>
                <a:lnTo>
                  <a:pt x="843" y="1537"/>
                </a:lnTo>
                <a:lnTo>
                  <a:pt x="824" y="1568"/>
                </a:lnTo>
                <a:lnTo>
                  <a:pt x="805" y="1601"/>
                </a:lnTo>
                <a:lnTo>
                  <a:pt x="787" y="1634"/>
                </a:lnTo>
                <a:lnTo>
                  <a:pt x="770" y="1668"/>
                </a:lnTo>
                <a:lnTo>
                  <a:pt x="755" y="1703"/>
                </a:lnTo>
                <a:lnTo>
                  <a:pt x="742" y="1739"/>
                </a:lnTo>
                <a:lnTo>
                  <a:pt x="731" y="1774"/>
                </a:lnTo>
                <a:lnTo>
                  <a:pt x="723" y="1809"/>
                </a:lnTo>
                <a:lnTo>
                  <a:pt x="718" y="1844"/>
                </a:lnTo>
                <a:lnTo>
                  <a:pt x="716" y="1878"/>
                </a:lnTo>
                <a:lnTo>
                  <a:pt x="718" y="1910"/>
                </a:lnTo>
                <a:lnTo>
                  <a:pt x="724" y="1940"/>
                </a:lnTo>
                <a:lnTo>
                  <a:pt x="735" y="1970"/>
                </a:lnTo>
                <a:lnTo>
                  <a:pt x="750" y="1997"/>
                </a:lnTo>
                <a:lnTo>
                  <a:pt x="770" y="2022"/>
                </a:lnTo>
                <a:lnTo>
                  <a:pt x="783" y="2033"/>
                </a:lnTo>
                <a:lnTo>
                  <a:pt x="798" y="2042"/>
                </a:lnTo>
                <a:lnTo>
                  <a:pt x="814" y="2049"/>
                </a:lnTo>
                <a:lnTo>
                  <a:pt x="830" y="2053"/>
                </a:lnTo>
                <a:lnTo>
                  <a:pt x="847" y="2055"/>
                </a:lnTo>
                <a:lnTo>
                  <a:pt x="865" y="2054"/>
                </a:lnTo>
                <a:lnTo>
                  <a:pt x="882" y="2051"/>
                </a:lnTo>
                <a:lnTo>
                  <a:pt x="899" y="2045"/>
                </a:lnTo>
                <a:lnTo>
                  <a:pt x="915" y="2036"/>
                </a:lnTo>
                <a:lnTo>
                  <a:pt x="930" y="2025"/>
                </a:lnTo>
                <a:lnTo>
                  <a:pt x="944" y="2010"/>
                </a:lnTo>
                <a:lnTo>
                  <a:pt x="955" y="1993"/>
                </a:lnTo>
                <a:lnTo>
                  <a:pt x="965" y="1972"/>
                </a:lnTo>
                <a:lnTo>
                  <a:pt x="972" y="1950"/>
                </a:lnTo>
                <a:lnTo>
                  <a:pt x="977" y="1923"/>
                </a:lnTo>
                <a:lnTo>
                  <a:pt x="978" y="1894"/>
                </a:lnTo>
                <a:lnTo>
                  <a:pt x="977" y="1861"/>
                </a:lnTo>
                <a:lnTo>
                  <a:pt x="971" y="1825"/>
                </a:lnTo>
                <a:lnTo>
                  <a:pt x="961" y="1787"/>
                </a:lnTo>
                <a:lnTo>
                  <a:pt x="947" y="1745"/>
                </a:lnTo>
                <a:lnTo>
                  <a:pt x="933" y="1700"/>
                </a:lnTo>
                <a:lnTo>
                  <a:pt x="923" y="1659"/>
                </a:lnTo>
                <a:lnTo>
                  <a:pt x="917" y="1620"/>
                </a:lnTo>
                <a:lnTo>
                  <a:pt x="914" y="1584"/>
                </a:lnTo>
                <a:lnTo>
                  <a:pt x="914" y="1552"/>
                </a:lnTo>
                <a:lnTo>
                  <a:pt x="917" y="1522"/>
                </a:lnTo>
                <a:lnTo>
                  <a:pt x="922" y="1495"/>
                </a:lnTo>
                <a:lnTo>
                  <a:pt x="929" y="1471"/>
                </a:lnTo>
                <a:lnTo>
                  <a:pt x="937" y="1450"/>
                </a:lnTo>
                <a:lnTo>
                  <a:pt x="946" y="1430"/>
                </a:lnTo>
                <a:lnTo>
                  <a:pt x="955" y="1415"/>
                </a:lnTo>
                <a:lnTo>
                  <a:pt x="964" y="1400"/>
                </a:lnTo>
                <a:lnTo>
                  <a:pt x="972" y="1390"/>
                </a:lnTo>
                <a:lnTo>
                  <a:pt x="979" y="1382"/>
                </a:lnTo>
                <a:lnTo>
                  <a:pt x="985" y="1376"/>
                </a:lnTo>
                <a:lnTo>
                  <a:pt x="989" y="1372"/>
                </a:lnTo>
                <a:lnTo>
                  <a:pt x="990" y="1371"/>
                </a:lnTo>
                <a:close/>
                <a:moveTo>
                  <a:pt x="1262" y="1091"/>
                </a:moveTo>
                <a:lnTo>
                  <a:pt x="1252" y="1096"/>
                </a:lnTo>
                <a:lnTo>
                  <a:pt x="1240" y="1106"/>
                </a:lnTo>
                <a:lnTo>
                  <a:pt x="1226" y="1118"/>
                </a:lnTo>
                <a:lnTo>
                  <a:pt x="1210" y="1134"/>
                </a:lnTo>
                <a:lnTo>
                  <a:pt x="1192" y="1154"/>
                </a:lnTo>
                <a:lnTo>
                  <a:pt x="1174" y="1177"/>
                </a:lnTo>
                <a:lnTo>
                  <a:pt x="1154" y="1201"/>
                </a:lnTo>
                <a:lnTo>
                  <a:pt x="1134" y="1229"/>
                </a:lnTo>
                <a:lnTo>
                  <a:pt x="1114" y="1259"/>
                </a:lnTo>
                <a:lnTo>
                  <a:pt x="1094" y="1289"/>
                </a:lnTo>
                <a:lnTo>
                  <a:pt x="1075" y="1322"/>
                </a:lnTo>
                <a:lnTo>
                  <a:pt x="1057" y="1355"/>
                </a:lnTo>
                <a:lnTo>
                  <a:pt x="1041" y="1390"/>
                </a:lnTo>
                <a:lnTo>
                  <a:pt x="1026" y="1425"/>
                </a:lnTo>
                <a:lnTo>
                  <a:pt x="1013" y="1461"/>
                </a:lnTo>
                <a:lnTo>
                  <a:pt x="1002" y="1496"/>
                </a:lnTo>
                <a:lnTo>
                  <a:pt x="994" y="1532"/>
                </a:lnTo>
                <a:lnTo>
                  <a:pt x="989" y="1566"/>
                </a:lnTo>
                <a:lnTo>
                  <a:pt x="987" y="1600"/>
                </a:lnTo>
                <a:lnTo>
                  <a:pt x="989" y="1631"/>
                </a:lnTo>
                <a:lnTo>
                  <a:pt x="995" y="1663"/>
                </a:lnTo>
                <a:lnTo>
                  <a:pt x="1005" y="1692"/>
                </a:lnTo>
                <a:lnTo>
                  <a:pt x="1020" y="1719"/>
                </a:lnTo>
                <a:lnTo>
                  <a:pt x="1041" y="1743"/>
                </a:lnTo>
                <a:lnTo>
                  <a:pt x="1054" y="1756"/>
                </a:lnTo>
                <a:lnTo>
                  <a:pt x="1068" y="1764"/>
                </a:lnTo>
                <a:lnTo>
                  <a:pt x="1084" y="1771"/>
                </a:lnTo>
                <a:lnTo>
                  <a:pt x="1101" y="1775"/>
                </a:lnTo>
                <a:lnTo>
                  <a:pt x="1118" y="1777"/>
                </a:lnTo>
                <a:lnTo>
                  <a:pt x="1135" y="1776"/>
                </a:lnTo>
                <a:lnTo>
                  <a:pt x="1154" y="1773"/>
                </a:lnTo>
                <a:lnTo>
                  <a:pt x="1171" y="1767"/>
                </a:lnTo>
                <a:lnTo>
                  <a:pt x="1187" y="1758"/>
                </a:lnTo>
                <a:lnTo>
                  <a:pt x="1202" y="1746"/>
                </a:lnTo>
                <a:lnTo>
                  <a:pt x="1215" y="1732"/>
                </a:lnTo>
                <a:lnTo>
                  <a:pt x="1227" y="1715"/>
                </a:lnTo>
                <a:lnTo>
                  <a:pt x="1237" y="1694"/>
                </a:lnTo>
                <a:lnTo>
                  <a:pt x="1244" y="1670"/>
                </a:lnTo>
                <a:lnTo>
                  <a:pt x="1249" y="1645"/>
                </a:lnTo>
                <a:lnTo>
                  <a:pt x="1250" y="1615"/>
                </a:lnTo>
                <a:lnTo>
                  <a:pt x="1248" y="1583"/>
                </a:lnTo>
                <a:lnTo>
                  <a:pt x="1243" y="1547"/>
                </a:lnTo>
                <a:lnTo>
                  <a:pt x="1233" y="1508"/>
                </a:lnTo>
                <a:lnTo>
                  <a:pt x="1219" y="1466"/>
                </a:lnTo>
                <a:lnTo>
                  <a:pt x="1205" y="1421"/>
                </a:lnTo>
                <a:lnTo>
                  <a:pt x="1194" y="1380"/>
                </a:lnTo>
                <a:lnTo>
                  <a:pt x="1188" y="1342"/>
                </a:lnTo>
                <a:lnTo>
                  <a:pt x="1186" y="1306"/>
                </a:lnTo>
                <a:lnTo>
                  <a:pt x="1186" y="1273"/>
                </a:lnTo>
                <a:lnTo>
                  <a:pt x="1189" y="1243"/>
                </a:lnTo>
                <a:lnTo>
                  <a:pt x="1194" y="1217"/>
                </a:lnTo>
                <a:lnTo>
                  <a:pt x="1201" y="1192"/>
                </a:lnTo>
                <a:lnTo>
                  <a:pt x="1209" y="1170"/>
                </a:lnTo>
                <a:lnTo>
                  <a:pt x="1217" y="1152"/>
                </a:lnTo>
                <a:lnTo>
                  <a:pt x="1227" y="1135"/>
                </a:lnTo>
                <a:lnTo>
                  <a:pt x="1235" y="1122"/>
                </a:lnTo>
                <a:lnTo>
                  <a:pt x="1244" y="1111"/>
                </a:lnTo>
                <a:lnTo>
                  <a:pt x="1251" y="1103"/>
                </a:lnTo>
                <a:lnTo>
                  <a:pt x="1257" y="1096"/>
                </a:lnTo>
                <a:lnTo>
                  <a:pt x="1261" y="1093"/>
                </a:lnTo>
                <a:lnTo>
                  <a:pt x="1262" y="1091"/>
                </a:lnTo>
                <a:close/>
                <a:moveTo>
                  <a:pt x="2023" y="945"/>
                </a:moveTo>
                <a:lnTo>
                  <a:pt x="2012" y="947"/>
                </a:lnTo>
                <a:lnTo>
                  <a:pt x="1998" y="952"/>
                </a:lnTo>
                <a:lnTo>
                  <a:pt x="1979" y="959"/>
                </a:lnTo>
                <a:lnTo>
                  <a:pt x="1957" y="967"/>
                </a:lnTo>
                <a:lnTo>
                  <a:pt x="1933" y="978"/>
                </a:lnTo>
                <a:lnTo>
                  <a:pt x="1906" y="990"/>
                </a:lnTo>
                <a:lnTo>
                  <a:pt x="1877" y="1004"/>
                </a:lnTo>
                <a:lnTo>
                  <a:pt x="1847" y="1019"/>
                </a:lnTo>
                <a:lnTo>
                  <a:pt x="1816" y="1036"/>
                </a:lnTo>
                <a:lnTo>
                  <a:pt x="1786" y="1053"/>
                </a:lnTo>
                <a:lnTo>
                  <a:pt x="1755" y="1072"/>
                </a:lnTo>
                <a:lnTo>
                  <a:pt x="1725" y="1092"/>
                </a:lnTo>
                <a:lnTo>
                  <a:pt x="1697" y="1113"/>
                </a:lnTo>
                <a:lnTo>
                  <a:pt x="1670" y="1135"/>
                </a:lnTo>
                <a:lnTo>
                  <a:pt x="1646" y="1158"/>
                </a:lnTo>
                <a:lnTo>
                  <a:pt x="1625" y="1181"/>
                </a:lnTo>
                <a:lnTo>
                  <a:pt x="1606" y="1204"/>
                </a:lnTo>
                <a:lnTo>
                  <a:pt x="1592" y="1229"/>
                </a:lnTo>
                <a:lnTo>
                  <a:pt x="1582" y="1254"/>
                </a:lnTo>
                <a:lnTo>
                  <a:pt x="1577" y="1278"/>
                </a:lnTo>
                <a:lnTo>
                  <a:pt x="1578" y="1304"/>
                </a:lnTo>
                <a:lnTo>
                  <a:pt x="1585" y="1329"/>
                </a:lnTo>
                <a:lnTo>
                  <a:pt x="1598" y="1354"/>
                </a:lnTo>
                <a:lnTo>
                  <a:pt x="1620" y="1379"/>
                </a:lnTo>
                <a:lnTo>
                  <a:pt x="1643" y="1398"/>
                </a:lnTo>
                <a:lnTo>
                  <a:pt x="1666" y="1412"/>
                </a:lnTo>
                <a:lnTo>
                  <a:pt x="1690" y="1417"/>
                </a:lnTo>
                <a:lnTo>
                  <a:pt x="1713" y="1417"/>
                </a:lnTo>
                <a:lnTo>
                  <a:pt x="1736" y="1410"/>
                </a:lnTo>
                <a:lnTo>
                  <a:pt x="1759" y="1398"/>
                </a:lnTo>
                <a:lnTo>
                  <a:pt x="1781" y="1383"/>
                </a:lnTo>
                <a:lnTo>
                  <a:pt x="1803" y="1362"/>
                </a:lnTo>
                <a:lnTo>
                  <a:pt x="1825" y="1339"/>
                </a:lnTo>
                <a:lnTo>
                  <a:pt x="1845" y="1312"/>
                </a:lnTo>
                <a:lnTo>
                  <a:pt x="1865" y="1283"/>
                </a:lnTo>
                <a:lnTo>
                  <a:pt x="1885" y="1253"/>
                </a:lnTo>
                <a:lnTo>
                  <a:pt x="1903" y="1220"/>
                </a:lnTo>
                <a:lnTo>
                  <a:pt x="1920" y="1188"/>
                </a:lnTo>
                <a:lnTo>
                  <a:pt x="1937" y="1155"/>
                </a:lnTo>
                <a:lnTo>
                  <a:pt x="1952" y="1122"/>
                </a:lnTo>
                <a:lnTo>
                  <a:pt x="1966" y="1090"/>
                </a:lnTo>
                <a:lnTo>
                  <a:pt x="1978" y="1061"/>
                </a:lnTo>
                <a:lnTo>
                  <a:pt x="1990" y="1034"/>
                </a:lnTo>
                <a:lnTo>
                  <a:pt x="1999" y="1008"/>
                </a:lnTo>
                <a:lnTo>
                  <a:pt x="2007" y="987"/>
                </a:lnTo>
                <a:lnTo>
                  <a:pt x="2014" y="969"/>
                </a:lnTo>
                <a:lnTo>
                  <a:pt x="2019" y="956"/>
                </a:lnTo>
                <a:lnTo>
                  <a:pt x="2022" y="947"/>
                </a:lnTo>
                <a:lnTo>
                  <a:pt x="2023" y="945"/>
                </a:lnTo>
                <a:close/>
                <a:moveTo>
                  <a:pt x="1525" y="821"/>
                </a:moveTo>
                <a:lnTo>
                  <a:pt x="1516" y="826"/>
                </a:lnTo>
                <a:lnTo>
                  <a:pt x="1504" y="835"/>
                </a:lnTo>
                <a:lnTo>
                  <a:pt x="1491" y="847"/>
                </a:lnTo>
                <a:lnTo>
                  <a:pt x="1476" y="862"/>
                </a:lnTo>
                <a:lnTo>
                  <a:pt x="1459" y="881"/>
                </a:lnTo>
                <a:lnTo>
                  <a:pt x="1441" y="901"/>
                </a:lnTo>
                <a:lnTo>
                  <a:pt x="1423" y="925"/>
                </a:lnTo>
                <a:lnTo>
                  <a:pt x="1404" y="951"/>
                </a:lnTo>
                <a:lnTo>
                  <a:pt x="1385" y="978"/>
                </a:lnTo>
                <a:lnTo>
                  <a:pt x="1366" y="1007"/>
                </a:lnTo>
                <a:lnTo>
                  <a:pt x="1348" y="1038"/>
                </a:lnTo>
                <a:lnTo>
                  <a:pt x="1330" y="1070"/>
                </a:lnTo>
                <a:lnTo>
                  <a:pt x="1313" y="1103"/>
                </a:lnTo>
                <a:lnTo>
                  <a:pt x="1298" y="1137"/>
                </a:lnTo>
                <a:lnTo>
                  <a:pt x="1284" y="1170"/>
                </a:lnTo>
                <a:lnTo>
                  <a:pt x="1273" y="1204"/>
                </a:lnTo>
                <a:lnTo>
                  <a:pt x="1263" y="1238"/>
                </a:lnTo>
                <a:lnTo>
                  <a:pt x="1256" y="1272"/>
                </a:lnTo>
                <a:lnTo>
                  <a:pt x="1252" y="1305"/>
                </a:lnTo>
                <a:lnTo>
                  <a:pt x="1251" y="1337"/>
                </a:lnTo>
                <a:lnTo>
                  <a:pt x="1254" y="1368"/>
                </a:lnTo>
                <a:lnTo>
                  <a:pt x="1260" y="1396"/>
                </a:lnTo>
                <a:lnTo>
                  <a:pt x="1271" y="1424"/>
                </a:lnTo>
                <a:lnTo>
                  <a:pt x="1285" y="1450"/>
                </a:lnTo>
                <a:lnTo>
                  <a:pt x="1305" y="1473"/>
                </a:lnTo>
                <a:lnTo>
                  <a:pt x="1318" y="1485"/>
                </a:lnTo>
                <a:lnTo>
                  <a:pt x="1333" y="1494"/>
                </a:lnTo>
                <a:lnTo>
                  <a:pt x="1348" y="1501"/>
                </a:lnTo>
                <a:lnTo>
                  <a:pt x="1365" y="1505"/>
                </a:lnTo>
                <a:lnTo>
                  <a:pt x="1382" y="1507"/>
                </a:lnTo>
                <a:lnTo>
                  <a:pt x="1400" y="1506"/>
                </a:lnTo>
                <a:lnTo>
                  <a:pt x="1417" y="1502"/>
                </a:lnTo>
                <a:lnTo>
                  <a:pt x="1434" y="1496"/>
                </a:lnTo>
                <a:lnTo>
                  <a:pt x="1450" y="1488"/>
                </a:lnTo>
                <a:lnTo>
                  <a:pt x="1464" y="1476"/>
                </a:lnTo>
                <a:lnTo>
                  <a:pt x="1478" y="1462"/>
                </a:lnTo>
                <a:lnTo>
                  <a:pt x="1490" y="1445"/>
                </a:lnTo>
                <a:lnTo>
                  <a:pt x="1499" y="1424"/>
                </a:lnTo>
                <a:lnTo>
                  <a:pt x="1507" y="1400"/>
                </a:lnTo>
                <a:lnTo>
                  <a:pt x="1511" y="1375"/>
                </a:lnTo>
                <a:lnTo>
                  <a:pt x="1513" y="1345"/>
                </a:lnTo>
                <a:lnTo>
                  <a:pt x="1511" y="1312"/>
                </a:lnTo>
                <a:lnTo>
                  <a:pt x="1506" y="1277"/>
                </a:lnTo>
                <a:lnTo>
                  <a:pt x="1496" y="1238"/>
                </a:lnTo>
                <a:lnTo>
                  <a:pt x="1482" y="1195"/>
                </a:lnTo>
                <a:lnTo>
                  <a:pt x="1468" y="1151"/>
                </a:lnTo>
                <a:lnTo>
                  <a:pt x="1458" y="1110"/>
                </a:lnTo>
                <a:lnTo>
                  <a:pt x="1451" y="1071"/>
                </a:lnTo>
                <a:lnTo>
                  <a:pt x="1449" y="1036"/>
                </a:lnTo>
                <a:lnTo>
                  <a:pt x="1449" y="1003"/>
                </a:lnTo>
                <a:lnTo>
                  <a:pt x="1452" y="973"/>
                </a:lnTo>
                <a:lnTo>
                  <a:pt x="1457" y="947"/>
                </a:lnTo>
                <a:lnTo>
                  <a:pt x="1464" y="922"/>
                </a:lnTo>
                <a:lnTo>
                  <a:pt x="1472" y="900"/>
                </a:lnTo>
                <a:lnTo>
                  <a:pt x="1481" y="882"/>
                </a:lnTo>
                <a:lnTo>
                  <a:pt x="1490" y="865"/>
                </a:lnTo>
                <a:lnTo>
                  <a:pt x="1499" y="852"/>
                </a:lnTo>
                <a:lnTo>
                  <a:pt x="1507" y="841"/>
                </a:lnTo>
                <a:lnTo>
                  <a:pt x="1514" y="833"/>
                </a:lnTo>
                <a:lnTo>
                  <a:pt x="1520" y="826"/>
                </a:lnTo>
                <a:lnTo>
                  <a:pt x="1524" y="822"/>
                </a:lnTo>
                <a:lnTo>
                  <a:pt x="1525" y="821"/>
                </a:lnTo>
                <a:close/>
                <a:moveTo>
                  <a:pt x="234" y="401"/>
                </a:moveTo>
                <a:lnTo>
                  <a:pt x="2391" y="401"/>
                </a:lnTo>
                <a:lnTo>
                  <a:pt x="2429" y="405"/>
                </a:lnTo>
                <a:lnTo>
                  <a:pt x="2465" y="414"/>
                </a:lnTo>
                <a:lnTo>
                  <a:pt x="2498" y="428"/>
                </a:lnTo>
                <a:lnTo>
                  <a:pt x="2530" y="448"/>
                </a:lnTo>
                <a:lnTo>
                  <a:pt x="2557" y="472"/>
                </a:lnTo>
                <a:lnTo>
                  <a:pt x="2581" y="500"/>
                </a:lnTo>
                <a:lnTo>
                  <a:pt x="2600" y="532"/>
                </a:lnTo>
                <a:lnTo>
                  <a:pt x="2614" y="566"/>
                </a:lnTo>
                <a:lnTo>
                  <a:pt x="2623" y="603"/>
                </a:lnTo>
                <a:lnTo>
                  <a:pt x="2626" y="642"/>
                </a:lnTo>
                <a:lnTo>
                  <a:pt x="2626" y="3149"/>
                </a:lnTo>
                <a:lnTo>
                  <a:pt x="2623" y="3187"/>
                </a:lnTo>
                <a:lnTo>
                  <a:pt x="2614" y="3224"/>
                </a:lnTo>
                <a:lnTo>
                  <a:pt x="2600" y="3259"/>
                </a:lnTo>
                <a:lnTo>
                  <a:pt x="2581" y="3289"/>
                </a:lnTo>
                <a:lnTo>
                  <a:pt x="2557" y="3317"/>
                </a:lnTo>
                <a:lnTo>
                  <a:pt x="2530" y="3342"/>
                </a:lnTo>
                <a:lnTo>
                  <a:pt x="2498" y="3361"/>
                </a:lnTo>
                <a:lnTo>
                  <a:pt x="2465" y="3376"/>
                </a:lnTo>
                <a:lnTo>
                  <a:pt x="2429" y="3385"/>
                </a:lnTo>
                <a:lnTo>
                  <a:pt x="2391" y="3388"/>
                </a:lnTo>
                <a:lnTo>
                  <a:pt x="234" y="3388"/>
                </a:lnTo>
                <a:lnTo>
                  <a:pt x="196" y="3385"/>
                </a:lnTo>
                <a:lnTo>
                  <a:pt x="160" y="3376"/>
                </a:lnTo>
                <a:lnTo>
                  <a:pt x="126" y="3361"/>
                </a:lnTo>
                <a:lnTo>
                  <a:pt x="96" y="3342"/>
                </a:lnTo>
                <a:lnTo>
                  <a:pt x="69" y="3317"/>
                </a:lnTo>
                <a:lnTo>
                  <a:pt x="45" y="3289"/>
                </a:lnTo>
                <a:lnTo>
                  <a:pt x="26" y="3259"/>
                </a:lnTo>
                <a:lnTo>
                  <a:pt x="12" y="3224"/>
                </a:lnTo>
                <a:lnTo>
                  <a:pt x="3" y="3187"/>
                </a:lnTo>
                <a:lnTo>
                  <a:pt x="0" y="3149"/>
                </a:lnTo>
                <a:lnTo>
                  <a:pt x="0" y="642"/>
                </a:lnTo>
                <a:lnTo>
                  <a:pt x="3" y="603"/>
                </a:lnTo>
                <a:lnTo>
                  <a:pt x="12" y="566"/>
                </a:lnTo>
                <a:lnTo>
                  <a:pt x="26" y="532"/>
                </a:lnTo>
                <a:lnTo>
                  <a:pt x="45" y="500"/>
                </a:lnTo>
                <a:lnTo>
                  <a:pt x="69" y="472"/>
                </a:lnTo>
                <a:lnTo>
                  <a:pt x="96" y="448"/>
                </a:lnTo>
                <a:lnTo>
                  <a:pt x="126" y="428"/>
                </a:lnTo>
                <a:lnTo>
                  <a:pt x="160" y="414"/>
                </a:lnTo>
                <a:lnTo>
                  <a:pt x="196" y="405"/>
                </a:lnTo>
                <a:lnTo>
                  <a:pt x="234" y="401"/>
                </a:lnTo>
                <a:close/>
                <a:moveTo>
                  <a:pt x="142" y="0"/>
                </a:moveTo>
                <a:lnTo>
                  <a:pt x="2483" y="0"/>
                </a:lnTo>
                <a:lnTo>
                  <a:pt x="2483" y="281"/>
                </a:lnTo>
                <a:lnTo>
                  <a:pt x="142" y="281"/>
                </a:lnTo>
                <a:lnTo>
                  <a:pt x="14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5" name="Group 41"/>
          <p:cNvGrpSpPr>
            <a:grpSpLocks noChangeAspect="1"/>
          </p:cNvGrpSpPr>
          <p:nvPr/>
        </p:nvGrpSpPr>
        <p:grpSpPr bwMode="auto">
          <a:xfrm>
            <a:off x="6884007" y="5315980"/>
            <a:ext cx="621157" cy="489646"/>
            <a:chOff x="5903" y="33"/>
            <a:chExt cx="529" cy="417"/>
          </a:xfrm>
          <a:solidFill>
            <a:schemeClr val="bg1"/>
          </a:solidFill>
        </p:grpSpPr>
        <p:sp>
          <p:nvSpPr>
            <p:cNvPr id="186" name="Freeform 43"/>
            <p:cNvSpPr>
              <a:spLocks/>
            </p:cNvSpPr>
            <p:nvPr/>
          </p:nvSpPr>
          <p:spPr bwMode="auto">
            <a:xfrm>
              <a:off x="5903" y="209"/>
              <a:ext cx="443" cy="241"/>
            </a:xfrm>
            <a:custGeom>
              <a:avLst/>
              <a:gdLst>
                <a:gd name="T0" fmla="*/ 0 w 3098"/>
                <a:gd name="T1" fmla="*/ 0 h 1685"/>
                <a:gd name="T2" fmla="*/ 3098 w 3098"/>
                <a:gd name="T3" fmla="*/ 0 h 1685"/>
                <a:gd name="T4" fmla="*/ 3095 w 3098"/>
                <a:gd name="T5" fmla="*/ 107 h 1685"/>
                <a:gd name="T6" fmla="*/ 3084 w 3098"/>
                <a:gd name="T7" fmla="*/ 210 h 1685"/>
                <a:gd name="T8" fmla="*/ 3067 w 3098"/>
                <a:gd name="T9" fmla="*/ 313 h 1685"/>
                <a:gd name="T10" fmla="*/ 3044 w 3098"/>
                <a:gd name="T11" fmla="*/ 411 h 1685"/>
                <a:gd name="T12" fmla="*/ 3014 w 3098"/>
                <a:gd name="T13" fmla="*/ 508 h 1685"/>
                <a:gd name="T14" fmla="*/ 2978 w 3098"/>
                <a:gd name="T15" fmla="*/ 602 h 1685"/>
                <a:gd name="T16" fmla="*/ 2936 w 3098"/>
                <a:gd name="T17" fmla="*/ 694 h 1685"/>
                <a:gd name="T18" fmla="*/ 2889 w 3098"/>
                <a:gd name="T19" fmla="*/ 781 h 1685"/>
                <a:gd name="T20" fmla="*/ 2837 w 3098"/>
                <a:gd name="T21" fmla="*/ 865 h 1685"/>
                <a:gd name="T22" fmla="*/ 2779 w 3098"/>
                <a:gd name="T23" fmla="*/ 946 h 1685"/>
                <a:gd name="T24" fmla="*/ 2717 w 3098"/>
                <a:gd name="T25" fmla="*/ 1023 h 1685"/>
                <a:gd name="T26" fmla="*/ 2650 w 3098"/>
                <a:gd name="T27" fmla="*/ 1095 h 1685"/>
                <a:gd name="T28" fmla="*/ 2578 w 3098"/>
                <a:gd name="T29" fmla="*/ 1162 h 1685"/>
                <a:gd name="T30" fmla="*/ 2502 w 3098"/>
                <a:gd name="T31" fmla="*/ 1226 h 1685"/>
                <a:gd name="T32" fmla="*/ 2422 w 3098"/>
                <a:gd name="T33" fmla="*/ 1284 h 1685"/>
                <a:gd name="T34" fmla="*/ 2339 w 3098"/>
                <a:gd name="T35" fmla="*/ 1338 h 1685"/>
                <a:gd name="T36" fmla="*/ 2252 w 3098"/>
                <a:gd name="T37" fmla="*/ 1387 h 1685"/>
                <a:gd name="T38" fmla="*/ 2162 w 3098"/>
                <a:gd name="T39" fmla="*/ 1428 h 1685"/>
                <a:gd name="T40" fmla="*/ 2069 w 3098"/>
                <a:gd name="T41" fmla="*/ 1466 h 1685"/>
                <a:gd name="T42" fmla="*/ 2069 w 3098"/>
                <a:gd name="T43" fmla="*/ 1685 h 1685"/>
                <a:gd name="T44" fmla="*/ 1030 w 3098"/>
                <a:gd name="T45" fmla="*/ 1685 h 1685"/>
                <a:gd name="T46" fmla="*/ 1030 w 3098"/>
                <a:gd name="T47" fmla="*/ 1466 h 1685"/>
                <a:gd name="T48" fmla="*/ 936 w 3098"/>
                <a:gd name="T49" fmla="*/ 1428 h 1685"/>
                <a:gd name="T50" fmla="*/ 846 w 3098"/>
                <a:gd name="T51" fmla="*/ 1387 h 1685"/>
                <a:gd name="T52" fmla="*/ 760 w 3098"/>
                <a:gd name="T53" fmla="*/ 1338 h 1685"/>
                <a:gd name="T54" fmla="*/ 676 w 3098"/>
                <a:gd name="T55" fmla="*/ 1284 h 1685"/>
                <a:gd name="T56" fmla="*/ 597 w 3098"/>
                <a:gd name="T57" fmla="*/ 1226 h 1685"/>
                <a:gd name="T58" fmla="*/ 520 w 3098"/>
                <a:gd name="T59" fmla="*/ 1162 h 1685"/>
                <a:gd name="T60" fmla="*/ 449 w 3098"/>
                <a:gd name="T61" fmla="*/ 1095 h 1685"/>
                <a:gd name="T62" fmla="*/ 382 w 3098"/>
                <a:gd name="T63" fmla="*/ 1023 h 1685"/>
                <a:gd name="T64" fmla="*/ 319 w 3098"/>
                <a:gd name="T65" fmla="*/ 946 h 1685"/>
                <a:gd name="T66" fmla="*/ 261 w 3098"/>
                <a:gd name="T67" fmla="*/ 865 h 1685"/>
                <a:gd name="T68" fmla="*/ 209 w 3098"/>
                <a:gd name="T69" fmla="*/ 781 h 1685"/>
                <a:gd name="T70" fmla="*/ 162 w 3098"/>
                <a:gd name="T71" fmla="*/ 694 h 1685"/>
                <a:gd name="T72" fmla="*/ 120 w 3098"/>
                <a:gd name="T73" fmla="*/ 602 h 1685"/>
                <a:gd name="T74" fmla="*/ 84 w 3098"/>
                <a:gd name="T75" fmla="*/ 508 h 1685"/>
                <a:gd name="T76" fmla="*/ 54 w 3098"/>
                <a:gd name="T77" fmla="*/ 411 h 1685"/>
                <a:gd name="T78" fmla="*/ 31 w 3098"/>
                <a:gd name="T79" fmla="*/ 313 h 1685"/>
                <a:gd name="T80" fmla="*/ 14 w 3098"/>
                <a:gd name="T81" fmla="*/ 210 h 1685"/>
                <a:gd name="T82" fmla="*/ 3 w 3098"/>
                <a:gd name="T83" fmla="*/ 107 h 1685"/>
                <a:gd name="T84" fmla="*/ 0 w 3098"/>
                <a:gd name="T85" fmla="*/ 0 h 1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98" h="1685">
                  <a:moveTo>
                    <a:pt x="0" y="0"/>
                  </a:moveTo>
                  <a:lnTo>
                    <a:pt x="3098" y="0"/>
                  </a:lnTo>
                  <a:lnTo>
                    <a:pt x="3095" y="107"/>
                  </a:lnTo>
                  <a:lnTo>
                    <a:pt x="3084" y="210"/>
                  </a:lnTo>
                  <a:lnTo>
                    <a:pt x="3067" y="313"/>
                  </a:lnTo>
                  <a:lnTo>
                    <a:pt x="3044" y="411"/>
                  </a:lnTo>
                  <a:lnTo>
                    <a:pt x="3014" y="508"/>
                  </a:lnTo>
                  <a:lnTo>
                    <a:pt x="2978" y="602"/>
                  </a:lnTo>
                  <a:lnTo>
                    <a:pt x="2936" y="694"/>
                  </a:lnTo>
                  <a:lnTo>
                    <a:pt x="2889" y="781"/>
                  </a:lnTo>
                  <a:lnTo>
                    <a:pt x="2837" y="865"/>
                  </a:lnTo>
                  <a:lnTo>
                    <a:pt x="2779" y="946"/>
                  </a:lnTo>
                  <a:lnTo>
                    <a:pt x="2717" y="1023"/>
                  </a:lnTo>
                  <a:lnTo>
                    <a:pt x="2650" y="1095"/>
                  </a:lnTo>
                  <a:lnTo>
                    <a:pt x="2578" y="1162"/>
                  </a:lnTo>
                  <a:lnTo>
                    <a:pt x="2502" y="1226"/>
                  </a:lnTo>
                  <a:lnTo>
                    <a:pt x="2422" y="1284"/>
                  </a:lnTo>
                  <a:lnTo>
                    <a:pt x="2339" y="1338"/>
                  </a:lnTo>
                  <a:lnTo>
                    <a:pt x="2252" y="1387"/>
                  </a:lnTo>
                  <a:lnTo>
                    <a:pt x="2162" y="1428"/>
                  </a:lnTo>
                  <a:lnTo>
                    <a:pt x="2069" y="1466"/>
                  </a:lnTo>
                  <a:lnTo>
                    <a:pt x="2069" y="1685"/>
                  </a:lnTo>
                  <a:lnTo>
                    <a:pt x="1030" y="1685"/>
                  </a:lnTo>
                  <a:lnTo>
                    <a:pt x="1030" y="1466"/>
                  </a:lnTo>
                  <a:lnTo>
                    <a:pt x="936" y="1428"/>
                  </a:lnTo>
                  <a:lnTo>
                    <a:pt x="846" y="1387"/>
                  </a:lnTo>
                  <a:lnTo>
                    <a:pt x="760" y="1338"/>
                  </a:lnTo>
                  <a:lnTo>
                    <a:pt x="676" y="1284"/>
                  </a:lnTo>
                  <a:lnTo>
                    <a:pt x="597" y="1226"/>
                  </a:lnTo>
                  <a:lnTo>
                    <a:pt x="520" y="1162"/>
                  </a:lnTo>
                  <a:lnTo>
                    <a:pt x="449" y="1095"/>
                  </a:lnTo>
                  <a:lnTo>
                    <a:pt x="382" y="1023"/>
                  </a:lnTo>
                  <a:lnTo>
                    <a:pt x="319" y="946"/>
                  </a:lnTo>
                  <a:lnTo>
                    <a:pt x="261" y="865"/>
                  </a:lnTo>
                  <a:lnTo>
                    <a:pt x="209" y="781"/>
                  </a:lnTo>
                  <a:lnTo>
                    <a:pt x="162" y="694"/>
                  </a:lnTo>
                  <a:lnTo>
                    <a:pt x="120" y="602"/>
                  </a:lnTo>
                  <a:lnTo>
                    <a:pt x="84" y="508"/>
                  </a:lnTo>
                  <a:lnTo>
                    <a:pt x="54" y="411"/>
                  </a:lnTo>
                  <a:lnTo>
                    <a:pt x="31" y="313"/>
                  </a:lnTo>
                  <a:lnTo>
                    <a:pt x="14" y="210"/>
                  </a:lnTo>
                  <a:lnTo>
                    <a:pt x="3" y="10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7" name="Freeform 44"/>
            <p:cNvSpPr>
              <a:spLocks/>
            </p:cNvSpPr>
            <p:nvPr/>
          </p:nvSpPr>
          <p:spPr bwMode="auto">
            <a:xfrm>
              <a:off x="6144" y="33"/>
              <a:ext cx="288" cy="158"/>
            </a:xfrm>
            <a:custGeom>
              <a:avLst/>
              <a:gdLst>
                <a:gd name="T0" fmla="*/ 1939 w 2017"/>
                <a:gd name="T1" fmla="*/ 0 h 1106"/>
                <a:gd name="T2" fmla="*/ 2017 w 2017"/>
                <a:gd name="T3" fmla="*/ 101 h 1106"/>
                <a:gd name="T4" fmla="*/ 1004 w 2017"/>
                <a:gd name="T5" fmla="*/ 879 h 1106"/>
                <a:gd name="T6" fmla="*/ 988 w 2017"/>
                <a:gd name="T7" fmla="*/ 894 h 1106"/>
                <a:gd name="T8" fmla="*/ 967 w 2017"/>
                <a:gd name="T9" fmla="*/ 911 h 1106"/>
                <a:gd name="T10" fmla="*/ 943 w 2017"/>
                <a:gd name="T11" fmla="*/ 932 h 1106"/>
                <a:gd name="T12" fmla="*/ 913 w 2017"/>
                <a:gd name="T13" fmla="*/ 955 h 1106"/>
                <a:gd name="T14" fmla="*/ 881 w 2017"/>
                <a:gd name="T15" fmla="*/ 979 h 1106"/>
                <a:gd name="T16" fmla="*/ 844 w 2017"/>
                <a:gd name="T17" fmla="*/ 1002 h 1106"/>
                <a:gd name="T18" fmla="*/ 804 w 2017"/>
                <a:gd name="T19" fmla="*/ 1025 h 1106"/>
                <a:gd name="T20" fmla="*/ 762 w 2017"/>
                <a:gd name="T21" fmla="*/ 1047 h 1106"/>
                <a:gd name="T22" fmla="*/ 715 w 2017"/>
                <a:gd name="T23" fmla="*/ 1066 h 1106"/>
                <a:gd name="T24" fmla="*/ 668 w 2017"/>
                <a:gd name="T25" fmla="*/ 1082 h 1106"/>
                <a:gd name="T26" fmla="*/ 618 w 2017"/>
                <a:gd name="T27" fmla="*/ 1095 h 1106"/>
                <a:gd name="T28" fmla="*/ 566 w 2017"/>
                <a:gd name="T29" fmla="*/ 1103 h 1106"/>
                <a:gd name="T30" fmla="*/ 512 w 2017"/>
                <a:gd name="T31" fmla="*/ 1106 h 1106"/>
                <a:gd name="T32" fmla="*/ 466 w 2017"/>
                <a:gd name="T33" fmla="*/ 1104 h 1106"/>
                <a:gd name="T34" fmla="*/ 421 w 2017"/>
                <a:gd name="T35" fmla="*/ 1098 h 1106"/>
                <a:gd name="T36" fmla="*/ 377 w 2017"/>
                <a:gd name="T37" fmla="*/ 1088 h 1106"/>
                <a:gd name="T38" fmla="*/ 334 w 2017"/>
                <a:gd name="T39" fmla="*/ 1075 h 1106"/>
                <a:gd name="T40" fmla="*/ 292 w 2017"/>
                <a:gd name="T41" fmla="*/ 1060 h 1106"/>
                <a:gd name="T42" fmla="*/ 254 w 2017"/>
                <a:gd name="T43" fmla="*/ 1041 h 1106"/>
                <a:gd name="T44" fmla="*/ 217 w 2017"/>
                <a:gd name="T45" fmla="*/ 1023 h 1106"/>
                <a:gd name="T46" fmla="*/ 183 w 2017"/>
                <a:gd name="T47" fmla="*/ 1003 h 1106"/>
                <a:gd name="T48" fmla="*/ 150 w 2017"/>
                <a:gd name="T49" fmla="*/ 982 h 1106"/>
                <a:gd name="T50" fmla="*/ 120 w 2017"/>
                <a:gd name="T51" fmla="*/ 961 h 1106"/>
                <a:gd name="T52" fmla="*/ 93 w 2017"/>
                <a:gd name="T53" fmla="*/ 941 h 1106"/>
                <a:gd name="T54" fmla="*/ 70 w 2017"/>
                <a:gd name="T55" fmla="*/ 923 h 1106"/>
                <a:gd name="T56" fmla="*/ 50 w 2017"/>
                <a:gd name="T57" fmla="*/ 904 h 1106"/>
                <a:gd name="T58" fmla="*/ 32 w 2017"/>
                <a:gd name="T59" fmla="*/ 889 h 1106"/>
                <a:gd name="T60" fmla="*/ 18 w 2017"/>
                <a:gd name="T61" fmla="*/ 876 h 1106"/>
                <a:gd name="T62" fmla="*/ 8 w 2017"/>
                <a:gd name="T63" fmla="*/ 866 h 1106"/>
                <a:gd name="T64" fmla="*/ 2 w 2017"/>
                <a:gd name="T65" fmla="*/ 860 h 1106"/>
                <a:gd name="T66" fmla="*/ 0 w 2017"/>
                <a:gd name="T67" fmla="*/ 858 h 1106"/>
                <a:gd name="T68" fmla="*/ 819 w 2017"/>
                <a:gd name="T69" fmla="*/ 858 h 1106"/>
                <a:gd name="T70" fmla="*/ 1939 w 2017"/>
                <a:gd name="T71" fmla="*/ 0 h 1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017" h="1106">
                  <a:moveTo>
                    <a:pt x="1939" y="0"/>
                  </a:moveTo>
                  <a:lnTo>
                    <a:pt x="2017" y="101"/>
                  </a:lnTo>
                  <a:lnTo>
                    <a:pt x="1004" y="879"/>
                  </a:lnTo>
                  <a:lnTo>
                    <a:pt x="988" y="894"/>
                  </a:lnTo>
                  <a:lnTo>
                    <a:pt x="967" y="911"/>
                  </a:lnTo>
                  <a:lnTo>
                    <a:pt x="943" y="932"/>
                  </a:lnTo>
                  <a:lnTo>
                    <a:pt x="913" y="955"/>
                  </a:lnTo>
                  <a:lnTo>
                    <a:pt x="881" y="979"/>
                  </a:lnTo>
                  <a:lnTo>
                    <a:pt x="844" y="1002"/>
                  </a:lnTo>
                  <a:lnTo>
                    <a:pt x="804" y="1025"/>
                  </a:lnTo>
                  <a:lnTo>
                    <a:pt x="762" y="1047"/>
                  </a:lnTo>
                  <a:lnTo>
                    <a:pt x="715" y="1066"/>
                  </a:lnTo>
                  <a:lnTo>
                    <a:pt x="668" y="1082"/>
                  </a:lnTo>
                  <a:lnTo>
                    <a:pt x="618" y="1095"/>
                  </a:lnTo>
                  <a:lnTo>
                    <a:pt x="566" y="1103"/>
                  </a:lnTo>
                  <a:lnTo>
                    <a:pt x="512" y="1106"/>
                  </a:lnTo>
                  <a:lnTo>
                    <a:pt x="466" y="1104"/>
                  </a:lnTo>
                  <a:lnTo>
                    <a:pt x="421" y="1098"/>
                  </a:lnTo>
                  <a:lnTo>
                    <a:pt x="377" y="1088"/>
                  </a:lnTo>
                  <a:lnTo>
                    <a:pt x="334" y="1075"/>
                  </a:lnTo>
                  <a:lnTo>
                    <a:pt x="292" y="1060"/>
                  </a:lnTo>
                  <a:lnTo>
                    <a:pt x="254" y="1041"/>
                  </a:lnTo>
                  <a:lnTo>
                    <a:pt x="217" y="1023"/>
                  </a:lnTo>
                  <a:lnTo>
                    <a:pt x="183" y="1003"/>
                  </a:lnTo>
                  <a:lnTo>
                    <a:pt x="150" y="982"/>
                  </a:lnTo>
                  <a:lnTo>
                    <a:pt x="120" y="961"/>
                  </a:lnTo>
                  <a:lnTo>
                    <a:pt x="93" y="941"/>
                  </a:lnTo>
                  <a:lnTo>
                    <a:pt x="70" y="923"/>
                  </a:lnTo>
                  <a:lnTo>
                    <a:pt x="50" y="904"/>
                  </a:lnTo>
                  <a:lnTo>
                    <a:pt x="32" y="889"/>
                  </a:lnTo>
                  <a:lnTo>
                    <a:pt x="18" y="876"/>
                  </a:lnTo>
                  <a:lnTo>
                    <a:pt x="8" y="866"/>
                  </a:lnTo>
                  <a:lnTo>
                    <a:pt x="2" y="860"/>
                  </a:lnTo>
                  <a:lnTo>
                    <a:pt x="0" y="858"/>
                  </a:lnTo>
                  <a:lnTo>
                    <a:pt x="819" y="858"/>
                  </a:lnTo>
                  <a:lnTo>
                    <a:pt x="19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88" name="Freeform 49"/>
          <p:cNvSpPr>
            <a:spLocks/>
          </p:cNvSpPr>
          <p:nvPr/>
        </p:nvSpPr>
        <p:spPr bwMode="auto">
          <a:xfrm>
            <a:off x="6398148" y="5007950"/>
            <a:ext cx="663745" cy="464974"/>
          </a:xfrm>
          <a:custGeom>
            <a:avLst/>
            <a:gdLst>
              <a:gd name="T0" fmla="*/ 2448 w 3396"/>
              <a:gd name="T1" fmla="*/ 57 h 2379"/>
              <a:gd name="T2" fmla="*/ 2963 w 3396"/>
              <a:gd name="T3" fmla="*/ 248 h 2379"/>
              <a:gd name="T4" fmla="*/ 3046 w 3396"/>
              <a:gd name="T5" fmla="*/ 344 h 2379"/>
              <a:gd name="T6" fmla="*/ 3049 w 3396"/>
              <a:gd name="T7" fmla="*/ 869 h 2379"/>
              <a:gd name="T8" fmla="*/ 3072 w 3396"/>
              <a:gd name="T9" fmla="*/ 979 h 2379"/>
              <a:gd name="T10" fmla="*/ 3187 w 3396"/>
              <a:gd name="T11" fmla="*/ 1050 h 2379"/>
              <a:gd name="T12" fmla="*/ 3349 w 3396"/>
              <a:gd name="T13" fmla="*/ 1175 h 2379"/>
              <a:gd name="T14" fmla="*/ 3396 w 3396"/>
              <a:gd name="T15" fmla="*/ 1291 h 2379"/>
              <a:gd name="T16" fmla="*/ 3325 w 3396"/>
              <a:gd name="T17" fmla="*/ 1422 h 2379"/>
              <a:gd name="T18" fmla="*/ 2471 w 3396"/>
              <a:gd name="T19" fmla="*/ 1846 h 2379"/>
              <a:gd name="T20" fmla="*/ 1791 w 3396"/>
              <a:gd name="T21" fmla="*/ 2177 h 2379"/>
              <a:gd name="T22" fmla="*/ 1352 w 3396"/>
              <a:gd name="T23" fmla="*/ 2362 h 2379"/>
              <a:gd name="T24" fmla="*/ 972 w 3396"/>
              <a:gd name="T25" fmla="*/ 2360 h 2379"/>
              <a:gd name="T26" fmla="*/ 576 w 3396"/>
              <a:gd name="T27" fmla="*/ 2212 h 2379"/>
              <a:gd name="T28" fmla="*/ 124 w 3396"/>
              <a:gd name="T29" fmla="*/ 1940 h 2379"/>
              <a:gd name="T30" fmla="*/ 5 w 3396"/>
              <a:gd name="T31" fmla="*/ 1801 h 2379"/>
              <a:gd name="T32" fmla="*/ 36 w 3396"/>
              <a:gd name="T33" fmla="*/ 1652 h 2379"/>
              <a:gd name="T34" fmla="*/ 130 w 3396"/>
              <a:gd name="T35" fmla="*/ 1564 h 2379"/>
              <a:gd name="T36" fmla="*/ 236 w 3396"/>
              <a:gd name="T37" fmla="*/ 1518 h 2379"/>
              <a:gd name="T38" fmla="*/ 327 w 3396"/>
              <a:gd name="T39" fmla="*/ 1409 h 2379"/>
              <a:gd name="T40" fmla="*/ 351 w 3396"/>
              <a:gd name="T41" fmla="*/ 1263 h 2379"/>
              <a:gd name="T42" fmla="*/ 340 w 3396"/>
              <a:gd name="T43" fmla="*/ 997 h 2379"/>
              <a:gd name="T44" fmla="*/ 366 w 3396"/>
              <a:gd name="T45" fmla="*/ 751 h 2379"/>
              <a:gd name="T46" fmla="*/ 467 w 3396"/>
              <a:gd name="T47" fmla="*/ 705 h 2379"/>
              <a:gd name="T48" fmla="*/ 1286 w 3396"/>
              <a:gd name="T49" fmla="*/ 1055 h 2379"/>
              <a:gd name="T50" fmla="*/ 1317 w 3396"/>
              <a:gd name="T51" fmla="*/ 1144 h 2379"/>
              <a:gd name="T52" fmla="*/ 1302 w 3396"/>
              <a:gd name="T53" fmla="*/ 2091 h 2379"/>
              <a:gd name="T54" fmla="*/ 1220 w 3396"/>
              <a:gd name="T55" fmla="*/ 2138 h 2379"/>
              <a:gd name="T56" fmla="*/ 396 w 3396"/>
              <a:gd name="T57" fmla="*/ 1751 h 2379"/>
              <a:gd name="T58" fmla="*/ 345 w 3396"/>
              <a:gd name="T59" fmla="*/ 1671 h 2379"/>
              <a:gd name="T60" fmla="*/ 307 w 3396"/>
              <a:gd name="T61" fmla="*/ 1603 h 2379"/>
              <a:gd name="T62" fmla="*/ 183 w 3396"/>
              <a:gd name="T63" fmla="*/ 1813 h 2379"/>
              <a:gd name="T64" fmla="*/ 457 w 3396"/>
              <a:gd name="T65" fmla="*/ 2007 h 2379"/>
              <a:gd name="T66" fmla="*/ 871 w 3396"/>
              <a:gd name="T67" fmla="*/ 2212 h 2379"/>
              <a:gd name="T68" fmla="*/ 1231 w 3396"/>
              <a:gd name="T69" fmla="*/ 2257 h 2379"/>
              <a:gd name="T70" fmla="*/ 1598 w 3396"/>
              <a:gd name="T71" fmla="*/ 2148 h 2379"/>
              <a:gd name="T72" fmla="*/ 3153 w 3396"/>
              <a:gd name="T73" fmla="*/ 1382 h 2379"/>
              <a:gd name="T74" fmla="*/ 3276 w 3396"/>
              <a:gd name="T75" fmla="*/ 1308 h 2379"/>
              <a:gd name="T76" fmla="*/ 3164 w 3396"/>
              <a:gd name="T77" fmla="*/ 1181 h 2379"/>
              <a:gd name="T78" fmla="*/ 3054 w 3396"/>
              <a:gd name="T79" fmla="*/ 1162 h 2379"/>
              <a:gd name="T80" fmla="*/ 3019 w 3396"/>
              <a:gd name="T81" fmla="*/ 1273 h 2379"/>
              <a:gd name="T82" fmla="*/ 2934 w 3396"/>
              <a:gd name="T83" fmla="*/ 1337 h 2379"/>
              <a:gd name="T84" fmla="*/ 1564 w 3396"/>
              <a:gd name="T85" fmla="*/ 1983 h 2379"/>
              <a:gd name="T86" fmla="*/ 1429 w 3396"/>
              <a:gd name="T87" fmla="*/ 2044 h 2379"/>
              <a:gd name="T88" fmla="*/ 1421 w 3396"/>
              <a:gd name="T89" fmla="*/ 1642 h 2379"/>
              <a:gd name="T90" fmla="*/ 1413 w 3396"/>
              <a:gd name="T91" fmla="*/ 1035 h 2379"/>
              <a:gd name="T92" fmla="*/ 1332 w 3396"/>
              <a:gd name="T93" fmla="*/ 953 h 2379"/>
              <a:gd name="T94" fmla="*/ 845 w 3396"/>
              <a:gd name="T95" fmla="*/ 747 h 2379"/>
              <a:gd name="T96" fmla="*/ 830 w 3396"/>
              <a:gd name="T97" fmla="*/ 544 h 2379"/>
              <a:gd name="T98" fmla="*/ 1557 w 3396"/>
              <a:gd name="T99" fmla="*/ 235 h 2379"/>
              <a:gd name="T100" fmla="*/ 2181 w 3396"/>
              <a:gd name="T101" fmla="*/ 1 h 2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396" h="2379">
                <a:moveTo>
                  <a:pt x="2219" y="0"/>
                </a:moveTo>
                <a:lnTo>
                  <a:pt x="2256" y="4"/>
                </a:lnTo>
                <a:lnTo>
                  <a:pt x="2292" y="9"/>
                </a:lnTo>
                <a:lnTo>
                  <a:pt x="2326" y="18"/>
                </a:lnTo>
                <a:lnTo>
                  <a:pt x="2448" y="57"/>
                </a:lnTo>
                <a:lnTo>
                  <a:pt x="2570" y="101"/>
                </a:lnTo>
                <a:lnTo>
                  <a:pt x="2691" y="147"/>
                </a:lnTo>
                <a:lnTo>
                  <a:pt x="2811" y="192"/>
                </a:lnTo>
                <a:lnTo>
                  <a:pt x="2933" y="235"/>
                </a:lnTo>
                <a:lnTo>
                  <a:pt x="2963" y="248"/>
                </a:lnTo>
                <a:lnTo>
                  <a:pt x="2988" y="261"/>
                </a:lnTo>
                <a:lnTo>
                  <a:pt x="3008" y="278"/>
                </a:lnTo>
                <a:lnTo>
                  <a:pt x="3025" y="297"/>
                </a:lnTo>
                <a:lnTo>
                  <a:pt x="3037" y="319"/>
                </a:lnTo>
                <a:lnTo>
                  <a:pt x="3046" y="344"/>
                </a:lnTo>
                <a:lnTo>
                  <a:pt x="3050" y="371"/>
                </a:lnTo>
                <a:lnTo>
                  <a:pt x="3052" y="402"/>
                </a:lnTo>
                <a:lnTo>
                  <a:pt x="3052" y="558"/>
                </a:lnTo>
                <a:lnTo>
                  <a:pt x="3053" y="714"/>
                </a:lnTo>
                <a:lnTo>
                  <a:pt x="3049" y="869"/>
                </a:lnTo>
                <a:lnTo>
                  <a:pt x="3049" y="895"/>
                </a:lnTo>
                <a:lnTo>
                  <a:pt x="3052" y="919"/>
                </a:lnTo>
                <a:lnTo>
                  <a:pt x="3056" y="941"/>
                </a:lnTo>
                <a:lnTo>
                  <a:pt x="3062" y="961"/>
                </a:lnTo>
                <a:lnTo>
                  <a:pt x="3072" y="979"/>
                </a:lnTo>
                <a:lnTo>
                  <a:pt x="3085" y="996"/>
                </a:lnTo>
                <a:lnTo>
                  <a:pt x="3102" y="1010"/>
                </a:lnTo>
                <a:lnTo>
                  <a:pt x="3123" y="1023"/>
                </a:lnTo>
                <a:lnTo>
                  <a:pt x="3148" y="1033"/>
                </a:lnTo>
                <a:lnTo>
                  <a:pt x="3187" y="1050"/>
                </a:lnTo>
                <a:lnTo>
                  <a:pt x="3223" y="1070"/>
                </a:lnTo>
                <a:lnTo>
                  <a:pt x="3258" y="1094"/>
                </a:lnTo>
                <a:lnTo>
                  <a:pt x="3291" y="1120"/>
                </a:lnTo>
                <a:lnTo>
                  <a:pt x="3323" y="1147"/>
                </a:lnTo>
                <a:lnTo>
                  <a:pt x="3349" y="1175"/>
                </a:lnTo>
                <a:lnTo>
                  <a:pt x="3369" y="1204"/>
                </a:lnTo>
                <a:lnTo>
                  <a:pt x="3383" y="1233"/>
                </a:lnTo>
                <a:lnTo>
                  <a:pt x="3393" y="1262"/>
                </a:lnTo>
                <a:lnTo>
                  <a:pt x="3396" y="1291"/>
                </a:lnTo>
                <a:lnTo>
                  <a:pt x="3396" y="1291"/>
                </a:lnTo>
                <a:lnTo>
                  <a:pt x="3393" y="1319"/>
                </a:lnTo>
                <a:lnTo>
                  <a:pt x="3385" y="1346"/>
                </a:lnTo>
                <a:lnTo>
                  <a:pt x="3370" y="1372"/>
                </a:lnTo>
                <a:lnTo>
                  <a:pt x="3349" y="1398"/>
                </a:lnTo>
                <a:lnTo>
                  <a:pt x="3325" y="1422"/>
                </a:lnTo>
                <a:lnTo>
                  <a:pt x="3293" y="1444"/>
                </a:lnTo>
                <a:lnTo>
                  <a:pt x="3256" y="1465"/>
                </a:lnTo>
                <a:lnTo>
                  <a:pt x="2995" y="1593"/>
                </a:lnTo>
                <a:lnTo>
                  <a:pt x="2733" y="1719"/>
                </a:lnTo>
                <a:lnTo>
                  <a:pt x="2471" y="1846"/>
                </a:lnTo>
                <a:lnTo>
                  <a:pt x="2335" y="1912"/>
                </a:lnTo>
                <a:lnTo>
                  <a:pt x="2198" y="1977"/>
                </a:lnTo>
                <a:lnTo>
                  <a:pt x="2062" y="2043"/>
                </a:lnTo>
                <a:lnTo>
                  <a:pt x="1926" y="2109"/>
                </a:lnTo>
                <a:lnTo>
                  <a:pt x="1791" y="2177"/>
                </a:lnTo>
                <a:lnTo>
                  <a:pt x="1657" y="2249"/>
                </a:lnTo>
                <a:lnTo>
                  <a:pt x="1580" y="2287"/>
                </a:lnTo>
                <a:lnTo>
                  <a:pt x="1504" y="2319"/>
                </a:lnTo>
                <a:lnTo>
                  <a:pt x="1428" y="2344"/>
                </a:lnTo>
                <a:lnTo>
                  <a:pt x="1352" y="2362"/>
                </a:lnTo>
                <a:lnTo>
                  <a:pt x="1275" y="2374"/>
                </a:lnTo>
                <a:lnTo>
                  <a:pt x="1200" y="2379"/>
                </a:lnTo>
                <a:lnTo>
                  <a:pt x="1124" y="2379"/>
                </a:lnTo>
                <a:lnTo>
                  <a:pt x="1048" y="2373"/>
                </a:lnTo>
                <a:lnTo>
                  <a:pt x="972" y="2360"/>
                </a:lnTo>
                <a:lnTo>
                  <a:pt x="897" y="2343"/>
                </a:lnTo>
                <a:lnTo>
                  <a:pt x="822" y="2320"/>
                </a:lnTo>
                <a:lnTo>
                  <a:pt x="746" y="2292"/>
                </a:lnTo>
                <a:lnTo>
                  <a:pt x="671" y="2259"/>
                </a:lnTo>
                <a:lnTo>
                  <a:pt x="576" y="2212"/>
                </a:lnTo>
                <a:lnTo>
                  <a:pt x="484" y="2163"/>
                </a:lnTo>
                <a:lnTo>
                  <a:pt x="393" y="2109"/>
                </a:lnTo>
                <a:lnTo>
                  <a:pt x="302" y="2054"/>
                </a:lnTo>
                <a:lnTo>
                  <a:pt x="212" y="1998"/>
                </a:lnTo>
                <a:lnTo>
                  <a:pt x="124" y="1940"/>
                </a:lnTo>
                <a:lnTo>
                  <a:pt x="88" y="1914"/>
                </a:lnTo>
                <a:lnTo>
                  <a:pt x="58" y="1887"/>
                </a:lnTo>
                <a:lnTo>
                  <a:pt x="34" y="1859"/>
                </a:lnTo>
                <a:lnTo>
                  <a:pt x="17" y="1831"/>
                </a:lnTo>
                <a:lnTo>
                  <a:pt x="5" y="1801"/>
                </a:lnTo>
                <a:lnTo>
                  <a:pt x="0" y="1772"/>
                </a:lnTo>
                <a:lnTo>
                  <a:pt x="0" y="1742"/>
                </a:lnTo>
                <a:lnTo>
                  <a:pt x="6" y="1712"/>
                </a:lnTo>
                <a:lnTo>
                  <a:pt x="19" y="1682"/>
                </a:lnTo>
                <a:lnTo>
                  <a:pt x="36" y="1652"/>
                </a:lnTo>
                <a:lnTo>
                  <a:pt x="61" y="1624"/>
                </a:lnTo>
                <a:lnTo>
                  <a:pt x="90" y="1595"/>
                </a:lnTo>
                <a:lnTo>
                  <a:pt x="126" y="1567"/>
                </a:lnTo>
                <a:lnTo>
                  <a:pt x="128" y="1566"/>
                </a:lnTo>
                <a:lnTo>
                  <a:pt x="130" y="1564"/>
                </a:lnTo>
                <a:lnTo>
                  <a:pt x="133" y="1562"/>
                </a:lnTo>
                <a:lnTo>
                  <a:pt x="135" y="1561"/>
                </a:lnTo>
                <a:lnTo>
                  <a:pt x="173" y="1548"/>
                </a:lnTo>
                <a:lnTo>
                  <a:pt x="206" y="1535"/>
                </a:lnTo>
                <a:lnTo>
                  <a:pt x="236" y="1518"/>
                </a:lnTo>
                <a:lnTo>
                  <a:pt x="261" y="1501"/>
                </a:lnTo>
                <a:lnTo>
                  <a:pt x="283" y="1480"/>
                </a:lnTo>
                <a:lnTo>
                  <a:pt x="300" y="1459"/>
                </a:lnTo>
                <a:lnTo>
                  <a:pt x="315" y="1434"/>
                </a:lnTo>
                <a:lnTo>
                  <a:pt x="327" y="1409"/>
                </a:lnTo>
                <a:lnTo>
                  <a:pt x="336" y="1382"/>
                </a:lnTo>
                <a:lnTo>
                  <a:pt x="342" y="1355"/>
                </a:lnTo>
                <a:lnTo>
                  <a:pt x="346" y="1325"/>
                </a:lnTo>
                <a:lnTo>
                  <a:pt x="350" y="1295"/>
                </a:lnTo>
                <a:lnTo>
                  <a:pt x="351" y="1263"/>
                </a:lnTo>
                <a:lnTo>
                  <a:pt x="350" y="1231"/>
                </a:lnTo>
                <a:lnTo>
                  <a:pt x="348" y="1198"/>
                </a:lnTo>
                <a:lnTo>
                  <a:pt x="345" y="1164"/>
                </a:lnTo>
                <a:lnTo>
                  <a:pt x="341" y="1080"/>
                </a:lnTo>
                <a:lnTo>
                  <a:pt x="340" y="997"/>
                </a:lnTo>
                <a:lnTo>
                  <a:pt x="342" y="912"/>
                </a:lnTo>
                <a:lnTo>
                  <a:pt x="345" y="829"/>
                </a:lnTo>
                <a:lnTo>
                  <a:pt x="348" y="800"/>
                </a:lnTo>
                <a:lnTo>
                  <a:pt x="356" y="773"/>
                </a:lnTo>
                <a:lnTo>
                  <a:pt x="366" y="751"/>
                </a:lnTo>
                <a:lnTo>
                  <a:pt x="381" y="732"/>
                </a:lnTo>
                <a:lnTo>
                  <a:pt x="399" y="718"/>
                </a:lnTo>
                <a:lnTo>
                  <a:pt x="420" y="707"/>
                </a:lnTo>
                <a:lnTo>
                  <a:pt x="442" y="703"/>
                </a:lnTo>
                <a:lnTo>
                  <a:pt x="467" y="705"/>
                </a:lnTo>
                <a:lnTo>
                  <a:pt x="494" y="713"/>
                </a:lnTo>
                <a:lnTo>
                  <a:pt x="756" y="820"/>
                </a:lnTo>
                <a:lnTo>
                  <a:pt x="1015" y="932"/>
                </a:lnTo>
                <a:lnTo>
                  <a:pt x="1274" y="1046"/>
                </a:lnTo>
                <a:lnTo>
                  <a:pt x="1286" y="1055"/>
                </a:lnTo>
                <a:lnTo>
                  <a:pt x="1296" y="1069"/>
                </a:lnTo>
                <a:lnTo>
                  <a:pt x="1304" y="1087"/>
                </a:lnTo>
                <a:lnTo>
                  <a:pt x="1310" y="1106"/>
                </a:lnTo>
                <a:lnTo>
                  <a:pt x="1314" y="1126"/>
                </a:lnTo>
                <a:lnTo>
                  <a:pt x="1317" y="1144"/>
                </a:lnTo>
                <a:lnTo>
                  <a:pt x="1319" y="1581"/>
                </a:lnTo>
                <a:lnTo>
                  <a:pt x="1318" y="2018"/>
                </a:lnTo>
                <a:lnTo>
                  <a:pt x="1315" y="2046"/>
                </a:lnTo>
                <a:lnTo>
                  <a:pt x="1310" y="2070"/>
                </a:lnTo>
                <a:lnTo>
                  <a:pt x="1302" y="2091"/>
                </a:lnTo>
                <a:lnTo>
                  <a:pt x="1291" y="2109"/>
                </a:lnTo>
                <a:lnTo>
                  <a:pt x="1277" y="2122"/>
                </a:lnTo>
                <a:lnTo>
                  <a:pt x="1261" y="2132"/>
                </a:lnTo>
                <a:lnTo>
                  <a:pt x="1241" y="2137"/>
                </a:lnTo>
                <a:lnTo>
                  <a:pt x="1220" y="2138"/>
                </a:lnTo>
                <a:lnTo>
                  <a:pt x="1197" y="2134"/>
                </a:lnTo>
                <a:lnTo>
                  <a:pt x="1171" y="2124"/>
                </a:lnTo>
                <a:lnTo>
                  <a:pt x="910" y="2005"/>
                </a:lnTo>
                <a:lnTo>
                  <a:pt x="653" y="1880"/>
                </a:lnTo>
                <a:lnTo>
                  <a:pt x="396" y="1751"/>
                </a:lnTo>
                <a:lnTo>
                  <a:pt x="382" y="1742"/>
                </a:lnTo>
                <a:lnTo>
                  <a:pt x="372" y="1729"/>
                </a:lnTo>
                <a:lnTo>
                  <a:pt x="362" y="1712"/>
                </a:lnTo>
                <a:lnTo>
                  <a:pt x="354" y="1693"/>
                </a:lnTo>
                <a:lnTo>
                  <a:pt x="345" y="1671"/>
                </a:lnTo>
                <a:lnTo>
                  <a:pt x="337" y="1648"/>
                </a:lnTo>
                <a:lnTo>
                  <a:pt x="328" y="1626"/>
                </a:lnTo>
                <a:lnTo>
                  <a:pt x="318" y="1603"/>
                </a:lnTo>
                <a:lnTo>
                  <a:pt x="313" y="1603"/>
                </a:lnTo>
                <a:lnTo>
                  <a:pt x="307" y="1603"/>
                </a:lnTo>
                <a:lnTo>
                  <a:pt x="301" y="1605"/>
                </a:lnTo>
                <a:lnTo>
                  <a:pt x="209" y="1678"/>
                </a:lnTo>
                <a:lnTo>
                  <a:pt x="120" y="1751"/>
                </a:lnTo>
                <a:lnTo>
                  <a:pt x="151" y="1782"/>
                </a:lnTo>
                <a:lnTo>
                  <a:pt x="183" y="1813"/>
                </a:lnTo>
                <a:lnTo>
                  <a:pt x="213" y="1844"/>
                </a:lnTo>
                <a:lnTo>
                  <a:pt x="246" y="1873"/>
                </a:lnTo>
                <a:lnTo>
                  <a:pt x="281" y="1899"/>
                </a:lnTo>
                <a:lnTo>
                  <a:pt x="369" y="1953"/>
                </a:lnTo>
                <a:lnTo>
                  <a:pt x="457" y="2007"/>
                </a:lnTo>
                <a:lnTo>
                  <a:pt x="545" y="2058"/>
                </a:lnTo>
                <a:lnTo>
                  <a:pt x="635" y="2108"/>
                </a:lnTo>
                <a:lnTo>
                  <a:pt x="727" y="2154"/>
                </a:lnTo>
                <a:lnTo>
                  <a:pt x="799" y="2185"/>
                </a:lnTo>
                <a:lnTo>
                  <a:pt x="871" y="2212"/>
                </a:lnTo>
                <a:lnTo>
                  <a:pt x="942" y="2233"/>
                </a:lnTo>
                <a:lnTo>
                  <a:pt x="1014" y="2247"/>
                </a:lnTo>
                <a:lnTo>
                  <a:pt x="1087" y="2256"/>
                </a:lnTo>
                <a:lnTo>
                  <a:pt x="1159" y="2260"/>
                </a:lnTo>
                <a:lnTo>
                  <a:pt x="1231" y="2257"/>
                </a:lnTo>
                <a:lnTo>
                  <a:pt x="1304" y="2248"/>
                </a:lnTo>
                <a:lnTo>
                  <a:pt x="1376" y="2234"/>
                </a:lnTo>
                <a:lnTo>
                  <a:pt x="1449" y="2212"/>
                </a:lnTo>
                <a:lnTo>
                  <a:pt x="1524" y="2183"/>
                </a:lnTo>
                <a:lnTo>
                  <a:pt x="1598" y="2148"/>
                </a:lnTo>
                <a:lnTo>
                  <a:pt x="1906" y="1990"/>
                </a:lnTo>
                <a:lnTo>
                  <a:pt x="2218" y="1837"/>
                </a:lnTo>
                <a:lnTo>
                  <a:pt x="2529" y="1685"/>
                </a:lnTo>
                <a:lnTo>
                  <a:pt x="2841" y="1535"/>
                </a:lnTo>
                <a:lnTo>
                  <a:pt x="3153" y="1382"/>
                </a:lnTo>
                <a:lnTo>
                  <a:pt x="3175" y="1371"/>
                </a:lnTo>
                <a:lnTo>
                  <a:pt x="3197" y="1358"/>
                </a:lnTo>
                <a:lnTo>
                  <a:pt x="3221" y="1343"/>
                </a:lnTo>
                <a:lnTo>
                  <a:pt x="3247" y="1327"/>
                </a:lnTo>
                <a:lnTo>
                  <a:pt x="3276" y="1308"/>
                </a:lnTo>
                <a:lnTo>
                  <a:pt x="3309" y="1288"/>
                </a:lnTo>
                <a:lnTo>
                  <a:pt x="3271" y="1261"/>
                </a:lnTo>
                <a:lnTo>
                  <a:pt x="3235" y="1234"/>
                </a:lnTo>
                <a:lnTo>
                  <a:pt x="3200" y="1208"/>
                </a:lnTo>
                <a:lnTo>
                  <a:pt x="3164" y="1181"/>
                </a:lnTo>
                <a:lnTo>
                  <a:pt x="3127" y="1155"/>
                </a:lnTo>
                <a:lnTo>
                  <a:pt x="3089" y="1126"/>
                </a:lnTo>
                <a:lnTo>
                  <a:pt x="3046" y="1096"/>
                </a:lnTo>
                <a:lnTo>
                  <a:pt x="3052" y="1130"/>
                </a:lnTo>
                <a:lnTo>
                  <a:pt x="3054" y="1162"/>
                </a:lnTo>
                <a:lnTo>
                  <a:pt x="3053" y="1190"/>
                </a:lnTo>
                <a:lnTo>
                  <a:pt x="3048" y="1214"/>
                </a:lnTo>
                <a:lnTo>
                  <a:pt x="3041" y="1236"/>
                </a:lnTo>
                <a:lnTo>
                  <a:pt x="3031" y="1256"/>
                </a:lnTo>
                <a:lnTo>
                  <a:pt x="3019" y="1273"/>
                </a:lnTo>
                <a:lnTo>
                  <a:pt x="3005" y="1289"/>
                </a:lnTo>
                <a:lnTo>
                  <a:pt x="2990" y="1303"/>
                </a:lnTo>
                <a:lnTo>
                  <a:pt x="2972" y="1315"/>
                </a:lnTo>
                <a:lnTo>
                  <a:pt x="2954" y="1327"/>
                </a:lnTo>
                <a:lnTo>
                  <a:pt x="2934" y="1337"/>
                </a:lnTo>
                <a:lnTo>
                  <a:pt x="2913" y="1347"/>
                </a:lnTo>
                <a:lnTo>
                  <a:pt x="2893" y="1357"/>
                </a:lnTo>
                <a:lnTo>
                  <a:pt x="2872" y="1366"/>
                </a:lnTo>
                <a:lnTo>
                  <a:pt x="2218" y="1674"/>
                </a:lnTo>
                <a:lnTo>
                  <a:pt x="1564" y="1983"/>
                </a:lnTo>
                <a:lnTo>
                  <a:pt x="1540" y="1994"/>
                </a:lnTo>
                <a:lnTo>
                  <a:pt x="1515" y="2005"/>
                </a:lnTo>
                <a:lnTo>
                  <a:pt x="1490" y="2017"/>
                </a:lnTo>
                <a:lnTo>
                  <a:pt x="1461" y="2030"/>
                </a:lnTo>
                <a:lnTo>
                  <a:pt x="1429" y="2044"/>
                </a:lnTo>
                <a:lnTo>
                  <a:pt x="1427" y="2005"/>
                </a:lnTo>
                <a:lnTo>
                  <a:pt x="1425" y="1970"/>
                </a:lnTo>
                <a:lnTo>
                  <a:pt x="1423" y="1938"/>
                </a:lnTo>
                <a:lnTo>
                  <a:pt x="1423" y="1906"/>
                </a:lnTo>
                <a:lnTo>
                  <a:pt x="1421" y="1642"/>
                </a:lnTo>
                <a:lnTo>
                  <a:pt x="1421" y="1379"/>
                </a:lnTo>
                <a:lnTo>
                  <a:pt x="1425" y="1115"/>
                </a:lnTo>
                <a:lnTo>
                  <a:pt x="1424" y="1086"/>
                </a:lnTo>
                <a:lnTo>
                  <a:pt x="1421" y="1059"/>
                </a:lnTo>
                <a:lnTo>
                  <a:pt x="1413" y="1035"/>
                </a:lnTo>
                <a:lnTo>
                  <a:pt x="1404" y="1015"/>
                </a:lnTo>
                <a:lnTo>
                  <a:pt x="1392" y="996"/>
                </a:lnTo>
                <a:lnTo>
                  <a:pt x="1375" y="980"/>
                </a:lnTo>
                <a:lnTo>
                  <a:pt x="1356" y="966"/>
                </a:lnTo>
                <a:lnTo>
                  <a:pt x="1332" y="953"/>
                </a:lnTo>
                <a:lnTo>
                  <a:pt x="1305" y="940"/>
                </a:lnTo>
                <a:lnTo>
                  <a:pt x="1192" y="895"/>
                </a:lnTo>
                <a:lnTo>
                  <a:pt x="1077" y="847"/>
                </a:lnTo>
                <a:lnTo>
                  <a:pt x="963" y="797"/>
                </a:lnTo>
                <a:lnTo>
                  <a:pt x="845" y="747"/>
                </a:lnTo>
                <a:lnTo>
                  <a:pt x="726" y="694"/>
                </a:lnTo>
                <a:lnTo>
                  <a:pt x="602" y="641"/>
                </a:lnTo>
                <a:lnTo>
                  <a:pt x="681" y="607"/>
                </a:lnTo>
                <a:lnTo>
                  <a:pt x="758" y="574"/>
                </a:lnTo>
                <a:lnTo>
                  <a:pt x="830" y="544"/>
                </a:lnTo>
                <a:lnTo>
                  <a:pt x="901" y="514"/>
                </a:lnTo>
                <a:lnTo>
                  <a:pt x="971" y="484"/>
                </a:lnTo>
                <a:lnTo>
                  <a:pt x="1039" y="455"/>
                </a:lnTo>
                <a:lnTo>
                  <a:pt x="1298" y="345"/>
                </a:lnTo>
                <a:lnTo>
                  <a:pt x="1557" y="235"/>
                </a:lnTo>
                <a:lnTo>
                  <a:pt x="1815" y="127"/>
                </a:lnTo>
                <a:lnTo>
                  <a:pt x="2076" y="22"/>
                </a:lnTo>
                <a:lnTo>
                  <a:pt x="2109" y="12"/>
                </a:lnTo>
                <a:lnTo>
                  <a:pt x="2144" y="5"/>
                </a:lnTo>
                <a:lnTo>
                  <a:pt x="2181" y="1"/>
                </a:lnTo>
                <a:lnTo>
                  <a:pt x="2219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55" y="2365970"/>
            <a:ext cx="525752" cy="381594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275186" y="357641"/>
            <a:ext cx="7744916" cy="914400"/>
          </a:xfrm>
        </p:spPr>
        <p:txBody>
          <a:bodyPr/>
          <a:lstStyle/>
          <a:p>
            <a:r>
              <a:rPr lang="ru-RU" sz="1800" dirty="0" smtClean="0"/>
              <a:t>Персонализация клиентского опыта, создание возможностей для перекрестных и дополнительных продаж</a:t>
            </a:r>
            <a:r>
              <a:rPr sz="1800" dirty="0"/>
              <a:t/>
            </a:r>
            <a:br>
              <a:rPr sz="1800" dirty="0"/>
            </a:br>
            <a:endParaRPr lang="ru-RU" sz="1800" dirty="0"/>
          </a:p>
        </p:txBody>
      </p:sp>
      <p:sp>
        <p:nvSpPr>
          <p:cNvPr id="97" name="TextBox 96"/>
          <p:cNvSpPr txBox="1"/>
          <p:nvPr/>
        </p:nvSpPr>
        <p:spPr>
          <a:xfrm>
            <a:off x="142451" y="1578435"/>
            <a:ext cx="78560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00" i="1" dirty="0">
                <a:solidFill>
                  <a:schemeClr val="bg1"/>
                </a:solidFill>
                <a:latin typeface="+mj-lt"/>
                <a:sym typeface="Helvetica Neue" charset="0"/>
              </a:rPr>
              <a:t>Изучение ассоциативных правил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142451" y="2041452"/>
            <a:ext cx="7389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Сегментация</a:t>
            </a:r>
            <a:endParaRPr lang="ru-RU" sz="800" i="1" dirty="0">
              <a:solidFill>
                <a:schemeClr val="bg1"/>
              </a:solidFill>
              <a:latin typeface="+mj-lt"/>
              <a:sym typeface="Helvetica Neue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48422" y="3664075"/>
            <a:ext cx="727019" cy="533586"/>
            <a:chOff x="148422" y="3643508"/>
            <a:chExt cx="727019" cy="533586"/>
          </a:xfrm>
        </p:grpSpPr>
        <p:sp>
          <p:nvSpPr>
            <p:cNvPr id="30" name="Rectangle 17"/>
            <p:cNvSpPr>
              <a:spLocks/>
            </p:cNvSpPr>
            <p:nvPr/>
          </p:nvSpPr>
          <p:spPr bwMode="auto">
            <a:xfrm>
              <a:off x="148422" y="3900095"/>
              <a:ext cx="7270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>
                  <a:solidFill>
                    <a:schemeClr val="bg1"/>
                  </a:solidFill>
                  <a:latin typeface="+mj-lt"/>
                  <a:sym typeface="Helvetica Neue" charset="0"/>
                </a:rPr>
                <a:t>Социальные сети</a:t>
              </a:r>
            </a:p>
          </p:txBody>
        </p:sp>
        <p:grpSp>
          <p:nvGrpSpPr>
            <p:cNvPr id="84" name="Group 16"/>
            <p:cNvGrpSpPr>
              <a:grpSpLocks noChangeAspect="1"/>
            </p:cNvGrpSpPr>
            <p:nvPr/>
          </p:nvGrpSpPr>
          <p:grpSpPr bwMode="auto">
            <a:xfrm>
              <a:off x="376046" y="3643508"/>
              <a:ext cx="259829" cy="259829"/>
              <a:chOff x="-783" y="2303"/>
              <a:chExt cx="491" cy="491"/>
            </a:xfrm>
            <a:solidFill>
              <a:schemeClr val="bg1"/>
            </a:solidFill>
          </p:grpSpPr>
          <p:sp>
            <p:nvSpPr>
              <p:cNvPr id="85" name="Freeform 18"/>
              <p:cNvSpPr>
                <a:spLocks/>
              </p:cNvSpPr>
              <p:nvPr/>
            </p:nvSpPr>
            <p:spPr bwMode="auto">
              <a:xfrm>
                <a:off x="-415" y="2395"/>
                <a:ext cx="36" cy="29"/>
              </a:xfrm>
              <a:custGeom>
                <a:avLst/>
                <a:gdLst>
                  <a:gd name="T0" fmla="*/ 131 w 252"/>
                  <a:gd name="T1" fmla="*/ 0 h 201"/>
                  <a:gd name="T2" fmla="*/ 146 w 252"/>
                  <a:gd name="T3" fmla="*/ 2 h 201"/>
                  <a:gd name="T4" fmla="*/ 160 w 252"/>
                  <a:gd name="T5" fmla="*/ 5 h 201"/>
                  <a:gd name="T6" fmla="*/ 173 w 252"/>
                  <a:gd name="T7" fmla="*/ 9 h 201"/>
                  <a:gd name="T8" fmla="*/ 181 w 252"/>
                  <a:gd name="T9" fmla="*/ 10 h 201"/>
                  <a:gd name="T10" fmla="*/ 199 w 252"/>
                  <a:gd name="T11" fmla="*/ 22 h 201"/>
                  <a:gd name="T12" fmla="*/ 217 w 252"/>
                  <a:gd name="T13" fmla="*/ 35 h 201"/>
                  <a:gd name="T14" fmla="*/ 232 w 252"/>
                  <a:gd name="T15" fmla="*/ 48 h 201"/>
                  <a:gd name="T16" fmla="*/ 244 w 252"/>
                  <a:gd name="T17" fmla="*/ 63 h 201"/>
                  <a:gd name="T18" fmla="*/ 252 w 252"/>
                  <a:gd name="T19" fmla="*/ 80 h 201"/>
                  <a:gd name="T20" fmla="*/ 252 w 252"/>
                  <a:gd name="T21" fmla="*/ 101 h 201"/>
                  <a:gd name="T22" fmla="*/ 251 w 252"/>
                  <a:gd name="T23" fmla="*/ 120 h 201"/>
                  <a:gd name="T24" fmla="*/ 247 w 252"/>
                  <a:gd name="T25" fmla="*/ 137 h 201"/>
                  <a:gd name="T26" fmla="*/ 240 w 252"/>
                  <a:gd name="T27" fmla="*/ 153 h 201"/>
                  <a:gd name="T28" fmla="*/ 231 w 252"/>
                  <a:gd name="T29" fmla="*/ 167 h 201"/>
                  <a:gd name="T30" fmla="*/ 217 w 252"/>
                  <a:gd name="T31" fmla="*/ 179 h 201"/>
                  <a:gd name="T32" fmla="*/ 199 w 252"/>
                  <a:gd name="T33" fmla="*/ 188 h 201"/>
                  <a:gd name="T34" fmla="*/ 178 w 252"/>
                  <a:gd name="T35" fmla="*/ 195 h 201"/>
                  <a:gd name="T36" fmla="*/ 152 w 252"/>
                  <a:gd name="T37" fmla="*/ 199 h 201"/>
                  <a:gd name="T38" fmla="*/ 121 w 252"/>
                  <a:gd name="T39" fmla="*/ 201 h 201"/>
                  <a:gd name="T40" fmla="*/ 95 w 252"/>
                  <a:gd name="T41" fmla="*/ 199 h 201"/>
                  <a:gd name="T42" fmla="*/ 73 w 252"/>
                  <a:gd name="T43" fmla="*/ 192 h 201"/>
                  <a:gd name="T44" fmla="*/ 51 w 252"/>
                  <a:gd name="T45" fmla="*/ 182 h 201"/>
                  <a:gd name="T46" fmla="*/ 34 w 252"/>
                  <a:gd name="T47" fmla="*/ 169 h 201"/>
                  <a:gd name="T48" fmla="*/ 19 w 252"/>
                  <a:gd name="T49" fmla="*/ 154 h 201"/>
                  <a:gd name="T50" fmla="*/ 9 w 252"/>
                  <a:gd name="T51" fmla="*/ 137 h 201"/>
                  <a:gd name="T52" fmla="*/ 2 w 252"/>
                  <a:gd name="T53" fmla="*/ 119 h 201"/>
                  <a:gd name="T54" fmla="*/ 0 w 252"/>
                  <a:gd name="T55" fmla="*/ 101 h 201"/>
                  <a:gd name="T56" fmla="*/ 3 w 252"/>
                  <a:gd name="T57" fmla="*/ 79 h 201"/>
                  <a:gd name="T58" fmla="*/ 11 w 252"/>
                  <a:gd name="T59" fmla="*/ 60 h 201"/>
                  <a:gd name="T60" fmla="*/ 22 w 252"/>
                  <a:gd name="T61" fmla="*/ 43 h 201"/>
                  <a:gd name="T62" fmla="*/ 40 w 252"/>
                  <a:gd name="T63" fmla="*/ 28 h 201"/>
                  <a:gd name="T64" fmla="*/ 59 w 252"/>
                  <a:gd name="T65" fmla="*/ 16 h 201"/>
                  <a:gd name="T66" fmla="*/ 80 w 252"/>
                  <a:gd name="T67" fmla="*/ 7 h 201"/>
                  <a:gd name="T68" fmla="*/ 105 w 252"/>
                  <a:gd name="T69" fmla="*/ 2 h 201"/>
                  <a:gd name="T70" fmla="*/ 131 w 252"/>
                  <a:gd name="T71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52" h="201">
                    <a:moveTo>
                      <a:pt x="131" y="0"/>
                    </a:moveTo>
                    <a:lnTo>
                      <a:pt x="146" y="2"/>
                    </a:lnTo>
                    <a:lnTo>
                      <a:pt x="160" y="5"/>
                    </a:lnTo>
                    <a:lnTo>
                      <a:pt x="173" y="9"/>
                    </a:lnTo>
                    <a:lnTo>
                      <a:pt x="181" y="10"/>
                    </a:lnTo>
                    <a:lnTo>
                      <a:pt x="199" y="22"/>
                    </a:lnTo>
                    <a:lnTo>
                      <a:pt x="217" y="35"/>
                    </a:lnTo>
                    <a:lnTo>
                      <a:pt x="232" y="48"/>
                    </a:lnTo>
                    <a:lnTo>
                      <a:pt x="244" y="63"/>
                    </a:lnTo>
                    <a:lnTo>
                      <a:pt x="252" y="80"/>
                    </a:lnTo>
                    <a:lnTo>
                      <a:pt x="252" y="101"/>
                    </a:lnTo>
                    <a:lnTo>
                      <a:pt x="251" y="120"/>
                    </a:lnTo>
                    <a:lnTo>
                      <a:pt x="247" y="137"/>
                    </a:lnTo>
                    <a:lnTo>
                      <a:pt x="240" y="153"/>
                    </a:lnTo>
                    <a:lnTo>
                      <a:pt x="231" y="167"/>
                    </a:lnTo>
                    <a:lnTo>
                      <a:pt x="217" y="179"/>
                    </a:lnTo>
                    <a:lnTo>
                      <a:pt x="199" y="188"/>
                    </a:lnTo>
                    <a:lnTo>
                      <a:pt x="178" y="195"/>
                    </a:lnTo>
                    <a:lnTo>
                      <a:pt x="152" y="199"/>
                    </a:lnTo>
                    <a:lnTo>
                      <a:pt x="121" y="201"/>
                    </a:lnTo>
                    <a:lnTo>
                      <a:pt x="95" y="199"/>
                    </a:lnTo>
                    <a:lnTo>
                      <a:pt x="73" y="192"/>
                    </a:lnTo>
                    <a:lnTo>
                      <a:pt x="51" y="182"/>
                    </a:lnTo>
                    <a:lnTo>
                      <a:pt x="34" y="169"/>
                    </a:lnTo>
                    <a:lnTo>
                      <a:pt x="19" y="154"/>
                    </a:lnTo>
                    <a:lnTo>
                      <a:pt x="9" y="137"/>
                    </a:lnTo>
                    <a:lnTo>
                      <a:pt x="2" y="119"/>
                    </a:lnTo>
                    <a:lnTo>
                      <a:pt x="0" y="101"/>
                    </a:lnTo>
                    <a:lnTo>
                      <a:pt x="3" y="79"/>
                    </a:lnTo>
                    <a:lnTo>
                      <a:pt x="11" y="60"/>
                    </a:lnTo>
                    <a:lnTo>
                      <a:pt x="22" y="43"/>
                    </a:lnTo>
                    <a:lnTo>
                      <a:pt x="40" y="28"/>
                    </a:lnTo>
                    <a:lnTo>
                      <a:pt x="59" y="16"/>
                    </a:lnTo>
                    <a:lnTo>
                      <a:pt x="80" y="7"/>
                    </a:lnTo>
                    <a:lnTo>
                      <a:pt x="105" y="2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86" name="Freeform 19"/>
              <p:cNvSpPr>
                <a:spLocks/>
              </p:cNvSpPr>
              <p:nvPr/>
            </p:nvSpPr>
            <p:spPr bwMode="auto">
              <a:xfrm>
                <a:off x="-409" y="2347"/>
                <a:ext cx="25" cy="31"/>
              </a:xfrm>
              <a:custGeom>
                <a:avLst/>
                <a:gdLst>
                  <a:gd name="T0" fmla="*/ 73 w 175"/>
                  <a:gd name="T1" fmla="*/ 0 h 220"/>
                  <a:gd name="T2" fmla="*/ 94 w 175"/>
                  <a:gd name="T3" fmla="*/ 3 h 220"/>
                  <a:gd name="T4" fmla="*/ 113 w 175"/>
                  <a:gd name="T5" fmla="*/ 11 h 220"/>
                  <a:gd name="T6" fmla="*/ 130 w 175"/>
                  <a:gd name="T7" fmla="*/ 25 h 220"/>
                  <a:gd name="T8" fmla="*/ 145 w 175"/>
                  <a:gd name="T9" fmla="*/ 42 h 220"/>
                  <a:gd name="T10" fmla="*/ 158 w 175"/>
                  <a:gd name="T11" fmla="*/ 62 h 220"/>
                  <a:gd name="T12" fmla="*/ 168 w 175"/>
                  <a:gd name="T13" fmla="*/ 85 h 220"/>
                  <a:gd name="T14" fmla="*/ 173 w 175"/>
                  <a:gd name="T15" fmla="*/ 110 h 220"/>
                  <a:gd name="T16" fmla="*/ 175 w 175"/>
                  <a:gd name="T17" fmla="*/ 136 h 220"/>
                  <a:gd name="T18" fmla="*/ 171 w 175"/>
                  <a:gd name="T19" fmla="*/ 158 h 220"/>
                  <a:gd name="T20" fmla="*/ 163 w 175"/>
                  <a:gd name="T21" fmla="*/ 179 h 220"/>
                  <a:gd name="T22" fmla="*/ 151 w 175"/>
                  <a:gd name="T23" fmla="*/ 196 h 220"/>
                  <a:gd name="T24" fmla="*/ 137 w 175"/>
                  <a:gd name="T25" fmla="*/ 210 h 220"/>
                  <a:gd name="T26" fmla="*/ 121 w 175"/>
                  <a:gd name="T27" fmla="*/ 218 h 220"/>
                  <a:gd name="T28" fmla="*/ 104 w 175"/>
                  <a:gd name="T29" fmla="*/ 220 h 220"/>
                  <a:gd name="T30" fmla="*/ 82 w 175"/>
                  <a:gd name="T31" fmla="*/ 218 h 220"/>
                  <a:gd name="T32" fmla="*/ 63 w 175"/>
                  <a:gd name="T33" fmla="*/ 210 h 220"/>
                  <a:gd name="T34" fmla="*/ 46 w 175"/>
                  <a:gd name="T35" fmla="*/ 196 h 220"/>
                  <a:gd name="T36" fmla="*/ 31 w 175"/>
                  <a:gd name="T37" fmla="*/ 179 h 220"/>
                  <a:gd name="T38" fmla="*/ 18 w 175"/>
                  <a:gd name="T39" fmla="*/ 158 h 220"/>
                  <a:gd name="T40" fmla="*/ 9 w 175"/>
                  <a:gd name="T41" fmla="*/ 136 h 220"/>
                  <a:gd name="T42" fmla="*/ 3 w 175"/>
                  <a:gd name="T43" fmla="*/ 110 h 220"/>
                  <a:gd name="T44" fmla="*/ 0 w 175"/>
                  <a:gd name="T45" fmla="*/ 89 h 220"/>
                  <a:gd name="T46" fmla="*/ 2 w 175"/>
                  <a:gd name="T47" fmla="*/ 67 h 220"/>
                  <a:gd name="T48" fmla="*/ 7 w 175"/>
                  <a:gd name="T49" fmla="*/ 49 h 220"/>
                  <a:gd name="T50" fmla="*/ 14 w 175"/>
                  <a:gd name="T51" fmla="*/ 32 h 220"/>
                  <a:gd name="T52" fmla="*/ 26 w 175"/>
                  <a:gd name="T53" fmla="*/ 19 h 220"/>
                  <a:gd name="T54" fmla="*/ 39 w 175"/>
                  <a:gd name="T55" fmla="*/ 9 h 220"/>
                  <a:gd name="T56" fmla="*/ 55 w 175"/>
                  <a:gd name="T57" fmla="*/ 2 h 220"/>
                  <a:gd name="T58" fmla="*/ 73 w 175"/>
                  <a:gd name="T59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75" h="220">
                    <a:moveTo>
                      <a:pt x="73" y="0"/>
                    </a:moveTo>
                    <a:lnTo>
                      <a:pt x="94" y="3"/>
                    </a:lnTo>
                    <a:lnTo>
                      <a:pt x="113" y="11"/>
                    </a:lnTo>
                    <a:lnTo>
                      <a:pt x="130" y="25"/>
                    </a:lnTo>
                    <a:lnTo>
                      <a:pt x="145" y="42"/>
                    </a:lnTo>
                    <a:lnTo>
                      <a:pt x="158" y="62"/>
                    </a:lnTo>
                    <a:lnTo>
                      <a:pt x="168" y="85"/>
                    </a:lnTo>
                    <a:lnTo>
                      <a:pt x="173" y="110"/>
                    </a:lnTo>
                    <a:lnTo>
                      <a:pt x="175" y="136"/>
                    </a:lnTo>
                    <a:lnTo>
                      <a:pt x="171" y="158"/>
                    </a:lnTo>
                    <a:lnTo>
                      <a:pt x="163" y="179"/>
                    </a:lnTo>
                    <a:lnTo>
                      <a:pt x="151" y="196"/>
                    </a:lnTo>
                    <a:lnTo>
                      <a:pt x="137" y="210"/>
                    </a:lnTo>
                    <a:lnTo>
                      <a:pt x="121" y="218"/>
                    </a:lnTo>
                    <a:lnTo>
                      <a:pt x="104" y="220"/>
                    </a:lnTo>
                    <a:lnTo>
                      <a:pt x="82" y="218"/>
                    </a:lnTo>
                    <a:lnTo>
                      <a:pt x="63" y="210"/>
                    </a:lnTo>
                    <a:lnTo>
                      <a:pt x="46" y="196"/>
                    </a:lnTo>
                    <a:lnTo>
                      <a:pt x="31" y="179"/>
                    </a:lnTo>
                    <a:lnTo>
                      <a:pt x="18" y="158"/>
                    </a:lnTo>
                    <a:lnTo>
                      <a:pt x="9" y="136"/>
                    </a:lnTo>
                    <a:lnTo>
                      <a:pt x="3" y="110"/>
                    </a:lnTo>
                    <a:lnTo>
                      <a:pt x="0" y="89"/>
                    </a:lnTo>
                    <a:lnTo>
                      <a:pt x="2" y="67"/>
                    </a:lnTo>
                    <a:lnTo>
                      <a:pt x="7" y="49"/>
                    </a:lnTo>
                    <a:lnTo>
                      <a:pt x="14" y="32"/>
                    </a:lnTo>
                    <a:lnTo>
                      <a:pt x="26" y="19"/>
                    </a:lnTo>
                    <a:lnTo>
                      <a:pt x="39" y="9"/>
                    </a:lnTo>
                    <a:lnTo>
                      <a:pt x="55" y="2"/>
                    </a:lnTo>
                    <a:lnTo>
                      <a:pt x="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87" name="Freeform 20"/>
              <p:cNvSpPr>
                <a:spLocks noEditPoints="1"/>
              </p:cNvSpPr>
              <p:nvPr/>
            </p:nvSpPr>
            <p:spPr bwMode="auto">
              <a:xfrm>
                <a:off x="-461" y="2303"/>
                <a:ext cx="167" cy="167"/>
              </a:xfrm>
              <a:custGeom>
                <a:avLst/>
                <a:gdLst>
                  <a:gd name="T0" fmla="*/ 394 w 1169"/>
                  <a:gd name="T1" fmla="*/ 292 h 1165"/>
                  <a:gd name="T2" fmla="*/ 322 w 1169"/>
                  <a:gd name="T3" fmla="*/ 340 h 1165"/>
                  <a:gd name="T4" fmla="*/ 292 w 1169"/>
                  <a:gd name="T5" fmla="*/ 412 h 1165"/>
                  <a:gd name="T6" fmla="*/ 315 w 1169"/>
                  <a:gd name="T7" fmla="*/ 485 h 1165"/>
                  <a:gd name="T8" fmla="*/ 377 w 1169"/>
                  <a:gd name="T9" fmla="*/ 532 h 1165"/>
                  <a:gd name="T10" fmla="*/ 453 w 1169"/>
                  <a:gd name="T11" fmla="*/ 543 h 1165"/>
                  <a:gd name="T12" fmla="*/ 443 w 1169"/>
                  <a:gd name="T13" fmla="*/ 572 h 1165"/>
                  <a:gd name="T14" fmla="*/ 452 w 1169"/>
                  <a:gd name="T15" fmla="*/ 623 h 1165"/>
                  <a:gd name="T16" fmla="*/ 386 w 1169"/>
                  <a:gd name="T17" fmla="*/ 646 h 1165"/>
                  <a:gd name="T18" fmla="*/ 294 w 1169"/>
                  <a:gd name="T19" fmla="*/ 681 h 1165"/>
                  <a:gd name="T20" fmla="*/ 245 w 1169"/>
                  <a:gd name="T21" fmla="*/ 748 h 1165"/>
                  <a:gd name="T22" fmla="*/ 252 w 1169"/>
                  <a:gd name="T23" fmla="*/ 812 h 1165"/>
                  <a:gd name="T24" fmla="*/ 299 w 1169"/>
                  <a:gd name="T25" fmla="*/ 855 h 1165"/>
                  <a:gd name="T26" fmla="*/ 374 w 1169"/>
                  <a:gd name="T27" fmla="*/ 879 h 1165"/>
                  <a:gd name="T28" fmla="*/ 468 w 1169"/>
                  <a:gd name="T29" fmla="*/ 882 h 1165"/>
                  <a:gd name="T30" fmla="*/ 549 w 1169"/>
                  <a:gd name="T31" fmla="*/ 858 h 1165"/>
                  <a:gd name="T32" fmla="*/ 598 w 1169"/>
                  <a:gd name="T33" fmla="*/ 813 h 1165"/>
                  <a:gd name="T34" fmla="*/ 614 w 1169"/>
                  <a:gd name="T35" fmla="*/ 753 h 1165"/>
                  <a:gd name="T36" fmla="*/ 603 w 1169"/>
                  <a:gd name="T37" fmla="*/ 686 h 1165"/>
                  <a:gd name="T38" fmla="*/ 554 w 1169"/>
                  <a:gd name="T39" fmla="*/ 633 h 1165"/>
                  <a:gd name="T40" fmla="*/ 521 w 1169"/>
                  <a:gd name="T41" fmla="*/ 607 h 1165"/>
                  <a:gd name="T42" fmla="*/ 503 w 1169"/>
                  <a:gd name="T43" fmla="*/ 572 h 1165"/>
                  <a:gd name="T44" fmla="*/ 516 w 1169"/>
                  <a:gd name="T45" fmla="*/ 544 h 1165"/>
                  <a:gd name="T46" fmla="*/ 560 w 1169"/>
                  <a:gd name="T47" fmla="*/ 504 h 1165"/>
                  <a:gd name="T48" fmla="*/ 592 w 1169"/>
                  <a:gd name="T49" fmla="*/ 445 h 1165"/>
                  <a:gd name="T50" fmla="*/ 589 w 1169"/>
                  <a:gd name="T51" fmla="*/ 380 h 1165"/>
                  <a:gd name="T52" fmla="*/ 563 w 1169"/>
                  <a:gd name="T53" fmla="*/ 330 h 1165"/>
                  <a:gd name="T54" fmla="*/ 594 w 1169"/>
                  <a:gd name="T55" fmla="*/ 312 h 1165"/>
                  <a:gd name="T56" fmla="*/ 806 w 1169"/>
                  <a:gd name="T57" fmla="*/ 272 h 1165"/>
                  <a:gd name="T58" fmla="*/ 694 w 1169"/>
                  <a:gd name="T59" fmla="*/ 423 h 1165"/>
                  <a:gd name="T60" fmla="*/ 846 w 1169"/>
                  <a:gd name="T61" fmla="*/ 533 h 1165"/>
                  <a:gd name="T62" fmla="*/ 956 w 1169"/>
                  <a:gd name="T63" fmla="*/ 382 h 1165"/>
                  <a:gd name="T64" fmla="*/ 806 w 1169"/>
                  <a:gd name="T65" fmla="*/ 272 h 1165"/>
                  <a:gd name="T66" fmla="*/ 725 w 1169"/>
                  <a:gd name="T67" fmla="*/ 13 h 1165"/>
                  <a:gd name="T68" fmla="*/ 890 w 1169"/>
                  <a:gd name="T69" fmla="*/ 77 h 1165"/>
                  <a:gd name="T70" fmla="*/ 1024 w 1169"/>
                  <a:gd name="T71" fmla="*/ 185 h 1165"/>
                  <a:gd name="T72" fmla="*/ 1118 w 1169"/>
                  <a:gd name="T73" fmla="*/ 331 h 1165"/>
                  <a:gd name="T74" fmla="*/ 1166 w 1169"/>
                  <a:gd name="T75" fmla="*/ 502 h 1165"/>
                  <a:gd name="T76" fmla="*/ 1156 w 1169"/>
                  <a:gd name="T77" fmla="*/ 684 h 1165"/>
                  <a:gd name="T78" fmla="*/ 1092 w 1169"/>
                  <a:gd name="T79" fmla="*/ 847 h 1165"/>
                  <a:gd name="T80" fmla="*/ 983 w 1169"/>
                  <a:gd name="T81" fmla="*/ 980 h 1165"/>
                  <a:gd name="T82" fmla="*/ 837 w 1169"/>
                  <a:gd name="T83" fmla="*/ 1075 h 1165"/>
                  <a:gd name="T84" fmla="*/ 666 w 1169"/>
                  <a:gd name="T85" fmla="*/ 1122 h 1165"/>
                  <a:gd name="T86" fmla="*/ 495 w 1169"/>
                  <a:gd name="T87" fmla="*/ 1113 h 1165"/>
                  <a:gd name="T88" fmla="*/ 342 w 1169"/>
                  <a:gd name="T89" fmla="*/ 1055 h 1165"/>
                  <a:gd name="T90" fmla="*/ 80 w 1169"/>
                  <a:gd name="T91" fmla="*/ 1165 h 1165"/>
                  <a:gd name="T92" fmla="*/ 22 w 1169"/>
                  <a:gd name="T93" fmla="*/ 1107 h 1165"/>
                  <a:gd name="T94" fmla="*/ 143 w 1169"/>
                  <a:gd name="T95" fmla="*/ 879 h 1165"/>
                  <a:gd name="T96" fmla="*/ 75 w 1169"/>
                  <a:gd name="T97" fmla="*/ 757 h 1165"/>
                  <a:gd name="T98" fmla="*/ 43 w 1169"/>
                  <a:gd name="T99" fmla="*/ 614 h 1165"/>
                  <a:gd name="T100" fmla="*/ 53 w 1169"/>
                  <a:gd name="T101" fmla="*/ 442 h 1165"/>
                  <a:gd name="T102" fmla="*/ 117 w 1169"/>
                  <a:gd name="T103" fmla="*/ 278 h 1165"/>
                  <a:gd name="T104" fmla="*/ 226 w 1169"/>
                  <a:gd name="T105" fmla="*/ 145 h 1165"/>
                  <a:gd name="T106" fmla="*/ 371 w 1169"/>
                  <a:gd name="T107" fmla="*/ 51 h 1165"/>
                  <a:gd name="T108" fmla="*/ 543 w 1169"/>
                  <a:gd name="T109" fmla="*/ 4 h 1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69" h="1165">
                    <a:moveTo>
                      <a:pt x="453" y="282"/>
                    </a:moveTo>
                    <a:lnTo>
                      <a:pt x="423" y="285"/>
                    </a:lnTo>
                    <a:lnTo>
                      <a:pt x="394" y="292"/>
                    </a:lnTo>
                    <a:lnTo>
                      <a:pt x="367" y="304"/>
                    </a:lnTo>
                    <a:lnTo>
                      <a:pt x="342" y="320"/>
                    </a:lnTo>
                    <a:lnTo>
                      <a:pt x="322" y="340"/>
                    </a:lnTo>
                    <a:lnTo>
                      <a:pt x="306" y="362"/>
                    </a:lnTo>
                    <a:lnTo>
                      <a:pt x="296" y="386"/>
                    </a:lnTo>
                    <a:lnTo>
                      <a:pt x="292" y="412"/>
                    </a:lnTo>
                    <a:lnTo>
                      <a:pt x="295" y="438"/>
                    </a:lnTo>
                    <a:lnTo>
                      <a:pt x="302" y="462"/>
                    </a:lnTo>
                    <a:lnTo>
                      <a:pt x="315" y="485"/>
                    </a:lnTo>
                    <a:lnTo>
                      <a:pt x="333" y="504"/>
                    </a:lnTo>
                    <a:lnTo>
                      <a:pt x="353" y="520"/>
                    </a:lnTo>
                    <a:lnTo>
                      <a:pt x="377" y="532"/>
                    </a:lnTo>
                    <a:lnTo>
                      <a:pt x="403" y="540"/>
                    </a:lnTo>
                    <a:lnTo>
                      <a:pt x="433" y="543"/>
                    </a:lnTo>
                    <a:lnTo>
                      <a:pt x="453" y="543"/>
                    </a:lnTo>
                    <a:lnTo>
                      <a:pt x="446" y="553"/>
                    </a:lnTo>
                    <a:lnTo>
                      <a:pt x="443" y="563"/>
                    </a:lnTo>
                    <a:lnTo>
                      <a:pt x="443" y="572"/>
                    </a:lnTo>
                    <a:lnTo>
                      <a:pt x="444" y="588"/>
                    </a:lnTo>
                    <a:lnTo>
                      <a:pt x="448" y="605"/>
                    </a:lnTo>
                    <a:lnTo>
                      <a:pt x="452" y="623"/>
                    </a:lnTo>
                    <a:lnTo>
                      <a:pt x="453" y="643"/>
                    </a:lnTo>
                    <a:lnTo>
                      <a:pt x="423" y="643"/>
                    </a:lnTo>
                    <a:lnTo>
                      <a:pt x="386" y="646"/>
                    </a:lnTo>
                    <a:lnTo>
                      <a:pt x="352" y="654"/>
                    </a:lnTo>
                    <a:lnTo>
                      <a:pt x="321" y="665"/>
                    </a:lnTo>
                    <a:lnTo>
                      <a:pt x="294" y="681"/>
                    </a:lnTo>
                    <a:lnTo>
                      <a:pt x="272" y="702"/>
                    </a:lnTo>
                    <a:lnTo>
                      <a:pt x="255" y="723"/>
                    </a:lnTo>
                    <a:lnTo>
                      <a:pt x="245" y="748"/>
                    </a:lnTo>
                    <a:lnTo>
                      <a:pt x="241" y="773"/>
                    </a:lnTo>
                    <a:lnTo>
                      <a:pt x="245" y="794"/>
                    </a:lnTo>
                    <a:lnTo>
                      <a:pt x="252" y="812"/>
                    </a:lnTo>
                    <a:lnTo>
                      <a:pt x="264" y="828"/>
                    </a:lnTo>
                    <a:lnTo>
                      <a:pt x="280" y="843"/>
                    </a:lnTo>
                    <a:lnTo>
                      <a:pt x="299" y="855"/>
                    </a:lnTo>
                    <a:lnTo>
                      <a:pt x="322" y="865"/>
                    </a:lnTo>
                    <a:lnTo>
                      <a:pt x="348" y="873"/>
                    </a:lnTo>
                    <a:lnTo>
                      <a:pt x="374" y="879"/>
                    </a:lnTo>
                    <a:lnTo>
                      <a:pt x="403" y="882"/>
                    </a:lnTo>
                    <a:lnTo>
                      <a:pt x="433" y="884"/>
                    </a:lnTo>
                    <a:lnTo>
                      <a:pt x="468" y="882"/>
                    </a:lnTo>
                    <a:lnTo>
                      <a:pt x="498" y="877"/>
                    </a:lnTo>
                    <a:lnTo>
                      <a:pt x="526" y="869"/>
                    </a:lnTo>
                    <a:lnTo>
                      <a:pt x="549" y="858"/>
                    </a:lnTo>
                    <a:lnTo>
                      <a:pt x="569" y="845"/>
                    </a:lnTo>
                    <a:lnTo>
                      <a:pt x="585" y="830"/>
                    </a:lnTo>
                    <a:lnTo>
                      <a:pt x="598" y="813"/>
                    </a:lnTo>
                    <a:lnTo>
                      <a:pt x="607" y="794"/>
                    </a:lnTo>
                    <a:lnTo>
                      <a:pt x="613" y="775"/>
                    </a:lnTo>
                    <a:lnTo>
                      <a:pt x="614" y="753"/>
                    </a:lnTo>
                    <a:lnTo>
                      <a:pt x="613" y="730"/>
                    </a:lnTo>
                    <a:lnTo>
                      <a:pt x="610" y="706"/>
                    </a:lnTo>
                    <a:lnTo>
                      <a:pt x="603" y="686"/>
                    </a:lnTo>
                    <a:lnTo>
                      <a:pt x="591" y="667"/>
                    </a:lnTo>
                    <a:lnTo>
                      <a:pt x="575" y="649"/>
                    </a:lnTo>
                    <a:lnTo>
                      <a:pt x="554" y="633"/>
                    </a:lnTo>
                    <a:lnTo>
                      <a:pt x="543" y="626"/>
                    </a:lnTo>
                    <a:lnTo>
                      <a:pt x="532" y="617"/>
                    </a:lnTo>
                    <a:lnTo>
                      <a:pt x="521" y="607"/>
                    </a:lnTo>
                    <a:lnTo>
                      <a:pt x="512" y="595"/>
                    </a:lnTo>
                    <a:lnTo>
                      <a:pt x="505" y="583"/>
                    </a:lnTo>
                    <a:lnTo>
                      <a:pt x="503" y="572"/>
                    </a:lnTo>
                    <a:lnTo>
                      <a:pt x="504" y="562"/>
                    </a:lnTo>
                    <a:lnTo>
                      <a:pt x="509" y="552"/>
                    </a:lnTo>
                    <a:lnTo>
                      <a:pt x="516" y="544"/>
                    </a:lnTo>
                    <a:lnTo>
                      <a:pt x="528" y="534"/>
                    </a:lnTo>
                    <a:lnTo>
                      <a:pt x="544" y="522"/>
                    </a:lnTo>
                    <a:lnTo>
                      <a:pt x="560" y="504"/>
                    </a:lnTo>
                    <a:lnTo>
                      <a:pt x="574" y="486"/>
                    </a:lnTo>
                    <a:lnTo>
                      <a:pt x="585" y="467"/>
                    </a:lnTo>
                    <a:lnTo>
                      <a:pt x="592" y="445"/>
                    </a:lnTo>
                    <a:lnTo>
                      <a:pt x="594" y="423"/>
                    </a:lnTo>
                    <a:lnTo>
                      <a:pt x="593" y="401"/>
                    </a:lnTo>
                    <a:lnTo>
                      <a:pt x="589" y="380"/>
                    </a:lnTo>
                    <a:lnTo>
                      <a:pt x="583" y="361"/>
                    </a:lnTo>
                    <a:lnTo>
                      <a:pt x="574" y="344"/>
                    </a:lnTo>
                    <a:lnTo>
                      <a:pt x="563" y="330"/>
                    </a:lnTo>
                    <a:lnTo>
                      <a:pt x="549" y="318"/>
                    </a:lnTo>
                    <a:lnTo>
                      <a:pt x="533" y="312"/>
                    </a:lnTo>
                    <a:lnTo>
                      <a:pt x="594" y="312"/>
                    </a:lnTo>
                    <a:lnTo>
                      <a:pt x="634" y="282"/>
                    </a:lnTo>
                    <a:lnTo>
                      <a:pt x="453" y="282"/>
                    </a:lnTo>
                    <a:close/>
                    <a:moveTo>
                      <a:pt x="806" y="272"/>
                    </a:moveTo>
                    <a:lnTo>
                      <a:pt x="806" y="382"/>
                    </a:lnTo>
                    <a:lnTo>
                      <a:pt x="694" y="382"/>
                    </a:lnTo>
                    <a:lnTo>
                      <a:pt x="694" y="423"/>
                    </a:lnTo>
                    <a:lnTo>
                      <a:pt x="806" y="423"/>
                    </a:lnTo>
                    <a:lnTo>
                      <a:pt x="806" y="533"/>
                    </a:lnTo>
                    <a:lnTo>
                      <a:pt x="846" y="533"/>
                    </a:lnTo>
                    <a:lnTo>
                      <a:pt x="846" y="423"/>
                    </a:lnTo>
                    <a:lnTo>
                      <a:pt x="956" y="423"/>
                    </a:lnTo>
                    <a:lnTo>
                      <a:pt x="956" y="382"/>
                    </a:lnTo>
                    <a:lnTo>
                      <a:pt x="846" y="382"/>
                    </a:lnTo>
                    <a:lnTo>
                      <a:pt x="846" y="272"/>
                    </a:lnTo>
                    <a:lnTo>
                      <a:pt x="806" y="272"/>
                    </a:lnTo>
                    <a:close/>
                    <a:moveTo>
                      <a:pt x="604" y="0"/>
                    </a:moveTo>
                    <a:lnTo>
                      <a:pt x="666" y="4"/>
                    </a:lnTo>
                    <a:lnTo>
                      <a:pt x="725" y="13"/>
                    </a:lnTo>
                    <a:lnTo>
                      <a:pt x="783" y="29"/>
                    </a:lnTo>
                    <a:lnTo>
                      <a:pt x="837" y="51"/>
                    </a:lnTo>
                    <a:lnTo>
                      <a:pt x="890" y="77"/>
                    </a:lnTo>
                    <a:lnTo>
                      <a:pt x="938" y="110"/>
                    </a:lnTo>
                    <a:lnTo>
                      <a:pt x="983" y="145"/>
                    </a:lnTo>
                    <a:lnTo>
                      <a:pt x="1024" y="185"/>
                    </a:lnTo>
                    <a:lnTo>
                      <a:pt x="1060" y="230"/>
                    </a:lnTo>
                    <a:lnTo>
                      <a:pt x="1092" y="278"/>
                    </a:lnTo>
                    <a:lnTo>
                      <a:pt x="1118" y="331"/>
                    </a:lnTo>
                    <a:lnTo>
                      <a:pt x="1140" y="385"/>
                    </a:lnTo>
                    <a:lnTo>
                      <a:pt x="1156" y="442"/>
                    </a:lnTo>
                    <a:lnTo>
                      <a:pt x="1166" y="502"/>
                    </a:lnTo>
                    <a:lnTo>
                      <a:pt x="1169" y="563"/>
                    </a:lnTo>
                    <a:lnTo>
                      <a:pt x="1166" y="624"/>
                    </a:lnTo>
                    <a:lnTo>
                      <a:pt x="1156" y="684"/>
                    </a:lnTo>
                    <a:lnTo>
                      <a:pt x="1140" y="740"/>
                    </a:lnTo>
                    <a:lnTo>
                      <a:pt x="1118" y="795"/>
                    </a:lnTo>
                    <a:lnTo>
                      <a:pt x="1092" y="847"/>
                    </a:lnTo>
                    <a:lnTo>
                      <a:pt x="1060" y="895"/>
                    </a:lnTo>
                    <a:lnTo>
                      <a:pt x="1024" y="939"/>
                    </a:lnTo>
                    <a:lnTo>
                      <a:pt x="983" y="980"/>
                    </a:lnTo>
                    <a:lnTo>
                      <a:pt x="938" y="1016"/>
                    </a:lnTo>
                    <a:lnTo>
                      <a:pt x="890" y="1048"/>
                    </a:lnTo>
                    <a:lnTo>
                      <a:pt x="837" y="1075"/>
                    </a:lnTo>
                    <a:lnTo>
                      <a:pt x="783" y="1096"/>
                    </a:lnTo>
                    <a:lnTo>
                      <a:pt x="725" y="1111"/>
                    </a:lnTo>
                    <a:lnTo>
                      <a:pt x="666" y="1122"/>
                    </a:lnTo>
                    <a:lnTo>
                      <a:pt x="604" y="1125"/>
                    </a:lnTo>
                    <a:lnTo>
                      <a:pt x="548" y="1122"/>
                    </a:lnTo>
                    <a:lnTo>
                      <a:pt x="495" y="1113"/>
                    </a:lnTo>
                    <a:lnTo>
                      <a:pt x="442" y="1098"/>
                    </a:lnTo>
                    <a:lnTo>
                      <a:pt x="392" y="1079"/>
                    </a:lnTo>
                    <a:lnTo>
                      <a:pt x="342" y="1055"/>
                    </a:lnTo>
                    <a:lnTo>
                      <a:pt x="296" y="1027"/>
                    </a:lnTo>
                    <a:lnTo>
                      <a:pt x="251" y="994"/>
                    </a:lnTo>
                    <a:lnTo>
                      <a:pt x="80" y="1165"/>
                    </a:lnTo>
                    <a:lnTo>
                      <a:pt x="63" y="1148"/>
                    </a:lnTo>
                    <a:lnTo>
                      <a:pt x="44" y="1128"/>
                    </a:lnTo>
                    <a:lnTo>
                      <a:pt x="22" y="1107"/>
                    </a:lnTo>
                    <a:lnTo>
                      <a:pt x="0" y="1085"/>
                    </a:lnTo>
                    <a:lnTo>
                      <a:pt x="170" y="915"/>
                    </a:lnTo>
                    <a:lnTo>
                      <a:pt x="143" y="879"/>
                    </a:lnTo>
                    <a:lnTo>
                      <a:pt x="117" y="841"/>
                    </a:lnTo>
                    <a:lnTo>
                      <a:pt x="94" y="800"/>
                    </a:lnTo>
                    <a:lnTo>
                      <a:pt x="75" y="757"/>
                    </a:lnTo>
                    <a:lnTo>
                      <a:pt x="60" y="711"/>
                    </a:lnTo>
                    <a:lnTo>
                      <a:pt x="49" y="664"/>
                    </a:lnTo>
                    <a:lnTo>
                      <a:pt x="43" y="614"/>
                    </a:lnTo>
                    <a:lnTo>
                      <a:pt x="39" y="563"/>
                    </a:lnTo>
                    <a:lnTo>
                      <a:pt x="44" y="502"/>
                    </a:lnTo>
                    <a:lnTo>
                      <a:pt x="53" y="442"/>
                    </a:lnTo>
                    <a:lnTo>
                      <a:pt x="68" y="385"/>
                    </a:lnTo>
                    <a:lnTo>
                      <a:pt x="90" y="331"/>
                    </a:lnTo>
                    <a:lnTo>
                      <a:pt x="117" y="278"/>
                    </a:lnTo>
                    <a:lnTo>
                      <a:pt x="149" y="230"/>
                    </a:lnTo>
                    <a:lnTo>
                      <a:pt x="185" y="185"/>
                    </a:lnTo>
                    <a:lnTo>
                      <a:pt x="226" y="145"/>
                    </a:lnTo>
                    <a:lnTo>
                      <a:pt x="270" y="110"/>
                    </a:lnTo>
                    <a:lnTo>
                      <a:pt x="320" y="77"/>
                    </a:lnTo>
                    <a:lnTo>
                      <a:pt x="371" y="51"/>
                    </a:lnTo>
                    <a:lnTo>
                      <a:pt x="426" y="29"/>
                    </a:lnTo>
                    <a:lnTo>
                      <a:pt x="483" y="13"/>
                    </a:lnTo>
                    <a:lnTo>
                      <a:pt x="543" y="4"/>
                    </a:lnTo>
                    <a:lnTo>
                      <a:pt x="60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88" name="Freeform 21"/>
              <p:cNvSpPr>
                <a:spLocks noEditPoints="1"/>
              </p:cNvSpPr>
              <p:nvPr/>
            </p:nvSpPr>
            <p:spPr bwMode="auto">
              <a:xfrm>
                <a:off x="-459" y="2628"/>
                <a:ext cx="167" cy="164"/>
              </a:xfrm>
              <a:custGeom>
                <a:avLst/>
                <a:gdLst>
                  <a:gd name="T0" fmla="*/ 434 w 1170"/>
                  <a:gd name="T1" fmla="*/ 852 h 1154"/>
                  <a:gd name="T2" fmla="*/ 747 w 1170"/>
                  <a:gd name="T3" fmla="*/ 492 h 1154"/>
                  <a:gd name="T4" fmla="*/ 680 w 1170"/>
                  <a:gd name="T5" fmla="*/ 509 h 1154"/>
                  <a:gd name="T6" fmla="*/ 641 w 1170"/>
                  <a:gd name="T7" fmla="*/ 542 h 1154"/>
                  <a:gd name="T8" fmla="*/ 515 w 1170"/>
                  <a:gd name="T9" fmla="*/ 502 h 1154"/>
                  <a:gd name="T10" fmla="*/ 636 w 1170"/>
                  <a:gd name="T11" fmla="*/ 632 h 1154"/>
                  <a:gd name="T12" fmla="*/ 665 w 1170"/>
                  <a:gd name="T13" fmla="*/ 600 h 1154"/>
                  <a:gd name="T14" fmla="*/ 714 w 1170"/>
                  <a:gd name="T15" fmla="*/ 595 h 1154"/>
                  <a:gd name="T16" fmla="*/ 750 w 1170"/>
                  <a:gd name="T17" fmla="*/ 629 h 1154"/>
                  <a:gd name="T18" fmla="*/ 756 w 1170"/>
                  <a:gd name="T19" fmla="*/ 852 h 1154"/>
                  <a:gd name="T20" fmla="*/ 886 w 1170"/>
                  <a:gd name="T21" fmla="*/ 621 h 1154"/>
                  <a:gd name="T22" fmla="*/ 861 w 1170"/>
                  <a:gd name="T23" fmla="*/ 547 h 1154"/>
                  <a:gd name="T24" fmla="*/ 812 w 1170"/>
                  <a:gd name="T25" fmla="*/ 506 h 1154"/>
                  <a:gd name="T26" fmla="*/ 747 w 1170"/>
                  <a:gd name="T27" fmla="*/ 492 h 1154"/>
                  <a:gd name="T28" fmla="*/ 347 w 1170"/>
                  <a:gd name="T29" fmla="*/ 340 h 1154"/>
                  <a:gd name="T30" fmla="*/ 315 w 1170"/>
                  <a:gd name="T31" fmla="*/ 376 h 1154"/>
                  <a:gd name="T32" fmla="*/ 322 w 1170"/>
                  <a:gd name="T33" fmla="*/ 420 h 1154"/>
                  <a:gd name="T34" fmla="*/ 364 w 1170"/>
                  <a:gd name="T35" fmla="*/ 449 h 1154"/>
                  <a:gd name="T36" fmla="*/ 418 w 1170"/>
                  <a:gd name="T37" fmla="*/ 445 h 1154"/>
                  <a:gd name="T38" fmla="*/ 448 w 1170"/>
                  <a:gd name="T39" fmla="*/ 410 h 1154"/>
                  <a:gd name="T40" fmla="*/ 445 w 1170"/>
                  <a:gd name="T41" fmla="*/ 363 h 1154"/>
                  <a:gd name="T42" fmla="*/ 403 w 1170"/>
                  <a:gd name="T43" fmla="*/ 334 h 1154"/>
                  <a:gd name="T44" fmla="*/ 242 w 1170"/>
                  <a:gd name="T45" fmla="*/ 170 h 1154"/>
                  <a:gd name="T46" fmla="*/ 359 w 1170"/>
                  <a:gd name="T47" fmla="*/ 94 h 1154"/>
                  <a:gd name="T48" fmla="*/ 497 w 1170"/>
                  <a:gd name="T49" fmla="*/ 49 h 1154"/>
                  <a:gd name="T50" fmla="*/ 657 w 1170"/>
                  <a:gd name="T51" fmla="*/ 43 h 1154"/>
                  <a:gd name="T52" fmla="*/ 829 w 1170"/>
                  <a:gd name="T53" fmla="*/ 88 h 1154"/>
                  <a:gd name="T54" fmla="*/ 975 w 1170"/>
                  <a:gd name="T55" fmla="*/ 180 h 1154"/>
                  <a:gd name="T56" fmla="*/ 1086 w 1170"/>
                  <a:gd name="T57" fmla="*/ 310 h 1154"/>
                  <a:gd name="T58" fmla="*/ 1153 w 1170"/>
                  <a:gd name="T59" fmla="*/ 472 h 1154"/>
                  <a:gd name="T60" fmla="*/ 1166 w 1170"/>
                  <a:gd name="T61" fmla="*/ 653 h 1154"/>
                  <a:gd name="T62" fmla="*/ 1119 w 1170"/>
                  <a:gd name="T63" fmla="*/ 824 h 1154"/>
                  <a:gd name="T64" fmla="*/ 1025 w 1170"/>
                  <a:gd name="T65" fmla="*/ 969 h 1154"/>
                  <a:gd name="T66" fmla="*/ 890 w 1170"/>
                  <a:gd name="T67" fmla="*/ 1077 h 1154"/>
                  <a:gd name="T68" fmla="*/ 726 w 1170"/>
                  <a:gd name="T69" fmla="*/ 1141 h 1154"/>
                  <a:gd name="T70" fmla="*/ 544 w 1170"/>
                  <a:gd name="T71" fmla="*/ 1150 h 1154"/>
                  <a:gd name="T72" fmla="*/ 372 w 1170"/>
                  <a:gd name="T73" fmla="*/ 1103 h 1154"/>
                  <a:gd name="T74" fmla="*/ 227 w 1170"/>
                  <a:gd name="T75" fmla="*/ 1009 h 1154"/>
                  <a:gd name="T76" fmla="*/ 117 w 1170"/>
                  <a:gd name="T77" fmla="*/ 876 h 1154"/>
                  <a:gd name="T78" fmla="*/ 54 w 1170"/>
                  <a:gd name="T79" fmla="*/ 712 h 1154"/>
                  <a:gd name="T80" fmla="*/ 44 w 1170"/>
                  <a:gd name="T81" fmla="*/ 537 h 1154"/>
                  <a:gd name="T82" fmla="*/ 86 w 1170"/>
                  <a:gd name="T83" fmla="*/ 380 h 1154"/>
                  <a:gd name="T84" fmla="*/ 172 w 1170"/>
                  <a:gd name="T85" fmla="*/ 241 h 1154"/>
                  <a:gd name="T86" fmla="*/ 36 w 1170"/>
                  <a:gd name="T87" fmla="*/ 39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70" h="1154">
                    <a:moveTo>
                      <a:pt x="324" y="502"/>
                    </a:moveTo>
                    <a:lnTo>
                      <a:pt x="324" y="852"/>
                    </a:lnTo>
                    <a:lnTo>
                      <a:pt x="434" y="852"/>
                    </a:lnTo>
                    <a:lnTo>
                      <a:pt x="434" y="502"/>
                    </a:lnTo>
                    <a:lnTo>
                      <a:pt x="324" y="502"/>
                    </a:lnTo>
                    <a:close/>
                    <a:moveTo>
                      <a:pt x="747" y="492"/>
                    </a:moveTo>
                    <a:lnTo>
                      <a:pt x="722" y="494"/>
                    </a:lnTo>
                    <a:lnTo>
                      <a:pt x="699" y="500"/>
                    </a:lnTo>
                    <a:lnTo>
                      <a:pt x="680" y="509"/>
                    </a:lnTo>
                    <a:lnTo>
                      <a:pt x="664" y="520"/>
                    </a:lnTo>
                    <a:lnTo>
                      <a:pt x="651" y="531"/>
                    </a:lnTo>
                    <a:lnTo>
                      <a:pt x="641" y="542"/>
                    </a:lnTo>
                    <a:lnTo>
                      <a:pt x="636" y="552"/>
                    </a:lnTo>
                    <a:lnTo>
                      <a:pt x="636" y="502"/>
                    </a:lnTo>
                    <a:lnTo>
                      <a:pt x="515" y="502"/>
                    </a:lnTo>
                    <a:lnTo>
                      <a:pt x="515" y="853"/>
                    </a:lnTo>
                    <a:lnTo>
                      <a:pt x="636" y="853"/>
                    </a:lnTo>
                    <a:lnTo>
                      <a:pt x="636" y="632"/>
                    </a:lnTo>
                    <a:lnTo>
                      <a:pt x="642" y="620"/>
                    </a:lnTo>
                    <a:lnTo>
                      <a:pt x="652" y="609"/>
                    </a:lnTo>
                    <a:lnTo>
                      <a:pt x="665" y="600"/>
                    </a:lnTo>
                    <a:lnTo>
                      <a:pt x="679" y="595"/>
                    </a:lnTo>
                    <a:lnTo>
                      <a:pt x="696" y="592"/>
                    </a:lnTo>
                    <a:lnTo>
                      <a:pt x="714" y="595"/>
                    </a:lnTo>
                    <a:lnTo>
                      <a:pt x="729" y="602"/>
                    </a:lnTo>
                    <a:lnTo>
                      <a:pt x="741" y="613"/>
                    </a:lnTo>
                    <a:lnTo>
                      <a:pt x="750" y="629"/>
                    </a:lnTo>
                    <a:lnTo>
                      <a:pt x="755" y="649"/>
                    </a:lnTo>
                    <a:lnTo>
                      <a:pt x="756" y="673"/>
                    </a:lnTo>
                    <a:lnTo>
                      <a:pt x="756" y="852"/>
                    </a:lnTo>
                    <a:lnTo>
                      <a:pt x="887" y="852"/>
                    </a:lnTo>
                    <a:lnTo>
                      <a:pt x="887" y="652"/>
                    </a:lnTo>
                    <a:lnTo>
                      <a:pt x="886" y="621"/>
                    </a:lnTo>
                    <a:lnTo>
                      <a:pt x="881" y="593"/>
                    </a:lnTo>
                    <a:lnTo>
                      <a:pt x="872" y="569"/>
                    </a:lnTo>
                    <a:lnTo>
                      <a:pt x="861" y="547"/>
                    </a:lnTo>
                    <a:lnTo>
                      <a:pt x="847" y="530"/>
                    </a:lnTo>
                    <a:lnTo>
                      <a:pt x="830" y="516"/>
                    </a:lnTo>
                    <a:lnTo>
                      <a:pt x="812" y="506"/>
                    </a:lnTo>
                    <a:lnTo>
                      <a:pt x="792" y="497"/>
                    </a:lnTo>
                    <a:lnTo>
                      <a:pt x="770" y="493"/>
                    </a:lnTo>
                    <a:lnTo>
                      <a:pt x="747" y="492"/>
                    </a:lnTo>
                    <a:close/>
                    <a:moveTo>
                      <a:pt x="384" y="330"/>
                    </a:moveTo>
                    <a:lnTo>
                      <a:pt x="364" y="334"/>
                    </a:lnTo>
                    <a:lnTo>
                      <a:pt x="347" y="340"/>
                    </a:lnTo>
                    <a:lnTo>
                      <a:pt x="333" y="350"/>
                    </a:lnTo>
                    <a:lnTo>
                      <a:pt x="322" y="363"/>
                    </a:lnTo>
                    <a:lnTo>
                      <a:pt x="315" y="376"/>
                    </a:lnTo>
                    <a:lnTo>
                      <a:pt x="313" y="391"/>
                    </a:lnTo>
                    <a:lnTo>
                      <a:pt x="315" y="406"/>
                    </a:lnTo>
                    <a:lnTo>
                      <a:pt x="322" y="420"/>
                    </a:lnTo>
                    <a:lnTo>
                      <a:pt x="333" y="432"/>
                    </a:lnTo>
                    <a:lnTo>
                      <a:pt x="347" y="443"/>
                    </a:lnTo>
                    <a:lnTo>
                      <a:pt x="364" y="449"/>
                    </a:lnTo>
                    <a:lnTo>
                      <a:pt x="384" y="451"/>
                    </a:lnTo>
                    <a:lnTo>
                      <a:pt x="402" y="449"/>
                    </a:lnTo>
                    <a:lnTo>
                      <a:pt x="418" y="445"/>
                    </a:lnTo>
                    <a:lnTo>
                      <a:pt x="430" y="436"/>
                    </a:lnTo>
                    <a:lnTo>
                      <a:pt x="441" y="425"/>
                    </a:lnTo>
                    <a:lnTo>
                      <a:pt x="448" y="410"/>
                    </a:lnTo>
                    <a:lnTo>
                      <a:pt x="455" y="391"/>
                    </a:lnTo>
                    <a:lnTo>
                      <a:pt x="451" y="376"/>
                    </a:lnTo>
                    <a:lnTo>
                      <a:pt x="445" y="363"/>
                    </a:lnTo>
                    <a:lnTo>
                      <a:pt x="434" y="350"/>
                    </a:lnTo>
                    <a:lnTo>
                      <a:pt x="420" y="340"/>
                    </a:lnTo>
                    <a:lnTo>
                      <a:pt x="403" y="334"/>
                    </a:lnTo>
                    <a:lnTo>
                      <a:pt x="384" y="330"/>
                    </a:lnTo>
                    <a:close/>
                    <a:moveTo>
                      <a:pt x="71" y="0"/>
                    </a:moveTo>
                    <a:lnTo>
                      <a:pt x="242" y="170"/>
                    </a:lnTo>
                    <a:lnTo>
                      <a:pt x="278" y="141"/>
                    </a:lnTo>
                    <a:lnTo>
                      <a:pt x="317" y="116"/>
                    </a:lnTo>
                    <a:lnTo>
                      <a:pt x="359" y="94"/>
                    </a:lnTo>
                    <a:lnTo>
                      <a:pt x="404" y="75"/>
                    </a:lnTo>
                    <a:lnTo>
                      <a:pt x="450" y="60"/>
                    </a:lnTo>
                    <a:lnTo>
                      <a:pt x="497" y="49"/>
                    </a:lnTo>
                    <a:lnTo>
                      <a:pt x="546" y="42"/>
                    </a:lnTo>
                    <a:lnTo>
                      <a:pt x="595" y="40"/>
                    </a:lnTo>
                    <a:lnTo>
                      <a:pt x="657" y="43"/>
                    </a:lnTo>
                    <a:lnTo>
                      <a:pt x="716" y="52"/>
                    </a:lnTo>
                    <a:lnTo>
                      <a:pt x="774" y="67"/>
                    </a:lnTo>
                    <a:lnTo>
                      <a:pt x="829" y="88"/>
                    </a:lnTo>
                    <a:lnTo>
                      <a:pt x="881" y="113"/>
                    </a:lnTo>
                    <a:lnTo>
                      <a:pt x="929" y="144"/>
                    </a:lnTo>
                    <a:lnTo>
                      <a:pt x="975" y="180"/>
                    </a:lnTo>
                    <a:lnTo>
                      <a:pt x="1016" y="219"/>
                    </a:lnTo>
                    <a:lnTo>
                      <a:pt x="1054" y="263"/>
                    </a:lnTo>
                    <a:lnTo>
                      <a:pt x="1086" y="310"/>
                    </a:lnTo>
                    <a:lnTo>
                      <a:pt x="1114" y="361"/>
                    </a:lnTo>
                    <a:lnTo>
                      <a:pt x="1136" y="415"/>
                    </a:lnTo>
                    <a:lnTo>
                      <a:pt x="1153" y="472"/>
                    </a:lnTo>
                    <a:lnTo>
                      <a:pt x="1164" y="530"/>
                    </a:lnTo>
                    <a:lnTo>
                      <a:pt x="1170" y="591"/>
                    </a:lnTo>
                    <a:lnTo>
                      <a:pt x="1166" y="653"/>
                    </a:lnTo>
                    <a:lnTo>
                      <a:pt x="1157" y="712"/>
                    </a:lnTo>
                    <a:lnTo>
                      <a:pt x="1141" y="770"/>
                    </a:lnTo>
                    <a:lnTo>
                      <a:pt x="1119" y="824"/>
                    </a:lnTo>
                    <a:lnTo>
                      <a:pt x="1093" y="876"/>
                    </a:lnTo>
                    <a:lnTo>
                      <a:pt x="1061" y="924"/>
                    </a:lnTo>
                    <a:lnTo>
                      <a:pt x="1025" y="969"/>
                    </a:lnTo>
                    <a:lnTo>
                      <a:pt x="984" y="1009"/>
                    </a:lnTo>
                    <a:lnTo>
                      <a:pt x="939" y="1046"/>
                    </a:lnTo>
                    <a:lnTo>
                      <a:pt x="890" y="1077"/>
                    </a:lnTo>
                    <a:lnTo>
                      <a:pt x="839" y="1103"/>
                    </a:lnTo>
                    <a:lnTo>
                      <a:pt x="784" y="1125"/>
                    </a:lnTo>
                    <a:lnTo>
                      <a:pt x="726" y="1141"/>
                    </a:lnTo>
                    <a:lnTo>
                      <a:pt x="667" y="1150"/>
                    </a:lnTo>
                    <a:lnTo>
                      <a:pt x="605" y="1154"/>
                    </a:lnTo>
                    <a:lnTo>
                      <a:pt x="544" y="1150"/>
                    </a:lnTo>
                    <a:lnTo>
                      <a:pt x="485" y="1141"/>
                    </a:lnTo>
                    <a:lnTo>
                      <a:pt x="427" y="1125"/>
                    </a:lnTo>
                    <a:lnTo>
                      <a:pt x="372" y="1103"/>
                    </a:lnTo>
                    <a:lnTo>
                      <a:pt x="320" y="1077"/>
                    </a:lnTo>
                    <a:lnTo>
                      <a:pt x="272" y="1046"/>
                    </a:lnTo>
                    <a:lnTo>
                      <a:pt x="227" y="1009"/>
                    </a:lnTo>
                    <a:lnTo>
                      <a:pt x="186" y="969"/>
                    </a:lnTo>
                    <a:lnTo>
                      <a:pt x="150" y="924"/>
                    </a:lnTo>
                    <a:lnTo>
                      <a:pt x="117" y="876"/>
                    </a:lnTo>
                    <a:lnTo>
                      <a:pt x="92" y="824"/>
                    </a:lnTo>
                    <a:lnTo>
                      <a:pt x="70" y="770"/>
                    </a:lnTo>
                    <a:lnTo>
                      <a:pt x="54" y="712"/>
                    </a:lnTo>
                    <a:lnTo>
                      <a:pt x="44" y="653"/>
                    </a:lnTo>
                    <a:lnTo>
                      <a:pt x="41" y="591"/>
                    </a:lnTo>
                    <a:lnTo>
                      <a:pt x="44" y="537"/>
                    </a:lnTo>
                    <a:lnTo>
                      <a:pt x="53" y="482"/>
                    </a:lnTo>
                    <a:lnTo>
                      <a:pt x="67" y="430"/>
                    </a:lnTo>
                    <a:lnTo>
                      <a:pt x="86" y="380"/>
                    </a:lnTo>
                    <a:lnTo>
                      <a:pt x="111" y="332"/>
                    </a:lnTo>
                    <a:lnTo>
                      <a:pt x="139" y="284"/>
                    </a:lnTo>
                    <a:lnTo>
                      <a:pt x="172" y="241"/>
                    </a:lnTo>
                    <a:lnTo>
                      <a:pt x="0" y="70"/>
                    </a:lnTo>
                    <a:lnTo>
                      <a:pt x="18" y="55"/>
                    </a:lnTo>
                    <a:lnTo>
                      <a:pt x="36" y="39"/>
                    </a:lnTo>
                    <a:lnTo>
                      <a:pt x="54" y="20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89" name="Freeform 22"/>
              <p:cNvSpPr>
                <a:spLocks noEditPoints="1"/>
              </p:cNvSpPr>
              <p:nvPr/>
            </p:nvSpPr>
            <p:spPr bwMode="auto">
              <a:xfrm>
                <a:off x="-783" y="2628"/>
                <a:ext cx="167" cy="166"/>
              </a:xfrm>
              <a:custGeom>
                <a:avLst/>
                <a:gdLst>
                  <a:gd name="T0" fmla="*/ 636 w 1169"/>
                  <a:gd name="T1" fmla="*/ 391 h 1164"/>
                  <a:gd name="T2" fmla="*/ 578 w 1169"/>
                  <a:gd name="T3" fmla="*/ 439 h 1164"/>
                  <a:gd name="T4" fmla="*/ 554 w 1169"/>
                  <a:gd name="T5" fmla="*/ 511 h 1164"/>
                  <a:gd name="T6" fmla="*/ 476 w 1169"/>
                  <a:gd name="T7" fmla="*/ 533 h 1164"/>
                  <a:gd name="T8" fmla="*/ 372 w 1169"/>
                  <a:gd name="T9" fmla="*/ 488 h 1164"/>
                  <a:gd name="T10" fmla="*/ 293 w 1169"/>
                  <a:gd name="T11" fmla="*/ 411 h 1164"/>
                  <a:gd name="T12" fmla="*/ 273 w 1169"/>
                  <a:gd name="T13" fmla="*/ 472 h 1164"/>
                  <a:gd name="T14" fmla="*/ 298 w 1169"/>
                  <a:gd name="T15" fmla="*/ 539 h 1164"/>
                  <a:gd name="T16" fmla="*/ 312 w 1169"/>
                  <a:gd name="T17" fmla="*/ 569 h 1164"/>
                  <a:gd name="T18" fmla="*/ 275 w 1169"/>
                  <a:gd name="T19" fmla="*/ 576 h 1164"/>
                  <a:gd name="T20" fmla="*/ 308 w 1169"/>
                  <a:gd name="T21" fmla="*/ 639 h 1164"/>
                  <a:gd name="T22" fmla="*/ 374 w 1169"/>
                  <a:gd name="T23" fmla="*/ 673 h 1164"/>
                  <a:gd name="T24" fmla="*/ 352 w 1169"/>
                  <a:gd name="T25" fmla="*/ 717 h 1164"/>
                  <a:gd name="T26" fmla="*/ 419 w 1169"/>
                  <a:gd name="T27" fmla="*/ 759 h 1164"/>
                  <a:gd name="T28" fmla="*/ 382 w 1169"/>
                  <a:gd name="T29" fmla="*/ 793 h 1164"/>
                  <a:gd name="T30" fmla="*/ 282 w 1169"/>
                  <a:gd name="T31" fmla="*/ 813 h 1164"/>
                  <a:gd name="T32" fmla="*/ 308 w 1169"/>
                  <a:gd name="T33" fmla="*/ 846 h 1164"/>
                  <a:gd name="T34" fmla="*/ 409 w 1169"/>
                  <a:gd name="T35" fmla="*/ 871 h 1164"/>
                  <a:gd name="T36" fmla="*/ 531 w 1169"/>
                  <a:gd name="T37" fmla="*/ 863 h 1164"/>
                  <a:gd name="T38" fmla="*/ 641 w 1169"/>
                  <a:gd name="T39" fmla="*/ 817 h 1164"/>
                  <a:gd name="T40" fmla="*/ 724 w 1169"/>
                  <a:gd name="T41" fmla="*/ 742 h 1164"/>
                  <a:gd name="T42" fmla="*/ 779 w 1169"/>
                  <a:gd name="T43" fmla="*/ 648 h 1164"/>
                  <a:gd name="T44" fmla="*/ 805 w 1169"/>
                  <a:gd name="T45" fmla="*/ 545 h 1164"/>
                  <a:gd name="T46" fmla="*/ 806 w 1169"/>
                  <a:gd name="T47" fmla="*/ 502 h 1164"/>
                  <a:gd name="T48" fmla="*/ 827 w 1169"/>
                  <a:gd name="T49" fmla="*/ 488 h 1164"/>
                  <a:gd name="T50" fmla="*/ 851 w 1169"/>
                  <a:gd name="T51" fmla="*/ 448 h 1164"/>
                  <a:gd name="T52" fmla="*/ 797 w 1169"/>
                  <a:gd name="T53" fmla="*/ 461 h 1164"/>
                  <a:gd name="T54" fmla="*/ 847 w 1169"/>
                  <a:gd name="T55" fmla="*/ 412 h 1164"/>
                  <a:gd name="T56" fmla="*/ 806 w 1169"/>
                  <a:gd name="T57" fmla="*/ 411 h 1164"/>
                  <a:gd name="T58" fmla="*/ 747 w 1169"/>
                  <a:gd name="T59" fmla="*/ 398 h 1164"/>
                  <a:gd name="T60" fmla="*/ 686 w 1169"/>
                  <a:gd name="T61" fmla="*/ 381 h 1164"/>
                  <a:gd name="T62" fmla="*/ 1125 w 1169"/>
                  <a:gd name="T63" fmla="*/ 36 h 1164"/>
                  <a:gd name="T64" fmla="*/ 998 w 1169"/>
                  <a:gd name="T65" fmla="*/ 250 h 1164"/>
                  <a:gd name="T66" fmla="*/ 1075 w 1169"/>
                  <a:gd name="T67" fmla="*/ 367 h 1164"/>
                  <a:gd name="T68" fmla="*/ 1120 w 1169"/>
                  <a:gd name="T69" fmla="*/ 505 h 1164"/>
                  <a:gd name="T70" fmla="*/ 1125 w 1169"/>
                  <a:gd name="T71" fmla="*/ 663 h 1164"/>
                  <a:gd name="T72" fmla="*/ 1079 w 1169"/>
                  <a:gd name="T73" fmla="*/ 834 h 1164"/>
                  <a:gd name="T74" fmla="*/ 983 w 1169"/>
                  <a:gd name="T75" fmla="*/ 978 h 1164"/>
                  <a:gd name="T76" fmla="*/ 849 w 1169"/>
                  <a:gd name="T77" fmla="*/ 1087 h 1164"/>
                  <a:gd name="T78" fmla="*/ 686 w 1169"/>
                  <a:gd name="T79" fmla="*/ 1152 h 1164"/>
                  <a:gd name="T80" fmla="*/ 502 w 1169"/>
                  <a:gd name="T81" fmla="*/ 1161 h 1164"/>
                  <a:gd name="T82" fmla="*/ 331 w 1169"/>
                  <a:gd name="T83" fmla="*/ 1114 h 1164"/>
                  <a:gd name="T84" fmla="*/ 186 w 1169"/>
                  <a:gd name="T85" fmla="*/ 1019 h 1164"/>
                  <a:gd name="T86" fmla="*/ 77 w 1169"/>
                  <a:gd name="T87" fmla="*/ 886 h 1164"/>
                  <a:gd name="T88" fmla="*/ 13 w 1169"/>
                  <a:gd name="T89" fmla="*/ 723 h 1164"/>
                  <a:gd name="T90" fmla="*/ 3 w 1169"/>
                  <a:gd name="T91" fmla="*/ 541 h 1164"/>
                  <a:gd name="T92" fmla="*/ 50 w 1169"/>
                  <a:gd name="T93" fmla="*/ 370 h 1164"/>
                  <a:gd name="T94" fmla="*/ 145 w 1169"/>
                  <a:gd name="T95" fmla="*/ 226 h 1164"/>
                  <a:gd name="T96" fmla="*/ 279 w 1169"/>
                  <a:gd name="T97" fmla="*/ 117 h 1164"/>
                  <a:gd name="T98" fmla="*/ 443 w 1169"/>
                  <a:gd name="T99" fmla="*/ 52 h 1164"/>
                  <a:gd name="T100" fmla="*/ 620 w 1169"/>
                  <a:gd name="T101" fmla="*/ 43 h 1164"/>
                  <a:gd name="T102" fmla="*/ 777 w 1169"/>
                  <a:gd name="T103" fmla="*/ 86 h 1164"/>
                  <a:gd name="T104" fmla="*/ 917 w 1169"/>
                  <a:gd name="T105" fmla="*/ 170 h 1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69" h="1164">
                    <a:moveTo>
                      <a:pt x="686" y="381"/>
                    </a:moveTo>
                    <a:lnTo>
                      <a:pt x="659" y="384"/>
                    </a:lnTo>
                    <a:lnTo>
                      <a:pt x="636" y="391"/>
                    </a:lnTo>
                    <a:lnTo>
                      <a:pt x="613" y="404"/>
                    </a:lnTo>
                    <a:lnTo>
                      <a:pt x="594" y="420"/>
                    </a:lnTo>
                    <a:lnTo>
                      <a:pt x="578" y="439"/>
                    </a:lnTo>
                    <a:lnTo>
                      <a:pt x="565" y="462"/>
                    </a:lnTo>
                    <a:lnTo>
                      <a:pt x="557" y="485"/>
                    </a:lnTo>
                    <a:lnTo>
                      <a:pt x="554" y="511"/>
                    </a:lnTo>
                    <a:lnTo>
                      <a:pt x="554" y="541"/>
                    </a:lnTo>
                    <a:lnTo>
                      <a:pt x="514" y="539"/>
                    </a:lnTo>
                    <a:lnTo>
                      <a:pt x="476" y="533"/>
                    </a:lnTo>
                    <a:lnTo>
                      <a:pt x="439" y="522"/>
                    </a:lnTo>
                    <a:lnTo>
                      <a:pt x="405" y="507"/>
                    </a:lnTo>
                    <a:lnTo>
                      <a:pt x="372" y="488"/>
                    </a:lnTo>
                    <a:lnTo>
                      <a:pt x="343" y="465"/>
                    </a:lnTo>
                    <a:lnTo>
                      <a:pt x="317" y="439"/>
                    </a:lnTo>
                    <a:lnTo>
                      <a:pt x="293" y="411"/>
                    </a:lnTo>
                    <a:lnTo>
                      <a:pt x="282" y="431"/>
                    </a:lnTo>
                    <a:lnTo>
                      <a:pt x="276" y="451"/>
                    </a:lnTo>
                    <a:lnTo>
                      <a:pt x="273" y="472"/>
                    </a:lnTo>
                    <a:lnTo>
                      <a:pt x="276" y="495"/>
                    </a:lnTo>
                    <a:lnTo>
                      <a:pt x="284" y="519"/>
                    </a:lnTo>
                    <a:lnTo>
                      <a:pt x="298" y="539"/>
                    </a:lnTo>
                    <a:lnTo>
                      <a:pt x="314" y="557"/>
                    </a:lnTo>
                    <a:lnTo>
                      <a:pt x="333" y="572"/>
                    </a:lnTo>
                    <a:lnTo>
                      <a:pt x="312" y="569"/>
                    </a:lnTo>
                    <a:lnTo>
                      <a:pt x="292" y="561"/>
                    </a:lnTo>
                    <a:lnTo>
                      <a:pt x="273" y="552"/>
                    </a:lnTo>
                    <a:lnTo>
                      <a:pt x="275" y="576"/>
                    </a:lnTo>
                    <a:lnTo>
                      <a:pt x="281" y="600"/>
                    </a:lnTo>
                    <a:lnTo>
                      <a:pt x="293" y="621"/>
                    </a:lnTo>
                    <a:lnTo>
                      <a:pt x="308" y="639"/>
                    </a:lnTo>
                    <a:lnTo>
                      <a:pt x="326" y="654"/>
                    </a:lnTo>
                    <a:lnTo>
                      <a:pt x="349" y="665"/>
                    </a:lnTo>
                    <a:lnTo>
                      <a:pt x="374" y="673"/>
                    </a:lnTo>
                    <a:lnTo>
                      <a:pt x="323" y="673"/>
                    </a:lnTo>
                    <a:lnTo>
                      <a:pt x="335" y="696"/>
                    </a:lnTo>
                    <a:lnTo>
                      <a:pt x="352" y="717"/>
                    </a:lnTo>
                    <a:lnTo>
                      <a:pt x="371" y="736"/>
                    </a:lnTo>
                    <a:lnTo>
                      <a:pt x="394" y="750"/>
                    </a:lnTo>
                    <a:lnTo>
                      <a:pt x="419" y="759"/>
                    </a:lnTo>
                    <a:lnTo>
                      <a:pt x="443" y="762"/>
                    </a:lnTo>
                    <a:lnTo>
                      <a:pt x="413" y="779"/>
                    </a:lnTo>
                    <a:lnTo>
                      <a:pt x="382" y="793"/>
                    </a:lnTo>
                    <a:lnTo>
                      <a:pt x="351" y="804"/>
                    </a:lnTo>
                    <a:lnTo>
                      <a:pt x="318" y="810"/>
                    </a:lnTo>
                    <a:lnTo>
                      <a:pt x="282" y="813"/>
                    </a:lnTo>
                    <a:lnTo>
                      <a:pt x="252" y="813"/>
                    </a:lnTo>
                    <a:lnTo>
                      <a:pt x="279" y="831"/>
                    </a:lnTo>
                    <a:lnTo>
                      <a:pt x="308" y="846"/>
                    </a:lnTo>
                    <a:lnTo>
                      <a:pt x="340" y="858"/>
                    </a:lnTo>
                    <a:lnTo>
                      <a:pt x="374" y="866"/>
                    </a:lnTo>
                    <a:lnTo>
                      <a:pt x="409" y="871"/>
                    </a:lnTo>
                    <a:lnTo>
                      <a:pt x="443" y="872"/>
                    </a:lnTo>
                    <a:lnTo>
                      <a:pt x="488" y="870"/>
                    </a:lnTo>
                    <a:lnTo>
                      <a:pt x="531" y="863"/>
                    </a:lnTo>
                    <a:lnTo>
                      <a:pt x="570" y="852"/>
                    </a:lnTo>
                    <a:lnTo>
                      <a:pt x="607" y="836"/>
                    </a:lnTo>
                    <a:lnTo>
                      <a:pt x="641" y="817"/>
                    </a:lnTo>
                    <a:lnTo>
                      <a:pt x="671" y="794"/>
                    </a:lnTo>
                    <a:lnTo>
                      <a:pt x="699" y="770"/>
                    </a:lnTo>
                    <a:lnTo>
                      <a:pt x="724" y="742"/>
                    </a:lnTo>
                    <a:lnTo>
                      <a:pt x="745" y="712"/>
                    </a:lnTo>
                    <a:lnTo>
                      <a:pt x="764" y="681"/>
                    </a:lnTo>
                    <a:lnTo>
                      <a:pt x="779" y="648"/>
                    </a:lnTo>
                    <a:lnTo>
                      <a:pt x="791" y="615"/>
                    </a:lnTo>
                    <a:lnTo>
                      <a:pt x="800" y="581"/>
                    </a:lnTo>
                    <a:lnTo>
                      <a:pt x="805" y="545"/>
                    </a:lnTo>
                    <a:lnTo>
                      <a:pt x="806" y="511"/>
                    </a:lnTo>
                    <a:lnTo>
                      <a:pt x="806" y="503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06" y="502"/>
                    </a:lnTo>
                    <a:lnTo>
                      <a:pt x="827" y="488"/>
                    </a:lnTo>
                    <a:lnTo>
                      <a:pt x="847" y="468"/>
                    </a:lnTo>
                    <a:lnTo>
                      <a:pt x="866" y="441"/>
                    </a:lnTo>
                    <a:lnTo>
                      <a:pt x="851" y="448"/>
                    </a:lnTo>
                    <a:lnTo>
                      <a:pt x="835" y="454"/>
                    </a:lnTo>
                    <a:lnTo>
                      <a:pt x="817" y="460"/>
                    </a:lnTo>
                    <a:lnTo>
                      <a:pt x="797" y="461"/>
                    </a:lnTo>
                    <a:lnTo>
                      <a:pt x="817" y="446"/>
                    </a:lnTo>
                    <a:lnTo>
                      <a:pt x="834" y="430"/>
                    </a:lnTo>
                    <a:lnTo>
                      <a:pt x="847" y="412"/>
                    </a:lnTo>
                    <a:lnTo>
                      <a:pt x="857" y="391"/>
                    </a:lnTo>
                    <a:lnTo>
                      <a:pt x="834" y="401"/>
                    </a:lnTo>
                    <a:lnTo>
                      <a:pt x="806" y="411"/>
                    </a:lnTo>
                    <a:lnTo>
                      <a:pt x="776" y="421"/>
                    </a:lnTo>
                    <a:lnTo>
                      <a:pt x="763" y="410"/>
                    </a:lnTo>
                    <a:lnTo>
                      <a:pt x="747" y="398"/>
                    </a:lnTo>
                    <a:lnTo>
                      <a:pt x="729" y="389"/>
                    </a:lnTo>
                    <a:lnTo>
                      <a:pt x="709" y="383"/>
                    </a:lnTo>
                    <a:lnTo>
                      <a:pt x="686" y="381"/>
                    </a:lnTo>
                    <a:close/>
                    <a:moveTo>
                      <a:pt x="1089" y="0"/>
                    </a:moveTo>
                    <a:lnTo>
                      <a:pt x="1106" y="16"/>
                    </a:lnTo>
                    <a:lnTo>
                      <a:pt x="1125" y="36"/>
                    </a:lnTo>
                    <a:lnTo>
                      <a:pt x="1147" y="58"/>
                    </a:lnTo>
                    <a:lnTo>
                      <a:pt x="1169" y="80"/>
                    </a:lnTo>
                    <a:lnTo>
                      <a:pt x="998" y="250"/>
                    </a:lnTo>
                    <a:lnTo>
                      <a:pt x="1026" y="287"/>
                    </a:lnTo>
                    <a:lnTo>
                      <a:pt x="1052" y="325"/>
                    </a:lnTo>
                    <a:lnTo>
                      <a:pt x="1075" y="367"/>
                    </a:lnTo>
                    <a:lnTo>
                      <a:pt x="1094" y="412"/>
                    </a:lnTo>
                    <a:lnTo>
                      <a:pt x="1109" y="458"/>
                    </a:lnTo>
                    <a:lnTo>
                      <a:pt x="1120" y="505"/>
                    </a:lnTo>
                    <a:lnTo>
                      <a:pt x="1126" y="553"/>
                    </a:lnTo>
                    <a:lnTo>
                      <a:pt x="1128" y="602"/>
                    </a:lnTo>
                    <a:lnTo>
                      <a:pt x="1125" y="663"/>
                    </a:lnTo>
                    <a:lnTo>
                      <a:pt x="1115" y="723"/>
                    </a:lnTo>
                    <a:lnTo>
                      <a:pt x="1100" y="779"/>
                    </a:lnTo>
                    <a:lnTo>
                      <a:pt x="1079" y="834"/>
                    </a:lnTo>
                    <a:lnTo>
                      <a:pt x="1052" y="886"/>
                    </a:lnTo>
                    <a:lnTo>
                      <a:pt x="1020" y="934"/>
                    </a:lnTo>
                    <a:lnTo>
                      <a:pt x="983" y="978"/>
                    </a:lnTo>
                    <a:lnTo>
                      <a:pt x="943" y="1019"/>
                    </a:lnTo>
                    <a:lnTo>
                      <a:pt x="899" y="1055"/>
                    </a:lnTo>
                    <a:lnTo>
                      <a:pt x="849" y="1087"/>
                    </a:lnTo>
                    <a:lnTo>
                      <a:pt x="798" y="1114"/>
                    </a:lnTo>
                    <a:lnTo>
                      <a:pt x="743" y="1135"/>
                    </a:lnTo>
                    <a:lnTo>
                      <a:pt x="686" y="1152"/>
                    </a:lnTo>
                    <a:lnTo>
                      <a:pt x="626" y="1161"/>
                    </a:lnTo>
                    <a:lnTo>
                      <a:pt x="565" y="1164"/>
                    </a:lnTo>
                    <a:lnTo>
                      <a:pt x="502" y="1161"/>
                    </a:lnTo>
                    <a:lnTo>
                      <a:pt x="443" y="1152"/>
                    </a:lnTo>
                    <a:lnTo>
                      <a:pt x="385" y="1135"/>
                    </a:lnTo>
                    <a:lnTo>
                      <a:pt x="331" y="1114"/>
                    </a:lnTo>
                    <a:lnTo>
                      <a:pt x="279" y="1087"/>
                    </a:lnTo>
                    <a:lnTo>
                      <a:pt x="231" y="1055"/>
                    </a:lnTo>
                    <a:lnTo>
                      <a:pt x="186" y="1019"/>
                    </a:lnTo>
                    <a:lnTo>
                      <a:pt x="145" y="978"/>
                    </a:lnTo>
                    <a:lnTo>
                      <a:pt x="108" y="934"/>
                    </a:lnTo>
                    <a:lnTo>
                      <a:pt x="77" y="886"/>
                    </a:lnTo>
                    <a:lnTo>
                      <a:pt x="50" y="834"/>
                    </a:lnTo>
                    <a:lnTo>
                      <a:pt x="29" y="779"/>
                    </a:lnTo>
                    <a:lnTo>
                      <a:pt x="13" y="723"/>
                    </a:lnTo>
                    <a:lnTo>
                      <a:pt x="3" y="663"/>
                    </a:lnTo>
                    <a:lnTo>
                      <a:pt x="0" y="602"/>
                    </a:lnTo>
                    <a:lnTo>
                      <a:pt x="3" y="541"/>
                    </a:lnTo>
                    <a:lnTo>
                      <a:pt x="13" y="481"/>
                    </a:lnTo>
                    <a:lnTo>
                      <a:pt x="29" y="425"/>
                    </a:lnTo>
                    <a:lnTo>
                      <a:pt x="50" y="370"/>
                    </a:lnTo>
                    <a:lnTo>
                      <a:pt x="77" y="318"/>
                    </a:lnTo>
                    <a:lnTo>
                      <a:pt x="108" y="270"/>
                    </a:lnTo>
                    <a:lnTo>
                      <a:pt x="145" y="226"/>
                    </a:lnTo>
                    <a:lnTo>
                      <a:pt x="186" y="185"/>
                    </a:lnTo>
                    <a:lnTo>
                      <a:pt x="231" y="149"/>
                    </a:lnTo>
                    <a:lnTo>
                      <a:pt x="279" y="117"/>
                    </a:lnTo>
                    <a:lnTo>
                      <a:pt x="331" y="90"/>
                    </a:lnTo>
                    <a:lnTo>
                      <a:pt x="385" y="69"/>
                    </a:lnTo>
                    <a:lnTo>
                      <a:pt x="443" y="52"/>
                    </a:lnTo>
                    <a:lnTo>
                      <a:pt x="502" y="43"/>
                    </a:lnTo>
                    <a:lnTo>
                      <a:pt x="565" y="40"/>
                    </a:lnTo>
                    <a:lnTo>
                      <a:pt x="620" y="43"/>
                    </a:lnTo>
                    <a:lnTo>
                      <a:pt x="674" y="51"/>
                    </a:lnTo>
                    <a:lnTo>
                      <a:pt x="727" y="66"/>
                    </a:lnTo>
                    <a:lnTo>
                      <a:pt x="777" y="86"/>
                    </a:lnTo>
                    <a:lnTo>
                      <a:pt x="827" y="109"/>
                    </a:lnTo>
                    <a:lnTo>
                      <a:pt x="873" y="138"/>
                    </a:lnTo>
                    <a:lnTo>
                      <a:pt x="917" y="170"/>
                    </a:lnTo>
                    <a:lnTo>
                      <a:pt x="108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0" name="Freeform 23"/>
              <p:cNvSpPr>
                <a:spLocks noEditPoints="1"/>
              </p:cNvSpPr>
              <p:nvPr/>
            </p:nvSpPr>
            <p:spPr bwMode="auto">
              <a:xfrm>
                <a:off x="-783" y="2305"/>
                <a:ext cx="165" cy="165"/>
              </a:xfrm>
              <a:custGeom>
                <a:avLst/>
                <a:gdLst>
                  <a:gd name="T0" fmla="*/ 597 w 1159"/>
                  <a:gd name="T1" fmla="*/ 272 h 1154"/>
                  <a:gd name="T2" fmla="*/ 552 w 1159"/>
                  <a:gd name="T3" fmla="*/ 283 h 1154"/>
                  <a:gd name="T4" fmla="*/ 522 w 1159"/>
                  <a:gd name="T5" fmla="*/ 306 h 1154"/>
                  <a:gd name="T6" fmla="*/ 503 w 1159"/>
                  <a:gd name="T7" fmla="*/ 338 h 1154"/>
                  <a:gd name="T8" fmla="*/ 495 w 1159"/>
                  <a:gd name="T9" fmla="*/ 379 h 1154"/>
                  <a:gd name="T10" fmla="*/ 494 w 1159"/>
                  <a:gd name="T11" fmla="*/ 461 h 1154"/>
                  <a:gd name="T12" fmla="*/ 423 w 1159"/>
                  <a:gd name="T13" fmla="*/ 561 h 1154"/>
                  <a:gd name="T14" fmla="*/ 484 w 1159"/>
                  <a:gd name="T15" fmla="*/ 843 h 1154"/>
                  <a:gd name="T16" fmla="*/ 604 w 1159"/>
                  <a:gd name="T17" fmla="*/ 561 h 1154"/>
                  <a:gd name="T18" fmla="*/ 705 w 1159"/>
                  <a:gd name="T19" fmla="*/ 461 h 1154"/>
                  <a:gd name="T20" fmla="*/ 615 w 1159"/>
                  <a:gd name="T21" fmla="*/ 412 h 1154"/>
                  <a:gd name="T22" fmla="*/ 616 w 1159"/>
                  <a:gd name="T23" fmla="*/ 387 h 1154"/>
                  <a:gd name="T24" fmla="*/ 627 w 1159"/>
                  <a:gd name="T25" fmla="*/ 374 h 1154"/>
                  <a:gd name="T26" fmla="*/ 655 w 1159"/>
                  <a:gd name="T27" fmla="*/ 371 h 1154"/>
                  <a:gd name="T28" fmla="*/ 705 w 1159"/>
                  <a:gd name="T29" fmla="*/ 271 h 1154"/>
                  <a:gd name="T30" fmla="*/ 554 w 1159"/>
                  <a:gd name="T31" fmla="*/ 0 h 1154"/>
                  <a:gd name="T32" fmla="*/ 675 w 1159"/>
                  <a:gd name="T33" fmla="*/ 13 h 1154"/>
                  <a:gd name="T34" fmla="*/ 788 w 1159"/>
                  <a:gd name="T35" fmla="*/ 49 h 1154"/>
                  <a:gd name="T36" fmla="*/ 888 w 1159"/>
                  <a:gd name="T37" fmla="*/ 108 h 1154"/>
                  <a:gd name="T38" fmla="*/ 974 w 1159"/>
                  <a:gd name="T39" fmla="*/ 185 h 1154"/>
                  <a:gd name="T40" fmla="*/ 1041 w 1159"/>
                  <a:gd name="T41" fmla="*/ 278 h 1154"/>
                  <a:gd name="T42" fmla="*/ 1090 w 1159"/>
                  <a:gd name="T43" fmla="*/ 384 h 1154"/>
                  <a:gd name="T44" fmla="*/ 1115 w 1159"/>
                  <a:gd name="T45" fmla="*/ 501 h 1154"/>
                  <a:gd name="T46" fmla="*/ 1115 w 1159"/>
                  <a:gd name="T47" fmla="*/ 617 h 1154"/>
                  <a:gd name="T48" fmla="*/ 1093 w 1159"/>
                  <a:gd name="T49" fmla="*/ 723 h 1154"/>
                  <a:gd name="T50" fmla="*/ 1049 w 1159"/>
                  <a:gd name="T51" fmla="*/ 822 h 1154"/>
                  <a:gd name="T52" fmla="*/ 988 w 1159"/>
                  <a:gd name="T53" fmla="*/ 913 h 1154"/>
                  <a:gd name="T54" fmla="*/ 1142 w 1159"/>
                  <a:gd name="T55" fmla="*/ 1099 h 1154"/>
                  <a:gd name="T56" fmla="*/ 1106 w 1159"/>
                  <a:gd name="T57" fmla="*/ 1133 h 1154"/>
                  <a:gd name="T58" fmla="*/ 917 w 1159"/>
                  <a:gd name="T59" fmla="*/ 984 h 1154"/>
                  <a:gd name="T60" fmla="*/ 843 w 1159"/>
                  <a:gd name="T61" fmla="*/ 1037 h 1154"/>
                  <a:gd name="T62" fmla="*/ 756 w 1159"/>
                  <a:gd name="T63" fmla="*/ 1079 h 1154"/>
                  <a:gd name="T64" fmla="*/ 662 w 1159"/>
                  <a:gd name="T65" fmla="*/ 1105 h 1154"/>
                  <a:gd name="T66" fmla="*/ 565 w 1159"/>
                  <a:gd name="T67" fmla="*/ 1114 h 1154"/>
                  <a:gd name="T68" fmla="*/ 443 w 1159"/>
                  <a:gd name="T69" fmla="*/ 1101 h 1154"/>
                  <a:gd name="T70" fmla="*/ 331 w 1159"/>
                  <a:gd name="T71" fmla="*/ 1064 h 1154"/>
                  <a:gd name="T72" fmla="*/ 231 w 1159"/>
                  <a:gd name="T73" fmla="*/ 1006 h 1154"/>
                  <a:gd name="T74" fmla="*/ 145 w 1159"/>
                  <a:gd name="T75" fmla="*/ 930 h 1154"/>
                  <a:gd name="T76" fmla="*/ 77 w 1159"/>
                  <a:gd name="T77" fmla="*/ 838 h 1154"/>
                  <a:gd name="T78" fmla="*/ 29 w 1159"/>
                  <a:gd name="T79" fmla="*/ 735 h 1154"/>
                  <a:gd name="T80" fmla="*/ 3 w 1159"/>
                  <a:gd name="T81" fmla="*/ 621 h 1154"/>
                  <a:gd name="T82" fmla="*/ 3 w 1159"/>
                  <a:gd name="T83" fmla="*/ 505 h 1154"/>
                  <a:gd name="T84" fmla="*/ 25 w 1159"/>
                  <a:gd name="T85" fmla="*/ 395 h 1154"/>
                  <a:gd name="T86" fmla="*/ 65 w 1159"/>
                  <a:gd name="T87" fmla="*/ 294 h 1154"/>
                  <a:gd name="T88" fmla="*/ 124 w 1159"/>
                  <a:gd name="T89" fmla="*/ 204 h 1154"/>
                  <a:gd name="T90" fmla="*/ 200 w 1159"/>
                  <a:gd name="T91" fmla="*/ 128 h 1154"/>
                  <a:gd name="T92" fmla="*/ 288 w 1159"/>
                  <a:gd name="T93" fmla="*/ 68 h 1154"/>
                  <a:gd name="T94" fmla="*/ 387 w 1159"/>
                  <a:gd name="T95" fmla="*/ 25 h 1154"/>
                  <a:gd name="T96" fmla="*/ 497 w 1159"/>
                  <a:gd name="T97" fmla="*/ 2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59" h="1154">
                    <a:moveTo>
                      <a:pt x="625" y="271"/>
                    </a:moveTo>
                    <a:lnTo>
                      <a:pt x="597" y="272"/>
                    </a:lnTo>
                    <a:lnTo>
                      <a:pt x="572" y="277"/>
                    </a:lnTo>
                    <a:lnTo>
                      <a:pt x="552" y="283"/>
                    </a:lnTo>
                    <a:lnTo>
                      <a:pt x="536" y="293"/>
                    </a:lnTo>
                    <a:lnTo>
                      <a:pt x="522" y="306"/>
                    </a:lnTo>
                    <a:lnTo>
                      <a:pt x="511" y="321"/>
                    </a:lnTo>
                    <a:lnTo>
                      <a:pt x="503" y="338"/>
                    </a:lnTo>
                    <a:lnTo>
                      <a:pt x="498" y="357"/>
                    </a:lnTo>
                    <a:lnTo>
                      <a:pt x="495" y="379"/>
                    </a:lnTo>
                    <a:lnTo>
                      <a:pt x="494" y="401"/>
                    </a:lnTo>
                    <a:lnTo>
                      <a:pt x="494" y="461"/>
                    </a:lnTo>
                    <a:lnTo>
                      <a:pt x="423" y="461"/>
                    </a:lnTo>
                    <a:lnTo>
                      <a:pt x="423" y="561"/>
                    </a:lnTo>
                    <a:lnTo>
                      <a:pt x="484" y="561"/>
                    </a:lnTo>
                    <a:lnTo>
                      <a:pt x="484" y="843"/>
                    </a:lnTo>
                    <a:lnTo>
                      <a:pt x="604" y="843"/>
                    </a:lnTo>
                    <a:lnTo>
                      <a:pt x="604" y="561"/>
                    </a:lnTo>
                    <a:lnTo>
                      <a:pt x="696" y="561"/>
                    </a:lnTo>
                    <a:lnTo>
                      <a:pt x="705" y="461"/>
                    </a:lnTo>
                    <a:lnTo>
                      <a:pt x="615" y="461"/>
                    </a:lnTo>
                    <a:lnTo>
                      <a:pt x="615" y="412"/>
                    </a:lnTo>
                    <a:lnTo>
                      <a:pt x="615" y="398"/>
                    </a:lnTo>
                    <a:lnTo>
                      <a:pt x="616" y="387"/>
                    </a:lnTo>
                    <a:lnTo>
                      <a:pt x="619" y="380"/>
                    </a:lnTo>
                    <a:lnTo>
                      <a:pt x="627" y="374"/>
                    </a:lnTo>
                    <a:lnTo>
                      <a:pt x="638" y="372"/>
                    </a:lnTo>
                    <a:lnTo>
                      <a:pt x="655" y="371"/>
                    </a:lnTo>
                    <a:lnTo>
                      <a:pt x="705" y="371"/>
                    </a:lnTo>
                    <a:lnTo>
                      <a:pt x="705" y="271"/>
                    </a:lnTo>
                    <a:lnTo>
                      <a:pt x="625" y="271"/>
                    </a:lnTo>
                    <a:close/>
                    <a:moveTo>
                      <a:pt x="554" y="0"/>
                    </a:moveTo>
                    <a:lnTo>
                      <a:pt x="616" y="3"/>
                    </a:lnTo>
                    <a:lnTo>
                      <a:pt x="675" y="13"/>
                    </a:lnTo>
                    <a:lnTo>
                      <a:pt x="733" y="28"/>
                    </a:lnTo>
                    <a:lnTo>
                      <a:pt x="788" y="49"/>
                    </a:lnTo>
                    <a:lnTo>
                      <a:pt x="839" y="76"/>
                    </a:lnTo>
                    <a:lnTo>
                      <a:pt x="888" y="108"/>
                    </a:lnTo>
                    <a:lnTo>
                      <a:pt x="933" y="145"/>
                    </a:lnTo>
                    <a:lnTo>
                      <a:pt x="974" y="185"/>
                    </a:lnTo>
                    <a:lnTo>
                      <a:pt x="1010" y="230"/>
                    </a:lnTo>
                    <a:lnTo>
                      <a:pt x="1041" y="278"/>
                    </a:lnTo>
                    <a:lnTo>
                      <a:pt x="1068" y="329"/>
                    </a:lnTo>
                    <a:lnTo>
                      <a:pt x="1090" y="384"/>
                    </a:lnTo>
                    <a:lnTo>
                      <a:pt x="1106" y="441"/>
                    </a:lnTo>
                    <a:lnTo>
                      <a:pt x="1115" y="501"/>
                    </a:lnTo>
                    <a:lnTo>
                      <a:pt x="1119" y="561"/>
                    </a:lnTo>
                    <a:lnTo>
                      <a:pt x="1115" y="617"/>
                    </a:lnTo>
                    <a:lnTo>
                      <a:pt x="1107" y="670"/>
                    </a:lnTo>
                    <a:lnTo>
                      <a:pt x="1093" y="723"/>
                    </a:lnTo>
                    <a:lnTo>
                      <a:pt x="1074" y="774"/>
                    </a:lnTo>
                    <a:lnTo>
                      <a:pt x="1049" y="822"/>
                    </a:lnTo>
                    <a:lnTo>
                      <a:pt x="1021" y="869"/>
                    </a:lnTo>
                    <a:lnTo>
                      <a:pt x="988" y="913"/>
                    </a:lnTo>
                    <a:lnTo>
                      <a:pt x="1159" y="1084"/>
                    </a:lnTo>
                    <a:lnTo>
                      <a:pt x="1142" y="1099"/>
                    </a:lnTo>
                    <a:lnTo>
                      <a:pt x="1124" y="1115"/>
                    </a:lnTo>
                    <a:lnTo>
                      <a:pt x="1106" y="1133"/>
                    </a:lnTo>
                    <a:lnTo>
                      <a:pt x="1089" y="1154"/>
                    </a:lnTo>
                    <a:lnTo>
                      <a:pt x="917" y="984"/>
                    </a:lnTo>
                    <a:lnTo>
                      <a:pt x="881" y="1012"/>
                    </a:lnTo>
                    <a:lnTo>
                      <a:pt x="843" y="1037"/>
                    </a:lnTo>
                    <a:lnTo>
                      <a:pt x="801" y="1060"/>
                    </a:lnTo>
                    <a:lnTo>
                      <a:pt x="756" y="1079"/>
                    </a:lnTo>
                    <a:lnTo>
                      <a:pt x="710" y="1094"/>
                    </a:lnTo>
                    <a:lnTo>
                      <a:pt x="662" y="1105"/>
                    </a:lnTo>
                    <a:lnTo>
                      <a:pt x="614" y="1111"/>
                    </a:lnTo>
                    <a:lnTo>
                      <a:pt x="565" y="1114"/>
                    </a:lnTo>
                    <a:lnTo>
                      <a:pt x="502" y="1111"/>
                    </a:lnTo>
                    <a:lnTo>
                      <a:pt x="443" y="1101"/>
                    </a:lnTo>
                    <a:lnTo>
                      <a:pt x="385" y="1085"/>
                    </a:lnTo>
                    <a:lnTo>
                      <a:pt x="331" y="1064"/>
                    </a:lnTo>
                    <a:lnTo>
                      <a:pt x="279" y="1037"/>
                    </a:lnTo>
                    <a:lnTo>
                      <a:pt x="231" y="1006"/>
                    </a:lnTo>
                    <a:lnTo>
                      <a:pt x="186" y="970"/>
                    </a:lnTo>
                    <a:lnTo>
                      <a:pt x="145" y="930"/>
                    </a:lnTo>
                    <a:lnTo>
                      <a:pt x="108" y="886"/>
                    </a:lnTo>
                    <a:lnTo>
                      <a:pt x="77" y="838"/>
                    </a:lnTo>
                    <a:lnTo>
                      <a:pt x="50" y="788"/>
                    </a:lnTo>
                    <a:lnTo>
                      <a:pt x="29" y="735"/>
                    </a:lnTo>
                    <a:lnTo>
                      <a:pt x="13" y="679"/>
                    </a:lnTo>
                    <a:lnTo>
                      <a:pt x="3" y="621"/>
                    </a:lnTo>
                    <a:lnTo>
                      <a:pt x="0" y="561"/>
                    </a:lnTo>
                    <a:lnTo>
                      <a:pt x="3" y="505"/>
                    </a:lnTo>
                    <a:lnTo>
                      <a:pt x="11" y="448"/>
                    </a:lnTo>
                    <a:lnTo>
                      <a:pt x="25" y="395"/>
                    </a:lnTo>
                    <a:lnTo>
                      <a:pt x="43" y="342"/>
                    </a:lnTo>
                    <a:lnTo>
                      <a:pt x="65" y="294"/>
                    </a:lnTo>
                    <a:lnTo>
                      <a:pt x="93" y="247"/>
                    </a:lnTo>
                    <a:lnTo>
                      <a:pt x="124" y="204"/>
                    </a:lnTo>
                    <a:lnTo>
                      <a:pt x="160" y="164"/>
                    </a:lnTo>
                    <a:lnTo>
                      <a:pt x="200" y="128"/>
                    </a:lnTo>
                    <a:lnTo>
                      <a:pt x="241" y="95"/>
                    </a:lnTo>
                    <a:lnTo>
                      <a:pt x="288" y="68"/>
                    </a:lnTo>
                    <a:lnTo>
                      <a:pt x="336" y="44"/>
                    </a:lnTo>
                    <a:lnTo>
                      <a:pt x="387" y="25"/>
                    </a:lnTo>
                    <a:lnTo>
                      <a:pt x="441" y="11"/>
                    </a:lnTo>
                    <a:lnTo>
                      <a:pt x="497" y="2"/>
                    </a:lnTo>
                    <a:lnTo>
                      <a:pt x="5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1" name="Freeform 24"/>
              <p:cNvSpPr>
                <a:spLocks/>
              </p:cNvSpPr>
              <p:nvPr/>
            </p:nvSpPr>
            <p:spPr bwMode="auto">
              <a:xfrm>
                <a:off x="-618" y="2470"/>
                <a:ext cx="160" cy="159"/>
              </a:xfrm>
              <a:custGeom>
                <a:avLst/>
                <a:gdLst>
                  <a:gd name="T0" fmla="*/ 659 w 1119"/>
                  <a:gd name="T1" fmla="*/ 9 h 1114"/>
                  <a:gd name="T2" fmla="*/ 638 w 1119"/>
                  <a:gd name="T3" fmla="*/ 40 h 1114"/>
                  <a:gd name="T4" fmla="*/ 667 w 1119"/>
                  <a:gd name="T5" fmla="*/ 61 h 1114"/>
                  <a:gd name="T6" fmla="*/ 718 w 1119"/>
                  <a:gd name="T7" fmla="*/ 97 h 1114"/>
                  <a:gd name="T8" fmla="*/ 746 w 1119"/>
                  <a:gd name="T9" fmla="*/ 160 h 1114"/>
                  <a:gd name="T10" fmla="*/ 748 w 1119"/>
                  <a:gd name="T11" fmla="*/ 304 h 1114"/>
                  <a:gd name="T12" fmla="*/ 770 w 1119"/>
                  <a:gd name="T13" fmla="*/ 310 h 1114"/>
                  <a:gd name="T14" fmla="*/ 766 w 1119"/>
                  <a:gd name="T15" fmla="*/ 351 h 1114"/>
                  <a:gd name="T16" fmla="*/ 761 w 1119"/>
                  <a:gd name="T17" fmla="*/ 391 h 1114"/>
                  <a:gd name="T18" fmla="*/ 753 w 1119"/>
                  <a:gd name="T19" fmla="*/ 409 h 1114"/>
                  <a:gd name="T20" fmla="*/ 747 w 1119"/>
                  <a:gd name="T21" fmla="*/ 411 h 1114"/>
                  <a:gd name="T22" fmla="*/ 737 w 1119"/>
                  <a:gd name="T23" fmla="*/ 464 h 1114"/>
                  <a:gd name="T24" fmla="*/ 704 w 1119"/>
                  <a:gd name="T25" fmla="*/ 537 h 1114"/>
                  <a:gd name="T26" fmla="*/ 695 w 1119"/>
                  <a:gd name="T27" fmla="*/ 559 h 1114"/>
                  <a:gd name="T28" fmla="*/ 706 w 1119"/>
                  <a:gd name="T29" fmla="*/ 622 h 1114"/>
                  <a:gd name="T30" fmla="*/ 710 w 1119"/>
                  <a:gd name="T31" fmla="*/ 629 h 1114"/>
                  <a:gd name="T32" fmla="*/ 711 w 1119"/>
                  <a:gd name="T33" fmla="*/ 632 h 1114"/>
                  <a:gd name="T34" fmla="*/ 732 w 1119"/>
                  <a:gd name="T35" fmla="*/ 637 h 1114"/>
                  <a:gd name="T36" fmla="*/ 737 w 1119"/>
                  <a:gd name="T37" fmla="*/ 681 h 1114"/>
                  <a:gd name="T38" fmla="*/ 761 w 1119"/>
                  <a:gd name="T39" fmla="*/ 720 h 1114"/>
                  <a:gd name="T40" fmla="*/ 961 w 1119"/>
                  <a:gd name="T41" fmla="*/ 781 h 1114"/>
                  <a:gd name="T42" fmla="*/ 1059 w 1119"/>
                  <a:gd name="T43" fmla="*/ 820 h 1114"/>
                  <a:gd name="T44" fmla="*/ 1041 w 1119"/>
                  <a:gd name="T45" fmla="*/ 965 h 1114"/>
                  <a:gd name="T46" fmla="*/ 870 w 1119"/>
                  <a:gd name="T47" fmla="*/ 1032 h 1114"/>
                  <a:gd name="T48" fmla="*/ 671 w 1119"/>
                  <a:gd name="T49" fmla="*/ 1103 h 1114"/>
                  <a:gd name="T50" fmla="*/ 423 w 1119"/>
                  <a:gd name="T51" fmla="*/ 1090 h 1114"/>
                  <a:gd name="T52" fmla="*/ 271 w 1119"/>
                  <a:gd name="T53" fmla="*/ 1027 h 1114"/>
                  <a:gd name="T54" fmla="*/ 126 w 1119"/>
                  <a:gd name="T55" fmla="*/ 970 h 1114"/>
                  <a:gd name="T56" fmla="*/ 51 w 1119"/>
                  <a:gd name="T57" fmla="*/ 833 h 1114"/>
                  <a:gd name="T58" fmla="*/ 100 w 1119"/>
                  <a:gd name="T59" fmla="*/ 803 h 1114"/>
                  <a:gd name="T60" fmla="*/ 197 w 1119"/>
                  <a:gd name="T61" fmla="*/ 776 h 1114"/>
                  <a:gd name="T62" fmla="*/ 312 w 1119"/>
                  <a:gd name="T63" fmla="*/ 737 h 1114"/>
                  <a:gd name="T64" fmla="*/ 365 w 1119"/>
                  <a:gd name="T65" fmla="*/ 714 h 1114"/>
                  <a:gd name="T66" fmla="*/ 383 w 1119"/>
                  <a:gd name="T67" fmla="*/ 663 h 1114"/>
                  <a:gd name="T68" fmla="*/ 393 w 1119"/>
                  <a:gd name="T69" fmla="*/ 634 h 1114"/>
                  <a:gd name="T70" fmla="*/ 411 w 1119"/>
                  <a:gd name="T71" fmla="*/ 629 h 1114"/>
                  <a:gd name="T72" fmla="*/ 414 w 1119"/>
                  <a:gd name="T73" fmla="*/ 623 h 1114"/>
                  <a:gd name="T74" fmla="*/ 423 w 1119"/>
                  <a:gd name="T75" fmla="*/ 568 h 1114"/>
                  <a:gd name="T76" fmla="*/ 415 w 1119"/>
                  <a:gd name="T77" fmla="*/ 533 h 1114"/>
                  <a:gd name="T78" fmla="*/ 389 w 1119"/>
                  <a:gd name="T79" fmla="*/ 472 h 1114"/>
                  <a:gd name="T80" fmla="*/ 373 w 1119"/>
                  <a:gd name="T81" fmla="*/ 411 h 1114"/>
                  <a:gd name="T82" fmla="*/ 367 w 1119"/>
                  <a:gd name="T83" fmla="*/ 409 h 1114"/>
                  <a:gd name="T84" fmla="*/ 356 w 1119"/>
                  <a:gd name="T85" fmla="*/ 388 h 1114"/>
                  <a:gd name="T86" fmla="*/ 342 w 1119"/>
                  <a:gd name="T87" fmla="*/ 346 h 1114"/>
                  <a:gd name="T88" fmla="*/ 336 w 1119"/>
                  <a:gd name="T89" fmla="*/ 314 h 1114"/>
                  <a:gd name="T90" fmla="*/ 356 w 1119"/>
                  <a:gd name="T91" fmla="*/ 303 h 1114"/>
                  <a:gd name="T92" fmla="*/ 361 w 1119"/>
                  <a:gd name="T93" fmla="*/ 303 h 1114"/>
                  <a:gd name="T94" fmla="*/ 363 w 1119"/>
                  <a:gd name="T95" fmla="*/ 294 h 1114"/>
                  <a:gd name="T96" fmla="*/ 372 w 1119"/>
                  <a:gd name="T97" fmla="*/ 127 h 1114"/>
                  <a:gd name="T98" fmla="*/ 445 w 1119"/>
                  <a:gd name="T99" fmla="*/ 60 h 1114"/>
                  <a:gd name="T100" fmla="*/ 569 w 1119"/>
                  <a:gd name="T101" fmla="*/ 16 h 1114"/>
                  <a:gd name="T102" fmla="*/ 636 w 1119"/>
                  <a:gd name="T103" fmla="*/ 2 h 1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19" h="1114">
                    <a:moveTo>
                      <a:pt x="655" y="0"/>
                    </a:moveTo>
                    <a:lnTo>
                      <a:pt x="665" y="0"/>
                    </a:lnTo>
                    <a:lnTo>
                      <a:pt x="664" y="6"/>
                    </a:lnTo>
                    <a:lnTo>
                      <a:pt x="659" y="9"/>
                    </a:lnTo>
                    <a:lnTo>
                      <a:pt x="652" y="14"/>
                    </a:lnTo>
                    <a:lnTo>
                      <a:pt x="645" y="20"/>
                    </a:lnTo>
                    <a:lnTo>
                      <a:pt x="638" y="30"/>
                    </a:lnTo>
                    <a:lnTo>
                      <a:pt x="638" y="40"/>
                    </a:lnTo>
                    <a:lnTo>
                      <a:pt x="645" y="50"/>
                    </a:lnTo>
                    <a:lnTo>
                      <a:pt x="651" y="51"/>
                    </a:lnTo>
                    <a:lnTo>
                      <a:pt x="659" y="55"/>
                    </a:lnTo>
                    <a:lnTo>
                      <a:pt x="667" y="61"/>
                    </a:lnTo>
                    <a:lnTo>
                      <a:pt x="680" y="69"/>
                    </a:lnTo>
                    <a:lnTo>
                      <a:pt x="695" y="80"/>
                    </a:lnTo>
                    <a:lnTo>
                      <a:pt x="706" y="86"/>
                    </a:lnTo>
                    <a:lnTo>
                      <a:pt x="718" y="97"/>
                    </a:lnTo>
                    <a:lnTo>
                      <a:pt x="728" y="109"/>
                    </a:lnTo>
                    <a:lnTo>
                      <a:pt x="737" y="124"/>
                    </a:lnTo>
                    <a:lnTo>
                      <a:pt x="743" y="141"/>
                    </a:lnTo>
                    <a:lnTo>
                      <a:pt x="746" y="160"/>
                    </a:lnTo>
                    <a:lnTo>
                      <a:pt x="746" y="281"/>
                    </a:lnTo>
                    <a:lnTo>
                      <a:pt x="746" y="292"/>
                    </a:lnTo>
                    <a:lnTo>
                      <a:pt x="747" y="299"/>
                    </a:lnTo>
                    <a:lnTo>
                      <a:pt x="748" y="304"/>
                    </a:lnTo>
                    <a:lnTo>
                      <a:pt x="751" y="304"/>
                    </a:lnTo>
                    <a:lnTo>
                      <a:pt x="756" y="301"/>
                    </a:lnTo>
                    <a:lnTo>
                      <a:pt x="765" y="303"/>
                    </a:lnTo>
                    <a:lnTo>
                      <a:pt x="770" y="310"/>
                    </a:lnTo>
                    <a:lnTo>
                      <a:pt x="772" y="318"/>
                    </a:lnTo>
                    <a:lnTo>
                      <a:pt x="772" y="329"/>
                    </a:lnTo>
                    <a:lnTo>
                      <a:pt x="770" y="341"/>
                    </a:lnTo>
                    <a:lnTo>
                      <a:pt x="766" y="351"/>
                    </a:lnTo>
                    <a:lnTo>
                      <a:pt x="766" y="365"/>
                    </a:lnTo>
                    <a:lnTo>
                      <a:pt x="766" y="376"/>
                    </a:lnTo>
                    <a:lnTo>
                      <a:pt x="764" y="384"/>
                    </a:lnTo>
                    <a:lnTo>
                      <a:pt x="761" y="391"/>
                    </a:lnTo>
                    <a:lnTo>
                      <a:pt x="756" y="402"/>
                    </a:lnTo>
                    <a:lnTo>
                      <a:pt x="755" y="405"/>
                    </a:lnTo>
                    <a:lnTo>
                      <a:pt x="754" y="407"/>
                    </a:lnTo>
                    <a:lnTo>
                      <a:pt x="753" y="409"/>
                    </a:lnTo>
                    <a:lnTo>
                      <a:pt x="751" y="410"/>
                    </a:lnTo>
                    <a:lnTo>
                      <a:pt x="749" y="410"/>
                    </a:lnTo>
                    <a:lnTo>
                      <a:pt x="748" y="411"/>
                    </a:lnTo>
                    <a:lnTo>
                      <a:pt x="747" y="411"/>
                    </a:lnTo>
                    <a:lnTo>
                      <a:pt x="746" y="411"/>
                    </a:lnTo>
                    <a:lnTo>
                      <a:pt x="746" y="424"/>
                    </a:lnTo>
                    <a:lnTo>
                      <a:pt x="742" y="442"/>
                    </a:lnTo>
                    <a:lnTo>
                      <a:pt x="737" y="464"/>
                    </a:lnTo>
                    <a:lnTo>
                      <a:pt x="729" y="487"/>
                    </a:lnTo>
                    <a:lnTo>
                      <a:pt x="719" y="511"/>
                    </a:lnTo>
                    <a:lnTo>
                      <a:pt x="706" y="532"/>
                    </a:lnTo>
                    <a:lnTo>
                      <a:pt x="704" y="537"/>
                    </a:lnTo>
                    <a:lnTo>
                      <a:pt x="700" y="542"/>
                    </a:lnTo>
                    <a:lnTo>
                      <a:pt x="697" y="546"/>
                    </a:lnTo>
                    <a:lnTo>
                      <a:pt x="695" y="551"/>
                    </a:lnTo>
                    <a:lnTo>
                      <a:pt x="695" y="559"/>
                    </a:lnTo>
                    <a:lnTo>
                      <a:pt x="696" y="570"/>
                    </a:lnTo>
                    <a:lnTo>
                      <a:pt x="697" y="582"/>
                    </a:lnTo>
                    <a:lnTo>
                      <a:pt x="700" y="601"/>
                    </a:lnTo>
                    <a:lnTo>
                      <a:pt x="706" y="622"/>
                    </a:lnTo>
                    <a:lnTo>
                      <a:pt x="708" y="625"/>
                    </a:lnTo>
                    <a:lnTo>
                      <a:pt x="709" y="627"/>
                    </a:lnTo>
                    <a:lnTo>
                      <a:pt x="710" y="628"/>
                    </a:lnTo>
                    <a:lnTo>
                      <a:pt x="710" y="629"/>
                    </a:lnTo>
                    <a:lnTo>
                      <a:pt x="710" y="630"/>
                    </a:lnTo>
                    <a:lnTo>
                      <a:pt x="710" y="632"/>
                    </a:lnTo>
                    <a:lnTo>
                      <a:pt x="711" y="632"/>
                    </a:lnTo>
                    <a:lnTo>
                      <a:pt x="711" y="632"/>
                    </a:lnTo>
                    <a:lnTo>
                      <a:pt x="713" y="632"/>
                    </a:lnTo>
                    <a:lnTo>
                      <a:pt x="715" y="632"/>
                    </a:lnTo>
                    <a:lnTo>
                      <a:pt x="725" y="633"/>
                    </a:lnTo>
                    <a:lnTo>
                      <a:pt x="732" y="637"/>
                    </a:lnTo>
                    <a:lnTo>
                      <a:pt x="735" y="643"/>
                    </a:lnTo>
                    <a:lnTo>
                      <a:pt x="736" y="651"/>
                    </a:lnTo>
                    <a:lnTo>
                      <a:pt x="736" y="663"/>
                    </a:lnTo>
                    <a:lnTo>
                      <a:pt x="737" y="681"/>
                    </a:lnTo>
                    <a:lnTo>
                      <a:pt x="741" y="696"/>
                    </a:lnTo>
                    <a:lnTo>
                      <a:pt x="748" y="707"/>
                    </a:lnTo>
                    <a:lnTo>
                      <a:pt x="754" y="716"/>
                    </a:lnTo>
                    <a:lnTo>
                      <a:pt x="761" y="720"/>
                    </a:lnTo>
                    <a:lnTo>
                      <a:pt x="766" y="722"/>
                    </a:lnTo>
                    <a:lnTo>
                      <a:pt x="832" y="744"/>
                    </a:lnTo>
                    <a:lnTo>
                      <a:pt x="897" y="763"/>
                    </a:lnTo>
                    <a:lnTo>
                      <a:pt x="961" y="781"/>
                    </a:lnTo>
                    <a:lnTo>
                      <a:pt x="1028" y="803"/>
                    </a:lnTo>
                    <a:lnTo>
                      <a:pt x="1038" y="805"/>
                    </a:lnTo>
                    <a:lnTo>
                      <a:pt x="1048" y="810"/>
                    </a:lnTo>
                    <a:lnTo>
                      <a:pt x="1059" y="820"/>
                    </a:lnTo>
                    <a:lnTo>
                      <a:pt x="1069" y="833"/>
                    </a:lnTo>
                    <a:lnTo>
                      <a:pt x="1119" y="953"/>
                    </a:lnTo>
                    <a:lnTo>
                      <a:pt x="1079" y="957"/>
                    </a:lnTo>
                    <a:lnTo>
                      <a:pt x="1041" y="965"/>
                    </a:lnTo>
                    <a:lnTo>
                      <a:pt x="1000" y="978"/>
                    </a:lnTo>
                    <a:lnTo>
                      <a:pt x="958" y="994"/>
                    </a:lnTo>
                    <a:lnTo>
                      <a:pt x="915" y="1012"/>
                    </a:lnTo>
                    <a:lnTo>
                      <a:pt x="870" y="1032"/>
                    </a:lnTo>
                    <a:lnTo>
                      <a:pt x="824" y="1053"/>
                    </a:lnTo>
                    <a:lnTo>
                      <a:pt x="776" y="1072"/>
                    </a:lnTo>
                    <a:lnTo>
                      <a:pt x="724" y="1089"/>
                    </a:lnTo>
                    <a:lnTo>
                      <a:pt x="671" y="1103"/>
                    </a:lnTo>
                    <a:lnTo>
                      <a:pt x="615" y="1114"/>
                    </a:lnTo>
                    <a:lnTo>
                      <a:pt x="514" y="1114"/>
                    </a:lnTo>
                    <a:lnTo>
                      <a:pt x="467" y="1103"/>
                    </a:lnTo>
                    <a:lnTo>
                      <a:pt x="423" y="1090"/>
                    </a:lnTo>
                    <a:lnTo>
                      <a:pt x="383" y="1076"/>
                    </a:lnTo>
                    <a:lnTo>
                      <a:pt x="344" y="1060"/>
                    </a:lnTo>
                    <a:lnTo>
                      <a:pt x="307" y="1043"/>
                    </a:lnTo>
                    <a:lnTo>
                      <a:pt x="271" y="1027"/>
                    </a:lnTo>
                    <a:lnTo>
                      <a:pt x="236" y="1011"/>
                    </a:lnTo>
                    <a:lnTo>
                      <a:pt x="200" y="995"/>
                    </a:lnTo>
                    <a:lnTo>
                      <a:pt x="164" y="981"/>
                    </a:lnTo>
                    <a:lnTo>
                      <a:pt x="126" y="970"/>
                    </a:lnTo>
                    <a:lnTo>
                      <a:pt x="86" y="961"/>
                    </a:lnTo>
                    <a:lnTo>
                      <a:pt x="44" y="955"/>
                    </a:lnTo>
                    <a:lnTo>
                      <a:pt x="0" y="953"/>
                    </a:lnTo>
                    <a:lnTo>
                      <a:pt x="51" y="833"/>
                    </a:lnTo>
                    <a:lnTo>
                      <a:pt x="58" y="825"/>
                    </a:lnTo>
                    <a:lnTo>
                      <a:pt x="68" y="818"/>
                    </a:lnTo>
                    <a:lnTo>
                      <a:pt x="82" y="810"/>
                    </a:lnTo>
                    <a:lnTo>
                      <a:pt x="100" y="803"/>
                    </a:lnTo>
                    <a:lnTo>
                      <a:pt x="119" y="798"/>
                    </a:lnTo>
                    <a:lnTo>
                      <a:pt x="141" y="793"/>
                    </a:lnTo>
                    <a:lnTo>
                      <a:pt x="168" y="784"/>
                    </a:lnTo>
                    <a:lnTo>
                      <a:pt x="197" y="776"/>
                    </a:lnTo>
                    <a:lnTo>
                      <a:pt x="227" y="766"/>
                    </a:lnTo>
                    <a:lnTo>
                      <a:pt x="257" y="757"/>
                    </a:lnTo>
                    <a:lnTo>
                      <a:pt x="286" y="747"/>
                    </a:lnTo>
                    <a:lnTo>
                      <a:pt x="312" y="737"/>
                    </a:lnTo>
                    <a:lnTo>
                      <a:pt x="334" y="729"/>
                    </a:lnTo>
                    <a:lnTo>
                      <a:pt x="353" y="722"/>
                    </a:lnTo>
                    <a:lnTo>
                      <a:pt x="359" y="720"/>
                    </a:lnTo>
                    <a:lnTo>
                      <a:pt x="365" y="714"/>
                    </a:lnTo>
                    <a:lnTo>
                      <a:pt x="372" y="704"/>
                    </a:lnTo>
                    <a:lnTo>
                      <a:pt x="377" y="691"/>
                    </a:lnTo>
                    <a:lnTo>
                      <a:pt x="382" y="678"/>
                    </a:lnTo>
                    <a:lnTo>
                      <a:pt x="383" y="663"/>
                    </a:lnTo>
                    <a:lnTo>
                      <a:pt x="384" y="652"/>
                    </a:lnTo>
                    <a:lnTo>
                      <a:pt x="385" y="643"/>
                    </a:lnTo>
                    <a:lnTo>
                      <a:pt x="387" y="637"/>
                    </a:lnTo>
                    <a:lnTo>
                      <a:pt x="393" y="634"/>
                    </a:lnTo>
                    <a:lnTo>
                      <a:pt x="403" y="633"/>
                    </a:lnTo>
                    <a:lnTo>
                      <a:pt x="406" y="632"/>
                    </a:lnTo>
                    <a:lnTo>
                      <a:pt x="409" y="630"/>
                    </a:lnTo>
                    <a:lnTo>
                      <a:pt x="411" y="629"/>
                    </a:lnTo>
                    <a:lnTo>
                      <a:pt x="412" y="627"/>
                    </a:lnTo>
                    <a:lnTo>
                      <a:pt x="413" y="625"/>
                    </a:lnTo>
                    <a:lnTo>
                      <a:pt x="413" y="624"/>
                    </a:lnTo>
                    <a:lnTo>
                      <a:pt x="414" y="623"/>
                    </a:lnTo>
                    <a:lnTo>
                      <a:pt x="414" y="622"/>
                    </a:lnTo>
                    <a:lnTo>
                      <a:pt x="419" y="606"/>
                    </a:lnTo>
                    <a:lnTo>
                      <a:pt x="422" y="587"/>
                    </a:lnTo>
                    <a:lnTo>
                      <a:pt x="423" y="568"/>
                    </a:lnTo>
                    <a:lnTo>
                      <a:pt x="423" y="552"/>
                    </a:lnTo>
                    <a:lnTo>
                      <a:pt x="422" y="545"/>
                    </a:lnTo>
                    <a:lnTo>
                      <a:pt x="418" y="539"/>
                    </a:lnTo>
                    <a:lnTo>
                      <a:pt x="415" y="533"/>
                    </a:lnTo>
                    <a:lnTo>
                      <a:pt x="414" y="532"/>
                    </a:lnTo>
                    <a:lnTo>
                      <a:pt x="404" y="515"/>
                    </a:lnTo>
                    <a:lnTo>
                      <a:pt x="397" y="494"/>
                    </a:lnTo>
                    <a:lnTo>
                      <a:pt x="389" y="472"/>
                    </a:lnTo>
                    <a:lnTo>
                      <a:pt x="384" y="450"/>
                    </a:lnTo>
                    <a:lnTo>
                      <a:pt x="378" y="428"/>
                    </a:lnTo>
                    <a:lnTo>
                      <a:pt x="373" y="411"/>
                    </a:lnTo>
                    <a:lnTo>
                      <a:pt x="373" y="411"/>
                    </a:lnTo>
                    <a:lnTo>
                      <a:pt x="371" y="411"/>
                    </a:lnTo>
                    <a:lnTo>
                      <a:pt x="370" y="411"/>
                    </a:lnTo>
                    <a:lnTo>
                      <a:pt x="368" y="410"/>
                    </a:lnTo>
                    <a:lnTo>
                      <a:pt x="367" y="409"/>
                    </a:lnTo>
                    <a:lnTo>
                      <a:pt x="364" y="407"/>
                    </a:lnTo>
                    <a:lnTo>
                      <a:pt x="363" y="405"/>
                    </a:lnTo>
                    <a:lnTo>
                      <a:pt x="363" y="402"/>
                    </a:lnTo>
                    <a:lnTo>
                      <a:pt x="356" y="388"/>
                    </a:lnTo>
                    <a:lnTo>
                      <a:pt x="349" y="376"/>
                    </a:lnTo>
                    <a:lnTo>
                      <a:pt x="344" y="364"/>
                    </a:lnTo>
                    <a:lnTo>
                      <a:pt x="343" y="351"/>
                    </a:lnTo>
                    <a:lnTo>
                      <a:pt x="342" y="346"/>
                    </a:lnTo>
                    <a:lnTo>
                      <a:pt x="340" y="339"/>
                    </a:lnTo>
                    <a:lnTo>
                      <a:pt x="338" y="331"/>
                    </a:lnTo>
                    <a:lnTo>
                      <a:pt x="336" y="323"/>
                    </a:lnTo>
                    <a:lnTo>
                      <a:pt x="336" y="314"/>
                    </a:lnTo>
                    <a:lnTo>
                      <a:pt x="339" y="308"/>
                    </a:lnTo>
                    <a:lnTo>
                      <a:pt x="344" y="302"/>
                    </a:lnTo>
                    <a:lnTo>
                      <a:pt x="353" y="301"/>
                    </a:lnTo>
                    <a:lnTo>
                      <a:pt x="356" y="303"/>
                    </a:lnTo>
                    <a:lnTo>
                      <a:pt x="358" y="304"/>
                    </a:lnTo>
                    <a:lnTo>
                      <a:pt x="359" y="305"/>
                    </a:lnTo>
                    <a:lnTo>
                      <a:pt x="361" y="304"/>
                    </a:lnTo>
                    <a:lnTo>
                      <a:pt x="361" y="303"/>
                    </a:lnTo>
                    <a:lnTo>
                      <a:pt x="362" y="301"/>
                    </a:lnTo>
                    <a:lnTo>
                      <a:pt x="362" y="299"/>
                    </a:lnTo>
                    <a:lnTo>
                      <a:pt x="362" y="297"/>
                    </a:lnTo>
                    <a:lnTo>
                      <a:pt x="363" y="294"/>
                    </a:lnTo>
                    <a:lnTo>
                      <a:pt x="363" y="291"/>
                    </a:lnTo>
                    <a:lnTo>
                      <a:pt x="363" y="171"/>
                    </a:lnTo>
                    <a:lnTo>
                      <a:pt x="365" y="147"/>
                    </a:lnTo>
                    <a:lnTo>
                      <a:pt x="372" y="127"/>
                    </a:lnTo>
                    <a:lnTo>
                      <a:pt x="383" y="109"/>
                    </a:lnTo>
                    <a:lnTo>
                      <a:pt x="397" y="94"/>
                    </a:lnTo>
                    <a:lnTo>
                      <a:pt x="414" y="80"/>
                    </a:lnTo>
                    <a:lnTo>
                      <a:pt x="445" y="60"/>
                    </a:lnTo>
                    <a:lnTo>
                      <a:pt x="480" y="42"/>
                    </a:lnTo>
                    <a:lnTo>
                      <a:pt x="517" y="30"/>
                    </a:lnTo>
                    <a:lnTo>
                      <a:pt x="554" y="20"/>
                    </a:lnTo>
                    <a:lnTo>
                      <a:pt x="569" y="16"/>
                    </a:lnTo>
                    <a:lnTo>
                      <a:pt x="586" y="11"/>
                    </a:lnTo>
                    <a:lnTo>
                      <a:pt x="604" y="8"/>
                    </a:lnTo>
                    <a:lnTo>
                      <a:pt x="621" y="5"/>
                    </a:lnTo>
                    <a:lnTo>
                      <a:pt x="636" y="2"/>
                    </a:lnTo>
                    <a:lnTo>
                      <a:pt x="648" y="1"/>
                    </a:lnTo>
                    <a:lnTo>
                      <a:pt x="6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147993" y="4382492"/>
            <a:ext cx="727877" cy="791410"/>
            <a:chOff x="147993" y="4318700"/>
            <a:chExt cx="727877" cy="791410"/>
          </a:xfrm>
        </p:grpSpPr>
        <p:sp>
          <p:nvSpPr>
            <p:cNvPr id="36" name="Rectangle 17"/>
            <p:cNvSpPr>
              <a:spLocks/>
            </p:cNvSpPr>
            <p:nvPr/>
          </p:nvSpPr>
          <p:spPr bwMode="auto">
            <a:xfrm>
              <a:off x="147993" y="4556112"/>
              <a:ext cx="727877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Веб-ресурсы, продукт, датчики, приложения</a:t>
              </a:r>
              <a:endParaRPr lang="ru-RU" sz="900" i="1" dirty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grpSp>
          <p:nvGrpSpPr>
            <p:cNvPr id="92" name="Group 157"/>
            <p:cNvGrpSpPr>
              <a:grpSpLocks noChangeAspect="1"/>
            </p:cNvGrpSpPr>
            <p:nvPr/>
          </p:nvGrpSpPr>
          <p:grpSpPr bwMode="auto">
            <a:xfrm>
              <a:off x="380096" y="4318700"/>
              <a:ext cx="254721" cy="240654"/>
              <a:chOff x="3815" y="1810"/>
              <a:chExt cx="2354" cy="2224"/>
            </a:xfrm>
            <a:solidFill>
              <a:schemeClr val="bg1"/>
            </a:solidFill>
          </p:grpSpPr>
          <p:sp>
            <p:nvSpPr>
              <p:cNvPr id="93" name="Freeform 159"/>
              <p:cNvSpPr>
                <a:spLocks noEditPoints="1"/>
              </p:cNvSpPr>
              <p:nvPr/>
            </p:nvSpPr>
            <p:spPr bwMode="auto">
              <a:xfrm>
                <a:off x="3815" y="1810"/>
                <a:ext cx="2021" cy="1982"/>
              </a:xfrm>
              <a:custGeom>
                <a:avLst/>
                <a:gdLst>
                  <a:gd name="T0" fmla="*/ 3423 w 4043"/>
                  <a:gd name="T1" fmla="*/ 409 h 3965"/>
                  <a:gd name="T2" fmla="*/ 3363 w 4043"/>
                  <a:gd name="T3" fmla="*/ 435 h 3965"/>
                  <a:gd name="T4" fmla="*/ 3317 w 4043"/>
                  <a:gd name="T5" fmla="*/ 481 h 3965"/>
                  <a:gd name="T6" fmla="*/ 3291 w 4043"/>
                  <a:gd name="T7" fmla="*/ 542 h 3965"/>
                  <a:gd name="T8" fmla="*/ 3291 w 4043"/>
                  <a:gd name="T9" fmla="*/ 611 h 3965"/>
                  <a:gd name="T10" fmla="*/ 3317 w 4043"/>
                  <a:gd name="T11" fmla="*/ 671 h 3965"/>
                  <a:gd name="T12" fmla="*/ 3363 w 4043"/>
                  <a:gd name="T13" fmla="*/ 716 h 3965"/>
                  <a:gd name="T14" fmla="*/ 3423 w 4043"/>
                  <a:gd name="T15" fmla="*/ 742 h 3965"/>
                  <a:gd name="T16" fmla="*/ 3491 w 4043"/>
                  <a:gd name="T17" fmla="*/ 742 h 3965"/>
                  <a:gd name="T18" fmla="*/ 3553 w 4043"/>
                  <a:gd name="T19" fmla="*/ 716 h 3965"/>
                  <a:gd name="T20" fmla="*/ 3598 w 4043"/>
                  <a:gd name="T21" fmla="*/ 671 h 3965"/>
                  <a:gd name="T22" fmla="*/ 3624 w 4043"/>
                  <a:gd name="T23" fmla="*/ 611 h 3965"/>
                  <a:gd name="T24" fmla="*/ 3624 w 4043"/>
                  <a:gd name="T25" fmla="*/ 542 h 3965"/>
                  <a:gd name="T26" fmla="*/ 3598 w 4043"/>
                  <a:gd name="T27" fmla="*/ 481 h 3965"/>
                  <a:gd name="T28" fmla="*/ 3553 w 4043"/>
                  <a:gd name="T29" fmla="*/ 435 h 3965"/>
                  <a:gd name="T30" fmla="*/ 3491 w 4043"/>
                  <a:gd name="T31" fmla="*/ 409 h 3965"/>
                  <a:gd name="T32" fmla="*/ 2924 w 4043"/>
                  <a:gd name="T33" fmla="*/ 406 h 3965"/>
                  <a:gd name="T34" fmla="*/ 2858 w 4043"/>
                  <a:gd name="T35" fmla="*/ 419 h 3965"/>
                  <a:gd name="T36" fmla="*/ 2804 w 4043"/>
                  <a:gd name="T37" fmla="*/ 456 h 3965"/>
                  <a:gd name="T38" fmla="*/ 2768 w 4043"/>
                  <a:gd name="T39" fmla="*/ 511 h 3965"/>
                  <a:gd name="T40" fmla="*/ 2755 w 4043"/>
                  <a:gd name="T41" fmla="*/ 576 h 3965"/>
                  <a:gd name="T42" fmla="*/ 2768 w 4043"/>
                  <a:gd name="T43" fmla="*/ 642 h 3965"/>
                  <a:gd name="T44" fmla="*/ 2804 w 4043"/>
                  <a:gd name="T45" fmla="*/ 696 h 3965"/>
                  <a:gd name="T46" fmla="*/ 2858 w 4043"/>
                  <a:gd name="T47" fmla="*/ 732 h 3965"/>
                  <a:gd name="T48" fmla="*/ 2924 w 4043"/>
                  <a:gd name="T49" fmla="*/ 746 h 3965"/>
                  <a:gd name="T50" fmla="*/ 2991 w 4043"/>
                  <a:gd name="T51" fmla="*/ 732 h 3965"/>
                  <a:gd name="T52" fmla="*/ 3045 w 4043"/>
                  <a:gd name="T53" fmla="*/ 696 h 3965"/>
                  <a:gd name="T54" fmla="*/ 3081 w 4043"/>
                  <a:gd name="T55" fmla="*/ 642 h 3965"/>
                  <a:gd name="T56" fmla="*/ 3094 w 4043"/>
                  <a:gd name="T57" fmla="*/ 576 h 3965"/>
                  <a:gd name="T58" fmla="*/ 3081 w 4043"/>
                  <a:gd name="T59" fmla="*/ 511 h 3965"/>
                  <a:gd name="T60" fmla="*/ 3045 w 4043"/>
                  <a:gd name="T61" fmla="*/ 456 h 3965"/>
                  <a:gd name="T62" fmla="*/ 2991 w 4043"/>
                  <a:gd name="T63" fmla="*/ 419 h 3965"/>
                  <a:gd name="T64" fmla="*/ 2924 w 4043"/>
                  <a:gd name="T65" fmla="*/ 406 h 3965"/>
                  <a:gd name="T66" fmla="*/ 3924 w 4043"/>
                  <a:gd name="T67" fmla="*/ 0 h 3965"/>
                  <a:gd name="T68" fmla="*/ 3984 w 4043"/>
                  <a:gd name="T69" fmla="*/ 18 h 3965"/>
                  <a:gd name="T70" fmla="*/ 4027 w 4043"/>
                  <a:gd name="T71" fmla="*/ 60 h 3965"/>
                  <a:gd name="T72" fmla="*/ 4043 w 4043"/>
                  <a:gd name="T73" fmla="*/ 120 h 3965"/>
                  <a:gd name="T74" fmla="*/ 4026 w 4043"/>
                  <a:gd name="T75" fmla="*/ 1778 h 3965"/>
                  <a:gd name="T76" fmla="*/ 3943 w 4043"/>
                  <a:gd name="T77" fmla="*/ 1795 h 3965"/>
                  <a:gd name="T78" fmla="*/ 3874 w 4043"/>
                  <a:gd name="T79" fmla="*/ 1841 h 3965"/>
                  <a:gd name="T80" fmla="*/ 3809 w 4043"/>
                  <a:gd name="T81" fmla="*/ 1868 h 3965"/>
                  <a:gd name="T82" fmla="*/ 3744 w 4043"/>
                  <a:gd name="T83" fmla="*/ 1878 h 3965"/>
                  <a:gd name="T84" fmla="*/ 3686 w 4043"/>
                  <a:gd name="T85" fmla="*/ 1908 h 3965"/>
                  <a:gd name="T86" fmla="*/ 357 w 4043"/>
                  <a:gd name="T87" fmla="*/ 1095 h 3965"/>
                  <a:gd name="T88" fmla="*/ 2587 w 4043"/>
                  <a:gd name="T89" fmla="*/ 3608 h 3965"/>
                  <a:gd name="T90" fmla="*/ 2585 w 4043"/>
                  <a:gd name="T91" fmla="*/ 3839 h 3965"/>
                  <a:gd name="T92" fmla="*/ 2602 w 4043"/>
                  <a:gd name="T93" fmla="*/ 3926 h 3965"/>
                  <a:gd name="T94" fmla="*/ 119 w 4043"/>
                  <a:gd name="T95" fmla="*/ 3965 h 3965"/>
                  <a:gd name="T96" fmla="*/ 59 w 4043"/>
                  <a:gd name="T97" fmla="*/ 3949 h 3965"/>
                  <a:gd name="T98" fmla="*/ 16 w 4043"/>
                  <a:gd name="T99" fmla="*/ 3906 h 3965"/>
                  <a:gd name="T100" fmla="*/ 0 w 4043"/>
                  <a:gd name="T101" fmla="*/ 3846 h 3965"/>
                  <a:gd name="T102" fmla="*/ 4 w 4043"/>
                  <a:gd name="T103" fmla="*/ 88 h 3965"/>
                  <a:gd name="T104" fmla="*/ 34 w 4043"/>
                  <a:gd name="T105" fmla="*/ 36 h 3965"/>
                  <a:gd name="T106" fmla="*/ 87 w 4043"/>
                  <a:gd name="T107" fmla="*/ 5 h 3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43" h="3965">
                    <a:moveTo>
                      <a:pt x="3457" y="406"/>
                    </a:moveTo>
                    <a:lnTo>
                      <a:pt x="3423" y="409"/>
                    </a:lnTo>
                    <a:lnTo>
                      <a:pt x="3391" y="419"/>
                    </a:lnTo>
                    <a:lnTo>
                      <a:pt x="3363" y="435"/>
                    </a:lnTo>
                    <a:lnTo>
                      <a:pt x="3337" y="456"/>
                    </a:lnTo>
                    <a:lnTo>
                      <a:pt x="3317" y="481"/>
                    </a:lnTo>
                    <a:lnTo>
                      <a:pt x="3301" y="511"/>
                    </a:lnTo>
                    <a:lnTo>
                      <a:pt x="3291" y="542"/>
                    </a:lnTo>
                    <a:lnTo>
                      <a:pt x="3287" y="576"/>
                    </a:lnTo>
                    <a:lnTo>
                      <a:pt x="3291" y="611"/>
                    </a:lnTo>
                    <a:lnTo>
                      <a:pt x="3301" y="642"/>
                    </a:lnTo>
                    <a:lnTo>
                      <a:pt x="3317" y="671"/>
                    </a:lnTo>
                    <a:lnTo>
                      <a:pt x="3337" y="696"/>
                    </a:lnTo>
                    <a:lnTo>
                      <a:pt x="3363" y="716"/>
                    </a:lnTo>
                    <a:lnTo>
                      <a:pt x="3391" y="732"/>
                    </a:lnTo>
                    <a:lnTo>
                      <a:pt x="3423" y="742"/>
                    </a:lnTo>
                    <a:lnTo>
                      <a:pt x="3457" y="746"/>
                    </a:lnTo>
                    <a:lnTo>
                      <a:pt x="3491" y="742"/>
                    </a:lnTo>
                    <a:lnTo>
                      <a:pt x="3524" y="732"/>
                    </a:lnTo>
                    <a:lnTo>
                      <a:pt x="3553" y="716"/>
                    </a:lnTo>
                    <a:lnTo>
                      <a:pt x="3577" y="696"/>
                    </a:lnTo>
                    <a:lnTo>
                      <a:pt x="3598" y="671"/>
                    </a:lnTo>
                    <a:lnTo>
                      <a:pt x="3614" y="642"/>
                    </a:lnTo>
                    <a:lnTo>
                      <a:pt x="3624" y="611"/>
                    </a:lnTo>
                    <a:lnTo>
                      <a:pt x="3627" y="576"/>
                    </a:lnTo>
                    <a:lnTo>
                      <a:pt x="3624" y="542"/>
                    </a:lnTo>
                    <a:lnTo>
                      <a:pt x="3614" y="511"/>
                    </a:lnTo>
                    <a:lnTo>
                      <a:pt x="3598" y="481"/>
                    </a:lnTo>
                    <a:lnTo>
                      <a:pt x="3577" y="456"/>
                    </a:lnTo>
                    <a:lnTo>
                      <a:pt x="3553" y="435"/>
                    </a:lnTo>
                    <a:lnTo>
                      <a:pt x="3524" y="419"/>
                    </a:lnTo>
                    <a:lnTo>
                      <a:pt x="3491" y="409"/>
                    </a:lnTo>
                    <a:lnTo>
                      <a:pt x="3457" y="406"/>
                    </a:lnTo>
                    <a:close/>
                    <a:moveTo>
                      <a:pt x="2924" y="406"/>
                    </a:moveTo>
                    <a:lnTo>
                      <a:pt x="2890" y="409"/>
                    </a:lnTo>
                    <a:lnTo>
                      <a:pt x="2858" y="419"/>
                    </a:lnTo>
                    <a:lnTo>
                      <a:pt x="2830" y="435"/>
                    </a:lnTo>
                    <a:lnTo>
                      <a:pt x="2804" y="456"/>
                    </a:lnTo>
                    <a:lnTo>
                      <a:pt x="2784" y="481"/>
                    </a:lnTo>
                    <a:lnTo>
                      <a:pt x="2768" y="511"/>
                    </a:lnTo>
                    <a:lnTo>
                      <a:pt x="2758" y="542"/>
                    </a:lnTo>
                    <a:lnTo>
                      <a:pt x="2755" y="576"/>
                    </a:lnTo>
                    <a:lnTo>
                      <a:pt x="2758" y="611"/>
                    </a:lnTo>
                    <a:lnTo>
                      <a:pt x="2768" y="642"/>
                    </a:lnTo>
                    <a:lnTo>
                      <a:pt x="2784" y="671"/>
                    </a:lnTo>
                    <a:lnTo>
                      <a:pt x="2804" y="696"/>
                    </a:lnTo>
                    <a:lnTo>
                      <a:pt x="2830" y="716"/>
                    </a:lnTo>
                    <a:lnTo>
                      <a:pt x="2858" y="732"/>
                    </a:lnTo>
                    <a:lnTo>
                      <a:pt x="2890" y="742"/>
                    </a:lnTo>
                    <a:lnTo>
                      <a:pt x="2924" y="746"/>
                    </a:lnTo>
                    <a:lnTo>
                      <a:pt x="2958" y="742"/>
                    </a:lnTo>
                    <a:lnTo>
                      <a:pt x="2991" y="732"/>
                    </a:lnTo>
                    <a:lnTo>
                      <a:pt x="3020" y="716"/>
                    </a:lnTo>
                    <a:lnTo>
                      <a:pt x="3045" y="696"/>
                    </a:lnTo>
                    <a:lnTo>
                      <a:pt x="3065" y="671"/>
                    </a:lnTo>
                    <a:lnTo>
                      <a:pt x="3081" y="642"/>
                    </a:lnTo>
                    <a:lnTo>
                      <a:pt x="3091" y="611"/>
                    </a:lnTo>
                    <a:lnTo>
                      <a:pt x="3094" y="576"/>
                    </a:lnTo>
                    <a:lnTo>
                      <a:pt x="3091" y="542"/>
                    </a:lnTo>
                    <a:lnTo>
                      <a:pt x="3081" y="511"/>
                    </a:lnTo>
                    <a:lnTo>
                      <a:pt x="3065" y="481"/>
                    </a:lnTo>
                    <a:lnTo>
                      <a:pt x="3045" y="456"/>
                    </a:lnTo>
                    <a:lnTo>
                      <a:pt x="3020" y="435"/>
                    </a:lnTo>
                    <a:lnTo>
                      <a:pt x="2991" y="419"/>
                    </a:lnTo>
                    <a:lnTo>
                      <a:pt x="2958" y="409"/>
                    </a:lnTo>
                    <a:lnTo>
                      <a:pt x="2924" y="406"/>
                    </a:lnTo>
                    <a:close/>
                    <a:moveTo>
                      <a:pt x="119" y="0"/>
                    </a:moveTo>
                    <a:lnTo>
                      <a:pt x="3924" y="0"/>
                    </a:lnTo>
                    <a:lnTo>
                      <a:pt x="3956" y="5"/>
                    </a:lnTo>
                    <a:lnTo>
                      <a:pt x="3984" y="18"/>
                    </a:lnTo>
                    <a:lnTo>
                      <a:pt x="4009" y="36"/>
                    </a:lnTo>
                    <a:lnTo>
                      <a:pt x="4027" y="60"/>
                    </a:lnTo>
                    <a:lnTo>
                      <a:pt x="4039" y="88"/>
                    </a:lnTo>
                    <a:lnTo>
                      <a:pt x="4043" y="120"/>
                    </a:lnTo>
                    <a:lnTo>
                      <a:pt x="4043" y="1778"/>
                    </a:lnTo>
                    <a:lnTo>
                      <a:pt x="4026" y="1778"/>
                    </a:lnTo>
                    <a:lnTo>
                      <a:pt x="3983" y="1783"/>
                    </a:lnTo>
                    <a:lnTo>
                      <a:pt x="3943" y="1795"/>
                    </a:lnTo>
                    <a:lnTo>
                      <a:pt x="3907" y="1815"/>
                    </a:lnTo>
                    <a:lnTo>
                      <a:pt x="3874" y="1841"/>
                    </a:lnTo>
                    <a:lnTo>
                      <a:pt x="3849" y="1873"/>
                    </a:lnTo>
                    <a:lnTo>
                      <a:pt x="3809" y="1868"/>
                    </a:lnTo>
                    <a:lnTo>
                      <a:pt x="3776" y="1871"/>
                    </a:lnTo>
                    <a:lnTo>
                      <a:pt x="3744" y="1878"/>
                    </a:lnTo>
                    <a:lnTo>
                      <a:pt x="3713" y="1891"/>
                    </a:lnTo>
                    <a:lnTo>
                      <a:pt x="3686" y="1908"/>
                    </a:lnTo>
                    <a:lnTo>
                      <a:pt x="3686" y="1095"/>
                    </a:lnTo>
                    <a:lnTo>
                      <a:pt x="357" y="1095"/>
                    </a:lnTo>
                    <a:lnTo>
                      <a:pt x="357" y="3608"/>
                    </a:lnTo>
                    <a:lnTo>
                      <a:pt x="2587" y="3608"/>
                    </a:lnTo>
                    <a:lnTo>
                      <a:pt x="2585" y="3640"/>
                    </a:lnTo>
                    <a:lnTo>
                      <a:pt x="2585" y="3839"/>
                    </a:lnTo>
                    <a:lnTo>
                      <a:pt x="2590" y="3885"/>
                    </a:lnTo>
                    <a:lnTo>
                      <a:pt x="2602" y="3926"/>
                    </a:lnTo>
                    <a:lnTo>
                      <a:pt x="2622" y="3965"/>
                    </a:lnTo>
                    <a:lnTo>
                      <a:pt x="119" y="3965"/>
                    </a:lnTo>
                    <a:lnTo>
                      <a:pt x="87" y="3961"/>
                    </a:lnTo>
                    <a:lnTo>
                      <a:pt x="59" y="3949"/>
                    </a:lnTo>
                    <a:lnTo>
                      <a:pt x="34" y="3931"/>
                    </a:lnTo>
                    <a:lnTo>
                      <a:pt x="16" y="3906"/>
                    </a:lnTo>
                    <a:lnTo>
                      <a:pt x="4" y="3878"/>
                    </a:lnTo>
                    <a:lnTo>
                      <a:pt x="0" y="3846"/>
                    </a:lnTo>
                    <a:lnTo>
                      <a:pt x="0" y="120"/>
                    </a:lnTo>
                    <a:lnTo>
                      <a:pt x="4" y="88"/>
                    </a:lnTo>
                    <a:lnTo>
                      <a:pt x="16" y="60"/>
                    </a:lnTo>
                    <a:lnTo>
                      <a:pt x="34" y="36"/>
                    </a:lnTo>
                    <a:lnTo>
                      <a:pt x="59" y="18"/>
                    </a:lnTo>
                    <a:lnTo>
                      <a:pt x="87" y="5"/>
                    </a:lnTo>
                    <a:lnTo>
                      <a:pt x="1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5" name="Freeform 160"/>
              <p:cNvSpPr>
                <a:spLocks noEditPoints="1"/>
              </p:cNvSpPr>
              <p:nvPr/>
            </p:nvSpPr>
            <p:spPr bwMode="auto">
              <a:xfrm>
                <a:off x="4491" y="2507"/>
                <a:ext cx="895" cy="895"/>
              </a:xfrm>
              <a:custGeom>
                <a:avLst/>
                <a:gdLst>
                  <a:gd name="T0" fmla="*/ 727 w 1791"/>
                  <a:gd name="T1" fmla="*/ 498 h 1790"/>
                  <a:gd name="T2" fmla="*/ 554 w 1791"/>
                  <a:gd name="T3" fmla="*/ 632 h 1790"/>
                  <a:gd name="T4" fmla="*/ 469 w 1791"/>
                  <a:gd name="T5" fmla="*/ 836 h 1790"/>
                  <a:gd name="T6" fmla="*/ 499 w 1791"/>
                  <a:gd name="T7" fmla="*/ 1062 h 1790"/>
                  <a:gd name="T8" fmla="*/ 632 w 1791"/>
                  <a:gd name="T9" fmla="*/ 1236 h 1790"/>
                  <a:gd name="T10" fmla="*/ 837 w 1791"/>
                  <a:gd name="T11" fmla="*/ 1322 h 1790"/>
                  <a:gd name="T12" fmla="*/ 1063 w 1791"/>
                  <a:gd name="T13" fmla="*/ 1292 h 1790"/>
                  <a:gd name="T14" fmla="*/ 1236 w 1791"/>
                  <a:gd name="T15" fmla="*/ 1158 h 1790"/>
                  <a:gd name="T16" fmla="*/ 1323 w 1791"/>
                  <a:gd name="T17" fmla="*/ 953 h 1790"/>
                  <a:gd name="T18" fmla="*/ 1293 w 1791"/>
                  <a:gd name="T19" fmla="*/ 728 h 1790"/>
                  <a:gd name="T20" fmla="*/ 1159 w 1791"/>
                  <a:gd name="T21" fmla="*/ 553 h 1790"/>
                  <a:gd name="T22" fmla="*/ 955 w 1791"/>
                  <a:gd name="T23" fmla="*/ 468 h 1790"/>
                  <a:gd name="T24" fmla="*/ 1052 w 1791"/>
                  <a:gd name="T25" fmla="*/ 3 h 1790"/>
                  <a:gd name="T26" fmla="*/ 1139 w 1791"/>
                  <a:gd name="T27" fmla="*/ 73 h 1790"/>
                  <a:gd name="T28" fmla="*/ 1192 w 1791"/>
                  <a:gd name="T29" fmla="*/ 180 h 1790"/>
                  <a:gd name="T30" fmla="*/ 1303 w 1791"/>
                  <a:gd name="T31" fmla="*/ 142 h 1790"/>
                  <a:gd name="T32" fmla="*/ 1416 w 1791"/>
                  <a:gd name="T33" fmla="*/ 155 h 1790"/>
                  <a:gd name="T34" fmla="*/ 1649 w 1791"/>
                  <a:gd name="T35" fmla="*/ 402 h 1790"/>
                  <a:gd name="T36" fmla="*/ 1636 w 1791"/>
                  <a:gd name="T37" fmla="*/ 513 h 1790"/>
                  <a:gd name="T38" fmla="*/ 1625 w 1791"/>
                  <a:gd name="T39" fmla="*/ 638 h 1790"/>
                  <a:gd name="T40" fmla="*/ 1741 w 1791"/>
                  <a:gd name="T41" fmla="*/ 666 h 1790"/>
                  <a:gd name="T42" fmla="*/ 1791 w 1791"/>
                  <a:gd name="T43" fmla="*/ 769 h 1790"/>
                  <a:gd name="T44" fmla="*/ 1762 w 1791"/>
                  <a:gd name="T45" fmla="*/ 1104 h 1790"/>
                  <a:gd name="T46" fmla="*/ 1659 w 1791"/>
                  <a:gd name="T47" fmla="*/ 1152 h 1790"/>
                  <a:gd name="T48" fmla="*/ 1618 w 1791"/>
                  <a:gd name="T49" fmla="*/ 1252 h 1790"/>
                  <a:gd name="T50" fmla="*/ 1655 w 1791"/>
                  <a:gd name="T51" fmla="*/ 1361 h 1790"/>
                  <a:gd name="T52" fmla="*/ 1439 w 1791"/>
                  <a:gd name="T53" fmla="*/ 1617 h 1790"/>
                  <a:gd name="T54" fmla="*/ 1332 w 1791"/>
                  <a:gd name="T55" fmla="*/ 1655 h 1790"/>
                  <a:gd name="T56" fmla="*/ 1229 w 1791"/>
                  <a:gd name="T57" fmla="*/ 1592 h 1790"/>
                  <a:gd name="T58" fmla="*/ 1149 w 1791"/>
                  <a:gd name="T59" fmla="*/ 1688 h 1790"/>
                  <a:gd name="T60" fmla="*/ 1079 w 1791"/>
                  <a:gd name="T61" fmla="*/ 1777 h 1790"/>
                  <a:gd name="T62" fmla="*/ 740 w 1791"/>
                  <a:gd name="T63" fmla="*/ 1787 h 1790"/>
                  <a:gd name="T64" fmla="*/ 652 w 1791"/>
                  <a:gd name="T65" fmla="*/ 1717 h 1790"/>
                  <a:gd name="T66" fmla="*/ 600 w 1791"/>
                  <a:gd name="T67" fmla="*/ 1609 h 1790"/>
                  <a:gd name="T68" fmla="*/ 487 w 1791"/>
                  <a:gd name="T69" fmla="*/ 1648 h 1790"/>
                  <a:gd name="T70" fmla="*/ 374 w 1791"/>
                  <a:gd name="T71" fmla="*/ 1635 h 1790"/>
                  <a:gd name="T72" fmla="*/ 141 w 1791"/>
                  <a:gd name="T73" fmla="*/ 1389 h 1790"/>
                  <a:gd name="T74" fmla="*/ 154 w 1791"/>
                  <a:gd name="T75" fmla="*/ 1276 h 1790"/>
                  <a:gd name="T76" fmla="*/ 167 w 1791"/>
                  <a:gd name="T77" fmla="*/ 1152 h 1790"/>
                  <a:gd name="T78" fmla="*/ 50 w 1791"/>
                  <a:gd name="T79" fmla="*/ 1124 h 1790"/>
                  <a:gd name="T80" fmla="*/ 0 w 1791"/>
                  <a:gd name="T81" fmla="*/ 1021 h 1790"/>
                  <a:gd name="T82" fmla="*/ 29 w 1791"/>
                  <a:gd name="T83" fmla="*/ 686 h 1790"/>
                  <a:gd name="T84" fmla="*/ 133 w 1791"/>
                  <a:gd name="T85" fmla="*/ 638 h 1790"/>
                  <a:gd name="T86" fmla="*/ 174 w 1791"/>
                  <a:gd name="T87" fmla="*/ 538 h 1790"/>
                  <a:gd name="T88" fmla="*/ 136 w 1791"/>
                  <a:gd name="T89" fmla="*/ 429 h 1790"/>
                  <a:gd name="T90" fmla="*/ 351 w 1791"/>
                  <a:gd name="T91" fmla="*/ 173 h 1790"/>
                  <a:gd name="T92" fmla="*/ 459 w 1791"/>
                  <a:gd name="T93" fmla="*/ 135 h 1790"/>
                  <a:gd name="T94" fmla="*/ 562 w 1791"/>
                  <a:gd name="T95" fmla="*/ 197 h 1790"/>
                  <a:gd name="T96" fmla="*/ 642 w 1791"/>
                  <a:gd name="T97" fmla="*/ 102 h 1790"/>
                  <a:gd name="T98" fmla="*/ 712 w 1791"/>
                  <a:gd name="T99" fmla="*/ 13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91" h="1790">
                    <a:moveTo>
                      <a:pt x="896" y="463"/>
                    </a:moveTo>
                    <a:lnTo>
                      <a:pt x="837" y="468"/>
                    </a:lnTo>
                    <a:lnTo>
                      <a:pt x="780" y="479"/>
                    </a:lnTo>
                    <a:lnTo>
                      <a:pt x="727" y="498"/>
                    </a:lnTo>
                    <a:lnTo>
                      <a:pt x="677" y="523"/>
                    </a:lnTo>
                    <a:lnTo>
                      <a:pt x="632" y="553"/>
                    </a:lnTo>
                    <a:lnTo>
                      <a:pt x="590" y="590"/>
                    </a:lnTo>
                    <a:lnTo>
                      <a:pt x="554" y="632"/>
                    </a:lnTo>
                    <a:lnTo>
                      <a:pt x="523" y="678"/>
                    </a:lnTo>
                    <a:lnTo>
                      <a:pt x="499" y="728"/>
                    </a:lnTo>
                    <a:lnTo>
                      <a:pt x="480" y="781"/>
                    </a:lnTo>
                    <a:lnTo>
                      <a:pt x="469" y="836"/>
                    </a:lnTo>
                    <a:lnTo>
                      <a:pt x="464" y="895"/>
                    </a:lnTo>
                    <a:lnTo>
                      <a:pt x="469" y="953"/>
                    </a:lnTo>
                    <a:lnTo>
                      <a:pt x="480" y="1009"/>
                    </a:lnTo>
                    <a:lnTo>
                      <a:pt x="499" y="1062"/>
                    </a:lnTo>
                    <a:lnTo>
                      <a:pt x="523" y="1112"/>
                    </a:lnTo>
                    <a:lnTo>
                      <a:pt x="554" y="1158"/>
                    </a:lnTo>
                    <a:lnTo>
                      <a:pt x="590" y="1199"/>
                    </a:lnTo>
                    <a:lnTo>
                      <a:pt x="632" y="1236"/>
                    </a:lnTo>
                    <a:lnTo>
                      <a:pt x="677" y="1268"/>
                    </a:lnTo>
                    <a:lnTo>
                      <a:pt x="727" y="1292"/>
                    </a:lnTo>
                    <a:lnTo>
                      <a:pt x="780" y="1311"/>
                    </a:lnTo>
                    <a:lnTo>
                      <a:pt x="837" y="1322"/>
                    </a:lnTo>
                    <a:lnTo>
                      <a:pt x="896" y="1326"/>
                    </a:lnTo>
                    <a:lnTo>
                      <a:pt x="955" y="1322"/>
                    </a:lnTo>
                    <a:lnTo>
                      <a:pt x="1010" y="1311"/>
                    </a:lnTo>
                    <a:lnTo>
                      <a:pt x="1063" y="1292"/>
                    </a:lnTo>
                    <a:lnTo>
                      <a:pt x="1113" y="1268"/>
                    </a:lnTo>
                    <a:lnTo>
                      <a:pt x="1159" y="1236"/>
                    </a:lnTo>
                    <a:lnTo>
                      <a:pt x="1200" y="1199"/>
                    </a:lnTo>
                    <a:lnTo>
                      <a:pt x="1236" y="1158"/>
                    </a:lnTo>
                    <a:lnTo>
                      <a:pt x="1268" y="1112"/>
                    </a:lnTo>
                    <a:lnTo>
                      <a:pt x="1293" y="1062"/>
                    </a:lnTo>
                    <a:lnTo>
                      <a:pt x="1310" y="1009"/>
                    </a:lnTo>
                    <a:lnTo>
                      <a:pt x="1323" y="953"/>
                    </a:lnTo>
                    <a:lnTo>
                      <a:pt x="1326" y="895"/>
                    </a:lnTo>
                    <a:lnTo>
                      <a:pt x="1323" y="836"/>
                    </a:lnTo>
                    <a:lnTo>
                      <a:pt x="1310" y="781"/>
                    </a:lnTo>
                    <a:lnTo>
                      <a:pt x="1293" y="728"/>
                    </a:lnTo>
                    <a:lnTo>
                      <a:pt x="1268" y="678"/>
                    </a:lnTo>
                    <a:lnTo>
                      <a:pt x="1236" y="632"/>
                    </a:lnTo>
                    <a:lnTo>
                      <a:pt x="1200" y="590"/>
                    </a:lnTo>
                    <a:lnTo>
                      <a:pt x="1159" y="553"/>
                    </a:lnTo>
                    <a:lnTo>
                      <a:pt x="1113" y="523"/>
                    </a:lnTo>
                    <a:lnTo>
                      <a:pt x="1063" y="498"/>
                    </a:lnTo>
                    <a:lnTo>
                      <a:pt x="1010" y="479"/>
                    </a:lnTo>
                    <a:lnTo>
                      <a:pt x="955" y="468"/>
                    </a:lnTo>
                    <a:lnTo>
                      <a:pt x="896" y="463"/>
                    </a:lnTo>
                    <a:close/>
                    <a:moveTo>
                      <a:pt x="770" y="0"/>
                    </a:moveTo>
                    <a:lnTo>
                      <a:pt x="1020" y="0"/>
                    </a:lnTo>
                    <a:lnTo>
                      <a:pt x="1052" y="3"/>
                    </a:lnTo>
                    <a:lnTo>
                      <a:pt x="1079" y="13"/>
                    </a:lnTo>
                    <a:lnTo>
                      <a:pt x="1103" y="29"/>
                    </a:lnTo>
                    <a:lnTo>
                      <a:pt x="1125" y="49"/>
                    </a:lnTo>
                    <a:lnTo>
                      <a:pt x="1139" y="73"/>
                    </a:lnTo>
                    <a:lnTo>
                      <a:pt x="1149" y="102"/>
                    </a:lnTo>
                    <a:lnTo>
                      <a:pt x="1153" y="132"/>
                    </a:lnTo>
                    <a:lnTo>
                      <a:pt x="1153" y="166"/>
                    </a:lnTo>
                    <a:lnTo>
                      <a:pt x="1192" y="180"/>
                    </a:lnTo>
                    <a:lnTo>
                      <a:pt x="1229" y="197"/>
                    </a:lnTo>
                    <a:lnTo>
                      <a:pt x="1253" y="173"/>
                    </a:lnTo>
                    <a:lnTo>
                      <a:pt x="1276" y="155"/>
                    </a:lnTo>
                    <a:lnTo>
                      <a:pt x="1303" y="142"/>
                    </a:lnTo>
                    <a:lnTo>
                      <a:pt x="1332" y="135"/>
                    </a:lnTo>
                    <a:lnTo>
                      <a:pt x="1360" y="135"/>
                    </a:lnTo>
                    <a:lnTo>
                      <a:pt x="1389" y="142"/>
                    </a:lnTo>
                    <a:lnTo>
                      <a:pt x="1416" y="155"/>
                    </a:lnTo>
                    <a:lnTo>
                      <a:pt x="1439" y="173"/>
                    </a:lnTo>
                    <a:lnTo>
                      <a:pt x="1618" y="350"/>
                    </a:lnTo>
                    <a:lnTo>
                      <a:pt x="1636" y="375"/>
                    </a:lnTo>
                    <a:lnTo>
                      <a:pt x="1649" y="402"/>
                    </a:lnTo>
                    <a:lnTo>
                      <a:pt x="1655" y="429"/>
                    </a:lnTo>
                    <a:lnTo>
                      <a:pt x="1655" y="459"/>
                    </a:lnTo>
                    <a:lnTo>
                      <a:pt x="1649" y="488"/>
                    </a:lnTo>
                    <a:lnTo>
                      <a:pt x="1636" y="513"/>
                    </a:lnTo>
                    <a:lnTo>
                      <a:pt x="1618" y="538"/>
                    </a:lnTo>
                    <a:lnTo>
                      <a:pt x="1593" y="562"/>
                    </a:lnTo>
                    <a:lnTo>
                      <a:pt x="1609" y="599"/>
                    </a:lnTo>
                    <a:lnTo>
                      <a:pt x="1625" y="638"/>
                    </a:lnTo>
                    <a:lnTo>
                      <a:pt x="1659" y="638"/>
                    </a:lnTo>
                    <a:lnTo>
                      <a:pt x="1689" y="640"/>
                    </a:lnTo>
                    <a:lnTo>
                      <a:pt x="1716" y="651"/>
                    </a:lnTo>
                    <a:lnTo>
                      <a:pt x="1741" y="666"/>
                    </a:lnTo>
                    <a:lnTo>
                      <a:pt x="1762" y="686"/>
                    </a:lnTo>
                    <a:lnTo>
                      <a:pt x="1778" y="712"/>
                    </a:lnTo>
                    <a:lnTo>
                      <a:pt x="1788" y="739"/>
                    </a:lnTo>
                    <a:lnTo>
                      <a:pt x="1791" y="769"/>
                    </a:lnTo>
                    <a:lnTo>
                      <a:pt x="1791" y="1021"/>
                    </a:lnTo>
                    <a:lnTo>
                      <a:pt x="1788" y="1051"/>
                    </a:lnTo>
                    <a:lnTo>
                      <a:pt x="1778" y="1079"/>
                    </a:lnTo>
                    <a:lnTo>
                      <a:pt x="1762" y="1104"/>
                    </a:lnTo>
                    <a:lnTo>
                      <a:pt x="1741" y="1124"/>
                    </a:lnTo>
                    <a:lnTo>
                      <a:pt x="1716" y="1139"/>
                    </a:lnTo>
                    <a:lnTo>
                      <a:pt x="1689" y="1149"/>
                    </a:lnTo>
                    <a:lnTo>
                      <a:pt x="1659" y="1152"/>
                    </a:lnTo>
                    <a:lnTo>
                      <a:pt x="1625" y="1152"/>
                    </a:lnTo>
                    <a:lnTo>
                      <a:pt x="1609" y="1191"/>
                    </a:lnTo>
                    <a:lnTo>
                      <a:pt x="1593" y="1228"/>
                    </a:lnTo>
                    <a:lnTo>
                      <a:pt x="1618" y="1252"/>
                    </a:lnTo>
                    <a:lnTo>
                      <a:pt x="1636" y="1276"/>
                    </a:lnTo>
                    <a:lnTo>
                      <a:pt x="1649" y="1304"/>
                    </a:lnTo>
                    <a:lnTo>
                      <a:pt x="1655" y="1331"/>
                    </a:lnTo>
                    <a:lnTo>
                      <a:pt x="1655" y="1361"/>
                    </a:lnTo>
                    <a:lnTo>
                      <a:pt x="1649" y="1389"/>
                    </a:lnTo>
                    <a:lnTo>
                      <a:pt x="1636" y="1415"/>
                    </a:lnTo>
                    <a:lnTo>
                      <a:pt x="1618" y="1439"/>
                    </a:lnTo>
                    <a:lnTo>
                      <a:pt x="1439" y="1617"/>
                    </a:lnTo>
                    <a:lnTo>
                      <a:pt x="1416" y="1635"/>
                    </a:lnTo>
                    <a:lnTo>
                      <a:pt x="1389" y="1648"/>
                    </a:lnTo>
                    <a:lnTo>
                      <a:pt x="1360" y="1655"/>
                    </a:lnTo>
                    <a:lnTo>
                      <a:pt x="1332" y="1655"/>
                    </a:lnTo>
                    <a:lnTo>
                      <a:pt x="1303" y="1648"/>
                    </a:lnTo>
                    <a:lnTo>
                      <a:pt x="1276" y="1635"/>
                    </a:lnTo>
                    <a:lnTo>
                      <a:pt x="1253" y="1617"/>
                    </a:lnTo>
                    <a:lnTo>
                      <a:pt x="1229" y="1592"/>
                    </a:lnTo>
                    <a:lnTo>
                      <a:pt x="1192" y="1609"/>
                    </a:lnTo>
                    <a:lnTo>
                      <a:pt x="1153" y="1624"/>
                    </a:lnTo>
                    <a:lnTo>
                      <a:pt x="1153" y="1658"/>
                    </a:lnTo>
                    <a:lnTo>
                      <a:pt x="1149" y="1688"/>
                    </a:lnTo>
                    <a:lnTo>
                      <a:pt x="1139" y="1717"/>
                    </a:lnTo>
                    <a:lnTo>
                      <a:pt x="1125" y="1741"/>
                    </a:lnTo>
                    <a:lnTo>
                      <a:pt x="1103" y="1761"/>
                    </a:lnTo>
                    <a:lnTo>
                      <a:pt x="1079" y="1777"/>
                    </a:lnTo>
                    <a:lnTo>
                      <a:pt x="1052" y="1787"/>
                    </a:lnTo>
                    <a:lnTo>
                      <a:pt x="1020" y="1790"/>
                    </a:lnTo>
                    <a:lnTo>
                      <a:pt x="770" y="1790"/>
                    </a:lnTo>
                    <a:lnTo>
                      <a:pt x="740" y="1787"/>
                    </a:lnTo>
                    <a:lnTo>
                      <a:pt x="712" y="1777"/>
                    </a:lnTo>
                    <a:lnTo>
                      <a:pt x="687" y="1761"/>
                    </a:lnTo>
                    <a:lnTo>
                      <a:pt x="667" y="1741"/>
                    </a:lnTo>
                    <a:lnTo>
                      <a:pt x="652" y="1717"/>
                    </a:lnTo>
                    <a:lnTo>
                      <a:pt x="642" y="1688"/>
                    </a:lnTo>
                    <a:lnTo>
                      <a:pt x="637" y="1658"/>
                    </a:lnTo>
                    <a:lnTo>
                      <a:pt x="637" y="1624"/>
                    </a:lnTo>
                    <a:lnTo>
                      <a:pt x="600" y="1609"/>
                    </a:lnTo>
                    <a:lnTo>
                      <a:pt x="562" y="1592"/>
                    </a:lnTo>
                    <a:lnTo>
                      <a:pt x="537" y="1617"/>
                    </a:lnTo>
                    <a:lnTo>
                      <a:pt x="514" y="1635"/>
                    </a:lnTo>
                    <a:lnTo>
                      <a:pt x="487" y="1648"/>
                    </a:lnTo>
                    <a:lnTo>
                      <a:pt x="459" y="1655"/>
                    </a:lnTo>
                    <a:lnTo>
                      <a:pt x="430" y="1655"/>
                    </a:lnTo>
                    <a:lnTo>
                      <a:pt x="401" y="1648"/>
                    </a:lnTo>
                    <a:lnTo>
                      <a:pt x="374" y="1635"/>
                    </a:lnTo>
                    <a:lnTo>
                      <a:pt x="351" y="1617"/>
                    </a:lnTo>
                    <a:lnTo>
                      <a:pt x="174" y="1439"/>
                    </a:lnTo>
                    <a:lnTo>
                      <a:pt x="154" y="1415"/>
                    </a:lnTo>
                    <a:lnTo>
                      <a:pt x="141" y="1389"/>
                    </a:lnTo>
                    <a:lnTo>
                      <a:pt x="136" y="1361"/>
                    </a:lnTo>
                    <a:lnTo>
                      <a:pt x="136" y="1331"/>
                    </a:lnTo>
                    <a:lnTo>
                      <a:pt x="141" y="1304"/>
                    </a:lnTo>
                    <a:lnTo>
                      <a:pt x="154" y="1276"/>
                    </a:lnTo>
                    <a:lnTo>
                      <a:pt x="174" y="1252"/>
                    </a:lnTo>
                    <a:lnTo>
                      <a:pt x="199" y="1228"/>
                    </a:lnTo>
                    <a:lnTo>
                      <a:pt x="181" y="1191"/>
                    </a:lnTo>
                    <a:lnTo>
                      <a:pt x="167" y="1152"/>
                    </a:lnTo>
                    <a:lnTo>
                      <a:pt x="133" y="1152"/>
                    </a:lnTo>
                    <a:lnTo>
                      <a:pt x="101" y="1149"/>
                    </a:lnTo>
                    <a:lnTo>
                      <a:pt x="74" y="1139"/>
                    </a:lnTo>
                    <a:lnTo>
                      <a:pt x="50" y="1124"/>
                    </a:lnTo>
                    <a:lnTo>
                      <a:pt x="29" y="1104"/>
                    </a:lnTo>
                    <a:lnTo>
                      <a:pt x="14" y="1079"/>
                    </a:lnTo>
                    <a:lnTo>
                      <a:pt x="4" y="1051"/>
                    </a:lnTo>
                    <a:lnTo>
                      <a:pt x="0" y="1021"/>
                    </a:lnTo>
                    <a:lnTo>
                      <a:pt x="0" y="769"/>
                    </a:lnTo>
                    <a:lnTo>
                      <a:pt x="4" y="739"/>
                    </a:lnTo>
                    <a:lnTo>
                      <a:pt x="14" y="712"/>
                    </a:lnTo>
                    <a:lnTo>
                      <a:pt x="29" y="686"/>
                    </a:lnTo>
                    <a:lnTo>
                      <a:pt x="50" y="666"/>
                    </a:lnTo>
                    <a:lnTo>
                      <a:pt x="74" y="651"/>
                    </a:lnTo>
                    <a:lnTo>
                      <a:pt x="101" y="640"/>
                    </a:lnTo>
                    <a:lnTo>
                      <a:pt x="133" y="638"/>
                    </a:lnTo>
                    <a:lnTo>
                      <a:pt x="167" y="638"/>
                    </a:lnTo>
                    <a:lnTo>
                      <a:pt x="181" y="599"/>
                    </a:lnTo>
                    <a:lnTo>
                      <a:pt x="199" y="562"/>
                    </a:lnTo>
                    <a:lnTo>
                      <a:pt x="174" y="538"/>
                    </a:lnTo>
                    <a:lnTo>
                      <a:pt x="154" y="513"/>
                    </a:lnTo>
                    <a:lnTo>
                      <a:pt x="141" y="488"/>
                    </a:lnTo>
                    <a:lnTo>
                      <a:pt x="136" y="459"/>
                    </a:lnTo>
                    <a:lnTo>
                      <a:pt x="136" y="429"/>
                    </a:lnTo>
                    <a:lnTo>
                      <a:pt x="141" y="402"/>
                    </a:lnTo>
                    <a:lnTo>
                      <a:pt x="154" y="375"/>
                    </a:lnTo>
                    <a:lnTo>
                      <a:pt x="174" y="350"/>
                    </a:lnTo>
                    <a:lnTo>
                      <a:pt x="351" y="173"/>
                    </a:lnTo>
                    <a:lnTo>
                      <a:pt x="376" y="155"/>
                    </a:lnTo>
                    <a:lnTo>
                      <a:pt x="401" y="142"/>
                    </a:lnTo>
                    <a:lnTo>
                      <a:pt x="430" y="135"/>
                    </a:lnTo>
                    <a:lnTo>
                      <a:pt x="459" y="135"/>
                    </a:lnTo>
                    <a:lnTo>
                      <a:pt x="487" y="142"/>
                    </a:lnTo>
                    <a:lnTo>
                      <a:pt x="514" y="155"/>
                    </a:lnTo>
                    <a:lnTo>
                      <a:pt x="537" y="173"/>
                    </a:lnTo>
                    <a:lnTo>
                      <a:pt x="562" y="197"/>
                    </a:lnTo>
                    <a:lnTo>
                      <a:pt x="600" y="180"/>
                    </a:lnTo>
                    <a:lnTo>
                      <a:pt x="637" y="166"/>
                    </a:lnTo>
                    <a:lnTo>
                      <a:pt x="637" y="132"/>
                    </a:lnTo>
                    <a:lnTo>
                      <a:pt x="642" y="102"/>
                    </a:lnTo>
                    <a:lnTo>
                      <a:pt x="652" y="73"/>
                    </a:lnTo>
                    <a:lnTo>
                      <a:pt x="667" y="49"/>
                    </a:lnTo>
                    <a:lnTo>
                      <a:pt x="687" y="29"/>
                    </a:lnTo>
                    <a:lnTo>
                      <a:pt x="712" y="13"/>
                    </a:lnTo>
                    <a:lnTo>
                      <a:pt x="740" y="3"/>
                    </a:lnTo>
                    <a:lnTo>
                      <a:pt x="7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6" name="Freeform 161"/>
              <p:cNvSpPr>
                <a:spLocks noEditPoints="1"/>
              </p:cNvSpPr>
              <p:nvPr/>
            </p:nvSpPr>
            <p:spPr bwMode="auto">
              <a:xfrm>
                <a:off x="5171" y="3325"/>
                <a:ext cx="710" cy="709"/>
              </a:xfrm>
              <a:custGeom>
                <a:avLst/>
                <a:gdLst>
                  <a:gd name="T0" fmla="*/ 602 w 1421"/>
                  <a:gd name="T1" fmla="*/ 385 h 1419"/>
                  <a:gd name="T2" fmla="*/ 469 w 1421"/>
                  <a:gd name="T3" fmla="*/ 467 h 1419"/>
                  <a:gd name="T4" fmla="*/ 386 w 1421"/>
                  <a:gd name="T5" fmla="*/ 602 h 1419"/>
                  <a:gd name="T6" fmla="*/ 373 w 1421"/>
                  <a:gd name="T7" fmla="*/ 765 h 1419"/>
                  <a:gd name="T8" fmla="*/ 435 w 1421"/>
                  <a:gd name="T9" fmla="*/ 912 h 1419"/>
                  <a:gd name="T10" fmla="*/ 553 w 1421"/>
                  <a:gd name="T11" fmla="*/ 1013 h 1419"/>
                  <a:gd name="T12" fmla="*/ 711 w 1421"/>
                  <a:gd name="T13" fmla="*/ 1051 h 1419"/>
                  <a:gd name="T14" fmla="*/ 868 w 1421"/>
                  <a:gd name="T15" fmla="*/ 1013 h 1419"/>
                  <a:gd name="T16" fmla="*/ 986 w 1421"/>
                  <a:gd name="T17" fmla="*/ 912 h 1419"/>
                  <a:gd name="T18" fmla="*/ 1048 w 1421"/>
                  <a:gd name="T19" fmla="*/ 765 h 1419"/>
                  <a:gd name="T20" fmla="*/ 1035 w 1421"/>
                  <a:gd name="T21" fmla="*/ 602 h 1419"/>
                  <a:gd name="T22" fmla="*/ 952 w 1421"/>
                  <a:gd name="T23" fmla="*/ 467 h 1419"/>
                  <a:gd name="T24" fmla="*/ 819 w 1421"/>
                  <a:gd name="T25" fmla="*/ 385 h 1419"/>
                  <a:gd name="T26" fmla="*/ 611 w 1421"/>
                  <a:gd name="T27" fmla="*/ 0 h 1419"/>
                  <a:gd name="T28" fmla="*/ 864 w 1421"/>
                  <a:gd name="T29" fmla="*/ 14 h 1419"/>
                  <a:gd name="T30" fmla="*/ 911 w 1421"/>
                  <a:gd name="T31" fmla="*/ 76 h 1419"/>
                  <a:gd name="T32" fmla="*/ 975 w 1421"/>
                  <a:gd name="T33" fmla="*/ 156 h 1419"/>
                  <a:gd name="T34" fmla="*/ 1032 w 1421"/>
                  <a:gd name="T35" fmla="*/ 113 h 1419"/>
                  <a:gd name="T36" fmla="*/ 1085 w 1421"/>
                  <a:gd name="T37" fmla="*/ 107 h 1419"/>
                  <a:gd name="T38" fmla="*/ 1142 w 1421"/>
                  <a:gd name="T39" fmla="*/ 137 h 1419"/>
                  <a:gd name="T40" fmla="*/ 1311 w 1421"/>
                  <a:gd name="T41" fmla="*/ 326 h 1419"/>
                  <a:gd name="T42" fmla="*/ 1299 w 1421"/>
                  <a:gd name="T43" fmla="*/ 403 h 1419"/>
                  <a:gd name="T44" fmla="*/ 1288 w 1421"/>
                  <a:gd name="T45" fmla="*/ 505 h 1419"/>
                  <a:gd name="T46" fmla="*/ 1368 w 1421"/>
                  <a:gd name="T47" fmla="*/ 519 h 1419"/>
                  <a:gd name="T48" fmla="*/ 1417 w 1421"/>
                  <a:gd name="T49" fmla="*/ 582 h 1419"/>
                  <a:gd name="T50" fmla="*/ 1417 w 1421"/>
                  <a:gd name="T51" fmla="*/ 836 h 1419"/>
                  <a:gd name="T52" fmla="*/ 1368 w 1421"/>
                  <a:gd name="T53" fmla="*/ 899 h 1419"/>
                  <a:gd name="T54" fmla="*/ 1288 w 1421"/>
                  <a:gd name="T55" fmla="*/ 913 h 1419"/>
                  <a:gd name="T56" fmla="*/ 1299 w 1421"/>
                  <a:gd name="T57" fmla="*/ 1015 h 1419"/>
                  <a:gd name="T58" fmla="*/ 1311 w 1421"/>
                  <a:gd name="T59" fmla="*/ 1093 h 1419"/>
                  <a:gd name="T60" fmla="*/ 1142 w 1421"/>
                  <a:gd name="T61" fmla="*/ 1282 h 1419"/>
                  <a:gd name="T62" fmla="*/ 1068 w 1421"/>
                  <a:gd name="T63" fmla="*/ 1312 h 1419"/>
                  <a:gd name="T64" fmla="*/ 994 w 1421"/>
                  <a:gd name="T65" fmla="*/ 1282 h 1419"/>
                  <a:gd name="T66" fmla="*/ 915 w 1421"/>
                  <a:gd name="T67" fmla="*/ 1315 h 1419"/>
                  <a:gd name="T68" fmla="*/ 884 w 1421"/>
                  <a:gd name="T69" fmla="*/ 1388 h 1419"/>
                  <a:gd name="T70" fmla="*/ 811 w 1421"/>
                  <a:gd name="T71" fmla="*/ 1419 h 1419"/>
                  <a:gd name="T72" fmla="*/ 558 w 1421"/>
                  <a:gd name="T73" fmla="*/ 1405 h 1419"/>
                  <a:gd name="T74" fmla="*/ 511 w 1421"/>
                  <a:gd name="T75" fmla="*/ 1342 h 1419"/>
                  <a:gd name="T76" fmla="*/ 446 w 1421"/>
                  <a:gd name="T77" fmla="*/ 1262 h 1419"/>
                  <a:gd name="T78" fmla="*/ 379 w 1421"/>
                  <a:gd name="T79" fmla="*/ 1309 h 1419"/>
                  <a:gd name="T80" fmla="*/ 302 w 1421"/>
                  <a:gd name="T81" fmla="*/ 1299 h 1419"/>
                  <a:gd name="T82" fmla="*/ 122 w 1421"/>
                  <a:gd name="T83" fmla="*/ 1119 h 1419"/>
                  <a:gd name="T84" fmla="*/ 110 w 1421"/>
                  <a:gd name="T85" fmla="*/ 1041 h 1419"/>
                  <a:gd name="T86" fmla="*/ 158 w 1421"/>
                  <a:gd name="T87" fmla="*/ 973 h 1419"/>
                  <a:gd name="T88" fmla="*/ 78 w 1421"/>
                  <a:gd name="T89" fmla="*/ 911 h 1419"/>
                  <a:gd name="T90" fmla="*/ 15 w 1421"/>
                  <a:gd name="T91" fmla="*/ 862 h 1419"/>
                  <a:gd name="T92" fmla="*/ 0 w 1421"/>
                  <a:gd name="T93" fmla="*/ 610 h 1419"/>
                  <a:gd name="T94" fmla="*/ 32 w 1421"/>
                  <a:gd name="T95" fmla="*/ 536 h 1419"/>
                  <a:gd name="T96" fmla="*/ 106 w 1421"/>
                  <a:gd name="T97" fmla="*/ 505 h 1419"/>
                  <a:gd name="T98" fmla="*/ 139 w 1421"/>
                  <a:gd name="T99" fmla="*/ 426 h 1419"/>
                  <a:gd name="T100" fmla="*/ 108 w 1421"/>
                  <a:gd name="T101" fmla="*/ 352 h 1419"/>
                  <a:gd name="T102" fmla="*/ 139 w 1421"/>
                  <a:gd name="T103" fmla="*/ 277 h 1419"/>
                  <a:gd name="T104" fmla="*/ 326 w 1421"/>
                  <a:gd name="T105" fmla="*/ 110 h 1419"/>
                  <a:gd name="T106" fmla="*/ 405 w 1421"/>
                  <a:gd name="T107" fmla="*/ 120 h 1419"/>
                  <a:gd name="T108" fmla="*/ 506 w 1421"/>
                  <a:gd name="T109" fmla="*/ 132 h 1419"/>
                  <a:gd name="T110" fmla="*/ 521 w 1421"/>
                  <a:gd name="T111" fmla="*/ 52 h 1419"/>
                  <a:gd name="T112" fmla="*/ 583 w 1421"/>
                  <a:gd name="T113" fmla="*/ 3 h 1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21" h="1419">
                    <a:moveTo>
                      <a:pt x="711" y="367"/>
                    </a:moveTo>
                    <a:lnTo>
                      <a:pt x="655" y="372"/>
                    </a:lnTo>
                    <a:lnTo>
                      <a:pt x="602" y="385"/>
                    </a:lnTo>
                    <a:lnTo>
                      <a:pt x="553" y="406"/>
                    </a:lnTo>
                    <a:lnTo>
                      <a:pt x="509" y="433"/>
                    </a:lnTo>
                    <a:lnTo>
                      <a:pt x="469" y="467"/>
                    </a:lnTo>
                    <a:lnTo>
                      <a:pt x="435" y="508"/>
                    </a:lnTo>
                    <a:lnTo>
                      <a:pt x="406" y="552"/>
                    </a:lnTo>
                    <a:lnTo>
                      <a:pt x="386" y="602"/>
                    </a:lnTo>
                    <a:lnTo>
                      <a:pt x="373" y="653"/>
                    </a:lnTo>
                    <a:lnTo>
                      <a:pt x="369" y="709"/>
                    </a:lnTo>
                    <a:lnTo>
                      <a:pt x="373" y="765"/>
                    </a:lnTo>
                    <a:lnTo>
                      <a:pt x="386" y="818"/>
                    </a:lnTo>
                    <a:lnTo>
                      <a:pt x="406" y="866"/>
                    </a:lnTo>
                    <a:lnTo>
                      <a:pt x="435" y="912"/>
                    </a:lnTo>
                    <a:lnTo>
                      <a:pt x="469" y="951"/>
                    </a:lnTo>
                    <a:lnTo>
                      <a:pt x="509" y="985"/>
                    </a:lnTo>
                    <a:lnTo>
                      <a:pt x="553" y="1013"/>
                    </a:lnTo>
                    <a:lnTo>
                      <a:pt x="602" y="1033"/>
                    </a:lnTo>
                    <a:lnTo>
                      <a:pt x="655" y="1046"/>
                    </a:lnTo>
                    <a:lnTo>
                      <a:pt x="711" y="1051"/>
                    </a:lnTo>
                    <a:lnTo>
                      <a:pt x="766" y="1046"/>
                    </a:lnTo>
                    <a:lnTo>
                      <a:pt x="819" y="1033"/>
                    </a:lnTo>
                    <a:lnTo>
                      <a:pt x="868" y="1013"/>
                    </a:lnTo>
                    <a:lnTo>
                      <a:pt x="912" y="985"/>
                    </a:lnTo>
                    <a:lnTo>
                      <a:pt x="952" y="951"/>
                    </a:lnTo>
                    <a:lnTo>
                      <a:pt x="986" y="912"/>
                    </a:lnTo>
                    <a:lnTo>
                      <a:pt x="1014" y="866"/>
                    </a:lnTo>
                    <a:lnTo>
                      <a:pt x="1035" y="818"/>
                    </a:lnTo>
                    <a:lnTo>
                      <a:pt x="1048" y="765"/>
                    </a:lnTo>
                    <a:lnTo>
                      <a:pt x="1052" y="709"/>
                    </a:lnTo>
                    <a:lnTo>
                      <a:pt x="1048" y="653"/>
                    </a:lnTo>
                    <a:lnTo>
                      <a:pt x="1035" y="602"/>
                    </a:lnTo>
                    <a:lnTo>
                      <a:pt x="1014" y="552"/>
                    </a:lnTo>
                    <a:lnTo>
                      <a:pt x="986" y="508"/>
                    </a:lnTo>
                    <a:lnTo>
                      <a:pt x="952" y="467"/>
                    </a:lnTo>
                    <a:lnTo>
                      <a:pt x="912" y="433"/>
                    </a:lnTo>
                    <a:lnTo>
                      <a:pt x="868" y="406"/>
                    </a:lnTo>
                    <a:lnTo>
                      <a:pt x="819" y="385"/>
                    </a:lnTo>
                    <a:lnTo>
                      <a:pt x="766" y="372"/>
                    </a:lnTo>
                    <a:lnTo>
                      <a:pt x="711" y="367"/>
                    </a:lnTo>
                    <a:close/>
                    <a:moveTo>
                      <a:pt x="611" y="0"/>
                    </a:moveTo>
                    <a:lnTo>
                      <a:pt x="811" y="0"/>
                    </a:lnTo>
                    <a:lnTo>
                      <a:pt x="838" y="3"/>
                    </a:lnTo>
                    <a:lnTo>
                      <a:pt x="864" y="14"/>
                    </a:lnTo>
                    <a:lnTo>
                      <a:pt x="884" y="30"/>
                    </a:lnTo>
                    <a:lnTo>
                      <a:pt x="901" y="52"/>
                    </a:lnTo>
                    <a:lnTo>
                      <a:pt x="911" y="76"/>
                    </a:lnTo>
                    <a:lnTo>
                      <a:pt x="915" y="104"/>
                    </a:lnTo>
                    <a:lnTo>
                      <a:pt x="915" y="132"/>
                    </a:lnTo>
                    <a:lnTo>
                      <a:pt x="975" y="156"/>
                    </a:lnTo>
                    <a:lnTo>
                      <a:pt x="994" y="137"/>
                    </a:lnTo>
                    <a:lnTo>
                      <a:pt x="1014" y="122"/>
                    </a:lnTo>
                    <a:lnTo>
                      <a:pt x="1032" y="113"/>
                    </a:lnTo>
                    <a:lnTo>
                      <a:pt x="1052" y="107"/>
                    </a:lnTo>
                    <a:lnTo>
                      <a:pt x="1069" y="107"/>
                    </a:lnTo>
                    <a:lnTo>
                      <a:pt x="1085" y="107"/>
                    </a:lnTo>
                    <a:lnTo>
                      <a:pt x="1095" y="110"/>
                    </a:lnTo>
                    <a:lnTo>
                      <a:pt x="1121" y="120"/>
                    </a:lnTo>
                    <a:lnTo>
                      <a:pt x="1142" y="137"/>
                    </a:lnTo>
                    <a:lnTo>
                      <a:pt x="1282" y="277"/>
                    </a:lnTo>
                    <a:lnTo>
                      <a:pt x="1299" y="300"/>
                    </a:lnTo>
                    <a:lnTo>
                      <a:pt x="1311" y="326"/>
                    </a:lnTo>
                    <a:lnTo>
                      <a:pt x="1314" y="352"/>
                    </a:lnTo>
                    <a:lnTo>
                      <a:pt x="1311" y="379"/>
                    </a:lnTo>
                    <a:lnTo>
                      <a:pt x="1299" y="403"/>
                    </a:lnTo>
                    <a:lnTo>
                      <a:pt x="1282" y="426"/>
                    </a:lnTo>
                    <a:lnTo>
                      <a:pt x="1264" y="445"/>
                    </a:lnTo>
                    <a:lnTo>
                      <a:pt x="1288" y="505"/>
                    </a:lnTo>
                    <a:lnTo>
                      <a:pt x="1315" y="505"/>
                    </a:lnTo>
                    <a:lnTo>
                      <a:pt x="1344" y="509"/>
                    </a:lnTo>
                    <a:lnTo>
                      <a:pt x="1368" y="519"/>
                    </a:lnTo>
                    <a:lnTo>
                      <a:pt x="1389" y="536"/>
                    </a:lnTo>
                    <a:lnTo>
                      <a:pt x="1407" y="558"/>
                    </a:lnTo>
                    <a:lnTo>
                      <a:pt x="1417" y="582"/>
                    </a:lnTo>
                    <a:lnTo>
                      <a:pt x="1421" y="610"/>
                    </a:lnTo>
                    <a:lnTo>
                      <a:pt x="1421" y="809"/>
                    </a:lnTo>
                    <a:lnTo>
                      <a:pt x="1417" y="836"/>
                    </a:lnTo>
                    <a:lnTo>
                      <a:pt x="1407" y="862"/>
                    </a:lnTo>
                    <a:lnTo>
                      <a:pt x="1389" y="883"/>
                    </a:lnTo>
                    <a:lnTo>
                      <a:pt x="1368" y="899"/>
                    </a:lnTo>
                    <a:lnTo>
                      <a:pt x="1344" y="911"/>
                    </a:lnTo>
                    <a:lnTo>
                      <a:pt x="1315" y="913"/>
                    </a:lnTo>
                    <a:lnTo>
                      <a:pt x="1288" y="913"/>
                    </a:lnTo>
                    <a:lnTo>
                      <a:pt x="1264" y="973"/>
                    </a:lnTo>
                    <a:lnTo>
                      <a:pt x="1282" y="993"/>
                    </a:lnTo>
                    <a:lnTo>
                      <a:pt x="1299" y="1015"/>
                    </a:lnTo>
                    <a:lnTo>
                      <a:pt x="1311" y="1041"/>
                    </a:lnTo>
                    <a:lnTo>
                      <a:pt x="1314" y="1066"/>
                    </a:lnTo>
                    <a:lnTo>
                      <a:pt x="1311" y="1093"/>
                    </a:lnTo>
                    <a:lnTo>
                      <a:pt x="1299" y="1119"/>
                    </a:lnTo>
                    <a:lnTo>
                      <a:pt x="1282" y="1141"/>
                    </a:lnTo>
                    <a:lnTo>
                      <a:pt x="1142" y="1282"/>
                    </a:lnTo>
                    <a:lnTo>
                      <a:pt x="1119" y="1299"/>
                    </a:lnTo>
                    <a:lnTo>
                      <a:pt x="1095" y="1309"/>
                    </a:lnTo>
                    <a:lnTo>
                      <a:pt x="1068" y="1312"/>
                    </a:lnTo>
                    <a:lnTo>
                      <a:pt x="1042" y="1309"/>
                    </a:lnTo>
                    <a:lnTo>
                      <a:pt x="1016" y="1299"/>
                    </a:lnTo>
                    <a:lnTo>
                      <a:pt x="994" y="1282"/>
                    </a:lnTo>
                    <a:lnTo>
                      <a:pt x="975" y="1262"/>
                    </a:lnTo>
                    <a:lnTo>
                      <a:pt x="915" y="1288"/>
                    </a:lnTo>
                    <a:lnTo>
                      <a:pt x="915" y="1315"/>
                    </a:lnTo>
                    <a:lnTo>
                      <a:pt x="911" y="1342"/>
                    </a:lnTo>
                    <a:lnTo>
                      <a:pt x="901" y="1368"/>
                    </a:lnTo>
                    <a:lnTo>
                      <a:pt x="884" y="1388"/>
                    </a:lnTo>
                    <a:lnTo>
                      <a:pt x="864" y="1405"/>
                    </a:lnTo>
                    <a:lnTo>
                      <a:pt x="838" y="1415"/>
                    </a:lnTo>
                    <a:lnTo>
                      <a:pt x="811" y="1419"/>
                    </a:lnTo>
                    <a:lnTo>
                      <a:pt x="611" y="1419"/>
                    </a:lnTo>
                    <a:lnTo>
                      <a:pt x="583" y="1415"/>
                    </a:lnTo>
                    <a:lnTo>
                      <a:pt x="558" y="1405"/>
                    </a:lnTo>
                    <a:lnTo>
                      <a:pt x="538" y="1388"/>
                    </a:lnTo>
                    <a:lnTo>
                      <a:pt x="521" y="1368"/>
                    </a:lnTo>
                    <a:lnTo>
                      <a:pt x="511" y="1342"/>
                    </a:lnTo>
                    <a:lnTo>
                      <a:pt x="506" y="1315"/>
                    </a:lnTo>
                    <a:lnTo>
                      <a:pt x="506" y="1288"/>
                    </a:lnTo>
                    <a:lnTo>
                      <a:pt x="446" y="1262"/>
                    </a:lnTo>
                    <a:lnTo>
                      <a:pt x="428" y="1282"/>
                    </a:lnTo>
                    <a:lnTo>
                      <a:pt x="405" y="1299"/>
                    </a:lnTo>
                    <a:lnTo>
                      <a:pt x="379" y="1309"/>
                    </a:lnTo>
                    <a:lnTo>
                      <a:pt x="353" y="1312"/>
                    </a:lnTo>
                    <a:lnTo>
                      <a:pt x="326" y="1309"/>
                    </a:lnTo>
                    <a:lnTo>
                      <a:pt x="302" y="1299"/>
                    </a:lnTo>
                    <a:lnTo>
                      <a:pt x="279" y="1282"/>
                    </a:lnTo>
                    <a:lnTo>
                      <a:pt x="139" y="1141"/>
                    </a:lnTo>
                    <a:lnTo>
                      <a:pt x="122" y="1119"/>
                    </a:lnTo>
                    <a:lnTo>
                      <a:pt x="110" y="1093"/>
                    </a:lnTo>
                    <a:lnTo>
                      <a:pt x="108" y="1066"/>
                    </a:lnTo>
                    <a:lnTo>
                      <a:pt x="110" y="1041"/>
                    </a:lnTo>
                    <a:lnTo>
                      <a:pt x="122" y="1015"/>
                    </a:lnTo>
                    <a:lnTo>
                      <a:pt x="139" y="993"/>
                    </a:lnTo>
                    <a:lnTo>
                      <a:pt x="158" y="973"/>
                    </a:lnTo>
                    <a:lnTo>
                      <a:pt x="133" y="913"/>
                    </a:lnTo>
                    <a:lnTo>
                      <a:pt x="106" y="913"/>
                    </a:lnTo>
                    <a:lnTo>
                      <a:pt x="78" y="911"/>
                    </a:lnTo>
                    <a:lnTo>
                      <a:pt x="53" y="899"/>
                    </a:lnTo>
                    <a:lnTo>
                      <a:pt x="32" y="883"/>
                    </a:lnTo>
                    <a:lnTo>
                      <a:pt x="15" y="862"/>
                    </a:lnTo>
                    <a:lnTo>
                      <a:pt x="5" y="836"/>
                    </a:lnTo>
                    <a:lnTo>
                      <a:pt x="0" y="809"/>
                    </a:lnTo>
                    <a:lnTo>
                      <a:pt x="0" y="610"/>
                    </a:lnTo>
                    <a:lnTo>
                      <a:pt x="5" y="582"/>
                    </a:lnTo>
                    <a:lnTo>
                      <a:pt x="15" y="558"/>
                    </a:lnTo>
                    <a:lnTo>
                      <a:pt x="32" y="536"/>
                    </a:lnTo>
                    <a:lnTo>
                      <a:pt x="53" y="519"/>
                    </a:lnTo>
                    <a:lnTo>
                      <a:pt x="78" y="509"/>
                    </a:lnTo>
                    <a:lnTo>
                      <a:pt x="106" y="505"/>
                    </a:lnTo>
                    <a:lnTo>
                      <a:pt x="133" y="505"/>
                    </a:lnTo>
                    <a:lnTo>
                      <a:pt x="158" y="445"/>
                    </a:lnTo>
                    <a:lnTo>
                      <a:pt x="139" y="426"/>
                    </a:lnTo>
                    <a:lnTo>
                      <a:pt x="122" y="403"/>
                    </a:lnTo>
                    <a:lnTo>
                      <a:pt x="110" y="379"/>
                    </a:lnTo>
                    <a:lnTo>
                      <a:pt x="108" y="352"/>
                    </a:lnTo>
                    <a:lnTo>
                      <a:pt x="110" y="326"/>
                    </a:lnTo>
                    <a:lnTo>
                      <a:pt x="122" y="300"/>
                    </a:lnTo>
                    <a:lnTo>
                      <a:pt x="139" y="277"/>
                    </a:lnTo>
                    <a:lnTo>
                      <a:pt x="279" y="137"/>
                    </a:lnTo>
                    <a:lnTo>
                      <a:pt x="302" y="120"/>
                    </a:lnTo>
                    <a:lnTo>
                      <a:pt x="326" y="110"/>
                    </a:lnTo>
                    <a:lnTo>
                      <a:pt x="353" y="106"/>
                    </a:lnTo>
                    <a:lnTo>
                      <a:pt x="379" y="110"/>
                    </a:lnTo>
                    <a:lnTo>
                      <a:pt x="405" y="120"/>
                    </a:lnTo>
                    <a:lnTo>
                      <a:pt x="428" y="137"/>
                    </a:lnTo>
                    <a:lnTo>
                      <a:pt x="446" y="156"/>
                    </a:lnTo>
                    <a:lnTo>
                      <a:pt x="506" y="132"/>
                    </a:lnTo>
                    <a:lnTo>
                      <a:pt x="506" y="104"/>
                    </a:lnTo>
                    <a:lnTo>
                      <a:pt x="511" y="76"/>
                    </a:lnTo>
                    <a:lnTo>
                      <a:pt x="521" y="52"/>
                    </a:lnTo>
                    <a:lnTo>
                      <a:pt x="538" y="30"/>
                    </a:lnTo>
                    <a:lnTo>
                      <a:pt x="558" y="14"/>
                    </a:lnTo>
                    <a:lnTo>
                      <a:pt x="583" y="3"/>
                    </a:lnTo>
                    <a:lnTo>
                      <a:pt x="6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9" name="Freeform 162"/>
              <p:cNvSpPr>
                <a:spLocks noEditPoints="1"/>
              </p:cNvSpPr>
              <p:nvPr/>
            </p:nvSpPr>
            <p:spPr bwMode="auto">
              <a:xfrm>
                <a:off x="5571" y="2763"/>
                <a:ext cx="598" cy="598"/>
              </a:xfrm>
              <a:custGeom>
                <a:avLst/>
                <a:gdLst>
                  <a:gd name="T0" fmla="*/ 506 w 1194"/>
                  <a:gd name="T1" fmla="*/ 324 h 1196"/>
                  <a:gd name="T2" fmla="*/ 393 w 1194"/>
                  <a:gd name="T3" fmla="*/ 394 h 1196"/>
                  <a:gd name="T4" fmla="*/ 324 w 1194"/>
                  <a:gd name="T5" fmla="*/ 507 h 1196"/>
                  <a:gd name="T6" fmla="*/ 313 w 1194"/>
                  <a:gd name="T7" fmla="*/ 644 h 1196"/>
                  <a:gd name="T8" fmla="*/ 364 w 1194"/>
                  <a:gd name="T9" fmla="*/ 767 h 1196"/>
                  <a:gd name="T10" fmla="*/ 464 w 1194"/>
                  <a:gd name="T11" fmla="*/ 853 h 1196"/>
                  <a:gd name="T12" fmla="*/ 597 w 1194"/>
                  <a:gd name="T13" fmla="*/ 886 h 1196"/>
                  <a:gd name="T14" fmla="*/ 729 w 1194"/>
                  <a:gd name="T15" fmla="*/ 853 h 1196"/>
                  <a:gd name="T16" fmla="*/ 829 w 1194"/>
                  <a:gd name="T17" fmla="*/ 767 h 1196"/>
                  <a:gd name="T18" fmla="*/ 881 w 1194"/>
                  <a:gd name="T19" fmla="*/ 644 h 1196"/>
                  <a:gd name="T20" fmla="*/ 870 w 1194"/>
                  <a:gd name="T21" fmla="*/ 507 h 1196"/>
                  <a:gd name="T22" fmla="*/ 800 w 1194"/>
                  <a:gd name="T23" fmla="*/ 394 h 1196"/>
                  <a:gd name="T24" fmla="*/ 689 w 1194"/>
                  <a:gd name="T25" fmla="*/ 324 h 1196"/>
                  <a:gd name="T26" fmla="*/ 513 w 1194"/>
                  <a:gd name="T27" fmla="*/ 0 h 1196"/>
                  <a:gd name="T28" fmla="*/ 726 w 1194"/>
                  <a:gd name="T29" fmla="*/ 11 h 1196"/>
                  <a:gd name="T30" fmla="*/ 766 w 1194"/>
                  <a:gd name="T31" fmla="*/ 64 h 1196"/>
                  <a:gd name="T32" fmla="*/ 820 w 1194"/>
                  <a:gd name="T33" fmla="*/ 131 h 1196"/>
                  <a:gd name="T34" fmla="*/ 876 w 1194"/>
                  <a:gd name="T35" fmla="*/ 93 h 1196"/>
                  <a:gd name="T36" fmla="*/ 941 w 1194"/>
                  <a:gd name="T37" fmla="*/ 101 h 1196"/>
                  <a:gd name="T38" fmla="*/ 1093 w 1194"/>
                  <a:gd name="T39" fmla="*/ 253 h 1196"/>
                  <a:gd name="T40" fmla="*/ 1102 w 1194"/>
                  <a:gd name="T41" fmla="*/ 319 h 1196"/>
                  <a:gd name="T42" fmla="*/ 1063 w 1194"/>
                  <a:gd name="T43" fmla="*/ 376 h 1196"/>
                  <a:gd name="T44" fmla="*/ 1130 w 1194"/>
                  <a:gd name="T45" fmla="*/ 429 h 1196"/>
                  <a:gd name="T46" fmla="*/ 1183 w 1194"/>
                  <a:gd name="T47" fmla="*/ 469 h 1196"/>
                  <a:gd name="T48" fmla="*/ 1194 w 1194"/>
                  <a:gd name="T49" fmla="*/ 682 h 1196"/>
                  <a:gd name="T50" fmla="*/ 1169 w 1194"/>
                  <a:gd name="T51" fmla="*/ 743 h 1196"/>
                  <a:gd name="T52" fmla="*/ 1106 w 1194"/>
                  <a:gd name="T53" fmla="*/ 770 h 1196"/>
                  <a:gd name="T54" fmla="*/ 1079 w 1194"/>
                  <a:gd name="T55" fmla="*/ 836 h 1196"/>
                  <a:gd name="T56" fmla="*/ 1104 w 1194"/>
                  <a:gd name="T57" fmla="*/ 899 h 1196"/>
                  <a:gd name="T58" fmla="*/ 1079 w 1194"/>
                  <a:gd name="T59" fmla="*/ 962 h 1196"/>
                  <a:gd name="T60" fmla="*/ 920 w 1194"/>
                  <a:gd name="T61" fmla="*/ 1103 h 1196"/>
                  <a:gd name="T62" fmla="*/ 854 w 1194"/>
                  <a:gd name="T63" fmla="*/ 1095 h 1196"/>
                  <a:gd name="T64" fmla="*/ 769 w 1194"/>
                  <a:gd name="T65" fmla="*/ 1085 h 1196"/>
                  <a:gd name="T66" fmla="*/ 757 w 1194"/>
                  <a:gd name="T67" fmla="*/ 1152 h 1196"/>
                  <a:gd name="T68" fmla="*/ 704 w 1194"/>
                  <a:gd name="T69" fmla="*/ 1192 h 1196"/>
                  <a:gd name="T70" fmla="*/ 490 w 1194"/>
                  <a:gd name="T71" fmla="*/ 1192 h 1196"/>
                  <a:gd name="T72" fmla="*/ 437 w 1194"/>
                  <a:gd name="T73" fmla="*/ 1152 h 1196"/>
                  <a:gd name="T74" fmla="*/ 426 w 1194"/>
                  <a:gd name="T75" fmla="*/ 1085 h 1196"/>
                  <a:gd name="T76" fmla="*/ 340 w 1194"/>
                  <a:gd name="T77" fmla="*/ 1095 h 1196"/>
                  <a:gd name="T78" fmla="*/ 274 w 1194"/>
                  <a:gd name="T79" fmla="*/ 1103 h 1196"/>
                  <a:gd name="T80" fmla="*/ 115 w 1194"/>
                  <a:gd name="T81" fmla="*/ 962 h 1196"/>
                  <a:gd name="T82" fmla="*/ 90 w 1194"/>
                  <a:gd name="T83" fmla="*/ 899 h 1196"/>
                  <a:gd name="T84" fmla="*/ 115 w 1194"/>
                  <a:gd name="T85" fmla="*/ 836 h 1196"/>
                  <a:gd name="T86" fmla="*/ 87 w 1194"/>
                  <a:gd name="T87" fmla="*/ 770 h 1196"/>
                  <a:gd name="T88" fmla="*/ 25 w 1194"/>
                  <a:gd name="T89" fmla="*/ 743 h 1196"/>
                  <a:gd name="T90" fmla="*/ 0 w 1194"/>
                  <a:gd name="T91" fmla="*/ 682 h 1196"/>
                  <a:gd name="T92" fmla="*/ 11 w 1194"/>
                  <a:gd name="T93" fmla="*/ 469 h 1196"/>
                  <a:gd name="T94" fmla="*/ 64 w 1194"/>
                  <a:gd name="T95" fmla="*/ 429 h 1196"/>
                  <a:gd name="T96" fmla="*/ 131 w 1194"/>
                  <a:gd name="T97" fmla="*/ 376 h 1196"/>
                  <a:gd name="T98" fmla="*/ 93 w 1194"/>
                  <a:gd name="T99" fmla="*/ 319 h 1196"/>
                  <a:gd name="T100" fmla="*/ 101 w 1194"/>
                  <a:gd name="T101" fmla="*/ 253 h 1196"/>
                  <a:gd name="T102" fmla="*/ 253 w 1194"/>
                  <a:gd name="T103" fmla="*/ 101 h 1196"/>
                  <a:gd name="T104" fmla="*/ 318 w 1194"/>
                  <a:gd name="T105" fmla="*/ 93 h 1196"/>
                  <a:gd name="T106" fmla="*/ 374 w 1194"/>
                  <a:gd name="T107" fmla="*/ 131 h 1196"/>
                  <a:gd name="T108" fmla="*/ 428 w 1194"/>
                  <a:gd name="T109" fmla="*/ 64 h 1196"/>
                  <a:gd name="T110" fmla="*/ 468 w 1194"/>
                  <a:gd name="T111" fmla="*/ 11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94" h="1196">
                    <a:moveTo>
                      <a:pt x="597" y="310"/>
                    </a:moveTo>
                    <a:lnTo>
                      <a:pt x="550" y="313"/>
                    </a:lnTo>
                    <a:lnTo>
                      <a:pt x="506" y="324"/>
                    </a:lnTo>
                    <a:lnTo>
                      <a:pt x="464" y="341"/>
                    </a:lnTo>
                    <a:lnTo>
                      <a:pt x="427" y="366"/>
                    </a:lnTo>
                    <a:lnTo>
                      <a:pt x="393" y="394"/>
                    </a:lnTo>
                    <a:lnTo>
                      <a:pt x="364" y="427"/>
                    </a:lnTo>
                    <a:lnTo>
                      <a:pt x="341" y="466"/>
                    </a:lnTo>
                    <a:lnTo>
                      <a:pt x="324" y="507"/>
                    </a:lnTo>
                    <a:lnTo>
                      <a:pt x="313" y="552"/>
                    </a:lnTo>
                    <a:lnTo>
                      <a:pt x="308" y="597"/>
                    </a:lnTo>
                    <a:lnTo>
                      <a:pt x="313" y="644"/>
                    </a:lnTo>
                    <a:lnTo>
                      <a:pt x="324" y="689"/>
                    </a:lnTo>
                    <a:lnTo>
                      <a:pt x="341" y="730"/>
                    </a:lnTo>
                    <a:lnTo>
                      <a:pt x="364" y="767"/>
                    </a:lnTo>
                    <a:lnTo>
                      <a:pt x="393" y="802"/>
                    </a:lnTo>
                    <a:lnTo>
                      <a:pt x="427" y="830"/>
                    </a:lnTo>
                    <a:lnTo>
                      <a:pt x="464" y="853"/>
                    </a:lnTo>
                    <a:lnTo>
                      <a:pt x="506" y="870"/>
                    </a:lnTo>
                    <a:lnTo>
                      <a:pt x="550" y="882"/>
                    </a:lnTo>
                    <a:lnTo>
                      <a:pt x="597" y="886"/>
                    </a:lnTo>
                    <a:lnTo>
                      <a:pt x="644" y="882"/>
                    </a:lnTo>
                    <a:lnTo>
                      <a:pt x="689" y="870"/>
                    </a:lnTo>
                    <a:lnTo>
                      <a:pt x="729" y="853"/>
                    </a:lnTo>
                    <a:lnTo>
                      <a:pt x="767" y="830"/>
                    </a:lnTo>
                    <a:lnTo>
                      <a:pt x="800" y="802"/>
                    </a:lnTo>
                    <a:lnTo>
                      <a:pt x="829" y="767"/>
                    </a:lnTo>
                    <a:lnTo>
                      <a:pt x="853" y="730"/>
                    </a:lnTo>
                    <a:lnTo>
                      <a:pt x="870" y="689"/>
                    </a:lnTo>
                    <a:lnTo>
                      <a:pt x="881" y="644"/>
                    </a:lnTo>
                    <a:lnTo>
                      <a:pt x="884" y="597"/>
                    </a:lnTo>
                    <a:lnTo>
                      <a:pt x="881" y="552"/>
                    </a:lnTo>
                    <a:lnTo>
                      <a:pt x="870" y="507"/>
                    </a:lnTo>
                    <a:lnTo>
                      <a:pt x="853" y="466"/>
                    </a:lnTo>
                    <a:lnTo>
                      <a:pt x="829" y="427"/>
                    </a:lnTo>
                    <a:lnTo>
                      <a:pt x="800" y="394"/>
                    </a:lnTo>
                    <a:lnTo>
                      <a:pt x="767" y="366"/>
                    </a:lnTo>
                    <a:lnTo>
                      <a:pt x="729" y="341"/>
                    </a:lnTo>
                    <a:lnTo>
                      <a:pt x="689" y="324"/>
                    </a:lnTo>
                    <a:lnTo>
                      <a:pt x="644" y="313"/>
                    </a:lnTo>
                    <a:lnTo>
                      <a:pt x="597" y="310"/>
                    </a:lnTo>
                    <a:close/>
                    <a:moveTo>
                      <a:pt x="513" y="0"/>
                    </a:moveTo>
                    <a:lnTo>
                      <a:pt x="681" y="0"/>
                    </a:lnTo>
                    <a:lnTo>
                      <a:pt x="704" y="3"/>
                    </a:lnTo>
                    <a:lnTo>
                      <a:pt x="726" y="11"/>
                    </a:lnTo>
                    <a:lnTo>
                      <a:pt x="743" y="26"/>
                    </a:lnTo>
                    <a:lnTo>
                      <a:pt x="757" y="43"/>
                    </a:lnTo>
                    <a:lnTo>
                      <a:pt x="766" y="64"/>
                    </a:lnTo>
                    <a:lnTo>
                      <a:pt x="769" y="88"/>
                    </a:lnTo>
                    <a:lnTo>
                      <a:pt x="769" y="111"/>
                    </a:lnTo>
                    <a:lnTo>
                      <a:pt x="820" y="131"/>
                    </a:lnTo>
                    <a:lnTo>
                      <a:pt x="836" y="116"/>
                    </a:lnTo>
                    <a:lnTo>
                      <a:pt x="854" y="101"/>
                    </a:lnTo>
                    <a:lnTo>
                      <a:pt x="876" y="93"/>
                    </a:lnTo>
                    <a:lnTo>
                      <a:pt x="899" y="90"/>
                    </a:lnTo>
                    <a:lnTo>
                      <a:pt x="920" y="93"/>
                    </a:lnTo>
                    <a:lnTo>
                      <a:pt x="941" y="101"/>
                    </a:lnTo>
                    <a:lnTo>
                      <a:pt x="960" y="116"/>
                    </a:lnTo>
                    <a:lnTo>
                      <a:pt x="1079" y="234"/>
                    </a:lnTo>
                    <a:lnTo>
                      <a:pt x="1093" y="253"/>
                    </a:lnTo>
                    <a:lnTo>
                      <a:pt x="1102" y="274"/>
                    </a:lnTo>
                    <a:lnTo>
                      <a:pt x="1104" y="297"/>
                    </a:lnTo>
                    <a:lnTo>
                      <a:pt x="1102" y="319"/>
                    </a:lnTo>
                    <a:lnTo>
                      <a:pt x="1093" y="340"/>
                    </a:lnTo>
                    <a:lnTo>
                      <a:pt x="1079" y="359"/>
                    </a:lnTo>
                    <a:lnTo>
                      <a:pt x="1063" y="376"/>
                    </a:lnTo>
                    <a:lnTo>
                      <a:pt x="1083" y="426"/>
                    </a:lnTo>
                    <a:lnTo>
                      <a:pt x="1106" y="426"/>
                    </a:lnTo>
                    <a:lnTo>
                      <a:pt x="1130" y="429"/>
                    </a:lnTo>
                    <a:lnTo>
                      <a:pt x="1152" y="437"/>
                    </a:lnTo>
                    <a:lnTo>
                      <a:pt x="1169" y="451"/>
                    </a:lnTo>
                    <a:lnTo>
                      <a:pt x="1183" y="469"/>
                    </a:lnTo>
                    <a:lnTo>
                      <a:pt x="1192" y="490"/>
                    </a:lnTo>
                    <a:lnTo>
                      <a:pt x="1194" y="514"/>
                    </a:lnTo>
                    <a:lnTo>
                      <a:pt x="1194" y="682"/>
                    </a:lnTo>
                    <a:lnTo>
                      <a:pt x="1192" y="704"/>
                    </a:lnTo>
                    <a:lnTo>
                      <a:pt x="1183" y="726"/>
                    </a:lnTo>
                    <a:lnTo>
                      <a:pt x="1169" y="743"/>
                    </a:lnTo>
                    <a:lnTo>
                      <a:pt x="1152" y="757"/>
                    </a:lnTo>
                    <a:lnTo>
                      <a:pt x="1130" y="766"/>
                    </a:lnTo>
                    <a:lnTo>
                      <a:pt x="1106" y="770"/>
                    </a:lnTo>
                    <a:lnTo>
                      <a:pt x="1083" y="770"/>
                    </a:lnTo>
                    <a:lnTo>
                      <a:pt x="1063" y="820"/>
                    </a:lnTo>
                    <a:lnTo>
                      <a:pt x="1079" y="836"/>
                    </a:lnTo>
                    <a:lnTo>
                      <a:pt x="1093" y="854"/>
                    </a:lnTo>
                    <a:lnTo>
                      <a:pt x="1102" y="876"/>
                    </a:lnTo>
                    <a:lnTo>
                      <a:pt x="1104" y="899"/>
                    </a:lnTo>
                    <a:lnTo>
                      <a:pt x="1102" y="922"/>
                    </a:lnTo>
                    <a:lnTo>
                      <a:pt x="1093" y="942"/>
                    </a:lnTo>
                    <a:lnTo>
                      <a:pt x="1079" y="962"/>
                    </a:lnTo>
                    <a:lnTo>
                      <a:pt x="960" y="1079"/>
                    </a:lnTo>
                    <a:lnTo>
                      <a:pt x="941" y="1095"/>
                    </a:lnTo>
                    <a:lnTo>
                      <a:pt x="920" y="1103"/>
                    </a:lnTo>
                    <a:lnTo>
                      <a:pt x="899" y="1106"/>
                    </a:lnTo>
                    <a:lnTo>
                      <a:pt x="876" y="1103"/>
                    </a:lnTo>
                    <a:lnTo>
                      <a:pt x="854" y="1095"/>
                    </a:lnTo>
                    <a:lnTo>
                      <a:pt x="836" y="1079"/>
                    </a:lnTo>
                    <a:lnTo>
                      <a:pt x="820" y="1063"/>
                    </a:lnTo>
                    <a:lnTo>
                      <a:pt x="769" y="1085"/>
                    </a:lnTo>
                    <a:lnTo>
                      <a:pt x="769" y="1107"/>
                    </a:lnTo>
                    <a:lnTo>
                      <a:pt x="766" y="1130"/>
                    </a:lnTo>
                    <a:lnTo>
                      <a:pt x="757" y="1152"/>
                    </a:lnTo>
                    <a:lnTo>
                      <a:pt x="743" y="1169"/>
                    </a:lnTo>
                    <a:lnTo>
                      <a:pt x="726" y="1183"/>
                    </a:lnTo>
                    <a:lnTo>
                      <a:pt x="704" y="1192"/>
                    </a:lnTo>
                    <a:lnTo>
                      <a:pt x="681" y="1196"/>
                    </a:lnTo>
                    <a:lnTo>
                      <a:pt x="513" y="1196"/>
                    </a:lnTo>
                    <a:lnTo>
                      <a:pt x="490" y="1192"/>
                    </a:lnTo>
                    <a:lnTo>
                      <a:pt x="468" y="1183"/>
                    </a:lnTo>
                    <a:lnTo>
                      <a:pt x="451" y="1169"/>
                    </a:lnTo>
                    <a:lnTo>
                      <a:pt x="437" y="1152"/>
                    </a:lnTo>
                    <a:lnTo>
                      <a:pt x="428" y="1130"/>
                    </a:lnTo>
                    <a:lnTo>
                      <a:pt x="426" y="1107"/>
                    </a:lnTo>
                    <a:lnTo>
                      <a:pt x="426" y="1085"/>
                    </a:lnTo>
                    <a:lnTo>
                      <a:pt x="374" y="1063"/>
                    </a:lnTo>
                    <a:lnTo>
                      <a:pt x="358" y="1079"/>
                    </a:lnTo>
                    <a:lnTo>
                      <a:pt x="340" y="1095"/>
                    </a:lnTo>
                    <a:lnTo>
                      <a:pt x="318" y="1103"/>
                    </a:lnTo>
                    <a:lnTo>
                      <a:pt x="296" y="1106"/>
                    </a:lnTo>
                    <a:lnTo>
                      <a:pt x="274" y="1103"/>
                    </a:lnTo>
                    <a:lnTo>
                      <a:pt x="253" y="1095"/>
                    </a:lnTo>
                    <a:lnTo>
                      <a:pt x="234" y="1079"/>
                    </a:lnTo>
                    <a:lnTo>
                      <a:pt x="115" y="962"/>
                    </a:lnTo>
                    <a:lnTo>
                      <a:pt x="101" y="942"/>
                    </a:lnTo>
                    <a:lnTo>
                      <a:pt x="93" y="922"/>
                    </a:lnTo>
                    <a:lnTo>
                      <a:pt x="90" y="899"/>
                    </a:lnTo>
                    <a:lnTo>
                      <a:pt x="93" y="876"/>
                    </a:lnTo>
                    <a:lnTo>
                      <a:pt x="101" y="854"/>
                    </a:lnTo>
                    <a:lnTo>
                      <a:pt x="115" y="836"/>
                    </a:lnTo>
                    <a:lnTo>
                      <a:pt x="131" y="820"/>
                    </a:lnTo>
                    <a:lnTo>
                      <a:pt x="110" y="770"/>
                    </a:lnTo>
                    <a:lnTo>
                      <a:pt x="87" y="770"/>
                    </a:lnTo>
                    <a:lnTo>
                      <a:pt x="64" y="766"/>
                    </a:lnTo>
                    <a:lnTo>
                      <a:pt x="43" y="757"/>
                    </a:lnTo>
                    <a:lnTo>
                      <a:pt x="25" y="743"/>
                    </a:lnTo>
                    <a:lnTo>
                      <a:pt x="11" y="726"/>
                    </a:lnTo>
                    <a:lnTo>
                      <a:pt x="3" y="704"/>
                    </a:lnTo>
                    <a:lnTo>
                      <a:pt x="0" y="682"/>
                    </a:lnTo>
                    <a:lnTo>
                      <a:pt x="0" y="514"/>
                    </a:lnTo>
                    <a:lnTo>
                      <a:pt x="3" y="490"/>
                    </a:lnTo>
                    <a:lnTo>
                      <a:pt x="11" y="469"/>
                    </a:lnTo>
                    <a:lnTo>
                      <a:pt x="25" y="451"/>
                    </a:lnTo>
                    <a:lnTo>
                      <a:pt x="43" y="437"/>
                    </a:lnTo>
                    <a:lnTo>
                      <a:pt x="64" y="429"/>
                    </a:lnTo>
                    <a:lnTo>
                      <a:pt x="87" y="426"/>
                    </a:lnTo>
                    <a:lnTo>
                      <a:pt x="110" y="426"/>
                    </a:lnTo>
                    <a:lnTo>
                      <a:pt x="131" y="376"/>
                    </a:lnTo>
                    <a:lnTo>
                      <a:pt x="115" y="359"/>
                    </a:lnTo>
                    <a:lnTo>
                      <a:pt x="101" y="340"/>
                    </a:lnTo>
                    <a:lnTo>
                      <a:pt x="93" y="319"/>
                    </a:lnTo>
                    <a:lnTo>
                      <a:pt x="90" y="297"/>
                    </a:lnTo>
                    <a:lnTo>
                      <a:pt x="93" y="274"/>
                    </a:lnTo>
                    <a:lnTo>
                      <a:pt x="101" y="253"/>
                    </a:lnTo>
                    <a:lnTo>
                      <a:pt x="115" y="234"/>
                    </a:lnTo>
                    <a:lnTo>
                      <a:pt x="234" y="116"/>
                    </a:lnTo>
                    <a:lnTo>
                      <a:pt x="253" y="101"/>
                    </a:lnTo>
                    <a:lnTo>
                      <a:pt x="274" y="93"/>
                    </a:lnTo>
                    <a:lnTo>
                      <a:pt x="296" y="90"/>
                    </a:lnTo>
                    <a:lnTo>
                      <a:pt x="318" y="93"/>
                    </a:lnTo>
                    <a:lnTo>
                      <a:pt x="340" y="101"/>
                    </a:lnTo>
                    <a:lnTo>
                      <a:pt x="358" y="116"/>
                    </a:lnTo>
                    <a:lnTo>
                      <a:pt x="374" y="131"/>
                    </a:lnTo>
                    <a:lnTo>
                      <a:pt x="426" y="111"/>
                    </a:lnTo>
                    <a:lnTo>
                      <a:pt x="426" y="88"/>
                    </a:lnTo>
                    <a:lnTo>
                      <a:pt x="428" y="64"/>
                    </a:lnTo>
                    <a:lnTo>
                      <a:pt x="437" y="43"/>
                    </a:lnTo>
                    <a:lnTo>
                      <a:pt x="451" y="26"/>
                    </a:lnTo>
                    <a:lnTo>
                      <a:pt x="468" y="11"/>
                    </a:lnTo>
                    <a:lnTo>
                      <a:pt x="490" y="3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5" name="Group 4"/>
          <p:cNvGrpSpPr/>
          <p:nvPr/>
        </p:nvGrpSpPr>
        <p:grpSpPr>
          <a:xfrm>
            <a:off x="147993" y="6182627"/>
            <a:ext cx="727877" cy="472072"/>
            <a:chOff x="147993" y="6032383"/>
            <a:chExt cx="727877" cy="472072"/>
          </a:xfrm>
        </p:grpSpPr>
        <p:sp>
          <p:nvSpPr>
            <p:cNvPr id="31" name="Rectangle 17"/>
            <p:cNvSpPr>
              <a:spLocks/>
            </p:cNvSpPr>
            <p:nvPr/>
          </p:nvSpPr>
          <p:spPr bwMode="auto">
            <a:xfrm>
              <a:off x="147993" y="6227456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Рыночные данные</a:t>
              </a:r>
              <a:endParaRPr lang="ru-RU" sz="900" i="1" dirty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grpSp>
          <p:nvGrpSpPr>
            <p:cNvPr id="100" name="Group 165"/>
            <p:cNvGrpSpPr>
              <a:grpSpLocks noChangeAspect="1"/>
            </p:cNvGrpSpPr>
            <p:nvPr/>
          </p:nvGrpSpPr>
          <p:grpSpPr bwMode="auto">
            <a:xfrm>
              <a:off x="362646" y="6032383"/>
              <a:ext cx="253587" cy="198314"/>
              <a:chOff x="-1919" y="3510"/>
              <a:chExt cx="679" cy="531"/>
            </a:xfrm>
            <a:solidFill>
              <a:schemeClr val="bg1"/>
            </a:solidFill>
          </p:grpSpPr>
          <p:sp>
            <p:nvSpPr>
              <p:cNvPr id="101" name="Freeform 167"/>
              <p:cNvSpPr>
                <a:spLocks/>
              </p:cNvSpPr>
              <p:nvPr/>
            </p:nvSpPr>
            <p:spPr bwMode="auto">
              <a:xfrm>
                <a:off x="-1803" y="3980"/>
                <a:ext cx="447" cy="61"/>
              </a:xfrm>
              <a:custGeom>
                <a:avLst/>
                <a:gdLst>
                  <a:gd name="T0" fmla="*/ 154 w 2237"/>
                  <a:gd name="T1" fmla="*/ 0 h 304"/>
                  <a:gd name="T2" fmla="*/ 2082 w 2237"/>
                  <a:gd name="T3" fmla="*/ 0 h 304"/>
                  <a:gd name="T4" fmla="*/ 2113 w 2237"/>
                  <a:gd name="T5" fmla="*/ 3 h 304"/>
                  <a:gd name="T6" fmla="*/ 2142 w 2237"/>
                  <a:gd name="T7" fmla="*/ 12 h 304"/>
                  <a:gd name="T8" fmla="*/ 2168 w 2237"/>
                  <a:gd name="T9" fmla="*/ 27 h 304"/>
                  <a:gd name="T10" fmla="*/ 2191 w 2237"/>
                  <a:gd name="T11" fmla="*/ 45 h 304"/>
                  <a:gd name="T12" fmla="*/ 2210 w 2237"/>
                  <a:gd name="T13" fmla="*/ 68 h 304"/>
                  <a:gd name="T14" fmla="*/ 2224 w 2237"/>
                  <a:gd name="T15" fmla="*/ 93 h 304"/>
                  <a:gd name="T16" fmla="*/ 2234 w 2237"/>
                  <a:gd name="T17" fmla="*/ 122 h 304"/>
                  <a:gd name="T18" fmla="*/ 2237 w 2237"/>
                  <a:gd name="T19" fmla="*/ 153 h 304"/>
                  <a:gd name="T20" fmla="*/ 2234 w 2237"/>
                  <a:gd name="T21" fmla="*/ 183 h 304"/>
                  <a:gd name="T22" fmla="*/ 2224 w 2237"/>
                  <a:gd name="T23" fmla="*/ 212 h 304"/>
                  <a:gd name="T24" fmla="*/ 2210 w 2237"/>
                  <a:gd name="T25" fmla="*/ 237 h 304"/>
                  <a:gd name="T26" fmla="*/ 2191 w 2237"/>
                  <a:gd name="T27" fmla="*/ 260 h 304"/>
                  <a:gd name="T28" fmla="*/ 2168 w 2237"/>
                  <a:gd name="T29" fmla="*/ 278 h 304"/>
                  <a:gd name="T30" fmla="*/ 2142 w 2237"/>
                  <a:gd name="T31" fmla="*/ 293 h 304"/>
                  <a:gd name="T32" fmla="*/ 2113 w 2237"/>
                  <a:gd name="T33" fmla="*/ 301 h 304"/>
                  <a:gd name="T34" fmla="*/ 2082 w 2237"/>
                  <a:gd name="T35" fmla="*/ 304 h 304"/>
                  <a:gd name="T36" fmla="*/ 154 w 2237"/>
                  <a:gd name="T37" fmla="*/ 304 h 304"/>
                  <a:gd name="T38" fmla="*/ 123 w 2237"/>
                  <a:gd name="T39" fmla="*/ 301 h 304"/>
                  <a:gd name="T40" fmla="*/ 93 w 2237"/>
                  <a:gd name="T41" fmla="*/ 293 h 304"/>
                  <a:gd name="T42" fmla="*/ 68 w 2237"/>
                  <a:gd name="T43" fmla="*/ 278 h 304"/>
                  <a:gd name="T44" fmla="*/ 45 w 2237"/>
                  <a:gd name="T45" fmla="*/ 260 h 304"/>
                  <a:gd name="T46" fmla="*/ 26 w 2237"/>
                  <a:gd name="T47" fmla="*/ 237 h 304"/>
                  <a:gd name="T48" fmla="*/ 11 w 2237"/>
                  <a:gd name="T49" fmla="*/ 212 h 304"/>
                  <a:gd name="T50" fmla="*/ 3 w 2237"/>
                  <a:gd name="T51" fmla="*/ 183 h 304"/>
                  <a:gd name="T52" fmla="*/ 0 w 2237"/>
                  <a:gd name="T53" fmla="*/ 153 h 304"/>
                  <a:gd name="T54" fmla="*/ 3 w 2237"/>
                  <a:gd name="T55" fmla="*/ 122 h 304"/>
                  <a:gd name="T56" fmla="*/ 11 w 2237"/>
                  <a:gd name="T57" fmla="*/ 93 h 304"/>
                  <a:gd name="T58" fmla="*/ 26 w 2237"/>
                  <a:gd name="T59" fmla="*/ 68 h 304"/>
                  <a:gd name="T60" fmla="*/ 45 w 2237"/>
                  <a:gd name="T61" fmla="*/ 45 h 304"/>
                  <a:gd name="T62" fmla="*/ 68 w 2237"/>
                  <a:gd name="T63" fmla="*/ 27 h 304"/>
                  <a:gd name="T64" fmla="*/ 93 w 2237"/>
                  <a:gd name="T65" fmla="*/ 12 h 304"/>
                  <a:gd name="T66" fmla="*/ 123 w 2237"/>
                  <a:gd name="T67" fmla="*/ 3 h 304"/>
                  <a:gd name="T68" fmla="*/ 154 w 2237"/>
                  <a:gd name="T69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37" h="304">
                    <a:moveTo>
                      <a:pt x="154" y="0"/>
                    </a:moveTo>
                    <a:lnTo>
                      <a:pt x="2082" y="0"/>
                    </a:lnTo>
                    <a:lnTo>
                      <a:pt x="2113" y="3"/>
                    </a:lnTo>
                    <a:lnTo>
                      <a:pt x="2142" y="12"/>
                    </a:lnTo>
                    <a:lnTo>
                      <a:pt x="2168" y="27"/>
                    </a:lnTo>
                    <a:lnTo>
                      <a:pt x="2191" y="45"/>
                    </a:lnTo>
                    <a:lnTo>
                      <a:pt x="2210" y="68"/>
                    </a:lnTo>
                    <a:lnTo>
                      <a:pt x="2224" y="93"/>
                    </a:lnTo>
                    <a:lnTo>
                      <a:pt x="2234" y="122"/>
                    </a:lnTo>
                    <a:lnTo>
                      <a:pt x="2237" y="153"/>
                    </a:lnTo>
                    <a:lnTo>
                      <a:pt x="2234" y="183"/>
                    </a:lnTo>
                    <a:lnTo>
                      <a:pt x="2224" y="212"/>
                    </a:lnTo>
                    <a:lnTo>
                      <a:pt x="2210" y="237"/>
                    </a:lnTo>
                    <a:lnTo>
                      <a:pt x="2191" y="260"/>
                    </a:lnTo>
                    <a:lnTo>
                      <a:pt x="2168" y="278"/>
                    </a:lnTo>
                    <a:lnTo>
                      <a:pt x="2142" y="293"/>
                    </a:lnTo>
                    <a:lnTo>
                      <a:pt x="2113" y="301"/>
                    </a:lnTo>
                    <a:lnTo>
                      <a:pt x="2082" y="304"/>
                    </a:lnTo>
                    <a:lnTo>
                      <a:pt x="154" y="304"/>
                    </a:lnTo>
                    <a:lnTo>
                      <a:pt x="123" y="301"/>
                    </a:lnTo>
                    <a:lnTo>
                      <a:pt x="93" y="293"/>
                    </a:lnTo>
                    <a:lnTo>
                      <a:pt x="68" y="278"/>
                    </a:lnTo>
                    <a:lnTo>
                      <a:pt x="45" y="260"/>
                    </a:lnTo>
                    <a:lnTo>
                      <a:pt x="26" y="237"/>
                    </a:lnTo>
                    <a:lnTo>
                      <a:pt x="11" y="212"/>
                    </a:lnTo>
                    <a:lnTo>
                      <a:pt x="3" y="183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5" y="45"/>
                    </a:lnTo>
                    <a:lnTo>
                      <a:pt x="68" y="27"/>
                    </a:lnTo>
                    <a:lnTo>
                      <a:pt x="93" y="12"/>
                    </a:lnTo>
                    <a:lnTo>
                      <a:pt x="123" y="3"/>
                    </a:lnTo>
                    <a:lnTo>
                      <a:pt x="1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2" name="Freeform 168"/>
              <p:cNvSpPr>
                <a:spLocks/>
              </p:cNvSpPr>
              <p:nvPr/>
            </p:nvSpPr>
            <p:spPr bwMode="auto">
              <a:xfrm>
                <a:off x="-1811" y="3730"/>
                <a:ext cx="46" cy="121"/>
              </a:xfrm>
              <a:custGeom>
                <a:avLst/>
                <a:gdLst>
                  <a:gd name="T0" fmla="*/ 117 w 232"/>
                  <a:gd name="T1" fmla="*/ 0 h 607"/>
                  <a:gd name="T2" fmla="*/ 143 w 232"/>
                  <a:gd name="T3" fmla="*/ 3 h 607"/>
                  <a:gd name="T4" fmla="*/ 168 w 232"/>
                  <a:gd name="T5" fmla="*/ 12 h 607"/>
                  <a:gd name="T6" fmla="*/ 190 w 232"/>
                  <a:gd name="T7" fmla="*/ 25 h 607"/>
                  <a:gd name="T8" fmla="*/ 207 w 232"/>
                  <a:gd name="T9" fmla="*/ 43 h 607"/>
                  <a:gd name="T10" fmla="*/ 221 w 232"/>
                  <a:gd name="T11" fmla="*/ 64 h 607"/>
                  <a:gd name="T12" fmla="*/ 229 w 232"/>
                  <a:gd name="T13" fmla="*/ 88 h 607"/>
                  <a:gd name="T14" fmla="*/ 232 w 232"/>
                  <a:gd name="T15" fmla="*/ 114 h 607"/>
                  <a:gd name="T16" fmla="*/ 232 w 232"/>
                  <a:gd name="T17" fmla="*/ 494 h 607"/>
                  <a:gd name="T18" fmla="*/ 229 w 232"/>
                  <a:gd name="T19" fmla="*/ 520 h 607"/>
                  <a:gd name="T20" fmla="*/ 221 w 232"/>
                  <a:gd name="T21" fmla="*/ 544 h 607"/>
                  <a:gd name="T22" fmla="*/ 207 w 232"/>
                  <a:gd name="T23" fmla="*/ 565 h 607"/>
                  <a:gd name="T24" fmla="*/ 190 w 232"/>
                  <a:gd name="T25" fmla="*/ 583 h 607"/>
                  <a:gd name="T26" fmla="*/ 168 w 232"/>
                  <a:gd name="T27" fmla="*/ 596 h 607"/>
                  <a:gd name="T28" fmla="*/ 143 w 232"/>
                  <a:gd name="T29" fmla="*/ 605 h 607"/>
                  <a:gd name="T30" fmla="*/ 117 w 232"/>
                  <a:gd name="T31" fmla="*/ 607 h 607"/>
                  <a:gd name="T32" fmla="*/ 90 w 232"/>
                  <a:gd name="T33" fmla="*/ 605 h 607"/>
                  <a:gd name="T34" fmla="*/ 66 w 232"/>
                  <a:gd name="T35" fmla="*/ 596 h 607"/>
                  <a:gd name="T36" fmla="*/ 44 w 232"/>
                  <a:gd name="T37" fmla="*/ 583 h 607"/>
                  <a:gd name="T38" fmla="*/ 26 w 232"/>
                  <a:gd name="T39" fmla="*/ 565 h 607"/>
                  <a:gd name="T40" fmla="*/ 13 w 232"/>
                  <a:gd name="T41" fmla="*/ 544 h 607"/>
                  <a:gd name="T42" fmla="*/ 4 w 232"/>
                  <a:gd name="T43" fmla="*/ 520 h 607"/>
                  <a:gd name="T44" fmla="*/ 0 w 232"/>
                  <a:gd name="T45" fmla="*/ 494 h 607"/>
                  <a:gd name="T46" fmla="*/ 0 w 232"/>
                  <a:gd name="T47" fmla="*/ 114 h 607"/>
                  <a:gd name="T48" fmla="*/ 4 w 232"/>
                  <a:gd name="T49" fmla="*/ 88 h 607"/>
                  <a:gd name="T50" fmla="*/ 13 w 232"/>
                  <a:gd name="T51" fmla="*/ 64 h 607"/>
                  <a:gd name="T52" fmla="*/ 26 w 232"/>
                  <a:gd name="T53" fmla="*/ 43 h 607"/>
                  <a:gd name="T54" fmla="*/ 44 w 232"/>
                  <a:gd name="T55" fmla="*/ 25 h 607"/>
                  <a:gd name="T56" fmla="*/ 66 w 232"/>
                  <a:gd name="T57" fmla="*/ 12 h 607"/>
                  <a:gd name="T58" fmla="*/ 90 w 232"/>
                  <a:gd name="T59" fmla="*/ 3 h 607"/>
                  <a:gd name="T60" fmla="*/ 117 w 232"/>
                  <a:gd name="T61" fmla="*/ 0 h 6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2" h="607">
                    <a:moveTo>
                      <a:pt x="117" y="0"/>
                    </a:moveTo>
                    <a:lnTo>
                      <a:pt x="143" y="3"/>
                    </a:lnTo>
                    <a:lnTo>
                      <a:pt x="168" y="12"/>
                    </a:lnTo>
                    <a:lnTo>
                      <a:pt x="190" y="25"/>
                    </a:lnTo>
                    <a:lnTo>
                      <a:pt x="207" y="43"/>
                    </a:lnTo>
                    <a:lnTo>
                      <a:pt x="221" y="64"/>
                    </a:lnTo>
                    <a:lnTo>
                      <a:pt x="229" y="88"/>
                    </a:lnTo>
                    <a:lnTo>
                      <a:pt x="232" y="114"/>
                    </a:lnTo>
                    <a:lnTo>
                      <a:pt x="232" y="494"/>
                    </a:lnTo>
                    <a:lnTo>
                      <a:pt x="229" y="520"/>
                    </a:lnTo>
                    <a:lnTo>
                      <a:pt x="221" y="544"/>
                    </a:lnTo>
                    <a:lnTo>
                      <a:pt x="207" y="565"/>
                    </a:lnTo>
                    <a:lnTo>
                      <a:pt x="190" y="583"/>
                    </a:lnTo>
                    <a:lnTo>
                      <a:pt x="168" y="596"/>
                    </a:lnTo>
                    <a:lnTo>
                      <a:pt x="143" y="605"/>
                    </a:lnTo>
                    <a:lnTo>
                      <a:pt x="117" y="607"/>
                    </a:lnTo>
                    <a:lnTo>
                      <a:pt x="90" y="605"/>
                    </a:lnTo>
                    <a:lnTo>
                      <a:pt x="66" y="596"/>
                    </a:lnTo>
                    <a:lnTo>
                      <a:pt x="44" y="583"/>
                    </a:lnTo>
                    <a:lnTo>
                      <a:pt x="26" y="565"/>
                    </a:lnTo>
                    <a:lnTo>
                      <a:pt x="13" y="544"/>
                    </a:lnTo>
                    <a:lnTo>
                      <a:pt x="4" y="520"/>
                    </a:lnTo>
                    <a:lnTo>
                      <a:pt x="0" y="494"/>
                    </a:lnTo>
                    <a:lnTo>
                      <a:pt x="0" y="114"/>
                    </a:lnTo>
                    <a:lnTo>
                      <a:pt x="4" y="88"/>
                    </a:lnTo>
                    <a:lnTo>
                      <a:pt x="13" y="64"/>
                    </a:lnTo>
                    <a:lnTo>
                      <a:pt x="26" y="43"/>
                    </a:lnTo>
                    <a:lnTo>
                      <a:pt x="44" y="25"/>
                    </a:lnTo>
                    <a:lnTo>
                      <a:pt x="66" y="12"/>
                    </a:lnTo>
                    <a:lnTo>
                      <a:pt x="90" y="3"/>
                    </a:lnTo>
                    <a:lnTo>
                      <a:pt x="11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3" name="Freeform 169"/>
              <p:cNvSpPr>
                <a:spLocks/>
              </p:cNvSpPr>
              <p:nvPr/>
            </p:nvSpPr>
            <p:spPr bwMode="auto">
              <a:xfrm>
                <a:off x="-1734" y="3699"/>
                <a:ext cx="46" cy="152"/>
              </a:xfrm>
              <a:custGeom>
                <a:avLst/>
                <a:gdLst>
                  <a:gd name="T0" fmla="*/ 116 w 232"/>
                  <a:gd name="T1" fmla="*/ 0 h 759"/>
                  <a:gd name="T2" fmla="*/ 142 w 232"/>
                  <a:gd name="T3" fmla="*/ 3 h 759"/>
                  <a:gd name="T4" fmla="*/ 167 w 232"/>
                  <a:gd name="T5" fmla="*/ 12 h 759"/>
                  <a:gd name="T6" fmla="*/ 188 w 232"/>
                  <a:gd name="T7" fmla="*/ 25 h 759"/>
                  <a:gd name="T8" fmla="*/ 207 w 232"/>
                  <a:gd name="T9" fmla="*/ 43 h 759"/>
                  <a:gd name="T10" fmla="*/ 220 w 232"/>
                  <a:gd name="T11" fmla="*/ 64 h 759"/>
                  <a:gd name="T12" fmla="*/ 229 w 232"/>
                  <a:gd name="T13" fmla="*/ 88 h 759"/>
                  <a:gd name="T14" fmla="*/ 232 w 232"/>
                  <a:gd name="T15" fmla="*/ 115 h 759"/>
                  <a:gd name="T16" fmla="*/ 232 w 232"/>
                  <a:gd name="T17" fmla="*/ 646 h 759"/>
                  <a:gd name="T18" fmla="*/ 229 w 232"/>
                  <a:gd name="T19" fmla="*/ 672 h 759"/>
                  <a:gd name="T20" fmla="*/ 220 w 232"/>
                  <a:gd name="T21" fmla="*/ 696 h 759"/>
                  <a:gd name="T22" fmla="*/ 207 w 232"/>
                  <a:gd name="T23" fmla="*/ 717 h 759"/>
                  <a:gd name="T24" fmla="*/ 188 w 232"/>
                  <a:gd name="T25" fmla="*/ 735 h 759"/>
                  <a:gd name="T26" fmla="*/ 167 w 232"/>
                  <a:gd name="T27" fmla="*/ 748 h 759"/>
                  <a:gd name="T28" fmla="*/ 142 w 232"/>
                  <a:gd name="T29" fmla="*/ 757 h 759"/>
                  <a:gd name="T30" fmla="*/ 116 w 232"/>
                  <a:gd name="T31" fmla="*/ 759 h 759"/>
                  <a:gd name="T32" fmla="*/ 89 w 232"/>
                  <a:gd name="T33" fmla="*/ 757 h 759"/>
                  <a:gd name="T34" fmla="*/ 66 w 232"/>
                  <a:gd name="T35" fmla="*/ 748 h 759"/>
                  <a:gd name="T36" fmla="*/ 44 w 232"/>
                  <a:gd name="T37" fmla="*/ 735 h 759"/>
                  <a:gd name="T38" fmla="*/ 26 w 232"/>
                  <a:gd name="T39" fmla="*/ 717 h 759"/>
                  <a:gd name="T40" fmla="*/ 13 w 232"/>
                  <a:gd name="T41" fmla="*/ 696 h 759"/>
                  <a:gd name="T42" fmla="*/ 3 w 232"/>
                  <a:gd name="T43" fmla="*/ 672 h 759"/>
                  <a:gd name="T44" fmla="*/ 0 w 232"/>
                  <a:gd name="T45" fmla="*/ 646 h 759"/>
                  <a:gd name="T46" fmla="*/ 0 w 232"/>
                  <a:gd name="T47" fmla="*/ 115 h 759"/>
                  <a:gd name="T48" fmla="*/ 3 w 232"/>
                  <a:gd name="T49" fmla="*/ 88 h 759"/>
                  <a:gd name="T50" fmla="*/ 13 w 232"/>
                  <a:gd name="T51" fmla="*/ 64 h 759"/>
                  <a:gd name="T52" fmla="*/ 26 w 232"/>
                  <a:gd name="T53" fmla="*/ 43 h 759"/>
                  <a:gd name="T54" fmla="*/ 44 w 232"/>
                  <a:gd name="T55" fmla="*/ 25 h 759"/>
                  <a:gd name="T56" fmla="*/ 66 w 232"/>
                  <a:gd name="T57" fmla="*/ 12 h 759"/>
                  <a:gd name="T58" fmla="*/ 89 w 232"/>
                  <a:gd name="T59" fmla="*/ 3 h 759"/>
                  <a:gd name="T60" fmla="*/ 116 w 232"/>
                  <a:gd name="T61" fmla="*/ 0 h 7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2" h="759">
                    <a:moveTo>
                      <a:pt x="116" y="0"/>
                    </a:moveTo>
                    <a:lnTo>
                      <a:pt x="142" y="3"/>
                    </a:lnTo>
                    <a:lnTo>
                      <a:pt x="167" y="12"/>
                    </a:lnTo>
                    <a:lnTo>
                      <a:pt x="188" y="25"/>
                    </a:lnTo>
                    <a:lnTo>
                      <a:pt x="207" y="43"/>
                    </a:lnTo>
                    <a:lnTo>
                      <a:pt x="220" y="64"/>
                    </a:lnTo>
                    <a:lnTo>
                      <a:pt x="229" y="88"/>
                    </a:lnTo>
                    <a:lnTo>
                      <a:pt x="232" y="115"/>
                    </a:lnTo>
                    <a:lnTo>
                      <a:pt x="232" y="646"/>
                    </a:lnTo>
                    <a:lnTo>
                      <a:pt x="229" y="672"/>
                    </a:lnTo>
                    <a:lnTo>
                      <a:pt x="220" y="696"/>
                    </a:lnTo>
                    <a:lnTo>
                      <a:pt x="207" y="717"/>
                    </a:lnTo>
                    <a:lnTo>
                      <a:pt x="188" y="735"/>
                    </a:lnTo>
                    <a:lnTo>
                      <a:pt x="167" y="748"/>
                    </a:lnTo>
                    <a:lnTo>
                      <a:pt x="142" y="757"/>
                    </a:lnTo>
                    <a:lnTo>
                      <a:pt x="116" y="759"/>
                    </a:lnTo>
                    <a:lnTo>
                      <a:pt x="89" y="757"/>
                    </a:lnTo>
                    <a:lnTo>
                      <a:pt x="66" y="748"/>
                    </a:lnTo>
                    <a:lnTo>
                      <a:pt x="44" y="735"/>
                    </a:lnTo>
                    <a:lnTo>
                      <a:pt x="26" y="717"/>
                    </a:lnTo>
                    <a:lnTo>
                      <a:pt x="13" y="696"/>
                    </a:lnTo>
                    <a:lnTo>
                      <a:pt x="3" y="672"/>
                    </a:lnTo>
                    <a:lnTo>
                      <a:pt x="0" y="646"/>
                    </a:lnTo>
                    <a:lnTo>
                      <a:pt x="0" y="115"/>
                    </a:lnTo>
                    <a:lnTo>
                      <a:pt x="3" y="88"/>
                    </a:lnTo>
                    <a:lnTo>
                      <a:pt x="13" y="64"/>
                    </a:lnTo>
                    <a:lnTo>
                      <a:pt x="26" y="43"/>
                    </a:lnTo>
                    <a:lnTo>
                      <a:pt x="44" y="25"/>
                    </a:lnTo>
                    <a:lnTo>
                      <a:pt x="66" y="12"/>
                    </a:lnTo>
                    <a:lnTo>
                      <a:pt x="89" y="3"/>
                    </a:lnTo>
                    <a:lnTo>
                      <a:pt x="11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4" name="Freeform 170"/>
              <p:cNvSpPr>
                <a:spLocks/>
              </p:cNvSpPr>
              <p:nvPr/>
            </p:nvSpPr>
            <p:spPr bwMode="auto">
              <a:xfrm>
                <a:off x="-1657" y="3669"/>
                <a:ext cx="46" cy="182"/>
              </a:xfrm>
              <a:custGeom>
                <a:avLst/>
                <a:gdLst>
                  <a:gd name="T0" fmla="*/ 115 w 230"/>
                  <a:gd name="T1" fmla="*/ 0 h 911"/>
                  <a:gd name="T2" fmla="*/ 141 w 230"/>
                  <a:gd name="T3" fmla="*/ 3 h 911"/>
                  <a:gd name="T4" fmla="*/ 166 w 230"/>
                  <a:gd name="T5" fmla="*/ 12 h 911"/>
                  <a:gd name="T6" fmla="*/ 187 w 230"/>
                  <a:gd name="T7" fmla="*/ 25 h 911"/>
                  <a:gd name="T8" fmla="*/ 206 w 230"/>
                  <a:gd name="T9" fmla="*/ 43 h 911"/>
                  <a:gd name="T10" fmla="*/ 219 w 230"/>
                  <a:gd name="T11" fmla="*/ 64 h 911"/>
                  <a:gd name="T12" fmla="*/ 227 w 230"/>
                  <a:gd name="T13" fmla="*/ 88 h 911"/>
                  <a:gd name="T14" fmla="*/ 230 w 230"/>
                  <a:gd name="T15" fmla="*/ 114 h 911"/>
                  <a:gd name="T16" fmla="*/ 230 w 230"/>
                  <a:gd name="T17" fmla="*/ 798 h 911"/>
                  <a:gd name="T18" fmla="*/ 227 w 230"/>
                  <a:gd name="T19" fmla="*/ 824 h 911"/>
                  <a:gd name="T20" fmla="*/ 219 w 230"/>
                  <a:gd name="T21" fmla="*/ 848 h 911"/>
                  <a:gd name="T22" fmla="*/ 206 w 230"/>
                  <a:gd name="T23" fmla="*/ 869 h 911"/>
                  <a:gd name="T24" fmla="*/ 187 w 230"/>
                  <a:gd name="T25" fmla="*/ 887 h 911"/>
                  <a:gd name="T26" fmla="*/ 166 w 230"/>
                  <a:gd name="T27" fmla="*/ 900 h 911"/>
                  <a:gd name="T28" fmla="*/ 141 w 230"/>
                  <a:gd name="T29" fmla="*/ 909 h 911"/>
                  <a:gd name="T30" fmla="*/ 115 w 230"/>
                  <a:gd name="T31" fmla="*/ 911 h 911"/>
                  <a:gd name="T32" fmla="*/ 88 w 230"/>
                  <a:gd name="T33" fmla="*/ 909 h 911"/>
                  <a:gd name="T34" fmla="*/ 64 w 230"/>
                  <a:gd name="T35" fmla="*/ 900 h 911"/>
                  <a:gd name="T36" fmla="*/ 42 w 230"/>
                  <a:gd name="T37" fmla="*/ 887 h 911"/>
                  <a:gd name="T38" fmla="*/ 25 w 230"/>
                  <a:gd name="T39" fmla="*/ 869 h 911"/>
                  <a:gd name="T40" fmla="*/ 11 w 230"/>
                  <a:gd name="T41" fmla="*/ 848 h 911"/>
                  <a:gd name="T42" fmla="*/ 3 w 230"/>
                  <a:gd name="T43" fmla="*/ 824 h 911"/>
                  <a:gd name="T44" fmla="*/ 0 w 230"/>
                  <a:gd name="T45" fmla="*/ 798 h 911"/>
                  <a:gd name="T46" fmla="*/ 0 w 230"/>
                  <a:gd name="T47" fmla="*/ 114 h 911"/>
                  <a:gd name="T48" fmla="*/ 3 w 230"/>
                  <a:gd name="T49" fmla="*/ 88 h 911"/>
                  <a:gd name="T50" fmla="*/ 11 w 230"/>
                  <a:gd name="T51" fmla="*/ 64 h 911"/>
                  <a:gd name="T52" fmla="*/ 25 w 230"/>
                  <a:gd name="T53" fmla="*/ 43 h 911"/>
                  <a:gd name="T54" fmla="*/ 42 w 230"/>
                  <a:gd name="T55" fmla="*/ 25 h 911"/>
                  <a:gd name="T56" fmla="*/ 64 w 230"/>
                  <a:gd name="T57" fmla="*/ 12 h 911"/>
                  <a:gd name="T58" fmla="*/ 88 w 230"/>
                  <a:gd name="T59" fmla="*/ 3 h 911"/>
                  <a:gd name="T60" fmla="*/ 115 w 230"/>
                  <a:gd name="T61" fmla="*/ 0 h 9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0" h="911">
                    <a:moveTo>
                      <a:pt x="115" y="0"/>
                    </a:moveTo>
                    <a:lnTo>
                      <a:pt x="141" y="3"/>
                    </a:lnTo>
                    <a:lnTo>
                      <a:pt x="166" y="12"/>
                    </a:lnTo>
                    <a:lnTo>
                      <a:pt x="187" y="25"/>
                    </a:lnTo>
                    <a:lnTo>
                      <a:pt x="206" y="43"/>
                    </a:lnTo>
                    <a:lnTo>
                      <a:pt x="219" y="64"/>
                    </a:lnTo>
                    <a:lnTo>
                      <a:pt x="227" y="88"/>
                    </a:lnTo>
                    <a:lnTo>
                      <a:pt x="230" y="114"/>
                    </a:lnTo>
                    <a:lnTo>
                      <a:pt x="230" y="798"/>
                    </a:lnTo>
                    <a:lnTo>
                      <a:pt x="227" y="824"/>
                    </a:lnTo>
                    <a:lnTo>
                      <a:pt x="219" y="848"/>
                    </a:lnTo>
                    <a:lnTo>
                      <a:pt x="206" y="869"/>
                    </a:lnTo>
                    <a:lnTo>
                      <a:pt x="187" y="887"/>
                    </a:lnTo>
                    <a:lnTo>
                      <a:pt x="166" y="900"/>
                    </a:lnTo>
                    <a:lnTo>
                      <a:pt x="141" y="909"/>
                    </a:lnTo>
                    <a:lnTo>
                      <a:pt x="115" y="911"/>
                    </a:lnTo>
                    <a:lnTo>
                      <a:pt x="88" y="909"/>
                    </a:lnTo>
                    <a:lnTo>
                      <a:pt x="64" y="900"/>
                    </a:lnTo>
                    <a:lnTo>
                      <a:pt x="42" y="887"/>
                    </a:lnTo>
                    <a:lnTo>
                      <a:pt x="25" y="869"/>
                    </a:lnTo>
                    <a:lnTo>
                      <a:pt x="11" y="848"/>
                    </a:lnTo>
                    <a:lnTo>
                      <a:pt x="3" y="824"/>
                    </a:lnTo>
                    <a:lnTo>
                      <a:pt x="0" y="798"/>
                    </a:lnTo>
                    <a:lnTo>
                      <a:pt x="0" y="114"/>
                    </a:lnTo>
                    <a:lnTo>
                      <a:pt x="3" y="88"/>
                    </a:lnTo>
                    <a:lnTo>
                      <a:pt x="11" y="64"/>
                    </a:lnTo>
                    <a:lnTo>
                      <a:pt x="25" y="43"/>
                    </a:lnTo>
                    <a:lnTo>
                      <a:pt x="42" y="25"/>
                    </a:lnTo>
                    <a:lnTo>
                      <a:pt x="64" y="12"/>
                    </a:lnTo>
                    <a:lnTo>
                      <a:pt x="88" y="3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5" name="Freeform 171"/>
              <p:cNvSpPr>
                <a:spLocks/>
              </p:cNvSpPr>
              <p:nvPr/>
            </p:nvSpPr>
            <p:spPr bwMode="auto">
              <a:xfrm>
                <a:off x="-1919" y="3510"/>
                <a:ext cx="679" cy="440"/>
              </a:xfrm>
              <a:custGeom>
                <a:avLst/>
                <a:gdLst>
                  <a:gd name="T0" fmla="*/ 3240 w 3394"/>
                  <a:gd name="T1" fmla="*/ 0 h 2203"/>
                  <a:gd name="T2" fmla="*/ 3300 w 3394"/>
                  <a:gd name="T3" fmla="*/ 11 h 2203"/>
                  <a:gd name="T4" fmla="*/ 3349 w 3394"/>
                  <a:gd name="T5" fmla="*/ 44 h 2203"/>
                  <a:gd name="T6" fmla="*/ 3382 w 3394"/>
                  <a:gd name="T7" fmla="*/ 92 h 2203"/>
                  <a:gd name="T8" fmla="*/ 3394 w 3394"/>
                  <a:gd name="T9" fmla="*/ 152 h 2203"/>
                  <a:gd name="T10" fmla="*/ 3187 w 3394"/>
                  <a:gd name="T11" fmla="*/ 1669 h 2203"/>
                  <a:gd name="T12" fmla="*/ 3245 w 3394"/>
                  <a:gd name="T13" fmla="*/ 1543 h 2203"/>
                  <a:gd name="T14" fmla="*/ 3281 w 3394"/>
                  <a:gd name="T15" fmla="*/ 1409 h 2203"/>
                  <a:gd name="T16" fmla="*/ 3294 w 3394"/>
                  <a:gd name="T17" fmla="*/ 1271 h 2203"/>
                  <a:gd name="T18" fmla="*/ 3282 w 3394"/>
                  <a:gd name="T19" fmla="*/ 1139 h 2203"/>
                  <a:gd name="T20" fmla="*/ 3251 w 3394"/>
                  <a:gd name="T21" fmla="*/ 1012 h 2203"/>
                  <a:gd name="T22" fmla="*/ 3199 w 3394"/>
                  <a:gd name="T23" fmla="*/ 894 h 2203"/>
                  <a:gd name="T24" fmla="*/ 3128 w 3394"/>
                  <a:gd name="T25" fmla="*/ 783 h 2203"/>
                  <a:gd name="T26" fmla="*/ 3085 w 3394"/>
                  <a:gd name="T27" fmla="*/ 304 h 2203"/>
                  <a:gd name="T28" fmla="*/ 309 w 3394"/>
                  <a:gd name="T29" fmla="*/ 1899 h 2203"/>
                  <a:gd name="T30" fmla="*/ 1989 w 3394"/>
                  <a:gd name="T31" fmla="*/ 1937 h 2203"/>
                  <a:gd name="T32" fmla="*/ 2097 w 3394"/>
                  <a:gd name="T33" fmla="*/ 2001 h 2203"/>
                  <a:gd name="T34" fmla="*/ 2214 w 3394"/>
                  <a:gd name="T35" fmla="*/ 2048 h 2203"/>
                  <a:gd name="T36" fmla="*/ 2338 w 3394"/>
                  <a:gd name="T37" fmla="*/ 2077 h 2203"/>
                  <a:gd name="T38" fmla="*/ 2465 w 3394"/>
                  <a:gd name="T39" fmla="*/ 2086 h 2203"/>
                  <a:gd name="T40" fmla="*/ 2607 w 3394"/>
                  <a:gd name="T41" fmla="*/ 2074 h 2203"/>
                  <a:gd name="T42" fmla="*/ 2743 w 3394"/>
                  <a:gd name="T43" fmla="*/ 2039 h 2203"/>
                  <a:gd name="T44" fmla="*/ 2871 w 3394"/>
                  <a:gd name="T45" fmla="*/ 1980 h 2203"/>
                  <a:gd name="T46" fmla="*/ 3089 w 3394"/>
                  <a:gd name="T47" fmla="*/ 2195 h 2203"/>
                  <a:gd name="T48" fmla="*/ 3098 w 3394"/>
                  <a:gd name="T49" fmla="*/ 2203 h 2203"/>
                  <a:gd name="T50" fmla="*/ 124 w 3394"/>
                  <a:gd name="T51" fmla="*/ 2199 h 2203"/>
                  <a:gd name="T52" fmla="*/ 69 w 3394"/>
                  <a:gd name="T53" fmla="*/ 2177 h 2203"/>
                  <a:gd name="T54" fmla="*/ 26 w 3394"/>
                  <a:gd name="T55" fmla="*/ 2135 h 2203"/>
                  <a:gd name="T56" fmla="*/ 3 w 3394"/>
                  <a:gd name="T57" fmla="*/ 2081 h 2203"/>
                  <a:gd name="T58" fmla="*/ 0 w 3394"/>
                  <a:gd name="T59" fmla="*/ 152 h 2203"/>
                  <a:gd name="T60" fmla="*/ 12 w 3394"/>
                  <a:gd name="T61" fmla="*/ 93 h 2203"/>
                  <a:gd name="T62" fmla="*/ 46 w 3394"/>
                  <a:gd name="T63" fmla="*/ 44 h 2203"/>
                  <a:gd name="T64" fmla="*/ 95 w 3394"/>
                  <a:gd name="T65" fmla="*/ 11 h 2203"/>
                  <a:gd name="T66" fmla="*/ 155 w 3394"/>
                  <a:gd name="T67" fmla="*/ 0 h 2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394" h="2203">
                    <a:moveTo>
                      <a:pt x="155" y="0"/>
                    </a:moveTo>
                    <a:lnTo>
                      <a:pt x="3240" y="0"/>
                    </a:lnTo>
                    <a:lnTo>
                      <a:pt x="3271" y="3"/>
                    </a:lnTo>
                    <a:lnTo>
                      <a:pt x="3300" y="11"/>
                    </a:lnTo>
                    <a:lnTo>
                      <a:pt x="3326" y="26"/>
                    </a:lnTo>
                    <a:lnTo>
                      <a:pt x="3349" y="44"/>
                    </a:lnTo>
                    <a:lnTo>
                      <a:pt x="3368" y="67"/>
                    </a:lnTo>
                    <a:lnTo>
                      <a:pt x="3382" y="92"/>
                    </a:lnTo>
                    <a:lnTo>
                      <a:pt x="3391" y="121"/>
                    </a:lnTo>
                    <a:lnTo>
                      <a:pt x="3394" y="152"/>
                    </a:lnTo>
                    <a:lnTo>
                      <a:pt x="3394" y="1874"/>
                    </a:lnTo>
                    <a:lnTo>
                      <a:pt x="3187" y="1669"/>
                    </a:lnTo>
                    <a:lnTo>
                      <a:pt x="3219" y="1608"/>
                    </a:lnTo>
                    <a:lnTo>
                      <a:pt x="3245" y="1543"/>
                    </a:lnTo>
                    <a:lnTo>
                      <a:pt x="3266" y="1478"/>
                    </a:lnTo>
                    <a:lnTo>
                      <a:pt x="3281" y="1409"/>
                    </a:lnTo>
                    <a:lnTo>
                      <a:pt x="3291" y="1341"/>
                    </a:lnTo>
                    <a:lnTo>
                      <a:pt x="3294" y="1271"/>
                    </a:lnTo>
                    <a:lnTo>
                      <a:pt x="3291" y="1205"/>
                    </a:lnTo>
                    <a:lnTo>
                      <a:pt x="3282" y="1139"/>
                    </a:lnTo>
                    <a:lnTo>
                      <a:pt x="3269" y="1075"/>
                    </a:lnTo>
                    <a:lnTo>
                      <a:pt x="3251" y="1012"/>
                    </a:lnTo>
                    <a:lnTo>
                      <a:pt x="3227" y="952"/>
                    </a:lnTo>
                    <a:lnTo>
                      <a:pt x="3199" y="894"/>
                    </a:lnTo>
                    <a:lnTo>
                      <a:pt x="3166" y="836"/>
                    </a:lnTo>
                    <a:lnTo>
                      <a:pt x="3128" y="783"/>
                    </a:lnTo>
                    <a:lnTo>
                      <a:pt x="3085" y="732"/>
                    </a:lnTo>
                    <a:lnTo>
                      <a:pt x="3085" y="304"/>
                    </a:lnTo>
                    <a:lnTo>
                      <a:pt x="309" y="304"/>
                    </a:lnTo>
                    <a:lnTo>
                      <a:pt x="309" y="1899"/>
                    </a:lnTo>
                    <a:lnTo>
                      <a:pt x="1938" y="1899"/>
                    </a:lnTo>
                    <a:lnTo>
                      <a:pt x="1989" y="1937"/>
                    </a:lnTo>
                    <a:lnTo>
                      <a:pt x="2042" y="1971"/>
                    </a:lnTo>
                    <a:lnTo>
                      <a:pt x="2097" y="2001"/>
                    </a:lnTo>
                    <a:lnTo>
                      <a:pt x="2155" y="2027"/>
                    </a:lnTo>
                    <a:lnTo>
                      <a:pt x="2214" y="2048"/>
                    </a:lnTo>
                    <a:lnTo>
                      <a:pt x="2275" y="2064"/>
                    </a:lnTo>
                    <a:lnTo>
                      <a:pt x="2338" y="2077"/>
                    </a:lnTo>
                    <a:lnTo>
                      <a:pt x="2401" y="2084"/>
                    </a:lnTo>
                    <a:lnTo>
                      <a:pt x="2465" y="2086"/>
                    </a:lnTo>
                    <a:lnTo>
                      <a:pt x="2537" y="2083"/>
                    </a:lnTo>
                    <a:lnTo>
                      <a:pt x="2607" y="2074"/>
                    </a:lnTo>
                    <a:lnTo>
                      <a:pt x="2675" y="2059"/>
                    </a:lnTo>
                    <a:lnTo>
                      <a:pt x="2743" y="2039"/>
                    </a:lnTo>
                    <a:lnTo>
                      <a:pt x="2808" y="2012"/>
                    </a:lnTo>
                    <a:lnTo>
                      <a:pt x="2871" y="1980"/>
                    </a:lnTo>
                    <a:lnTo>
                      <a:pt x="3085" y="2191"/>
                    </a:lnTo>
                    <a:lnTo>
                      <a:pt x="3089" y="2195"/>
                    </a:lnTo>
                    <a:lnTo>
                      <a:pt x="3094" y="2198"/>
                    </a:lnTo>
                    <a:lnTo>
                      <a:pt x="3098" y="2203"/>
                    </a:lnTo>
                    <a:lnTo>
                      <a:pt x="155" y="2203"/>
                    </a:lnTo>
                    <a:lnTo>
                      <a:pt x="124" y="2199"/>
                    </a:lnTo>
                    <a:lnTo>
                      <a:pt x="95" y="2190"/>
                    </a:lnTo>
                    <a:lnTo>
                      <a:pt x="69" y="2177"/>
                    </a:lnTo>
                    <a:lnTo>
                      <a:pt x="46" y="2158"/>
                    </a:lnTo>
                    <a:lnTo>
                      <a:pt x="26" y="2135"/>
                    </a:lnTo>
                    <a:lnTo>
                      <a:pt x="12" y="2109"/>
                    </a:lnTo>
                    <a:lnTo>
                      <a:pt x="3" y="2081"/>
                    </a:lnTo>
                    <a:lnTo>
                      <a:pt x="0" y="2051"/>
                    </a:lnTo>
                    <a:lnTo>
                      <a:pt x="0" y="152"/>
                    </a:lnTo>
                    <a:lnTo>
                      <a:pt x="3" y="121"/>
                    </a:lnTo>
                    <a:lnTo>
                      <a:pt x="12" y="93"/>
                    </a:lnTo>
                    <a:lnTo>
                      <a:pt x="26" y="67"/>
                    </a:lnTo>
                    <a:lnTo>
                      <a:pt x="46" y="44"/>
                    </a:lnTo>
                    <a:lnTo>
                      <a:pt x="69" y="26"/>
                    </a:lnTo>
                    <a:lnTo>
                      <a:pt x="95" y="11"/>
                    </a:lnTo>
                    <a:lnTo>
                      <a:pt x="124" y="3"/>
                    </a:lnTo>
                    <a:lnTo>
                      <a:pt x="1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6" name="Freeform 172"/>
              <p:cNvSpPr>
                <a:spLocks noEditPoints="1"/>
              </p:cNvSpPr>
              <p:nvPr/>
            </p:nvSpPr>
            <p:spPr bwMode="auto">
              <a:xfrm>
                <a:off x="-1561" y="3631"/>
                <a:ext cx="304" cy="299"/>
              </a:xfrm>
              <a:custGeom>
                <a:avLst/>
                <a:gdLst>
                  <a:gd name="T0" fmla="*/ 568 w 1520"/>
                  <a:gd name="T1" fmla="*/ 146 h 1495"/>
                  <a:gd name="T2" fmla="*/ 422 w 1520"/>
                  <a:gd name="T3" fmla="*/ 198 h 1495"/>
                  <a:gd name="T4" fmla="*/ 295 w 1520"/>
                  <a:gd name="T5" fmla="*/ 291 h 1495"/>
                  <a:gd name="T6" fmla="*/ 202 w 1520"/>
                  <a:gd name="T7" fmla="*/ 415 h 1495"/>
                  <a:gd name="T8" fmla="*/ 149 w 1520"/>
                  <a:gd name="T9" fmla="*/ 560 h 1495"/>
                  <a:gd name="T10" fmla="*/ 141 w 1520"/>
                  <a:gd name="T11" fmla="*/ 715 h 1495"/>
                  <a:gd name="T12" fmla="*/ 179 w 1520"/>
                  <a:gd name="T13" fmla="*/ 865 h 1495"/>
                  <a:gd name="T14" fmla="*/ 260 w 1520"/>
                  <a:gd name="T15" fmla="*/ 997 h 1495"/>
                  <a:gd name="T16" fmla="*/ 377 w 1520"/>
                  <a:gd name="T17" fmla="*/ 1101 h 1495"/>
                  <a:gd name="T18" fmla="*/ 518 w 1520"/>
                  <a:gd name="T19" fmla="*/ 1168 h 1495"/>
                  <a:gd name="T20" fmla="*/ 673 w 1520"/>
                  <a:gd name="T21" fmla="*/ 1190 h 1495"/>
                  <a:gd name="T22" fmla="*/ 829 w 1520"/>
                  <a:gd name="T23" fmla="*/ 1168 h 1495"/>
                  <a:gd name="T24" fmla="*/ 971 w 1520"/>
                  <a:gd name="T25" fmla="*/ 1101 h 1495"/>
                  <a:gd name="T26" fmla="*/ 1088 w 1520"/>
                  <a:gd name="T27" fmla="*/ 997 h 1495"/>
                  <a:gd name="T28" fmla="*/ 1168 w 1520"/>
                  <a:gd name="T29" fmla="*/ 865 h 1495"/>
                  <a:gd name="T30" fmla="*/ 1207 w 1520"/>
                  <a:gd name="T31" fmla="*/ 715 h 1495"/>
                  <a:gd name="T32" fmla="*/ 1198 w 1520"/>
                  <a:gd name="T33" fmla="*/ 560 h 1495"/>
                  <a:gd name="T34" fmla="*/ 1146 w 1520"/>
                  <a:gd name="T35" fmla="*/ 415 h 1495"/>
                  <a:gd name="T36" fmla="*/ 1053 w 1520"/>
                  <a:gd name="T37" fmla="*/ 291 h 1495"/>
                  <a:gd name="T38" fmla="*/ 926 w 1520"/>
                  <a:gd name="T39" fmla="*/ 198 h 1495"/>
                  <a:gd name="T40" fmla="*/ 779 w 1520"/>
                  <a:gd name="T41" fmla="*/ 146 h 1495"/>
                  <a:gd name="T42" fmla="*/ 673 w 1520"/>
                  <a:gd name="T43" fmla="*/ 0 h 1495"/>
                  <a:gd name="T44" fmla="*/ 849 w 1520"/>
                  <a:gd name="T45" fmla="*/ 23 h 1495"/>
                  <a:gd name="T46" fmla="*/ 1010 w 1520"/>
                  <a:gd name="T47" fmla="*/ 88 h 1495"/>
                  <a:gd name="T48" fmla="*/ 1151 w 1520"/>
                  <a:gd name="T49" fmla="*/ 195 h 1495"/>
                  <a:gd name="T50" fmla="*/ 1258 w 1520"/>
                  <a:gd name="T51" fmla="*/ 332 h 1495"/>
                  <a:gd name="T52" fmla="*/ 1324 w 1520"/>
                  <a:gd name="T53" fmla="*/ 490 h 1495"/>
                  <a:gd name="T54" fmla="*/ 1347 w 1520"/>
                  <a:gd name="T55" fmla="*/ 663 h 1495"/>
                  <a:gd name="T56" fmla="*/ 1322 w 1520"/>
                  <a:gd name="T57" fmla="*/ 841 h 1495"/>
                  <a:gd name="T58" fmla="*/ 1251 w 1520"/>
                  <a:gd name="T59" fmla="*/ 1004 h 1495"/>
                  <a:gd name="T60" fmla="*/ 1211 w 1520"/>
                  <a:gd name="T61" fmla="*/ 1132 h 1495"/>
                  <a:gd name="T62" fmla="*/ 1256 w 1520"/>
                  <a:gd name="T63" fmla="*/ 1142 h 1495"/>
                  <a:gd name="T64" fmla="*/ 1511 w 1520"/>
                  <a:gd name="T65" fmla="*/ 1395 h 1495"/>
                  <a:gd name="T66" fmla="*/ 1517 w 1520"/>
                  <a:gd name="T67" fmla="*/ 1445 h 1495"/>
                  <a:gd name="T68" fmla="*/ 1485 w 1520"/>
                  <a:gd name="T69" fmla="*/ 1487 h 1495"/>
                  <a:gd name="T70" fmla="*/ 1433 w 1520"/>
                  <a:gd name="T71" fmla="*/ 1493 h 1495"/>
                  <a:gd name="T72" fmla="*/ 1170 w 1520"/>
                  <a:gd name="T73" fmla="*/ 1248 h 1495"/>
                  <a:gd name="T74" fmla="*/ 1151 w 1520"/>
                  <a:gd name="T75" fmla="*/ 1208 h 1495"/>
                  <a:gd name="T76" fmla="*/ 1070 w 1520"/>
                  <a:gd name="T77" fmla="*/ 1198 h 1495"/>
                  <a:gd name="T78" fmla="*/ 911 w 1520"/>
                  <a:gd name="T79" fmla="*/ 1283 h 1495"/>
                  <a:gd name="T80" fmla="*/ 735 w 1520"/>
                  <a:gd name="T81" fmla="*/ 1323 h 1495"/>
                  <a:gd name="T82" fmla="*/ 556 w 1520"/>
                  <a:gd name="T83" fmla="*/ 1316 h 1495"/>
                  <a:gd name="T84" fmla="*/ 390 w 1520"/>
                  <a:gd name="T85" fmla="*/ 1264 h 1495"/>
                  <a:gd name="T86" fmla="*/ 242 w 1520"/>
                  <a:gd name="T87" fmla="*/ 1172 h 1495"/>
                  <a:gd name="T88" fmla="*/ 122 w 1520"/>
                  <a:gd name="T89" fmla="*/ 1043 h 1495"/>
                  <a:gd name="T90" fmla="*/ 40 w 1520"/>
                  <a:gd name="T91" fmla="*/ 890 h 1495"/>
                  <a:gd name="T92" fmla="*/ 3 w 1520"/>
                  <a:gd name="T93" fmla="*/ 722 h 1495"/>
                  <a:gd name="T94" fmla="*/ 10 w 1520"/>
                  <a:gd name="T95" fmla="*/ 547 h 1495"/>
                  <a:gd name="T96" fmla="*/ 63 w 1520"/>
                  <a:gd name="T97" fmla="*/ 383 h 1495"/>
                  <a:gd name="T98" fmla="*/ 157 w 1520"/>
                  <a:gd name="T99" fmla="*/ 238 h 1495"/>
                  <a:gd name="T100" fmla="*/ 288 w 1520"/>
                  <a:gd name="T101" fmla="*/ 119 h 1495"/>
                  <a:gd name="T102" fmla="*/ 443 w 1520"/>
                  <a:gd name="T103" fmla="*/ 40 h 1495"/>
                  <a:gd name="T104" fmla="*/ 614 w 1520"/>
                  <a:gd name="T105" fmla="*/ 2 h 1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20" h="1495">
                    <a:moveTo>
                      <a:pt x="673" y="136"/>
                    </a:moveTo>
                    <a:lnTo>
                      <a:pt x="620" y="138"/>
                    </a:lnTo>
                    <a:lnTo>
                      <a:pt x="568" y="146"/>
                    </a:lnTo>
                    <a:lnTo>
                      <a:pt x="518" y="159"/>
                    </a:lnTo>
                    <a:lnTo>
                      <a:pt x="469" y="176"/>
                    </a:lnTo>
                    <a:lnTo>
                      <a:pt x="422" y="198"/>
                    </a:lnTo>
                    <a:lnTo>
                      <a:pt x="377" y="224"/>
                    </a:lnTo>
                    <a:lnTo>
                      <a:pt x="335" y="255"/>
                    </a:lnTo>
                    <a:lnTo>
                      <a:pt x="295" y="291"/>
                    </a:lnTo>
                    <a:lnTo>
                      <a:pt x="260" y="330"/>
                    </a:lnTo>
                    <a:lnTo>
                      <a:pt x="229" y="371"/>
                    </a:lnTo>
                    <a:lnTo>
                      <a:pt x="202" y="415"/>
                    </a:lnTo>
                    <a:lnTo>
                      <a:pt x="179" y="462"/>
                    </a:lnTo>
                    <a:lnTo>
                      <a:pt x="161" y="510"/>
                    </a:lnTo>
                    <a:lnTo>
                      <a:pt x="149" y="560"/>
                    </a:lnTo>
                    <a:lnTo>
                      <a:pt x="141" y="611"/>
                    </a:lnTo>
                    <a:lnTo>
                      <a:pt x="138" y="663"/>
                    </a:lnTo>
                    <a:lnTo>
                      <a:pt x="141" y="715"/>
                    </a:lnTo>
                    <a:lnTo>
                      <a:pt x="149" y="767"/>
                    </a:lnTo>
                    <a:lnTo>
                      <a:pt x="161" y="817"/>
                    </a:lnTo>
                    <a:lnTo>
                      <a:pt x="179" y="865"/>
                    </a:lnTo>
                    <a:lnTo>
                      <a:pt x="202" y="911"/>
                    </a:lnTo>
                    <a:lnTo>
                      <a:pt x="229" y="955"/>
                    </a:lnTo>
                    <a:lnTo>
                      <a:pt x="260" y="997"/>
                    </a:lnTo>
                    <a:lnTo>
                      <a:pt x="295" y="1036"/>
                    </a:lnTo>
                    <a:lnTo>
                      <a:pt x="335" y="1071"/>
                    </a:lnTo>
                    <a:lnTo>
                      <a:pt x="377" y="1101"/>
                    </a:lnTo>
                    <a:lnTo>
                      <a:pt x="422" y="1128"/>
                    </a:lnTo>
                    <a:lnTo>
                      <a:pt x="469" y="1150"/>
                    </a:lnTo>
                    <a:lnTo>
                      <a:pt x="518" y="1168"/>
                    </a:lnTo>
                    <a:lnTo>
                      <a:pt x="568" y="1180"/>
                    </a:lnTo>
                    <a:lnTo>
                      <a:pt x="620" y="1187"/>
                    </a:lnTo>
                    <a:lnTo>
                      <a:pt x="673" y="1190"/>
                    </a:lnTo>
                    <a:lnTo>
                      <a:pt x="726" y="1187"/>
                    </a:lnTo>
                    <a:lnTo>
                      <a:pt x="779" y="1180"/>
                    </a:lnTo>
                    <a:lnTo>
                      <a:pt x="829" y="1168"/>
                    </a:lnTo>
                    <a:lnTo>
                      <a:pt x="879" y="1150"/>
                    </a:lnTo>
                    <a:lnTo>
                      <a:pt x="926" y="1128"/>
                    </a:lnTo>
                    <a:lnTo>
                      <a:pt x="971" y="1101"/>
                    </a:lnTo>
                    <a:lnTo>
                      <a:pt x="1013" y="1071"/>
                    </a:lnTo>
                    <a:lnTo>
                      <a:pt x="1053" y="1036"/>
                    </a:lnTo>
                    <a:lnTo>
                      <a:pt x="1088" y="997"/>
                    </a:lnTo>
                    <a:lnTo>
                      <a:pt x="1119" y="955"/>
                    </a:lnTo>
                    <a:lnTo>
                      <a:pt x="1146" y="911"/>
                    </a:lnTo>
                    <a:lnTo>
                      <a:pt x="1168" y="865"/>
                    </a:lnTo>
                    <a:lnTo>
                      <a:pt x="1186" y="817"/>
                    </a:lnTo>
                    <a:lnTo>
                      <a:pt x="1198" y="767"/>
                    </a:lnTo>
                    <a:lnTo>
                      <a:pt x="1207" y="715"/>
                    </a:lnTo>
                    <a:lnTo>
                      <a:pt x="1209" y="663"/>
                    </a:lnTo>
                    <a:lnTo>
                      <a:pt x="1207" y="611"/>
                    </a:lnTo>
                    <a:lnTo>
                      <a:pt x="1198" y="560"/>
                    </a:lnTo>
                    <a:lnTo>
                      <a:pt x="1186" y="510"/>
                    </a:lnTo>
                    <a:lnTo>
                      <a:pt x="1168" y="462"/>
                    </a:lnTo>
                    <a:lnTo>
                      <a:pt x="1146" y="415"/>
                    </a:lnTo>
                    <a:lnTo>
                      <a:pt x="1119" y="371"/>
                    </a:lnTo>
                    <a:lnTo>
                      <a:pt x="1088" y="330"/>
                    </a:lnTo>
                    <a:lnTo>
                      <a:pt x="1053" y="291"/>
                    </a:lnTo>
                    <a:lnTo>
                      <a:pt x="1013" y="255"/>
                    </a:lnTo>
                    <a:lnTo>
                      <a:pt x="971" y="224"/>
                    </a:lnTo>
                    <a:lnTo>
                      <a:pt x="926" y="198"/>
                    </a:lnTo>
                    <a:lnTo>
                      <a:pt x="879" y="176"/>
                    </a:lnTo>
                    <a:lnTo>
                      <a:pt x="829" y="159"/>
                    </a:lnTo>
                    <a:lnTo>
                      <a:pt x="779" y="146"/>
                    </a:lnTo>
                    <a:lnTo>
                      <a:pt x="726" y="138"/>
                    </a:lnTo>
                    <a:lnTo>
                      <a:pt x="673" y="136"/>
                    </a:lnTo>
                    <a:close/>
                    <a:moveTo>
                      <a:pt x="673" y="0"/>
                    </a:moveTo>
                    <a:lnTo>
                      <a:pt x="734" y="2"/>
                    </a:lnTo>
                    <a:lnTo>
                      <a:pt x="792" y="10"/>
                    </a:lnTo>
                    <a:lnTo>
                      <a:pt x="849" y="23"/>
                    </a:lnTo>
                    <a:lnTo>
                      <a:pt x="904" y="40"/>
                    </a:lnTo>
                    <a:lnTo>
                      <a:pt x="958" y="61"/>
                    </a:lnTo>
                    <a:lnTo>
                      <a:pt x="1010" y="88"/>
                    </a:lnTo>
                    <a:lnTo>
                      <a:pt x="1059" y="119"/>
                    </a:lnTo>
                    <a:lnTo>
                      <a:pt x="1106" y="155"/>
                    </a:lnTo>
                    <a:lnTo>
                      <a:pt x="1151" y="195"/>
                    </a:lnTo>
                    <a:lnTo>
                      <a:pt x="1190" y="238"/>
                    </a:lnTo>
                    <a:lnTo>
                      <a:pt x="1226" y="284"/>
                    </a:lnTo>
                    <a:lnTo>
                      <a:pt x="1258" y="332"/>
                    </a:lnTo>
                    <a:lnTo>
                      <a:pt x="1285" y="383"/>
                    </a:lnTo>
                    <a:lnTo>
                      <a:pt x="1306" y="436"/>
                    </a:lnTo>
                    <a:lnTo>
                      <a:pt x="1324" y="490"/>
                    </a:lnTo>
                    <a:lnTo>
                      <a:pt x="1337" y="547"/>
                    </a:lnTo>
                    <a:lnTo>
                      <a:pt x="1345" y="604"/>
                    </a:lnTo>
                    <a:lnTo>
                      <a:pt x="1347" y="663"/>
                    </a:lnTo>
                    <a:lnTo>
                      <a:pt x="1344" y="724"/>
                    </a:lnTo>
                    <a:lnTo>
                      <a:pt x="1337" y="783"/>
                    </a:lnTo>
                    <a:lnTo>
                      <a:pt x="1322" y="841"/>
                    </a:lnTo>
                    <a:lnTo>
                      <a:pt x="1303" y="898"/>
                    </a:lnTo>
                    <a:lnTo>
                      <a:pt x="1279" y="952"/>
                    </a:lnTo>
                    <a:lnTo>
                      <a:pt x="1251" y="1004"/>
                    </a:lnTo>
                    <a:lnTo>
                      <a:pt x="1217" y="1053"/>
                    </a:lnTo>
                    <a:lnTo>
                      <a:pt x="1179" y="1100"/>
                    </a:lnTo>
                    <a:lnTo>
                      <a:pt x="1211" y="1132"/>
                    </a:lnTo>
                    <a:lnTo>
                      <a:pt x="1226" y="1132"/>
                    </a:lnTo>
                    <a:lnTo>
                      <a:pt x="1241" y="1135"/>
                    </a:lnTo>
                    <a:lnTo>
                      <a:pt x="1256" y="1142"/>
                    </a:lnTo>
                    <a:lnTo>
                      <a:pt x="1268" y="1151"/>
                    </a:lnTo>
                    <a:lnTo>
                      <a:pt x="1500" y="1381"/>
                    </a:lnTo>
                    <a:lnTo>
                      <a:pt x="1511" y="1395"/>
                    </a:lnTo>
                    <a:lnTo>
                      <a:pt x="1517" y="1411"/>
                    </a:lnTo>
                    <a:lnTo>
                      <a:pt x="1520" y="1428"/>
                    </a:lnTo>
                    <a:lnTo>
                      <a:pt x="1517" y="1445"/>
                    </a:lnTo>
                    <a:lnTo>
                      <a:pt x="1511" y="1462"/>
                    </a:lnTo>
                    <a:lnTo>
                      <a:pt x="1500" y="1476"/>
                    </a:lnTo>
                    <a:lnTo>
                      <a:pt x="1485" y="1487"/>
                    </a:lnTo>
                    <a:lnTo>
                      <a:pt x="1469" y="1493"/>
                    </a:lnTo>
                    <a:lnTo>
                      <a:pt x="1451" y="1495"/>
                    </a:lnTo>
                    <a:lnTo>
                      <a:pt x="1433" y="1493"/>
                    </a:lnTo>
                    <a:lnTo>
                      <a:pt x="1417" y="1487"/>
                    </a:lnTo>
                    <a:lnTo>
                      <a:pt x="1402" y="1476"/>
                    </a:lnTo>
                    <a:lnTo>
                      <a:pt x="1170" y="1248"/>
                    </a:lnTo>
                    <a:lnTo>
                      <a:pt x="1160" y="1235"/>
                    </a:lnTo>
                    <a:lnTo>
                      <a:pt x="1154" y="1222"/>
                    </a:lnTo>
                    <a:lnTo>
                      <a:pt x="1151" y="1208"/>
                    </a:lnTo>
                    <a:lnTo>
                      <a:pt x="1151" y="1192"/>
                    </a:lnTo>
                    <a:lnTo>
                      <a:pt x="1118" y="1161"/>
                    </a:lnTo>
                    <a:lnTo>
                      <a:pt x="1070" y="1198"/>
                    </a:lnTo>
                    <a:lnTo>
                      <a:pt x="1020" y="1231"/>
                    </a:lnTo>
                    <a:lnTo>
                      <a:pt x="967" y="1260"/>
                    </a:lnTo>
                    <a:lnTo>
                      <a:pt x="911" y="1283"/>
                    </a:lnTo>
                    <a:lnTo>
                      <a:pt x="854" y="1302"/>
                    </a:lnTo>
                    <a:lnTo>
                      <a:pt x="796" y="1315"/>
                    </a:lnTo>
                    <a:lnTo>
                      <a:pt x="735" y="1323"/>
                    </a:lnTo>
                    <a:lnTo>
                      <a:pt x="673" y="1326"/>
                    </a:lnTo>
                    <a:lnTo>
                      <a:pt x="614" y="1323"/>
                    </a:lnTo>
                    <a:lnTo>
                      <a:pt x="556" y="1316"/>
                    </a:lnTo>
                    <a:lnTo>
                      <a:pt x="499" y="1304"/>
                    </a:lnTo>
                    <a:lnTo>
                      <a:pt x="443" y="1287"/>
                    </a:lnTo>
                    <a:lnTo>
                      <a:pt x="390" y="1264"/>
                    </a:lnTo>
                    <a:lnTo>
                      <a:pt x="338" y="1238"/>
                    </a:lnTo>
                    <a:lnTo>
                      <a:pt x="288" y="1207"/>
                    </a:lnTo>
                    <a:lnTo>
                      <a:pt x="242" y="1172"/>
                    </a:lnTo>
                    <a:lnTo>
                      <a:pt x="197" y="1132"/>
                    </a:lnTo>
                    <a:lnTo>
                      <a:pt x="157" y="1089"/>
                    </a:lnTo>
                    <a:lnTo>
                      <a:pt x="122" y="1043"/>
                    </a:lnTo>
                    <a:lnTo>
                      <a:pt x="90" y="994"/>
                    </a:lnTo>
                    <a:lnTo>
                      <a:pt x="63" y="943"/>
                    </a:lnTo>
                    <a:lnTo>
                      <a:pt x="40" y="890"/>
                    </a:lnTo>
                    <a:lnTo>
                      <a:pt x="23" y="835"/>
                    </a:lnTo>
                    <a:lnTo>
                      <a:pt x="10" y="779"/>
                    </a:lnTo>
                    <a:lnTo>
                      <a:pt x="3" y="722"/>
                    </a:lnTo>
                    <a:lnTo>
                      <a:pt x="0" y="663"/>
                    </a:lnTo>
                    <a:lnTo>
                      <a:pt x="3" y="604"/>
                    </a:lnTo>
                    <a:lnTo>
                      <a:pt x="10" y="547"/>
                    </a:lnTo>
                    <a:lnTo>
                      <a:pt x="23" y="490"/>
                    </a:lnTo>
                    <a:lnTo>
                      <a:pt x="40" y="436"/>
                    </a:lnTo>
                    <a:lnTo>
                      <a:pt x="63" y="383"/>
                    </a:lnTo>
                    <a:lnTo>
                      <a:pt x="90" y="332"/>
                    </a:lnTo>
                    <a:lnTo>
                      <a:pt x="122" y="284"/>
                    </a:lnTo>
                    <a:lnTo>
                      <a:pt x="157" y="238"/>
                    </a:lnTo>
                    <a:lnTo>
                      <a:pt x="197" y="195"/>
                    </a:lnTo>
                    <a:lnTo>
                      <a:pt x="242" y="155"/>
                    </a:lnTo>
                    <a:lnTo>
                      <a:pt x="288" y="119"/>
                    </a:lnTo>
                    <a:lnTo>
                      <a:pt x="338" y="88"/>
                    </a:lnTo>
                    <a:lnTo>
                      <a:pt x="390" y="61"/>
                    </a:lnTo>
                    <a:lnTo>
                      <a:pt x="443" y="40"/>
                    </a:lnTo>
                    <a:lnTo>
                      <a:pt x="499" y="23"/>
                    </a:lnTo>
                    <a:lnTo>
                      <a:pt x="556" y="10"/>
                    </a:lnTo>
                    <a:lnTo>
                      <a:pt x="614" y="2"/>
                    </a:lnTo>
                    <a:lnTo>
                      <a:pt x="6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6" name="Group 5"/>
          <p:cNvGrpSpPr/>
          <p:nvPr/>
        </p:nvGrpSpPr>
        <p:grpSpPr>
          <a:xfrm>
            <a:off x="147993" y="5358733"/>
            <a:ext cx="727877" cy="569811"/>
            <a:chOff x="147993" y="5251716"/>
            <a:chExt cx="727877" cy="569811"/>
          </a:xfrm>
        </p:grpSpPr>
        <p:sp>
          <p:nvSpPr>
            <p:cNvPr id="37" name="Rectangle 17"/>
            <p:cNvSpPr>
              <a:spLocks/>
            </p:cNvSpPr>
            <p:nvPr/>
          </p:nvSpPr>
          <p:spPr bwMode="auto">
            <a:xfrm>
              <a:off x="147993" y="5544528"/>
              <a:ext cx="7278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900" i="1" dirty="0" smtClean="0">
                  <a:solidFill>
                    <a:schemeClr val="bg1"/>
                  </a:solidFill>
                  <a:latin typeface="+mj-lt"/>
                  <a:sym typeface="Helvetica Neue" charset="0"/>
                </a:rPr>
                <a:t>Внешние данные</a:t>
              </a:r>
              <a:endParaRPr lang="ru-RU" sz="900" i="1" dirty="0">
                <a:solidFill>
                  <a:schemeClr val="bg1"/>
                </a:solidFill>
                <a:latin typeface="+mj-lt"/>
                <a:ea typeface="ＭＳ Ｐゴシック" charset="0"/>
                <a:cs typeface="Georgia"/>
                <a:sym typeface="Helvetica Neue" charset="0"/>
              </a:endParaRPr>
            </a:p>
          </p:txBody>
        </p:sp>
        <p:grpSp>
          <p:nvGrpSpPr>
            <p:cNvPr id="107" name="Group 201"/>
            <p:cNvGrpSpPr>
              <a:grpSpLocks noChangeAspect="1"/>
            </p:cNvGrpSpPr>
            <p:nvPr/>
          </p:nvGrpSpPr>
          <p:grpSpPr bwMode="auto">
            <a:xfrm>
              <a:off x="384916" y="5251716"/>
              <a:ext cx="202275" cy="226804"/>
              <a:chOff x="4176" y="3243"/>
              <a:chExt cx="602" cy="675"/>
            </a:xfrm>
            <a:solidFill>
              <a:schemeClr val="bg1"/>
            </a:solidFill>
          </p:grpSpPr>
          <p:sp>
            <p:nvSpPr>
              <p:cNvPr id="108" name="Freeform 203"/>
              <p:cNvSpPr>
                <a:spLocks/>
              </p:cNvSpPr>
              <p:nvPr/>
            </p:nvSpPr>
            <p:spPr bwMode="auto">
              <a:xfrm>
                <a:off x="4184" y="3243"/>
                <a:ext cx="594" cy="675"/>
              </a:xfrm>
              <a:custGeom>
                <a:avLst/>
                <a:gdLst>
                  <a:gd name="T0" fmla="*/ 2818 w 2971"/>
                  <a:gd name="T1" fmla="*/ 0 h 3374"/>
                  <a:gd name="T2" fmla="*/ 2877 w 2971"/>
                  <a:gd name="T3" fmla="*/ 12 h 3374"/>
                  <a:gd name="T4" fmla="*/ 2926 w 2971"/>
                  <a:gd name="T5" fmla="*/ 45 h 3374"/>
                  <a:gd name="T6" fmla="*/ 2958 w 2971"/>
                  <a:gd name="T7" fmla="*/ 93 h 3374"/>
                  <a:gd name="T8" fmla="*/ 2971 w 2971"/>
                  <a:gd name="T9" fmla="*/ 154 h 3374"/>
                  <a:gd name="T10" fmla="*/ 2960 w 2971"/>
                  <a:gd name="T11" fmla="*/ 207 h 3374"/>
                  <a:gd name="T12" fmla="*/ 2934 w 2971"/>
                  <a:gd name="T13" fmla="*/ 252 h 3374"/>
                  <a:gd name="T14" fmla="*/ 2894 w 2971"/>
                  <a:gd name="T15" fmla="*/ 285 h 3374"/>
                  <a:gd name="T16" fmla="*/ 2892 w 2971"/>
                  <a:gd name="T17" fmla="*/ 2091 h 3374"/>
                  <a:gd name="T18" fmla="*/ 2872 w 2971"/>
                  <a:gd name="T19" fmla="*/ 2124 h 3374"/>
                  <a:gd name="T20" fmla="*/ 2838 w 2971"/>
                  <a:gd name="T21" fmla="*/ 2145 h 3374"/>
                  <a:gd name="T22" fmla="*/ 2197 w 2971"/>
                  <a:gd name="T23" fmla="*/ 2147 h 3374"/>
                  <a:gd name="T24" fmla="*/ 2475 w 2971"/>
                  <a:gd name="T25" fmla="*/ 3208 h 3374"/>
                  <a:gd name="T26" fmla="*/ 2469 w 2971"/>
                  <a:gd name="T27" fmla="*/ 3261 h 3374"/>
                  <a:gd name="T28" fmla="*/ 2448 w 2971"/>
                  <a:gd name="T29" fmla="*/ 3309 h 3374"/>
                  <a:gd name="T30" fmla="*/ 2411 w 2971"/>
                  <a:gd name="T31" fmla="*/ 3346 h 3374"/>
                  <a:gd name="T32" fmla="*/ 2362 w 2971"/>
                  <a:gd name="T33" fmla="*/ 3370 h 3374"/>
                  <a:gd name="T34" fmla="*/ 2323 w 2971"/>
                  <a:gd name="T35" fmla="*/ 3374 h 3374"/>
                  <a:gd name="T36" fmla="*/ 2267 w 2971"/>
                  <a:gd name="T37" fmla="*/ 3363 h 3374"/>
                  <a:gd name="T38" fmla="*/ 2220 w 2971"/>
                  <a:gd name="T39" fmla="*/ 3334 h 3374"/>
                  <a:gd name="T40" fmla="*/ 2186 w 2971"/>
                  <a:gd name="T41" fmla="*/ 3288 h 3374"/>
                  <a:gd name="T42" fmla="*/ 1902 w 2971"/>
                  <a:gd name="T43" fmla="*/ 2224 h 3374"/>
                  <a:gd name="T44" fmla="*/ 794 w 2971"/>
                  <a:gd name="T45" fmla="*/ 3260 h 3374"/>
                  <a:gd name="T46" fmla="*/ 771 w 2971"/>
                  <a:gd name="T47" fmla="*/ 3309 h 3374"/>
                  <a:gd name="T48" fmla="*/ 734 w 2971"/>
                  <a:gd name="T49" fmla="*/ 3346 h 3374"/>
                  <a:gd name="T50" fmla="*/ 687 w 2971"/>
                  <a:gd name="T51" fmla="*/ 3369 h 3374"/>
                  <a:gd name="T52" fmla="*/ 635 w 2971"/>
                  <a:gd name="T53" fmla="*/ 3374 h 3374"/>
                  <a:gd name="T54" fmla="*/ 581 w 2971"/>
                  <a:gd name="T55" fmla="*/ 3360 h 3374"/>
                  <a:gd name="T56" fmla="*/ 538 w 2971"/>
                  <a:gd name="T57" fmla="*/ 3329 h 3374"/>
                  <a:gd name="T58" fmla="*/ 509 w 2971"/>
                  <a:gd name="T59" fmla="*/ 3286 h 3374"/>
                  <a:gd name="T60" fmla="*/ 495 w 2971"/>
                  <a:gd name="T61" fmla="*/ 3236 h 3374"/>
                  <a:gd name="T62" fmla="*/ 500 w 2971"/>
                  <a:gd name="T63" fmla="*/ 3181 h 3374"/>
                  <a:gd name="T64" fmla="*/ 639 w 2971"/>
                  <a:gd name="T65" fmla="*/ 2147 h 3374"/>
                  <a:gd name="T66" fmla="*/ 729 w 2971"/>
                  <a:gd name="T67" fmla="*/ 2048 h 3374"/>
                  <a:gd name="T68" fmla="*/ 2742 w 2971"/>
                  <a:gd name="T69" fmla="*/ 1994 h 3374"/>
                  <a:gd name="T70" fmla="*/ 227 w 2971"/>
                  <a:gd name="T71" fmla="*/ 307 h 3374"/>
                  <a:gd name="T72" fmla="*/ 184 w 2971"/>
                  <a:gd name="T73" fmla="*/ 1953 h 3374"/>
                  <a:gd name="T74" fmla="*/ 108 w 2971"/>
                  <a:gd name="T75" fmla="*/ 2023 h 3374"/>
                  <a:gd name="T76" fmla="*/ 76 w 2971"/>
                  <a:gd name="T77" fmla="*/ 285 h 3374"/>
                  <a:gd name="T78" fmla="*/ 36 w 2971"/>
                  <a:gd name="T79" fmla="*/ 252 h 3374"/>
                  <a:gd name="T80" fmla="*/ 9 w 2971"/>
                  <a:gd name="T81" fmla="*/ 207 h 3374"/>
                  <a:gd name="T82" fmla="*/ 0 w 2971"/>
                  <a:gd name="T83" fmla="*/ 154 h 3374"/>
                  <a:gd name="T84" fmla="*/ 12 w 2971"/>
                  <a:gd name="T85" fmla="*/ 93 h 3374"/>
                  <a:gd name="T86" fmla="*/ 44 w 2971"/>
                  <a:gd name="T87" fmla="*/ 45 h 3374"/>
                  <a:gd name="T88" fmla="*/ 93 w 2971"/>
                  <a:gd name="T89" fmla="*/ 12 h 3374"/>
                  <a:gd name="T90" fmla="*/ 152 w 2971"/>
                  <a:gd name="T91" fmla="*/ 0 h 3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1" h="3374">
                    <a:moveTo>
                      <a:pt x="152" y="0"/>
                    </a:moveTo>
                    <a:lnTo>
                      <a:pt x="2818" y="0"/>
                    </a:lnTo>
                    <a:lnTo>
                      <a:pt x="2849" y="3"/>
                    </a:lnTo>
                    <a:lnTo>
                      <a:pt x="2877" y="12"/>
                    </a:lnTo>
                    <a:lnTo>
                      <a:pt x="2904" y="27"/>
                    </a:lnTo>
                    <a:lnTo>
                      <a:pt x="2926" y="45"/>
                    </a:lnTo>
                    <a:lnTo>
                      <a:pt x="2945" y="68"/>
                    </a:lnTo>
                    <a:lnTo>
                      <a:pt x="2958" y="93"/>
                    </a:lnTo>
                    <a:lnTo>
                      <a:pt x="2968" y="123"/>
                    </a:lnTo>
                    <a:lnTo>
                      <a:pt x="2971" y="154"/>
                    </a:lnTo>
                    <a:lnTo>
                      <a:pt x="2968" y="181"/>
                    </a:lnTo>
                    <a:lnTo>
                      <a:pt x="2960" y="207"/>
                    </a:lnTo>
                    <a:lnTo>
                      <a:pt x="2950" y="231"/>
                    </a:lnTo>
                    <a:lnTo>
                      <a:pt x="2934" y="252"/>
                    </a:lnTo>
                    <a:lnTo>
                      <a:pt x="2916" y="271"/>
                    </a:lnTo>
                    <a:lnTo>
                      <a:pt x="2894" y="285"/>
                    </a:lnTo>
                    <a:lnTo>
                      <a:pt x="2894" y="2070"/>
                    </a:lnTo>
                    <a:lnTo>
                      <a:pt x="2892" y="2091"/>
                    </a:lnTo>
                    <a:lnTo>
                      <a:pt x="2883" y="2110"/>
                    </a:lnTo>
                    <a:lnTo>
                      <a:pt x="2872" y="2124"/>
                    </a:lnTo>
                    <a:lnTo>
                      <a:pt x="2856" y="2137"/>
                    </a:lnTo>
                    <a:lnTo>
                      <a:pt x="2838" y="2145"/>
                    </a:lnTo>
                    <a:lnTo>
                      <a:pt x="2818" y="2147"/>
                    </a:lnTo>
                    <a:lnTo>
                      <a:pt x="2197" y="2147"/>
                    </a:lnTo>
                    <a:lnTo>
                      <a:pt x="2470" y="3181"/>
                    </a:lnTo>
                    <a:lnTo>
                      <a:pt x="2475" y="3208"/>
                    </a:lnTo>
                    <a:lnTo>
                      <a:pt x="2475" y="3235"/>
                    </a:lnTo>
                    <a:lnTo>
                      <a:pt x="2469" y="3261"/>
                    </a:lnTo>
                    <a:lnTo>
                      <a:pt x="2461" y="3286"/>
                    </a:lnTo>
                    <a:lnTo>
                      <a:pt x="2448" y="3309"/>
                    </a:lnTo>
                    <a:lnTo>
                      <a:pt x="2432" y="3329"/>
                    </a:lnTo>
                    <a:lnTo>
                      <a:pt x="2411" y="3346"/>
                    </a:lnTo>
                    <a:lnTo>
                      <a:pt x="2388" y="3360"/>
                    </a:lnTo>
                    <a:lnTo>
                      <a:pt x="2362" y="3370"/>
                    </a:lnTo>
                    <a:lnTo>
                      <a:pt x="2343" y="3373"/>
                    </a:lnTo>
                    <a:lnTo>
                      <a:pt x="2323" y="3374"/>
                    </a:lnTo>
                    <a:lnTo>
                      <a:pt x="2295" y="3372"/>
                    </a:lnTo>
                    <a:lnTo>
                      <a:pt x="2267" y="3363"/>
                    </a:lnTo>
                    <a:lnTo>
                      <a:pt x="2243" y="3351"/>
                    </a:lnTo>
                    <a:lnTo>
                      <a:pt x="2220" y="3334"/>
                    </a:lnTo>
                    <a:lnTo>
                      <a:pt x="2201" y="3313"/>
                    </a:lnTo>
                    <a:lnTo>
                      <a:pt x="2186" y="3288"/>
                    </a:lnTo>
                    <a:lnTo>
                      <a:pt x="2176" y="3260"/>
                    </a:lnTo>
                    <a:lnTo>
                      <a:pt x="1902" y="2224"/>
                    </a:lnTo>
                    <a:lnTo>
                      <a:pt x="1069" y="2224"/>
                    </a:lnTo>
                    <a:lnTo>
                      <a:pt x="794" y="3260"/>
                    </a:lnTo>
                    <a:lnTo>
                      <a:pt x="785" y="3287"/>
                    </a:lnTo>
                    <a:lnTo>
                      <a:pt x="771" y="3309"/>
                    </a:lnTo>
                    <a:lnTo>
                      <a:pt x="754" y="3329"/>
                    </a:lnTo>
                    <a:lnTo>
                      <a:pt x="734" y="3346"/>
                    </a:lnTo>
                    <a:lnTo>
                      <a:pt x="712" y="3360"/>
                    </a:lnTo>
                    <a:lnTo>
                      <a:pt x="687" y="3369"/>
                    </a:lnTo>
                    <a:lnTo>
                      <a:pt x="662" y="3374"/>
                    </a:lnTo>
                    <a:lnTo>
                      <a:pt x="635" y="3374"/>
                    </a:lnTo>
                    <a:lnTo>
                      <a:pt x="608" y="3370"/>
                    </a:lnTo>
                    <a:lnTo>
                      <a:pt x="581" y="3360"/>
                    </a:lnTo>
                    <a:lnTo>
                      <a:pt x="558" y="3346"/>
                    </a:lnTo>
                    <a:lnTo>
                      <a:pt x="538" y="3329"/>
                    </a:lnTo>
                    <a:lnTo>
                      <a:pt x="522" y="3309"/>
                    </a:lnTo>
                    <a:lnTo>
                      <a:pt x="509" y="3286"/>
                    </a:lnTo>
                    <a:lnTo>
                      <a:pt x="500" y="3261"/>
                    </a:lnTo>
                    <a:lnTo>
                      <a:pt x="495" y="3236"/>
                    </a:lnTo>
                    <a:lnTo>
                      <a:pt x="495" y="3208"/>
                    </a:lnTo>
                    <a:lnTo>
                      <a:pt x="500" y="3181"/>
                    </a:lnTo>
                    <a:lnTo>
                      <a:pt x="773" y="2147"/>
                    </a:lnTo>
                    <a:lnTo>
                      <a:pt x="639" y="2147"/>
                    </a:lnTo>
                    <a:lnTo>
                      <a:pt x="683" y="2099"/>
                    </a:lnTo>
                    <a:lnTo>
                      <a:pt x="729" y="2048"/>
                    </a:lnTo>
                    <a:lnTo>
                      <a:pt x="778" y="1994"/>
                    </a:lnTo>
                    <a:lnTo>
                      <a:pt x="2742" y="1994"/>
                    </a:lnTo>
                    <a:lnTo>
                      <a:pt x="2742" y="307"/>
                    </a:lnTo>
                    <a:lnTo>
                      <a:pt x="227" y="307"/>
                    </a:lnTo>
                    <a:lnTo>
                      <a:pt x="227" y="1912"/>
                    </a:lnTo>
                    <a:lnTo>
                      <a:pt x="184" y="1953"/>
                    </a:lnTo>
                    <a:lnTo>
                      <a:pt x="144" y="1989"/>
                    </a:lnTo>
                    <a:lnTo>
                      <a:pt x="108" y="2023"/>
                    </a:lnTo>
                    <a:lnTo>
                      <a:pt x="76" y="2052"/>
                    </a:lnTo>
                    <a:lnTo>
                      <a:pt x="76" y="285"/>
                    </a:lnTo>
                    <a:lnTo>
                      <a:pt x="55" y="271"/>
                    </a:lnTo>
                    <a:lnTo>
                      <a:pt x="36" y="252"/>
                    </a:lnTo>
                    <a:lnTo>
                      <a:pt x="21" y="231"/>
                    </a:lnTo>
                    <a:lnTo>
                      <a:pt x="9" y="207"/>
                    </a:lnTo>
                    <a:lnTo>
                      <a:pt x="2" y="181"/>
                    </a:lnTo>
                    <a:lnTo>
                      <a:pt x="0" y="154"/>
                    </a:lnTo>
                    <a:lnTo>
                      <a:pt x="3" y="123"/>
                    </a:lnTo>
                    <a:lnTo>
                      <a:pt x="12" y="93"/>
                    </a:lnTo>
                    <a:lnTo>
                      <a:pt x="25" y="68"/>
                    </a:lnTo>
                    <a:lnTo>
                      <a:pt x="44" y="45"/>
                    </a:lnTo>
                    <a:lnTo>
                      <a:pt x="66" y="27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09" name="Freeform 204"/>
              <p:cNvSpPr>
                <a:spLocks/>
              </p:cNvSpPr>
              <p:nvPr/>
            </p:nvSpPr>
            <p:spPr bwMode="auto">
              <a:xfrm>
                <a:off x="4443" y="3439"/>
                <a:ext cx="60" cy="176"/>
              </a:xfrm>
              <a:custGeom>
                <a:avLst/>
                <a:gdLst>
                  <a:gd name="T0" fmla="*/ 153 w 304"/>
                  <a:gd name="T1" fmla="*/ 0 h 881"/>
                  <a:gd name="T2" fmla="*/ 183 w 304"/>
                  <a:gd name="T3" fmla="*/ 3 h 881"/>
                  <a:gd name="T4" fmla="*/ 211 w 304"/>
                  <a:gd name="T5" fmla="*/ 12 h 881"/>
                  <a:gd name="T6" fmla="*/ 237 w 304"/>
                  <a:gd name="T7" fmla="*/ 25 h 881"/>
                  <a:gd name="T8" fmla="*/ 260 w 304"/>
                  <a:gd name="T9" fmla="*/ 44 h 881"/>
                  <a:gd name="T10" fmla="*/ 278 w 304"/>
                  <a:gd name="T11" fmla="*/ 68 h 881"/>
                  <a:gd name="T12" fmla="*/ 293 w 304"/>
                  <a:gd name="T13" fmla="*/ 93 h 881"/>
                  <a:gd name="T14" fmla="*/ 301 w 304"/>
                  <a:gd name="T15" fmla="*/ 122 h 881"/>
                  <a:gd name="T16" fmla="*/ 304 w 304"/>
                  <a:gd name="T17" fmla="*/ 154 h 881"/>
                  <a:gd name="T18" fmla="*/ 304 w 304"/>
                  <a:gd name="T19" fmla="*/ 729 h 881"/>
                  <a:gd name="T20" fmla="*/ 301 w 304"/>
                  <a:gd name="T21" fmla="*/ 759 h 881"/>
                  <a:gd name="T22" fmla="*/ 293 w 304"/>
                  <a:gd name="T23" fmla="*/ 788 h 881"/>
                  <a:gd name="T24" fmla="*/ 278 w 304"/>
                  <a:gd name="T25" fmla="*/ 814 h 881"/>
                  <a:gd name="T26" fmla="*/ 260 w 304"/>
                  <a:gd name="T27" fmla="*/ 837 h 881"/>
                  <a:gd name="T28" fmla="*/ 237 w 304"/>
                  <a:gd name="T29" fmla="*/ 856 h 881"/>
                  <a:gd name="T30" fmla="*/ 211 w 304"/>
                  <a:gd name="T31" fmla="*/ 870 h 881"/>
                  <a:gd name="T32" fmla="*/ 183 w 304"/>
                  <a:gd name="T33" fmla="*/ 878 h 881"/>
                  <a:gd name="T34" fmla="*/ 153 w 304"/>
                  <a:gd name="T35" fmla="*/ 881 h 881"/>
                  <a:gd name="T36" fmla="*/ 121 w 304"/>
                  <a:gd name="T37" fmla="*/ 878 h 881"/>
                  <a:gd name="T38" fmla="*/ 92 w 304"/>
                  <a:gd name="T39" fmla="*/ 870 h 881"/>
                  <a:gd name="T40" fmla="*/ 67 w 304"/>
                  <a:gd name="T41" fmla="*/ 856 h 881"/>
                  <a:gd name="T42" fmla="*/ 44 w 304"/>
                  <a:gd name="T43" fmla="*/ 837 h 881"/>
                  <a:gd name="T44" fmla="*/ 26 w 304"/>
                  <a:gd name="T45" fmla="*/ 814 h 881"/>
                  <a:gd name="T46" fmla="*/ 11 w 304"/>
                  <a:gd name="T47" fmla="*/ 788 h 881"/>
                  <a:gd name="T48" fmla="*/ 3 w 304"/>
                  <a:gd name="T49" fmla="*/ 759 h 881"/>
                  <a:gd name="T50" fmla="*/ 0 w 304"/>
                  <a:gd name="T51" fmla="*/ 729 h 881"/>
                  <a:gd name="T52" fmla="*/ 0 w 304"/>
                  <a:gd name="T53" fmla="*/ 154 h 881"/>
                  <a:gd name="T54" fmla="*/ 3 w 304"/>
                  <a:gd name="T55" fmla="*/ 122 h 881"/>
                  <a:gd name="T56" fmla="*/ 11 w 304"/>
                  <a:gd name="T57" fmla="*/ 93 h 881"/>
                  <a:gd name="T58" fmla="*/ 26 w 304"/>
                  <a:gd name="T59" fmla="*/ 68 h 881"/>
                  <a:gd name="T60" fmla="*/ 44 w 304"/>
                  <a:gd name="T61" fmla="*/ 44 h 881"/>
                  <a:gd name="T62" fmla="*/ 67 w 304"/>
                  <a:gd name="T63" fmla="*/ 25 h 881"/>
                  <a:gd name="T64" fmla="*/ 92 w 304"/>
                  <a:gd name="T65" fmla="*/ 12 h 881"/>
                  <a:gd name="T66" fmla="*/ 121 w 304"/>
                  <a:gd name="T67" fmla="*/ 3 h 881"/>
                  <a:gd name="T68" fmla="*/ 153 w 304"/>
                  <a:gd name="T69" fmla="*/ 0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881">
                    <a:moveTo>
                      <a:pt x="153" y="0"/>
                    </a:moveTo>
                    <a:lnTo>
                      <a:pt x="183" y="3"/>
                    </a:lnTo>
                    <a:lnTo>
                      <a:pt x="211" y="12"/>
                    </a:lnTo>
                    <a:lnTo>
                      <a:pt x="237" y="25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4" y="154"/>
                    </a:lnTo>
                    <a:lnTo>
                      <a:pt x="304" y="729"/>
                    </a:lnTo>
                    <a:lnTo>
                      <a:pt x="301" y="759"/>
                    </a:lnTo>
                    <a:lnTo>
                      <a:pt x="293" y="788"/>
                    </a:lnTo>
                    <a:lnTo>
                      <a:pt x="278" y="814"/>
                    </a:lnTo>
                    <a:lnTo>
                      <a:pt x="260" y="837"/>
                    </a:lnTo>
                    <a:lnTo>
                      <a:pt x="237" y="856"/>
                    </a:lnTo>
                    <a:lnTo>
                      <a:pt x="211" y="870"/>
                    </a:lnTo>
                    <a:lnTo>
                      <a:pt x="183" y="878"/>
                    </a:lnTo>
                    <a:lnTo>
                      <a:pt x="153" y="881"/>
                    </a:lnTo>
                    <a:lnTo>
                      <a:pt x="121" y="878"/>
                    </a:lnTo>
                    <a:lnTo>
                      <a:pt x="92" y="870"/>
                    </a:lnTo>
                    <a:lnTo>
                      <a:pt x="67" y="856"/>
                    </a:lnTo>
                    <a:lnTo>
                      <a:pt x="44" y="837"/>
                    </a:lnTo>
                    <a:lnTo>
                      <a:pt x="26" y="814"/>
                    </a:lnTo>
                    <a:lnTo>
                      <a:pt x="11" y="788"/>
                    </a:lnTo>
                    <a:lnTo>
                      <a:pt x="3" y="759"/>
                    </a:lnTo>
                    <a:lnTo>
                      <a:pt x="0" y="729"/>
                    </a:lnTo>
                    <a:lnTo>
                      <a:pt x="0" y="154"/>
                    </a:lnTo>
                    <a:lnTo>
                      <a:pt x="3" y="122"/>
                    </a:lnTo>
                    <a:lnTo>
                      <a:pt x="11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5"/>
                    </a:lnTo>
                    <a:lnTo>
                      <a:pt x="92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0" name="Freeform 205"/>
              <p:cNvSpPr>
                <a:spLocks/>
              </p:cNvSpPr>
              <p:nvPr/>
            </p:nvSpPr>
            <p:spPr bwMode="auto">
              <a:xfrm>
                <a:off x="4542" y="3331"/>
                <a:ext cx="60" cy="284"/>
              </a:xfrm>
              <a:custGeom>
                <a:avLst/>
                <a:gdLst>
                  <a:gd name="T0" fmla="*/ 153 w 304"/>
                  <a:gd name="T1" fmla="*/ 0 h 1418"/>
                  <a:gd name="T2" fmla="*/ 183 w 304"/>
                  <a:gd name="T3" fmla="*/ 3 h 1418"/>
                  <a:gd name="T4" fmla="*/ 212 w 304"/>
                  <a:gd name="T5" fmla="*/ 12 h 1418"/>
                  <a:gd name="T6" fmla="*/ 237 w 304"/>
                  <a:gd name="T7" fmla="*/ 26 h 1418"/>
                  <a:gd name="T8" fmla="*/ 260 w 304"/>
                  <a:gd name="T9" fmla="*/ 45 h 1418"/>
                  <a:gd name="T10" fmla="*/ 278 w 304"/>
                  <a:gd name="T11" fmla="*/ 67 h 1418"/>
                  <a:gd name="T12" fmla="*/ 293 w 304"/>
                  <a:gd name="T13" fmla="*/ 94 h 1418"/>
                  <a:gd name="T14" fmla="*/ 301 w 304"/>
                  <a:gd name="T15" fmla="*/ 122 h 1418"/>
                  <a:gd name="T16" fmla="*/ 304 w 304"/>
                  <a:gd name="T17" fmla="*/ 153 h 1418"/>
                  <a:gd name="T18" fmla="*/ 304 w 304"/>
                  <a:gd name="T19" fmla="*/ 1266 h 1418"/>
                  <a:gd name="T20" fmla="*/ 301 w 304"/>
                  <a:gd name="T21" fmla="*/ 1296 h 1418"/>
                  <a:gd name="T22" fmla="*/ 293 w 304"/>
                  <a:gd name="T23" fmla="*/ 1325 h 1418"/>
                  <a:gd name="T24" fmla="*/ 278 w 304"/>
                  <a:gd name="T25" fmla="*/ 1351 h 1418"/>
                  <a:gd name="T26" fmla="*/ 260 w 304"/>
                  <a:gd name="T27" fmla="*/ 1374 h 1418"/>
                  <a:gd name="T28" fmla="*/ 237 w 304"/>
                  <a:gd name="T29" fmla="*/ 1393 h 1418"/>
                  <a:gd name="T30" fmla="*/ 212 w 304"/>
                  <a:gd name="T31" fmla="*/ 1407 h 1418"/>
                  <a:gd name="T32" fmla="*/ 183 w 304"/>
                  <a:gd name="T33" fmla="*/ 1415 h 1418"/>
                  <a:gd name="T34" fmla="*/ 153 w 304"/>
                  <a:gd name="T35" fmla="*/ 1418 h 1418"/>
                  <a:gd name="T36" fmla="*/ 121 w 304"/>
                  <a:gd name="T37" fmla="*/ 1415 h 1418"/>
                  <a:gd name="T38" fmla="*/ 93 w 304"/>
                  <a:gd name="T39" fmla="*/ 1407 h 1418"/>
                  <a:gd name="T40" fmla="*/ 67 w 304"/>
                  <a:gd name="T41" fmla="*/ 1393 h 1418"/>
                  <a:gd name="T42" fmla="*/ 44 w 304"/>
                  <a:gd name="T43" fmla="*/ 1374 h 1418"/>
                  <a:gd name="T44" fmla="*/ 26 w 304"/>
                  <a:gd name="T45" fmla="*/ 1351 h 1418"/>
                  <a:gd name="T46" fmla="*/ 11 w 304"/>
                  <a:gd name="T47" fmla="*/ 1325 h 1418"/>
                  <a:gd name="T48" fmla="*/ 3 w 304"/>
                  <a:gd name="T49" fmla="*/ 1296 h 1418"/>
                  <a:gd name="T50" fmla="*/ 0 w 304"/>
                  <a:gd name="T51" fmla="*/ 1266 h 1418"/>
                  <a:gd name="T52" fmla="*/ 0 w 304"/>
                  <a:gd name="T53" fmla="*/ 153 h 1418"/>
                  <a:gd name="T54" fmla="*/ 3 w 304"/>
                  <a:gd name="T55" fmla="*/ 122 h 1418"/>
                  <a:gd name="T56" fmla="*/ 11 w 304"/>
                  <a:gd name="T57" fmla="*/ 94 h 1418"/>
                  <a:gd name="T58" fmla="*/ 26 w 304"/>
                  <a:gd name="T59" fmla="*/ 67 h 1418"/>
                  <a:gd name="T60" fmla="*/ 44 w 304"/>
                  <a:gd name="T61" fmla="*/ 45 h 1418"/>
                  <a:gd name="T62" fmla="*/ 67 w 304"/>
                  <a:gd name="T63" fmla="*/ 26 h 1418"/>
                  <a:gd name="T64" fmla="*/ 93 w 304"/>
                  <a:gd name="T65" fmla="*/ 12 h 1418"/>
                  <a:gd name="T66" fmla="*/ 121 w 304"/>
                  <a:gd name="T67" fmla="*/ 3 h 1418"/>
                  <a:gd name="T68" fmla="*/ 153 w 304"/>
                  <a:gd name="T69" fmla="*/ 0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4" h="1418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2"/>
                    </a:lnTo>
                    <a:lnTo>
                      <a:pt x="237" y="26"/>
                    </a:lnTo>
                    <a:lnTo>
                      <a:pt x="260" y="45"/>
                    </a:lnTo>
                    <a:lnTo>
                      <a:pt x="278" y="67"/>
                    </a:lnTo>
                    <a:lnTo>
                      <a:pt x="293" y="94"/>
                    </a:lnTo>
                    <a:lnTo>
                      <a:pt x="301" y="122"/>
                    </a:lnTo>
                    <a:lnTo>
                      <a:pt x="304" y="153"/>
                    </a:lnTo>
                    <a:lnTo>
                      <a:pt x="304" y="1266"/>
                    </a:lnTo>
                    <a:lnTo>
                      <a:pt x="301" y="1296"/>
                    </a:lnTo>
                    <a:lnTo>
                      <a:pt x="293" y="1325"/>
                    </a:lnTo>
                    <a:lnTo>
                      <a:pt x="278" y="1351"/>
                    </a:lnTo>
                    <a:lnTo>
                      <a:pt x="260" y="1374"/>
                    </a:lnTo>
                    <a:lnTo>
                      <a:pt x="237" y="1393"/>
                    </a:lnTo>
                    <a:lnTo>
                      <a:pt x="212" y="1407"/>
                    </a:lnTo>
                    <a:lnTo>
                      <a:pt x="183" y="1415"/>
                    </a:lnTo>
                    <a:lnTo>
                      <a:pt x="153" y="1418"/>
                    </a:lnTo>
                    <a:lnTo>
                      <a:pt x="121" y="1415"/>
                    </a:lnTo>
                    <a:lnTo>
                      <a:pt x="93" y="1407"/>
                    </a:lnTo>
                    <a:lnTo>
                      <a:pt x="67" y="1393"/>
                    </a:lnTo>
                    <a:lnTo>
                      <a:pt x="44" y="1374"/>
                    </a:lnTo>
                    <a:lnTo>
                      <a:pt x="26" y="1351"/>
                    </a:lnTo>
                    <a:lnTo>
                      <a:pt x="11" y="1325"/>
                    </a:lnTo>
                    <a:lnTo>
                      <a:pt x="3" y="1296"/>
                    </a:lnTo>
                    <a:lnTo>
                      <a:pt x="0" y="1266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1" y="94"/>
                    </a:lnTo>
                    <a:lnTo>
                      <a:pt x="26" y="67"/>
                    </a:lnTo>
                    <a:lnTo>
                      <a:pt x="44" y="45"/>
                    </a:lnTo>
                    <a:lnTo>
                      <a:pt x="67" y="26"/>
                    </a:lnTo>
                    <a:lnTo>
                      <a:pt x="93" y="12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1" name="Freeform 206"/>
              <p:cNvSpPr>
                <a:spLocks/>
              </p:cNvSpPr>
              <p:nvPr/>
            </p:nvSpPr>
            <p:spPr bwMode="auto">
              <a:xfrm>
                <a:off x="4641" y="3393"/>
                <a:ext cx="61" cy="222"/>
              </a:xfrm>
              <a:custGeom>
                <a:avLst/>
                <a:gdLst>
                  <a:gd name="T0" fmla="*/ 153 w 305"/>
                  <a:gd name="T1" fmla="*/ 0 h 1111"/>
                  <a:gd name="T2" fmla="*/ 183 w 305"/>
                  <a:gd name="T3" fmla="*/ 3 h 1111"/>
                  <a:gd name="T4" fmla="*/ 212 w 305"/>
                  <a:gd name="T5" fmla="*/ 11 h 1111"/>
                  <a:gd name="T6" fmla="*/ 237 w 305"/>
                  <a:gd name="T7" fmla="*/ 26 h 1111"/>
                  <a:gd name="T8" fmla="*/ 260 w 305"/>
                  <a:gd name="T9" fmla="*/ 44 h 1111"/>
                  <a:gd name="T10" fmla="*/ 278 w 305"/>
                  <a:gd name="T11" fmla="*/ 68 h 1111"/>
                  <a:gd name="T12" fmla="*/ 293 w 305"/>
                  <a:gd name="T13" fmla="*/ 93 h 1111"/>
                  <a:gd name="T14" fmla="*/ 301 w 305"/>
                  <a:gd name="T15" fmla="*/ 122 h 1111"/>
                  <a:gd name="T16" fmla="*/ 305 w 305"/>
                  <a:gd name="T17" fmla="*/ 153 h 1111"/>
                  <a:gd name="T18" fmla="*/ 305 w 305"/>
                  <a:gd name="T19" fmla="*/ 959 h 1111"/>
                  <a:gd name="T20" fmla="*/ 301 w 305"/>
                  <a:gd name="T21" fmla="*/ 989 h 1111"/>
                  <a:gd name="T22" fmla="*/ 293 w 305"/>
                  <a:gd name="T23" fmla="*/ 1018 h 1111"/>
                  <a:gd name="T24" fmla="*/ 278 w 305"/>
                  <a:gd name="T25" fmla="*/ 1044 h 1111"/>
                  <a:gd name="T26" fmla="*/ 260 w 305"/>
                  <a:gd name="T27" fmla="*/ 1067 h 1111"/>
                  <a:gd name="T28" fmla="*/ 237 w 305"/>
                  <a:gd name="T29" fmla="*/ 1086 h 1111"/>
                  <a:gd name="T30" fmla="*/ 212 w 305"/>
                  <a:gd name="T31" fmla="*/ 1100 h 1111"/>
                  <a:gd name="T32" fmla="*/ 183 w 305"/>
                  <a:gd name="T33" fmla="*/ 1108 h 1111"/>
                  <a:gd name="T34" fmla="*/ 153 w 305"/>
                  <a:gd name="T35" fmla="*/ 1111 h 1111"/>
                  <a:gd name="T36" fmla="*/ 121 w 305"/>
                  <a:gd name="T37" fmla="*/ 1108 h 1111"/>
                  <a:gd name="T38" fmla="*/ 93 w 305"/>
                  <a:gd name="T39" fmla="*/ 1100 h 1111"/>
                  <a:gd name="T40" fmla="*/ 67 w 305"/>
                  <a:gd name="T41" fmla="*/ 1086 h 1111"/>
                  <a:gd name="T42" fmla="*/ 44 w 305"/>
                  <a:gd name="T43" fmla="*/ 1067 h 1111"/>
                  <a:gd name="T44" fmla="*/ 26 w 305"/>
                  <a:gd name="T45" fmla="*/ 1044 h 1111"/>
                  <a:gd name="T46" fmla="*/ 12 w 305"/>
                  <a:gd name="T47" fmla="*/ 1018 h 1111"/>
                  <a:gd name="T48" fmla="*/ 3 w 305"/>
                  <a:gd name="T49" fmla="*/ 989 h 1111"/>
                  <a:gd name="T50" fmla="*/ 0 w 305"/>
                  <a:gd name="T51" fmla="*/ 959 h 1111"/>
                  <a:gd name="T52" fmla="*/ 0 w 305"/>
                  <a:gd name="T53" fmla="*/ 153 h 1111"/>
                  <a:gd name="T54" fmla="*/ 3 w 305"/>
                  <a:gd name="T55" fmla="*/ 122 h 1111"/>
                  <a:gd name="T56" fmla="*/ 12 w 305"/>
                  <a:gd name="T57" fmla="*/ 93 h 1111"/>
                  <a:gd name="T58" fmla="*/ 26 w 305"/>
                  <a:gd name="T59" fmla="*/ 68 h 1111"/>
                  <a:gd name="T60" fmla="*/ 44 w 305"/>
                  <a:gd name="T61" fmla="*/ 44 h 1111"/>
                  <a:gd name="T62" fmla="*/ 67 w 305"/>
                  <a:gd name="T63" fmla="*/ 26 h 1111"/>
                  <a:gd name="T64" fmla="*/ 93 w 305"/>
                  <a:gd name="T65" fmla="*/ 11 h 1111"/>
                  <a:gd name="T66" fmla="*/ 121 w 305"/>
                  <a:gd name="T67" fmla="*/ 3 h 1111"/>
                  <a:gd name="T68" fmla="*/ 153 w 305"/>
                  <a:gd name="T69" fmla="*/ 0 h 1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5" h="1111">
                    <a:moveTo>
                      <a:pt x="153" y="0"/>
                    </a:moveTo>
                    <a:lnTo>
                      <a:pt x="183" y="3"/>
                    </a:lnTo>
                    <a:lnTo>
                      <a:pt x="212" y="11"/>
                    </a:lnTo>
                    <a:lnTo>
                      <a:pt x="237" y="26"/>
                    </a:lnTo>
                    <a:lnTo>
                      <a:pt x="260" y="44"/>
                    </a:lnTo>
                    <a:lnTo>
                      <a:pt x="278" y="68"/>
                    </a:lnTo>
                    <a:lnTo>
                      <a:pt x="293" y="93"/>
                    </a:lnTo>
                    <a:lnTo>
                      <a:pt x="301" y="122"/>
                    </a:lnTo>
                    <a:lnTo>
                      <a:pt x="305" y="153"/>
                    </a:lnTo>
                    <a:lnTo>
                      <a:pt x="305" y="959"/>
                    </a:lnTo>
                    <a:lnTo>
                      <a:pt x="301" y="989"/>
                    </a:lnTo>
                    <a:lnTo>
                      <a:pt x="293" y="1018"/>
                    </a:lnTo>
                    <a:lnTo>
                      <a:pt x="278" y="1044"/>
                    </a:lnTo>
                    <a:lnTo>
                      <a:pt x="260" y="1067"/>
                    </a:lnTo>
                    <a:lnTo>
                      <a:pt x="237" y="1086"/>
                    </a:lnTo>
                    <a:lnTo>
                      <a:pt x="212" y="1100"/>
                    </a:lnTo>
                    <a:lnTo>
                      <a:pt x="183" y="1108"/>
                    </a:lnTo>
                    <a:lnTo>
                      <a:pt x="153" y="1111"/>
                    </a:lnTo>
                    <a:lnTo>
                      <a:pt x="121" y="1108"/>
                    </a:lnTo>
                    <a:lnTo>
                      <a:pt x="93" y="1100"/>
                    </a:lnTo>
                    <a:lnTo>
                      <a:pt x="67" y="1086"/>
                    </a:lnTo>
                    <a:lnTo>
                      <a:pt x="44" y="1067"/>
                    </a:lnTo>
                    <a:lnTo>
                      <a:pt x="26" y="1044"/>
                    </a:lnTo>
                    <a:lnTo>
                      <a:pt x="12" y="1018"/>
                    </a:lnTo>
                    <a:lnTo>
                      <a:pt x="3" y="989"/>
                    </a:lnTo>
                    <a:lnTo>
                      <a:pt x="0" y="959"/>
                    </a:lnTo>
                    <a:lnTo>
                      <a:pt x="0" y="153"/>
                    </a:lnTo>
                    <a:lnTo>
                      <a:pt x="3" y="122"/>
                    </a:lnTo>
                    <a:lnTo>
                      <a:pt x="12" y="93"/>
                    </a:lnTo>
                    <a:lnTo>
                      <a:pt x="26" y="68"/>
                    </a:lnTo>
                    <a:lnTo>
                      <a:pt x="44" y="44"/>
                    </a:lnTo>
                    <a:lnTo>
                      <a:pt x="67" y="26"/>
                    </a:lnTo>
                    <a:lnTo>
                      <a:pt x="93" y="11"/>
                    </a:lnTo>
                    <a:lnTo>
                      <a:pt x="121" y="3"/>
                    </a:lnTo>
                    <a:lnTo>
                      <a:pt x="1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2" name="Freeform 207"/>
              <p:cNvSpPr>
                <a:spLocks/>
              </p:cNvSpPr>
              <p:nvPr/>
            </p:nvSpPr>
            <p:spPr bwMode="auto">
              <a:xfrm>
                <a:off x="4176" y="3520"/>
                <a:ext cx="223" cy="225"/>
              </a:xfrm>
              <a:custGeom>
                <a:avLst/>
                <a:gdLst>
                  <a:gd name="T0" fmla="*/ 1085 w 1117"/>
                  <a:gd name="T1" fmla="*/ 0 h 1123"/>
                  <a:gd name="T2" fmla="*/ 1106 w 1117"/>
                  <a:gd name="T3" fmla="*/ 10 h 1123"/>
                  <a:gd name="T4" fmla="*/ 1117 w 1117"/>
                  <a:gd name="T5" fmla="*/ 31 h 1123"/>
                  <a:gd name="T6" fmla="*/ 1113 w 1117"/>
                  <a:gd name="T7" fmla="*/ 53 h 1123"/>
                  <a:gd name="T8" fmla="*/ 1104 w 1117"/>
                  <a:gd name="T9" fmla="*/ 66 h 1123"/>
                  <a:gd name="T10" fmla="*/ 1089 w 1117"/>
                  <a:gd name="T11" fmla="*/ 82 h 1123"/>
                  <a:gd name="T12" fmla="*/ 1062 w 1117"/>
                  <a:gd name="T13" fmla="*/ 112 h 1123"/>
                  <a:gd name="T14" fmla="*/ 1023 w 1117"/>
                  <a:gd name="T15" fmla="*/ 155 h 1123"/>
                  <a:gd name="T16" fmla="*/ 973 w 1117"/>
                  <a:gd name="T17" fmla="*/ 209 h 1123"/>
                  <a:gd name="T18" fmla="*/ 917 w 1117"/>
                  <a:gd name="T19" fmla="*/ 272 h 1123"/>
                  <a:gd name="T20" fmla="*/ 853 w 1117"/>
                  <a:gd name="T21" fmla="*/ 342 h 1123"/>
                  <a:gd name="T22" fmla="*/ 785 w 1117"/>
                  <a:gd name="T23" fmla="*/ 417 h 1123"/>
                  <a:gd name="T24" fmla="*/ 712 w 1117"/>
                  <a:gd name="T25" fmla="*/ 497 h 1123"/>
                  <a:gd name="T26" fmla="*/ 640 w 1117"/>
                  <a:gd name="T27" fmla="*/ 577 h 1123"/>
                  <a:gd name="T28" fmla="*/ 566 w 1117"/>
                  <a:gd name="T29" fmla="*/ 658 h 1123"/>
                  <a:gd name="T30" fmla="*/ 494 w 1117"/>
                  <a:gd name="T31" fmla="*/ 737 h 1123"/>
                  <a:gd name="T32" fmla="*/ 425 w 1117"/>
                  <a:gd name="T33" fmla="*/ 813 h 1123"/>
                  <a:gd name="T34" fmla="*/ 361 w 1117"/>
                  <a:gd name="T35" fmla="*/ 884 h 1123"/>
                  <a:gd name="T36" fmla="*/ 303 w 1117"/>
                  <a:gd name="T37" fmla="*/ 946 h 1123"/>
                  <a:gd name="T38" fmla="*/ 254 w 1117"/>
                  <a:gd name="T39" fmla="*/ 1001 h 1123"/>
                  <a:gd name="T40" fmla="*/ 215 w 1117"/>
                  <a:gd name="T41" fmla="*/ 1045 h 1123"/>
                  <a:gd name="T42" fmla="*/ 186 w 1117"/>
                  <a:gd name="T43" fmla="*/ 1076 h 1123"/>
                  <a:gd name="T44" fmla="*/ 171 w 1117"/>
                  <a:gd name="T45" fmla="*/ 1093 h 1123"/>
                  <a:gd name="T46" fmla="*/ 151 w 1117"/>
                  <a:gd name="T47" fmla="*/ 1110 h 1123"/>
                  <a:gd name="T48" fmla="*/ 110 w 1117"/>
                  <a:gd name="T49" fmla="*/ 1123 h 1123"/>
                  <a:gd name="T50" fmla="*/ 66 w 1117"/>
                  <a:gd name="T51" fmla="*/ 1119 h 1123"/>
                  <a:gd name="T52" fmla="*/ 28 w 1117"/>
                  <a:gd name="T53" fmla="*/ 1095 h 1123"/>
                  <a:gd name="T54" fmla="*/ 5 w 1117"/>
                  <a:gd name="T55" fmla="*/ 1057 h 1123"/>
                  <a:gd name="T56" fmla="*/ 0 w 1117"/>
                  <a:gd name="T57" fmla="*/ 1013 h 1123"/>
                  <a:gd name="T58" fmla="*/ 14 w 1117"/>
                  <a:gd name="T59" fmla="*/ 972 h 1123"/>
                  <a:gd name="T60" fmla="*/ 31 w 1117"/>
                  <a:gd name="T61" fmla="*/ 952 h 1123"/>
                  <a:gd name="T62" fmla="*/ 47 w 1117"/>
                  <a:gd name="T63" fmla="*/ 936 h 1123"/>
                  <a:gd name="T64" fmla="*/ 78 w 1117"/>
                  <a:gd name="T65" fmla="*/ 908 h 1123"/>
                  <a:gd name="T66" fmla="*/ 122 w 1117"/>
                  <a:gd name="T67" fmla="*/ 868 h 1123"/>
                  <a:gd name="T68" fmla="*/ 176 w 1117"/>
                  <a:gd name="T69" fmla="*/ 818 h 1123"/>
                  <a:gd name="T70" fmla="*/ 238 w 1117"/>
                  <a:gd name="T71" fmla="*/ 761 h 1123"/>
                  <a:gd name="T72" fmla="*/ 309 w 1117"/>
                  <a:gd name="T73" fmla="*/ 696 h 1123"/>
                  <a:gd name="T74" fmla="*/ 383 w 1117"/>
                  <a:gd name="T75" fmla="*/ 627 h 1123"/>
                  <a:gd name="T76" fmla="*/ 463 w 1117"/>
                  <a:gd name="T77" fmla="*/ 554 h 1123"/>
                  <a:gd name="T78" fmla="*/ 543 w 1117"/>
                  <a:gd name="T79" fmla="*/ 481 h 1123"/>
                  <a:gd name="T80" fmla="*/ 623 w 1117"/>
                  <a:gd name="T81" fmla="*/ 406 h 1123"/>
                  <a:gd name="T82" fmla="*/ 702 w 1117"/>
                  <a:gd name="T83" fmla="*/ 334 h 1123"/>
                  <a:gd name="T84" fmla="*/ 776 w 1117"/>
                  <a:gd name="T85" fmla="*/ 265 h 1123"/>
                  <a:gd name="T86" fmla="*/ 846 w 1117"/>
                  <a:gd name="T87" fmla="*/ 201 h 1123"/>
                  <a:gd name="T88" fmla="*/ 908 w 1117"/>
                  <a:gd name="T89" fmla="*/ 143 h 1123"/>
                  <a:gd name="T90" fmla="*/ 962 w 1117"/>
                  <a:gd name="T91" fmla="*/ 95 h 1123"/>
                  <a:gd name="T92" fmla="*/ 1005 w 1117"/>
                  <a:gd name="T93" fmla="*/ 54 h 1123"/>
                  <a:gd name="T94" fmla="*/ 1036 w 1117"/>
                  <a:gd name="T95" fmla="*/ 27 h 1123"/>
                  <a:gd name="T96" fmla="*/ 1051 w 1117"/>
                  <a:gd name="T97" fmla="*/ 12 h 1123"/>
                  <a:gd name="T98" fmla="*/ 1063 w 1117"/>
                  <a:gd name="T99" fmla="*/ 3 h 1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17" h="1123">
                    <a:moveTo>
                      <a:pt x="1074" y="0"/>
                    </a:moveTo>
                    <a:lnTo>
                      <a:pt x="1085" y="0"/>
                    </a:lnTo>
                    <a:lnTo>
                      <a:pt x="1096" y="3"/>
                    </a:lnTo>
                    <a:lnTo>
                      <a:pt x="1106" y="10"/>
                    </a:lnTo>
                    <a:lnTo>
                      <a:pt x="1113" y="20"/>
                    </a:lnTo>
                    <a:lnTo>
                      <a:pt x="1117" y="31"/>
                    </a:lnTo>
                    <a:lnTo>
                      <a:pt x="1117" y="43"/>
                    </a:lnTo>
                    <a:lnTo>
                      <a:pt x="1113" y="53"/>
                    </a:lnTo>
                    <a:lnTo>
                      <a:pt x="1106" y="64"/>
                    </a:lnTo>
                    <a:lnTo>
                      <a:pt x="1104" y="66"/>
                    </a:lnTo>
                    <a:lnTo>
                      <a:pt x="1099" y="71"/>
                    </a:lnTo>
                    <a:lnTo>
                      <a:pt x="1089" y="82"/>
                    </a:lnTo>
                    <a:lnTo>
                      <a:pt x="1077" y="96"/>
                    </a:lnTo>
                    <a:lnTo>
                      <a:pt x="1062" y="112"/>
                    </a:lnTo>
                    <a:lnTo>
                      <a:pt x="1043" y="132"/>
                    </a:lnTo>
                    <a:lnTo>
                      <a:pt x="1023" y="155"/>
                    </a:lnTo>
                    <a:lnTo>
                      <a:pt x="999" y="181"/>
                    </a:lnTo>
                    <a:lnTo>
                      <a:pt x="973" y="209"/>
                    </a:lnTo>
                    <a:lnTo>
                      <a:pt x="946" y="240"/>
                    </a:lnTo>
                    <a:lnTo>
                      <a:pt x="917" y="272"/>
                    </a:lnTo>
                    <a:lnTo>
                      <a:pt x="885" y="306"/>
                    </a:lnTo>
                    <a:lnTo>
                      <a:pt x="853" y="342"/>
                    </a:lnTo>
                    <a:lnTo>
                      <a:pt x="820" y="379"/>
                    </a:lnTo>
                    <a:lnTo>
                      <a:pt x="785" y="417"/>
                    </a:lnTo>
                    <a:lnTo>
                      <a:pt x="749" y="456"/>
                    </a:lnTo>
                    <a:lnTo>
                      <a:pt x="712" y="497"/>
                    </a:lnTo>
                    <a:lnTo>
                      <a:pt x="676" y="537"/>
                    </a:lnTo>
                    <a:lnTo>
                      <a:pt x="640" y="577"/>
                    </a:lnTo>
                    <a:lnTo>
                      <a:pt x="603" y="617"/>
                    </a:lnTo>
                    <a:lnTo>
                      <a:pt x="566" y="658"/>
                    </a:lnTo>
                    <a:lnTo>
                      <a:pt x="529" y="698"/>
                    </a:lnTo>
                    <a:lnTo>
                      <a:pt x="494" y="737"/>
                    </a:lnTo>
                    <a:lnTo>
                      <a:pt x="458" y="776"/>
                    </a:lnTo>
                    <a:lnTo>
                      <a:pt x="425" y="813"/>
                    </a:lnTo>
                    <a:lnTo>
                      <a:pt x="392" y="849"/>
                    </a:lnTo>
                    <a:lnTo>
                      <a:pt x="361" y="884"/>
                    </a:lnTo>
                    <a:lnTo>
                      <a:pt x="332" y="917"/>
                    </a:lnTo>
                    <a:lnTo>
                      <a:pt x="303" y="946"/>
                    </a:lnTo>
                    <a:lnTo>
                      <a:pt x="278" y="975"/>
                    </a:lnTo>
                    <a:lnTo>
                      <a:pt x="254" y="1001"/>
                    </a:lnTo>
                    <a:lnTo>
                      <a:pt x="233" y="1024"/>
                    </a:lnTo>
                    <a:lnTo>
                      <a:pt x="215" y="1045"/>
                    </a:lnTo>
                    <a:lnTo>
                      <a:pt x="199" y="1062"/>
                    </a:lnTo>
                    <a:lnTo>
                      <a:pt x="186" y="1076"/>
                    </a:lnTo>
                    <a:lnTo>
                      <a:pt x="177" y="1086"/>
                    </a:lnTo>
                    <a:lnTo>
                      <a:pt x="171" y="1093"/>
                    </a:lnTo>
                    <a:lnTo>
                      <a:pt x="169" y="1095"/>
                    </a:lnTo>
                    <a:lnTo>
                      <a:pt x="151" y="1110"/>
                    </a:lnTo>
                    <a:lnTo>
                      <a:pt x="131" y="1119"/>
                    </a:lnTo>
                    <a:lnTo>
                      <a:pt x="110" y="1123"/>
                    </a:lnTo>
                    <a:lnTo>
                      <a:pt x="87" y="1123"/>
                    </a:lnTo>
                    <a:lnTo>
                      <a:pt x="66" y="1119"/>
                    </a:lnTo>
                    <a:lnTo>
                      <a:pt x="46" y="1110"/>
                    </a:lnTo>
                    <a:lnTo>
                      <a:pt x="28" y="1095"/>
                    </a:lnTo>
                    <a:lnTo>
                      <a:pt x="14" y="1077"/>
                    </a:lnTo>
                    <a:lnTo>
                      <a:pt x="5" y="1057"/>
                    </a:lnTo>
                    <a:lnTo>
                      <a:pt x="0" y="1035"/>
                    </a:lnTo>
                    <a:lnTo>
                      <a:pt x="0" y="1013"/>
                    </a:lnTo>
                    <a:lnTo>
                      <a:pt x="5" y="992"/>
                    </a:lnTo>
                    <a:lnTo>
                      <a:pt x="14" y="972"/>
                    </a:lnTo>
                    <a:lnTo>
                      <a:pt x="28" y="954"/>
                    </a:lnTo>
                    <a:lnTo>
                      <a:pt x="31" y="952"/>
                    </a:lnTo>
                    <a:lnTo>
                      <a:pt x="37" y="945"/>
                    </a:lnTo>
                    <a:lnTo>
                      <a:pt x="47" y="936"/>
                    </a:lnTo>
                    <a:lnTo>
                      <a:pt x="61" y="924"/>
                    </a:lnTo>
                    <a:lnTo>
                      <a:pt x="78" y="908"/>
                    </a:lnTo>
                    <a:lnTo>
                      <a:pt x="99" y="889"/>
                    </a:lnTo>
                    <a:lnTo>
                      <a:pt x="122" y="868"/>
                    </a:lnTo>
                    <a:lnTo>
                      <a:pt x="147" y="844"/>
                    </a:lnTo>
                    <a:lnTo>
                      <a:pt x="176" y="818"/>
                    </a:lnTo>
                    <a:lnTo>
                      <a:pt x="206" y="790"/>
                    </a:lnTo>
                    <a:lnTo>
                      <a:pt x="238" y="761"/>
                    </a:lnTo>
                    <a:lnTo>
                      <a:pt x="273" y="729"/>
                    </a:lnTo>
                    <a:lnTo>
                      <a:pt x="309" y="696"/>
                    </a:lnTo>
                    <a:lnTo>
                      <a:pt x="346" y="662"/>
                    </a:lnTo>
                    <a:lnTo>
                      <a:pt x="383" y="627"/>
                    </a:lnTo>
                    <a:lnTo>
                      <a:pt x="422" y="591"/>
                    </a:lnTo>
                    <a:lnTo>
                      <a:pt x="463" y="554"/>
                    </a:lnTo>
                    <a:lnTo>
                      <a:pt x="503" y="518"/>
                    </a:lnTo>
                    <a:lnTo>
                      <a:pt x="543" y="481"/>
                    </a:lnTo>
                    <a:lnTo>
                      <a:pt x="583" y="444"/>
                    </a:lnTo>
                    <a:lnTo>
                      <a:pt x="623" y="406"/>
                    </a:lnTo>
                    <a:lnTo>
                      <a:pt x="663" y="369"/>
                    </a:lnTo>
                    <a:lnTo>
                      <a:pt x="702" y="334"/>
                    </a:lnTo>
                    <a:lnTo>
                      <a:pt x="740" y="299"/>
                    </a:lnTo>
                    <a:lnTo>
                      <a:pt x="776" y="265"/>
                    </a:lnTo>
                    <a:lnTo>
                      <a:pt x="812" y="232"/>
                    </a:lnTo>
                    <a:lnTo>
                      <a:pt x="846" y="201"/>
                    </a:lnTo>
                    <a:lnTo>
                      <a:pt x="879" y="171"/>
                    </a:lnTo>
                    <a:lnTo>
                      <a:pt x="908" y="143"/>
                    </a:lnTo>
                    <a:lnTo>
                      <a:pt x="937" y="118"/>
                    </a:lnTo>
                    <a:lnTo>
                      <a:pt x="962" y="95"/>
                    </a:lnTo>
                    <a:lnTo>
                      <a:pt x="985" y="73"/>
                    </a:lnTo>
                    <a:lnTo>
                      <a:pt x="1005" y="54"/>
                    </a:lnTo>
                    <a:lnTo>
                      <a:pt x="1022" y="39"/>
                    </a:lnTo>
                    <a:lnTo>
                      <a:pt x="1036" y="27"/>
                    </a:lnTo>
                    <a:lnTo>
                      <a:pt x="1045" y="18"/>
                    </a:lnTo>
                    <a:lnTo>
                      <a:pt x="1051" y="12"/>
                    </a:lnTo>
                    <a:lnTo>
                      <a:pt x="1054" y="10"/>
                    </a:lnTo>
                    <a:lnTo>
                      <a:pt x="1063" y="3"/>
                    </a:lnTo>
                    <a:lnTo>
                      <a:pt x="107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130" name="Rectangle 17"/>
          <p:cNvSpPr>
            <a:spLocks/>
          </p:cNvSpPr>
          <p:nvPr/>
        </p:nvSpPr>
        <p:spPr bwMode="auto">
          <a:xfrm>
            <a:off x="202273" y="3246061"/>
            <a:ext cx="59648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bg1"/>
                </a:solidFill>
                <a:latin typeface="+mj-lt"/>
                <a:sym typeface="Helvetica Neue" charset="0"/>
              </a:rPr>
              <a:t>Данные</a:t>
            </a:r>
            <a:endParaRPr lang="ru-RU" sz="1050" b="1" i="1" dirty="0">
              <a:solidFill>
                <a:schemeClr val="bg1"/>
              </a:solidFill>
              <a:latin typeface="+mj-lt"/>
              <a:ea typeface="ＭＳ Ｐゴシック" charset="0"/>
              <a:cs typeface="Georgia"/>
              <a:sym typeface="Helvetica Neue" charset="0"/>
            </a:endParaRPr>
          </a:p>
        </p:txBody>
      </p:sp>
      <p:sp>
        <p:nvSpPr>
          <p:cNvPr id="178" name="Rectangle 177"/>
          <p:cNvSpPr/>
          <p:nvPr/>
        </p:nvSpPr>
        <p:spPr bwMode="ltGray">
          <a:xfrm>
            <a:off x="6174395" y="-1"/>
            <a:ext cx="2969606" cy="35764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+mj-lt"/>
              </a:rPr>
              <a:t>Банковские услуги, розница, телекоммуникации</a:t>
            </a:r>
            <a:endParaRPr lang="ru-RU" sz="10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308" y="1425376"/>
            <a:ext cx="1642802" cy="1093280"/>
          </a:xfrm>
          <a:prstGeom prst="rect">
            <a:avLst/>
          </a:prstGeom>
        </p:spPr>
      </p:pic>
      <p:sp>
        <p:nvSpPr>
          <p:cNvPr id="129" name="TextBox 128"/>
          <p:cNvSpPr txBox="1"/>
          <p:nvPr/>
        </p:nvSpPr>
        <p:spPr>
          <a:xfrm>
            <a:off x="3799588" y="1249675"/>
            <a:ext cx="1667417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sz="1300" i="1" dirty="0" smtClean="0">
                <a:solidFill>
                  <a:schemeClr val="bg1"/>
                </a:solidFill>
                <a:latin typeface="+mj-lt"/>
              </a:rPr>
              <a:t>Анализ рыночной корзины позволяет лучше разобраться в шаблонах покупок…</a:t>
            </a:r>
          </a:p>
        </p:txBody>
      </p:sp>
      <p:grpSp>
        <p:nvGrpSpPr>
          <p:cNvPr id="179" name="Group 178"/>
          <p:cNvGrpSpPr/>
          <p:nvPr/>
        </p:nvGrpSpPr>
        <p:grpSpPr>
          <a:xfrm>
            <a:off x="3931308" y="2452658"/>
            <a:ext cx="1041830" cy="1023291"/>
            <a:chOff x="1095952" y="2154867"/>
            <a:chExt cx="841187" cy="801131"/>
          </a:xfrm>
        </p:grpSpPr>
        <p:pic>
          <p:nvPicPr>
            <p:cNvPr id="180" name="Picture 179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5952" y="2154867"/>
              <a:ext cx="841187" cy="801131"/>
            </a:xfrm>
            <a:prstGeom prst="rect">
              <a:avLst/>
            </a:prstGeom>
          </p:spPr>
        </p:pic>
        <p:grpSp>
          <p:nvGrpSpPr>
            <p:cNvPr id="181" name="Group 180"/>
            <p:cNvGrpSpPr/>
            <p:nvPr/>
          </p:nvGrpSpPr>
          <p:grpSpPr>
            <a:xfrm>
              <a:off x="1402897" y="2272131"/>
              <a:ext cx="358251" cy="326592"/>
              <a:chOff x="533400" y="1901992"/>
              <a:chExt cx="1181100" cy="1181100"/>
            </a:xfrm>
          </p:grpSpPr>
          <p:sp>
            <p:nvSpPr>
              <p:cNvPr id="182" name="Oval 181"/>
              <p:cNvSpPr/>
              <p:nvPr/>
            </p:nvSpPr>
            <p:spPr bwMode="ltGray">
              <a:xfrm>
                <a:off x="981075" y="2026451"/>
                <a:ext cx="638175" cy="638175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89" name="Freeform 188"/>
              <p:cNvSpPr>
                <a:spLocks noEditPoints="1"/>
              </p:cNvSpPr>
              <p:nvPr/>
            </p:nvSpPr>
            <p:spPr bwMode="auto">
              <a:xfrm>
                <a:off x="533400" y="1901992"/>
                <a:ext cx="1181100" cy="1181100"/>
              </a:xfrm>
              <a:custGeom>
                <a:avLst/>
                <a:gdLst>
                  <a:gd name="T0" fmla="*/ 190 w 324"/>
                  <a:gd name="T1" fmla="*/ 0 h 324"/>
                  <a:gd name="T2" fmla="*/ 134 w 324"/>
                  <a:gd name="T3" fmla="*/ 20 h 324"/>
                  <a:gd name="T4" fmla="*/ 90 w 324"/>
                  <a:gd name="T5" fmla="*/ 74 h 324"/>
                  <a:gd name="T6" fmla="*/ 82 w 324"/>
                  <a:gd name="T7" fmla="*/ 120 h 324"/>
                  <a:gd name="T8" fmla="*/ 84 w 324"/>
                  <a:gd name="T9" fmla="*/ 146 h 324"/>
                  <a:gd name="T10" fmla="*/ 118 w 324"/>
                  <a:gd name="T11" fmla="*/ 206 h 324"/>
                  <a:gd name="T12" fmla="*/ 178 w 324"/>
                  <a:gd name="T13" fmla="*/ 240 h 324"/>
                  <a:gd name="T14" fmla="*/ 202 w 324"/>
                  <a:gd name="T15" fmla="*/ 242 h 324"/>
                  <a:gd name="T16" fmla="*/ 250 w 324"/>
                  <a:gd name="T17" fmla="*/ 232 h 324"/>
                  <a:gd name="T18" fmla="*/ 304 w 324"/>
                  <a:gd name="T19" fmla="*/ 188 h 324"/>
                  <a:gd name="T20" fmla="*/ 324 w 324"/>
                  <a:gd name="T21" fmla="*/ 132 h 324"/>
                  <a:gd name="T22" fmla="*/ 324 w 324"/>
                  <a:gd name="T23" fmla="*/ 108 h 324"/>
                  <a:gd name="T24" fmla="*/ 304 w 324"/>
                  <a:gd name="T25" fmla="*/ 52 h 324"/>
                  <a:gd name="T26" fmla="*/ 250 w 324"/>
                  <a:gd name="T27" fmla="*/ 8 h 324"/>
                  <a:gd name="T28" fmla="*/ 202 w 324"/>
                  <a:gd name="T29" fmla="*/ 0 h 324"/>
                  <a:gd name="T30" fmla="*/ 202 w 324"/>
                  <a:gd name="T31" fmla="*/ 212 h 324"/>
                  <a:gd name="T32" fmla="*/ 152 w 324"/>
                  <a:gd name="T33" fmla="*/ 196 h 324"/>
                  <a:gd name="T34" fmla="*/ 118 w 324"/>
                  <a:gd name="T35" fmla="*/ 156 h 324"/>
                  <a:gd name="T36" fmla="*/ 112 w 324"/>
                  <a:gd name="T37" fmla="*/ 120 h 324"/>
                  <a:gd name="T38" fmla="*/ 128 w 324"/>
                  <a:gd name="T39" fmla="*/ 70 h 324"/>
                  <a:gd name="T40" fmla="*/ 168 w 324"/>
                  <a:gd name="T41" fmla="*/ 36 h 324"/>
                  <a:gd name="T42" fmla="*/ 202 w 324"/>
                  <a:gd name="T43" fmla="*/ 30 h 324"/>
                  <a:gd name="T44" fmla="*/ 254 w 324"/>
                  <a:gd name="T45" fmla="*/ 46 h 324"/>
                  <a:gd name="T46" fmla="*/ 286 w 324"/>
                  <a:gd name="T47" fmla="*/ 86 h 324"/>
                  <a:gd name="T48" fmla="*/ 294 w 324"/>
                  <a:gd name="T49" fmla="*/ 120 h 324"/>
                  <a:gd name="T50" fmla="*/ 278 w 324"/>
                  <a:gd name="T51" fmla="*/ 172 h 324"/>
                  <a:gd name="T52" fmla="*/ 238 w 324"/>
                  <a:gd name="T53" fmla="*/ 204 h 324"/>
                  <a:gd name="T54" fmla="*/ 202 w 324"/>
                  <a:gd name="T55" fmla="*/ 212 h 324"/>
                  <a:gd name="T56" fmla="*/ 138 w 324"/>
                  <a:gd name="T57" fmla="*/ 130 h 324"/>
                  <a:gd name="T58" fmla="*/ 132 w 324"/>
                  <a:gd name="T59" fmla="*/ 120 h 324"/>
                  <a:gd name="T60" fmla="*/ 138 w 324"/>
                  <a:gd name="T61" fmla="*/ 94 h 324"/>
                  <a:gd name="T62" fmla="*/ 164 w 324"/>
                  <a:gd name="T63" fmla="*/ 62 h 324"/>
                  <a:gd name="T64" fmla="*/ 202 w 324"/>
                  <a:gd name="T65" fmla="*/ 50 h 324"/>
                  <a:gd name="T66" fmla="*/ 210 w 324"/>
                  <a:gd name="T67" fmla="*/ 54 h 324"/>
                  <a:gd name="T68" fmla="*/ 212 w 324"/>
                  <a:gd name="T69" fmla="*/ 60 h 324"/>
                  <a:gd name="T70" fmla="*/ 206 w 324"/>
                  <a:gd name="T71" fmla="*/ 70 h 324"/>
                  <a:gd name="T72" fmla="*/ 192 w 324"/>
                  <a:gd name="T73" fmla="*/ 72 h 324"/>
                  <a:gd name="T74" fmla="*/ 168 w 324"/>
                  <a:gd name="T75" fmla="*/ 86 h 324"/>
                  <a:gd name="T76" fmla="*/ 154 w 324"/>
                  <a:gd name="T77" fmla="*/ 110 h 324"/>
                  <a:gd name="T78" fmla="*/ 152 w 324"/>
                  <a:gd name="T79" fmla="*/ 124 h 324"/>
                  <a:gd name="T80" fmla="*/ 142 w 324"/>
                  <a:gd name="T81" fmla="*/ 130 h 324"/>
                  <a:gd name="T82" fmla="*/ 48 w 324"/>
                  <a:gd name="T83" fmla="*/ 316 h 324"/>
                  <a:gd name="T84" fmla="*/ 28 w 324"/>
                  <a:gd name="T85" fmla="*/ 324 h 324"/>
                  <a:gd name="T86" fmla="*/ 8 w 324"/>
                  <a:gd name="T87" fmla="*/ 316 h 324"/>
                  <a:gd name="T88" fmla="*/ 0 w 324"/>
                  <a:gd name="T89" fmla="*/ 296 h 324"/>
                  <a:gd name="T90" fmla="*/ 86 w 324"/>
                  <a:gd name="T91" fmla="*/ 198 h 324"/>
                  <a:gd name="T92" fmla="*/ 102 w 324"/>
                  <a:gd name="T93" fmla="*/ 220 h 324"/>
                  <a:gd name="T94" fmla="*/ 124 w 324"/>
                  <a:gd name="T95" fmla="*/ 238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24" h="324">
                    <a:moveTo>
                      <a:pt x="202" y="0"/>
                    </a:moveTo>
                    <a:lnTo>
                      <a:pt x="202" y="0"/>
                    </a:lnTo>
                    <a:lnTo>
                      <a:pt x="190" y="0"/>
                    </a:lnTo>
                    <a:lnTo>
                      <a:pt x="178" y="2"/>
                    </a:lnTo>
                    <a:lnTo>
                      <a:pt x="156" y="8"/>
                    </a:lnTo>
                    <a:lnTo>
                      <a:pt x="134" y="20"/>
                    </a:lnTo>
                    <a:lnTo>
                      <a:pt x="118" y="34"/>
                    </a:lnTo>
                    <a:lnTo>
                      <a:pt x="102" y="52"/>
                    </a:lnTo>
                    <a:lnTo>
                      <a:pt x="90" y="74"/>
                    </a:lnTo>
                    <a:lnTo>
                      <a:pt x="84" y="96"/>
                    </a:lnTo>
                    <a:lnTo>
                      <a:pt x="82" y="108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32"/>
                    </a:lnTo>
                    <a:lnTo>
                      <a:pt x="84" y="146"/>
                    </a:lnTo>
                    <a:lnTo>
                      <a:pt x="90" y="168"/>
                    </a:lnTo>
                    <a:lnTo>
                      <a:pt x="102" y="188"/>
                    </a:lnTo>
                    <a:lnTo>
                      <a:pt x="118" y="206"/>
                    </a:lnTo>
                    <a:lnTo>
                      <a:pt x="134" y="222"/>
                    </a:lnTo>
                    <a:lnTo>
                      <a:pt x="156" y="232"/>
                    </a:lnTo>
                    <a:lnTo>
                      <a:pt x="178" y="240"/>
                    </a:lnTo>
                    <a:lnTo>
                      <a:pt x="190" y="242"/>
                    </a:lnTo>
                    <a:lnTo>
                      <a:pt x="202" y="242"/>
                    </a:lnTo>
                    <a:lnTo>
                      <a:pt x="202" y="242"/>
                    </a:lnTo>
                    <a:lnTo>
                      <a:pt x="216" y="242"/>
                    </a:lnTo>
                    <a:lnTo>
                      <a:pt x="228" y="240"/>
                    </a:lnTo>
                    <a:lnTo>
                      <a:pt x="250" y="232"/>
                    </a:lnTo>
                    <a:lnTo>
                      <a:pt x="270" y="222"/>
                    </a:lnTo>
                    <a:lnTo>
                      <a:pt x="288" y="206"/>
                    </a:lnTo>
                    <a:lnTo>
                      <a:pt x="304" y="188"/>
                    </a:lnTo>
                    <a:lnTo>
                      <a:pt x="314" y="168"/>
                    </a:lnTo>
                    <a:lnTo>
                      <a:pt x="322" y="146"/>
                    </a:lnTo>
                    <a:lnTo>
                      <a:pt x="324" y="132"/>
                    </a:lnTo>
                    <a:lnTo>
                      <a:pt x="324" y="120"/>
                    </a:lnTo>
                    <a:lnTo>
                      <a:pt x="324" y="120"/>
                    </a:lnTo>
                    <a:lnTo>
                      <a:pt x="324" y="108"/>
                    </a:lnTo>
                    <a:lnTo>
                      <a:pt x="322" y="96"/>
                    </a:lnTo>
                    <a:lnTo>
                      <a:pt x="314" y="74"/>
                    </a:lnTo>
                    <a:lnTo>
                      <a:pt x="304" y="52"/>
                    </a:lnTo>
                    <a:lnTo>
                      <a:pt x="288" y="34"/>
                    </a:lnTo>
                    <a:lnTo>
                      <a:pt x="270" y="20"/>
                    </a:lnTo>
                    <a:lnTo>
                      <a:pt x="250" y="8"/>
                    </a:lnTo>
                    <a:lnTo>
                      <a:pt x="228" y="2"/>
                    </a:lnTo>
                    <a:lnTo>
                      <a:pt x="216" y="0"/>
                    </a:lnTo>
                    <a:lnTo>
                      <a:pt x="202" y="0"/>
                    </a:lnTo>
                    <a:lnTo>
                      <a:pt x="202" y="0"/>
                    </a:lnTo>
                    <a:close/>
                    <a:moveTo>
                      <a:pt x="202" y="212"/>
                    </a:moveTo>
                    <a:lnTo>
                      <a:pt x="202" y="212"/>
                    </a:lnTo>
                    <a:lnTo>
                      <a:pt x="184" y="210"/>
                    </a:lnTo>
                    <a:lnTo>
                      <a:pt x="168" y="204"/>
                    </a:lnTo>
                    <a:lnTo>
                      <a:pt x="152" y="196"/>
                    </a:lnTo>
                    <a:lnTo>
                      <a:pt x="138" y="184"/>
                    </a:lnTo>
                    <a:lnTo>
                      <a:pt x="128" y="172"/>
                    </a:lnTo>
                    <a:lnTo>
                      <a:pt x="118" y="156"/>
                    </a:lnTo>
                    <a:lnTo>
                      <a:pt x="114" y="138"/>
                    </a:lnTo>
                    <a:lnTo>
                      <a:pt x="112" y="120"/>
                    </a:lnTo>
                    <a:lnTo>
                      <a:pt x="112" y="120"/>
                    </a:lnTo>
                    <a:lnTo>
                      <a:pt x="114" y="102"/>
                    </a:lnTo>
                    <a:lnTo>
                      <a:pt x="118" y="86"/>
                    </a:lnTo>
                    <a:lnTo>
                      <a:pt x="128" y="70"/>
                    </a:lnTo>
                    <a:lnTo>
                      <a:pt x="138" y="56"/>
                    </a:lnTo>
                    <a:lnTo>
                      <a:pt x="152" y="46"/>
                    </a:lnTo>
                    <a:lnTo>
                      <a:pt x="168" y="36"/>
                    </a:lnTo>
                    <a:lnTo>
                      <a:pt x="184" y="32"/>
                    </a:lnTo>
                    <a:lnTo>
                      <a:pt x="202" y="30"/>
                    </a:lnTo>
                    <a:lnTo>
                      <a:pt x="202" y="30"/>
                    </a:lnTo>
                    <a:lnTo>
                      <a:pt x="222" y="32"/>
                    </a:lnTo>
                    <a:lnTo>
                      <a:pt x="238" y="36"/>
                    </a:lnTo>
                    <a:lnTo>
                      <a:pt x="254" y="46"/>
                    </a:lnTo>
                    <a:lnTo>
                      <a:pt x="268" y="56"/>
                    </a:lnTo>
                    <a:lnTo>
                      <a:pt x="278" y="70"/>
                    </a:lnTo>
                    <a:lnTo>
                      <a:pt x="286" y="86"/>
                    </a:lnTo>
                    <a:lnTo>
                      <a:pt x="292" y="102"/>
                    </a:lnTo>
                    <a:lnTo>
                      <a:pt x="294" y="120"/>
                    </a:lnTo>
                    <a:lnTo>
                      <a:pt x="294" y="120"/>
                    </a:lnTo>
                    <a:lnTo>
                      <a:pt x="292" y="138"/>
                    </a:lnTo>
                    <a:lnTo>
                      <a:pt x="286" y="156"/>
                    </a:lnTo>
                    <a:lnTo>
                      <a:pt x="278" y="172"/>
                    </a:lnTo>
                    <a:lnTo>
                      <a:pt x="268" y="184"/>
                    </a:lnTo>
                    <a:lnTo>
                      <a:pt x="254" y="196"/>
                    </a:lnTo>
                    <a:lnTo>
                      <a:pt x="238" y="204"/>
                    </a:lnTo>
                    <a:lnTo>
                      <a:pt x="222" y="210"/>
                    </a:lnTo>
                    <a:lnTo>
                      <a:pt x="202" y="212"/>
                    </a:lnTo>
                    <a:lnTo>
                      <a:pt x="202" y="212"/>
                    </a:lnTo>
                    <a:close/>
                    <a:moveTo>
                      <a:pt x="142" y="130"/>
                    </a:moveTo>
                    <a:lnTo>
                      <a:pt x="142" y="130"/>
                    </a:lnTo>
                    <a:lnTo>
                      <a:pt x="138" y="130"/>
                    </a:lnTo>
                    <a:lnTo>
                      <a:pt x="136" y="128"/>
                    </a:lnTo>
                    <a:lnTo>
                      <a:pt x="134" y="124"/>
                    </a:lnTo>
                    <a:lnTo>
                      <a:pt x="132" y="120"/>
                    </a:lnTo>
                    <a:lnTo>
                      <a:pt x="132" y="120"/>
                    </a:lnTo>
                    <a:lnTo>
                      <a:pt x="134" y="106"/>
                    </a:lnTo>
                    <a:lnTo>
                      <a:pt x="138" y="94"/>
                    </a:lnTo>
                    <a:lnTo>
                      <a:pt x="144" y="82"/>
                    </a:lnTo>
                    <a:lnTo>
                      <a:pt x="154" y="72"/>
                    </a:lnTo>
                    <a:lnTo>
                      <a:pt x="164" y="62"/>
                    </a:lnTo>
                    <a:lnTo>
                      <a:pt x="176" y="56"/>
                    </a:lnTo>
                    <a:lnTo>
                      <a:pt x="188" y="52"/>
                    </a:lnTo>
                    <a:lnTo>
                      <a:pt x="202" y="50"/>
                    </a:lnTo>
                    <a:lnTo>
                      <a:pt x="202" y="50"/>
                    </a:lnTo>
                    <a:lnTo>
                      <a:pt x="206" y="52"/>
                    </a:lnTo>
                    <a:lnTo>
                      <a:pt x="210" y="54"/>
                    </a:lnTo>
                    <a:lnTo>
                      <a:pt x="212" y="56"/>
                    </a:lnTo>
                    <a:lnTo>
                      <a:pt x="212" y="60"/>
                    </a:lnTo>
                    <a:lnTo>
                      <a:pt x="212" y="60"/>
                    </a:lnTo>
                    <a:lnTo>
                      <a:pt x="212" y="64"/>
                    </a:lnTo>
                    <a:lnTo>
                      <a:pt x="210" y="68"/>
                    </a:lnTo>
                    <a:lnTo>
                      <a:pt x="206" y="70"/>
                    </a:lnTo>
                    <a:lnTo>
                      <a:pt x="202" y="70"/>
                    </a:lnTo>
                    <a:lnTo>
                      <a:pt x="202" y="70"/>
                    </a:lnTo>
                    <a:lnTo>
                      <a:pt x="192" y="72"/>
                    </a:lnTo>
                    <a:lnTo>
                      <a:pt x="184" y="74"/>
                    </a:lnTo>
                    <a:lnTo>
                      <a:pt x="174" y="80"/>
                    </a:lnTo>
                    <a:lnTo>
                      <a:pt x="168" y="86"/>
                    </a:lnTo>
                    <a:lnTo>
                      <a:pt x="162" y="92"/>
                    </a:lnTo>
                    <a:lnTo>
                      <a:pt x="156" y="102"/>
                    </a:lnTo>
                    <a:lnTo>
                      <a:pt x="154" y="110"/>
                    </a:lnTo>
                    <a:lnTo>
                      <a:pt x="152" y="120"/>
                    </a:lnTo>
                    <a:lnTo>
                      <a:pt x="152" y="120"/>
                    </a:lnTo>
                    <a:lnTo>
                      <a:pt x="152" y="124"/>
                    </a:lnTo>
                    <a:lnTo>
                      <a:pt x="150" y="128"/>
                    </a:lnTo>
                    <a:lnTo>
                      <a:pt x="146" y="130"/>
                    </a:lnTo>
                    <a:lnTo>
                      <a:pt x="142" y="130"/>
                    </a:lnTo>
                    <a:lnTo>
                      <a:pt x="142" y="130"/>
                    </a:lnTo>
                    <a:close/>
                    <a:moveTo>
                      <a:pt x="124" y="238"/>
                    </a:moveTo>
                    <a:lnTo>
                      <a:pt x="48" y="316"/>
                    </a:lnTo>
                    <a:lnTo>
                      <a:pt x="48" y="316"/>
                    </a:lnTo>
                    <a:lnTo>
                      <a:pt x="38" y="322"/>
                    </a:lnTo>
                    <a:lnTo>
                      <a:pt x="28" y="324"/>
                    </a:lnTo>
                    <a:lnTo>
                      <a:pt x="28" y="324"/>
                    </a:lnTo>
                    <a:lnTo>
                      <a:pt x="18" y="322"/>
                    </a:lnTo>
                    <a:lnTo>
                      <a:pt x="8" y="316"/>
                    </a:lnTo>
                    <a:lnTo>
                      <a:pt x="8" y="316"/>
                    </a:lnTo>
                    <a:lnTo>
                      <a:pt x="2" y="306"/>
                    </a:lnTo>
                    <a:lnTo>
                      <a:pt x="0" y="296"/>
                    </a:lnTo>
                    <a:lnTo>
                      <a:pt x="2" y="286"/>
                    </a:lnTo>
                    <a:lnTo>
                      <a:pt x="8" y="276"/>
                    </a:lnTo>
                    <a:lnTo>
                      <a:pt x="86" y="198"/>
                    </a:lnTo>
                    <a:lnTo>
                      <a:pt x="86" y="198"/>
                    </a:lnTo>
                    <a:lnTo>
                      <a:pt x="94" y="210"/>
                    </a:lnTo>
                    <a:lnTo>
                      <a:pt x="102" y="220"/>
                    </a:lnTo>
                    <a:lnTo>
                      <a:pt x="114" y="230"/>
                    </a:lnTo>
                    <a:lnTo>
                      <a:pt x="124" y="238"/>
                    </a:lnTo>
                    <a:lnTo>
                      <a:pt x="124" y="238"/>
                    </a:lnTo>
                    <a:close/>
                  </a:path>
                </a:pathLst>
              </a:custGeom>
              <a:solidFill>
                <a:srgbClr val="8A867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190" name="TextBox 189"/>
          <p:cNvSpPr txBox="1"/>
          <p:nvPr/>
        </p:nvSpPr>
        <p:spPr>
          <a:xfrm>
            <a:off x="1329070" y="2508095"/>
            <a:ext cx="166741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>
              <a:spcAft>
                <a:spcPts val="900"/>
              </a:spcAft>
            </a:pPr>
            <a:r>
              <a:rPr lang="ru-RU" sz="1400" i="1" dirty="0" smtClean="0">
                <a:solidFill>
                  <a:schemeClr val="bg1"/>
                </a:solidFill>
                <a:latin typeface="+mj-lt"/>
              </a:rPr>
              <a:t>Информация о покупках \ транзакциях клиента</a:t>
            </a:r>
          </a:p>
        </p:txBody>
      </p:sp>
      <p:sp>
        <p:nvSpPr>
          <p:cNvPr id="191" name="Freeform 190"/>
          <p:cNvSpPr/>
          <p:nvPr/>
        </p:nvSpPr>
        <p:spPr bwMode="ltGray">
          <a:xfrm>
            <a:off x="2996949" y="1711123"/>
            <a:ext cx="914081" cy="1218492"/>
          </a:xfrm>
          <a:custGeom>
            <a:avLst/>
            <a:gdLst>
              <a:gd name="connsiteX0" fmla="*/ 0 w 1366838"/>
              <a:gd name="connsiteY0" fmla="*/ 0 h 576263"/>
              <a:gd name="connsiteX1" fmla="*/ 1362075 w 1366838"/>
              <a:gd name="connsiteY1" fmla="*/ 571500 h 576263"/>
              <a:gd name="connsiteX2" fmla="*/ 1366838 w 1366838"/>
              <a:gd name="connsiteY2" fmla="*/ 576263 h 576263"/>
              <a:gd name="connsiteX0" fmla="*/ 0 w 1366838"/>
              <a:gd name="connsiteY0" fmla="*/ 0 h 576263"/>
              <a:gd name="connsiteX1" fmla="*/ 1362075 w 1366838"/>
              <a:gd name="connsiteY1" fmla="*/ 571500 h 576263"/>
              <a:gd name="connsiteX2" fmla="*/ 1366838 w 1366838"/>
              <a:gd name="connsiteY2" fmla="*/ 576263 h 576263"/>
              <a:gd name="connsiteX0" fmla="*/ 0 w 1362075"/>
              <a:gd name="connsiteY0" fmla="*/ 0 h 571500"/>
              <a:gd name="connsiteX1" fmla="*/ 1362075 w 1362075"/>
              <a:gd name="connsiteY1" fmla="*/ 571500 h 571500"/>
              <a:gd name="connsiteX0" fmla="*/ 0 w 1362075"/>
              <a:gd name="connsiteY0" fmla="*/ 0 h 588419"/>
              <a:gd name="connsiteX1" fmla="*/ 1362075 w 1362075"/>
              <a:gd name="connsiteY1" fmla="*/ 571500 h 588419"/>
              <a:gd name="connsiteX0" fmla="*/ 0 w 1457325"/>
              <a:gd name="connsiteY0" fmla="*/ 0 h 639420"/>
              <a:gd name="connsiteX1" fmla="*/ 1457325 w 1457325"/>
              <a:gd name="connsiteY1" fmla="*/ 623888 h 639420"/>
              <a:gd name="connsiteX0" fmla="*/ 0 w 1428750"/>
              <a:gd name="connsiteY0" fmla="*/ 0 h 770082"/>
              <a:gd name="connsiteX1" fmla="*/ 1428750 w 1428750"/>
              <a:gd name="connsiteY1" fmla="*/ 757238 h 770082"/>
              <a:gd name="connsiteX0" fmla="*/ 0 w 1428750"/>
              <a:gd name="connsiteY0" fmla="*/ 19 h 767540"/>
              <a:gd name="connsiteX1" fmla="*/ 1428750 w 1428750"/>
              <a:gd name="connsiteY1" fmla="*/ 757257 h 767540"/>
              <a:gd name="connsiteX0" fmla="*/ 0 w 1481137"/>
              <a:gd name="connsiteY0" fmla="*/ 22 h 654645"/>
              <a:gd name="connsiteX1" fmla="*/ 1481137 w 1481137"/>
              <a:gd name="connsiteY1" fmla="*/ 642960 h 654645"/>
              <a:gd name="connsiteX0" fmla="*/ 0 w 1481137"/>
              <a:gd name="connsiteY0" fmla="*/ 37 h 347333"/>
              <a:gd name="connsiteX1" fmla="*/ 1481137 w 1481137"/>
              <a:gd name="connsiteY1" fmla="*/ 328650 h 347333"/>
              <a:gd name="connsiteX0" fmla="*/ 0 w 1481137"/>
              <a:gd name="connsiteY0" fmla="*/ 27 h 414748"/>
              <a:gd name="connsiteX1" fmla="*/ 1481137 w 1481137"/>
              <a:gd name="connsiteY1" fmla="*/ 328640 h 414748"/>
              <a:gd name="connsiteX0" fmla="*/ 0 w 1541612"/>
              <a:gd name="connsiteY0" fmla="*/ 19 h 625315"/>
              <a:gd name="connsiteX1" fmla="*/ 1541612 w 1541612"/>
              <a:gd name="connsiteY1" fmla="*/ 557232 h 625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41612" h="625315">
                <a:moveTo>
                  <a:pt x="0" y="19"/>
                </a:moveTo>
                <a:cubicBezTo>
                  <a:pt x="568325" y="-4743"/>
                  <a:pt x="455386" y="871557"/>
                  <a:pt x="1541612" y="557232"/>
                </a:cubicBezTo>
              </a:path>
            </a:pathLst>
          </a:custGeom>
          <a:noFill/>
          <a:ln w="38100" cap="rnd">
            <a:solidFill>
              <a:srgbClr val="A7A49B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60207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ENAME" val="C:\Users\pkowalik001\Documents\Padżura\Akcelerator_komercyjny_1204.xlsx"/>
  <p:tag name="TABNAME" val="Slajd 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PwC">
  <a:themeElements>
    <a:clrScheme name="PwC Grey">
      <a:dk1>
        <a:srgbClr val="000000"/>
      </a:dk1>
      <a:lt1>
        <a:srgbClr val="FFFFFF"/>
      </a:lt1>
      <a:dk2>
        <a:srgbClr val="968C6D"/>
      </a:dk2>
      <a:lt2>
        <a:srgbClr val="FFFFFF"/>
      </a:lt2>
      <a:accent1>
        <a:srgbClr val="968C6D"/>
      </a:accent1>
      <a:accent2>
        <a:srgbClr val="D5D1C5"/>
      </a:accent2>
      <a:accent3>
        <a:srgbClr val="602320"/>
      </a:accent3>
      <a:accent4>
        <a:srgbClr val="DB536A"/>
      </a:accent4>
      <a:accent5>
        <a:srgbClr val="A32020"/>
      </a:accent5>
      <a:accent6>
        <a:srgbClr val="E0301E"/>
      </a:accent6>
      <a:hlink>
        <a:srgbClr val="968C6D"/>
      </a:hlink>
      <a:folHlink>
        <a:srgbClr val="968C6D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PwC Grey">
    <a:dk1>
      <a:srgbClr val="000000"/>
    </a:dk1>
    <a:lt1>
      <a:srgbClr val="FFFFFF"/>
    </a:lt1>
    <a:dk2>
      <a:srgbClr val="968C6D"/>
    </a:dk2>
    <a:lt2>
      <a:srgbClr val="FFFFFF"/>
    </a:lt2>
    <a:accent1>
      <a:srgbClr val="968C6D"/>
    </a:accent1>
    <a:accent2>
      <a:srgbClr val="D5D1C5"/>
    </a:accent2>
    <a:accent3>
      <a:srgbClr val="602320"/>
    </a:accent3>
    <a:accent4>
      <a:srgbClr val="DB536A"/>
    </a:accent4>
    <a:accent5>
      <a:srgbClr val="A32020"/>
    </a:accent5>
    <a:accent6>
      <a:srgbClr val="E0301E"/>
    </a:accent6>
    <a:hlink>
      <a:srgbClr val="968C6D"/>
    </a:hlink>
    <a:folHlink>
      <a:srgbClr val="968C6D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16</TotalTime>
  <Words>3182</Words>
  <Application>Microsoft Office PowerPoint</Application>
  <PresentationFormat>On-screen Show (4:3)</PresentationFormat>
  <Paragraphs>759</Paragraphs>
  <Slides>32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9" baseType="lpstr">
      <vt:lpstr>ＭＳ Ｐゴシック</vt:lpstr>
      <vt:lpstr>Arial</vt:lpstr>
      <vt:lpstr>Georgia</vt:lpstr>
      <vt:lpstr>Helvetica Neue</vt:lpstr>
      <vt:lpstr>ヒラギノ角ゴ Pro W3</vt:lpstr>
      <vt:lpstr>2_PwC</vt:lpstr>
      <vt:lpstr>think-cell Slide</vt:lpstr>
      <vt:lpstr>Центр экспертизы по анализу Больших данных и Машинному обучению PwC   Примеры проектов и аналитических решений </vt:lpstr>
      <vt:lpstr>Чтобы помочь Вам справиться с трудностями, связанными с обработкой данных, представляем вашему вниманию  Центр экспертизы по анализу Больших данных и Машинному обучению.  Наш центр компетенции опыта – это:</vt:lpstr>
      <vt:lpstr>Охват</vt:lpstr>
      <vt:lpstr>Аналитические решения можно использовать практически во всех отраслях </vt:lpstr>
      <vt:lpstr>PowerPoint Presentation</vt:lpstr>
      <vt:lpstr>Выявить отток клиентов и повысить лояльность клиентов  </vt:lpstr>
      <vt:lpstr>Расчет ценности клиента (CLV) и оптимизация расходов на маркетинг</vt:lpstr>
      <vt:lpstr>Определение идеальной цены для каждого клиента с целью максимального увеличения выручки </vt:lpstr>
      <vt:lpstr>Персонализация клиентского опыта, создание возможностей для перекрестных и дополнительных продаж </vt:lpstr>
      <vt:lpstr>Моделирование поведения потребителей... </vt:lpstr>
      <vt:lpstr>Непрерывный контроль за маркетинговыми расходами </vt:lpstr>
      <vt:lpstr>Взгляд на ваше онлайн-поведение с другого ракурса  </vt:lpstr>
      <vt:lpstr>Преодоление ограничений, связанных с доступностью данных</vt:lpstr>
      <vt:lpstr>Повышение рентабельности филиальной сети </vt:lpstr>
      <vt:lpstr>Определение наиболее привлекательного местоположения  </vt:lpstr>
      <vt:lpstr>Монетизация данных коммерческой компании</vt:lpstr>
      <vt:lpstr>Оценка цифровой и аналитической зрелости компании для выявления областей, требующих улучшений </vt:lpstr>
      <vt:lpstr>PowerPoint Presentation</vt:lpstr>
      <vt:lpstr>Моделирование кредитных и страховых рисков с использованием внешних источников данных </vt:lpstr>
      <vt:lpstr>Разработанный PwC инструмент моделирования позволяет рассчитать эффект от внедрения МСФО 9 на уровне компании, портфеля и отдельных рисков</vt:lpstr>
      <vt:lpstr>PowerPoint Presentation</vt:lpstr>
      <vt:lpstr>Сокращение затрат на соблюдение обязательных требований за счет внедрения инновационного автоматизированного приложения для проверки клиентов («Знай своего клиента»)  </vt:lpstr>
      <vt:lpstr>Поиск новых возможностей для обнаружения преступлений </vt:lpstr>
      <vt:lpstr>PowerPoint Presentation</vt:lpstr>
      <vt:lpstr>Минимизация уровня запасов и сокращение упущенных продаж  </vt:lpstr>
      <vt:lpstr>Определение подходящего ассортимента в каждой точке и повышение уровня обслуживания покупателей  </vt:lpstr>
      <vt:lpstr>Оптимизация кадровых ресурсов путем оценки производительности и выявления мошеннических действий </vt:lpstr>
      <vt:lpstr>Мы можем помочь вам в развертывании аналитических ресурсов </vt:lpstr>
      <vt:lpstr>PowerPoint Presentation</vt:lpstr>
      <vt:lpstr>Современные аналитические решения успешно используют внешние источники данных для повышения точности прогнозов </vt:lpstr>
      <vt:lpstr>Наш инструментарий</vt:lpstr>
      <vt:lpstr>Наши методы</vt:lpstr>
    </vt:vector>
  </TitlesOfParts>
  <Company>Pw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redyty gotówkowe</dc:title>
  <dc:creator>Michal Kwiecinski</dc:creator>
  <cp:lastModifiedBy>Oleg Danilchenko</cp:lastModifiedBy>
  <cp:revision>954</cp:revision>
  <dcterms:created xsi:type="dcterms:W3CDTF">2010-09-07T13:26:45Z</dcterms:created>
  <dcterms:modified xsi:type="dcterms:W3CDTF">2017-05-17T10:30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</vt:lpwstr>
  </property>
  <property fmtid="{D5CDD505-2E9C-101B-9397-08002B2CF9AE}" pid="4" name="Template created by">
    <vt:lpwstr>PwC</vt:lpwstr>
  </property>
  <property fmtid="{D5CDD505-2E9C-101B-9397-08002B2CF9AE}" pid="5" name="Template version">
    <vt:lpwstr>6</vt:lpwstr>
  </property>
</Properties>
</file>